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4" r:id="rId3"/>
  </p:sldMasterIdLst>
  <p:notesMasterIdLst>
    <p:notesMasterId r:id="rId39"/>
  </p:notesMasterIdLst>
  <p:sldIdLst>
    <p:sldId id="268" r:id="rId4"/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72" r:id="rId15"/>
    <p:sldId id="270" r:id="rId16"/>
    <p:sldId id="271" r:id="rId17"/>
    <p:sldId id="274" r:id="rId18"/>
    <p:sldId id="273" r:id="rId19"/>
    <p:sldId id="275" r:id="rId20"/>
    <p:sldId id="276" r:id="rId21"/>
    <p:sldId id="277" r:id="rId22"/>
    <p:sldId id="278" r:id="rId23"/>
    <p:sldId id="279" r:id="rId24"/>
    <p:sldId id="291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66" r:id="rId37"/>
    <p:sldId id="267" r:id="rId38"/>
  </p:sldIdLst>
  <p:sldSz cx="12192000" cy="6858000"/>
  <p:notesSz cx="6858000" cy="9144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10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6687" autoAdjust="0"/>
  </p:normalViewPr>
  <p:slideViewPr>
    <p:cSldViewPr snapToGrid="0" showGuides="1">
      <p:cViewPr varScale="1">
        <p:scale>
          <a:sx n="97" d="100"/>
          <a:sy n="97" d="100"/>
        </p:scale>
        <p:origin x="2694" y="96"/>
      </p:cViewPr>
      <p:guideLst>
        <p:guide pos="3840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469428-3EB0-4A7D-A4C3-105F0435675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 bwMode="auto"/>
      <dgm:t>
        <a:bodyPr/>
        <a:lstStyle/>
        <a:p>
          <a:pPr>
            <a:defRPr/>
          </a:pPr>
          <a:endParaRPr lang="de-DE"/>
        </a:p>
      </dgm:t>
    </dgm:pt>
    <dgm:pt modelId="{763CDE82-0520-4605-8D14-72F9E5AFD0AB}">
      <dgm:prSet phldrT="[Text]"/>
      <dgm:spPr bwMode="auto">
        <a:solidFill>
          <a:srgbClr val="DEC628"/>
        </a:solidFill>
      </dgm:spPr>
      <dgm:t>
        <a:bodyPr/>
        <a:lstStyle/>
        <a:p>
          <a:pPr>
            <a:defRPr/>
          </a:pPr>
          <a:r>
            <a:rPr lang="de-DE" b="1"/>
            <a:t>Individualisiertes und differenziertes Lernen</a:t>
          </a:r>
          <a:endParaRPr lang="de-DE"/>
        </a:p>
      </dgm:t>
    </dgm:pt>
    <dgm:pt modelId="{CA7FD0A2-2989-45BE-AAA7-A013EE4792CC}" type="par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87E78405-EF28-4535-BA3E-FEA6FAFAFEC9}" type="sibTrans" cxnId="{FE2CF023-821F-40F4-B6E2-BBB07DADF0A1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1D0A4298-8FF2-43F4-8D81-8A7A158B07F5}">
      <dgm:prSet phldrT="[Text]"/>
      <dgm:spPr bwMode="auto"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Unterstützung bei Routineaufgaben</a:t>
          </a:r>
          <a:endParaRPr lang="de-DE"/>
        </a:p>
      </dgm:t>
    </dgm:pt>
    <dgm:pt modelId="{4E9A9390-6B94-4C8E-96FD-028E887B13C6}" type="par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92FE0D9-90CD-4782-A987-EE2F298F043B}" type="sibTrans" cxnId="{142A41C2-EDA4-4114-A399-04B111950160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0C82D2DA-F89C-493B-9397-65997336A7D5}">
      <dgm:prSet phldrT="[Text]"/>
      <dgm:spPr bwMode="auto"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Förderung digitaler Kompetenzen</a:t>
          </a:r>
          <a:endParaRPr lang="de-DE"/>
        </a:p>
      </dgm:t>
    </dgm:pt>
    <dgm:pt modelId="{F7962206-81B0-4FEC-9BF3-208F2F4A6168}" type="par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5B4C363F-A0E5-49CD-8CB4-44DE311633E4}" type="sibTrans" cxnId="{8E34B423-14DC-44BD-83C0-1BC4484DA31D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C44FA973-CA96-4F50-82A1-6CD343D1D08D}">
      <dgm:prSet phldrT="[Text]"/>
      <dgm:spPr bwMode="auto"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>
            <a:defRPr/>
          </a:pPr>
          <a:r>
            <a:rPr lang="de-DE" b="1"/>
            <a:t>Zugang zu neuen Lernformen</a:t>
          </a:r>
          <a:endParaRPr lang="de-DE"/>
        </a:p>
      </dgm:t>
    </dgm:pt>
    <dgm:pt modelId="{89CC44F2-DF70-434A-9B1C-2EBD0E091AA3}" type="par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A26A5381-137C-47FC-BEA8-BAF405D607E2}" type="sibTrans" cxnId="{FE150E0D-A298-47B0-96AD-B4889721308F}">
      <dgm:prSet/>
      <dgm:spPr bwMode="auto"/>
      <dgm:t>
        <a:bodyPr/>
        <a:lstStyle/>
        <a:p>
          <a:pPr>
            <a:defRPr/>
          </a:pPr>
          <a:endParaRPr lang="de-DE"/>
        </a:p>
      </dgm:t>
    </dgm:pt>
    <dgm:pt modelId="{4795AB35-2F18-4E0F-B4E1-B2B22647BF0D}" type="pres">
      <dgm:prSet presAssocID="{AB469428-3EB0-4A7D-A4C3-105F04356751}" presName="Name0" presStyleCnt="0">
        <dgm:presLayoutVars>
          <dgm:chMax val="7"/>
          <dgm:chPref val="7"/>
          <dgm:dir/>
        </dgm:presLayoutVars>
      </dgm:prSet>
      <dgm:spPr bwMode="auto"/>
    </dgm:pt>
    <dgm:pt modelId="{B3CDF451-ABCF-43B9-8C2C-729B9B15F099}" type="pres">
      <dgm:prSet presAssocID="{AB469428-3EB0-4A7D-A4C3-105F04356751}" presName="Name1" presStyleCnt="0"/>
      <dgm:spPr bwMode="auto"/>
    </dgm:pt>
    <dgm:pt modelId="{56779EDD-1221-4303-B41F-3E5C384C9BFB}" type="pres">
      <dgm:prSet presAssocID="{AB469428-3EB0-4A7D-A4C3-105F04356751}" presName="cycle" presStyleCnt="0"/>
      <dgm:spPr bwMode="auto"/>
    </dgm:pt>
    <dgm:pt modelId="{B7EEC69E-8022-4A64-A912-F5F8369EF086}" type="pres">
      <dgm:prSet presAssocID="{AB469428-3EB0-4A7D-A4C3-105F04356751}" presName="srcNode" presStyleLbl="node1" presStyleIdx="0" presStyleCnt="4"/>
      <dgm:spPr bwMode="auto"/>
    </dgm:pt>
    <dgm:pt modelId="{0B893AD0-0A1C-4ADF-9718-A14AC0683237}" type="pres">
      <dgm:prSet presAssocID="{AB469428-3EB0-4A7D-A4C3-105F04356751}" presName="conn" presStyleLbl="parChTrans1D2" presStyleIdx="0" presStyleCnt="1"/>
      <dgm:spPr bwMode="auto"/>
    </dgm:pt>
    <dgm:pt modelId="{BE45C8A5-1D26-46FF-A10C-8B82359B90E4}" type="pres">
      <dgm:prSet presAssocID="{AB469428-3EB0-4A7D-A4C3-105F04356751}" presName="extraNode" presStyleLbl="node1" presStyleIdx="0" presStyleCnt="4"/>
      <dgm:spPr bwMode="auto"/>
    </dgm:pt>
    <dgm:pt modelId="{848E226B-ADBB-42EA-A806-5A4B9EDE1566}" type="pres">
      <dgm:prSet presAssocID="{AB469428-3EB0-4A7D-A4C3-105F04356751}" presName="dstNode" presStyleLbl="node1" presStyleIdx="0" presStyleCnt="4"/>
      <dgm:spPr bwMode="auto"/>
    </dgm:pt>
    <dgm:pt modelId="{505B6D5A-154B-4BE6-A3A7-88F7CAAC9756}" type="pres">
      <dgm:prSet presAssocID="{763CDE82-0520-4605-8D14-72F9E5AFD0AB}" presName="text_1" presStyleLbl="node1" presStyleIdx="0" presStyleCnt="4">
        <dgm:presLayoutVars>
          <dgm:bulletEnabled val="1"/>
        </dgm:presLayoutVars>
      </dgm:prSet>
      <dgm:spPr bwMode="auto"/>
    </dgm:pt>
    <dgm:pt modelId="{2A6A0ECB-24FC-48C0-AA20-1AAFA76FAB54}" type="pres">
      <dgm:prSet presAssocID="{763CDE82-0520-4605-8D14-72F9E5AFD0AB}" presName="accent_1" presStyleCnt="0"/>
      <dgm:spPr bwMode="auto"/>
    </dgm:pt>
    <dgm:pt modelId="{E7A6BDE6-E41D-4E3A-9BD8-6D83ACC0BD68}" type="pres">
      <dgm:prSet presAssocID="{763CDE82-0520-4605-8D14-72F9E5AFD0AB}" presName="accentRepeatNode" presStyleLbl="solidFgAcc1" presStyleIdx="0" presStyleCnt="4"/>
      <dgm:spPr bwMode="auto"/>
    </dgm:pt>
    <dgm:pt modelId="{C50AFA46-5CCF-4B41-B1F2-2C82A678FF55}" type="pres">
      <dgm:prSet presAssocID="{1D0A4298-8FF2-43F4-8D81-8A7A158B07F5}" presName="text_2" presStyleLbl="node1" presStyleIdx="1" presStyleCnt="4">
        <dgm:presLayoutVars>
          <dgm:bulletEnabled val="1"/>
        </dgm:presLayoutVars>
      </dgm:prSet>
      <dgm:spPr bwMode="auto"/>
    </dgm:pt>
    <dgm:pt modelId="{04D01961-C3B6-464C-9361-109E04C0E126}" type="pres">
      <dgm:prSet presAssocID="{1D0A4298-8FF2-43F4-8D81-8A7A158B07F5}" presName="accent_2" presStyleCnt="0"/>
      <dgm:spPr bwMode="auto"/>
    </dgm:pt>
    <dgm:pt modelId="{E3FADB66-1A74-4BB3-AC5A-EAE2BF244DFF}" type="pres">
      <dgm:prSet presAssocID="{1D0A4298-8FF2-43F4-8D81-8A7A158B07F5}" presName="accentRepeatNode" presStyleLbl="solidFgAcc1" presStyleIdx="1" presStyleCnt="4"/>
      <dgm:spPr bwMode="auto"/>
    </dgm:pt>
    <dgm:pt modelId="{B193DB50-272A-4D4C-A921-5105FA66BD06}" type="pres">
      <dgm:prSet presAssocID="{0C82D2DA-F89C-493B-9397-65997336A7D5}" presName="text_3" presStyleLbl="node1" presStyleIdx="2" presStyleCnt="4">
        <dgm:presLayoutVars>
          <dgm:bulletEnabled val="1"/>
        </dgm:presLayoutVars>
      </dgm:prSet>
      <dgm:spPr bwMode="auto"/>
    </dgm:pt>
    <dgm:pt modelId="{B1703733-CC5C-434D-94C9-7E45BA2BC244}" type="pres">
      <dgm:prSet presAssocID="{0C82D2DA-F89C-493B-9397-65997336A7D5}" presName="accent_3" presStyleCnt="0"/>
      <dgm:spPr bwMode="auto"/>
    </dgm:pt>
    <dgm:pt modelId="{FC8907A0-78FE-4A60-B009-D6682E021638}" type="pres">
      <dgm:prSet presAssocID="{0C82D2DA-F89C-493B-9397-65997336A7D5}" presName="accentRepeatNode" presStyleLbl="solidFgAcc1" presStyleIdx="2" presStyleCnt="4"/>
      <dgm:spPr bwMode="auto"/>
    </dgm:pt>
    <dgm:pt modelId="{E439456E-D7F8-4CCC-8AAF-509C7B533D01}" type="pres">
      <dgm:prSet presAssocID="{C44FA973-CA96-4F50-82A1-6CD343D1D08D}" presName="text_4" presStyleLbl="node1" presStyleIdx="3" presStyleCnt="4">
        <dgm:presLayoutVars>
          <dgm:bulletEnabled val="1"/>
        </dgm:presLayoutVars>
      </dgm:prSet>
      <dgm:spPr bwMode="auto"/>
    </dgm:pt>
    <dgm:pt modelId="{2442D057-F4FA-44D5-A9C7-A184B33B3C70}" type="pres">
      <dgm:prSet presAssocID="{C44FA973-CA96-4F50-82A1-6CD343D1D08D}" presName="accent_4" presStyleCnt="0"/>
      <dgm:spPr bwMode="auto"/>
    </dgm:pt>
    <dgm:pt modelId="{3A2CD447-01DD-4BFE-87AF-B7378F0F7786}" type="pres">
      <dgm:prSet presAssocID="{C44FA973-CA96-4F50-82A1-6CD343D1D08D}" presName="accentRepeatNode" presStyleLbl="solidFgAcc1" presStyleIdx="3" presStyleCnt="4"/>
      <dgm:spPr bwMode="auto"/>
    </dgm:pt>
  </dgm:ptLst>
  <dgm:cxnLst>
    <dgm:cxn modelId="{FE150E0D-A298-47B0-96AD-B4889721308F}" srcId="{AB469428-3EB0-4A7D-A4C3-105F04356751}" destId="{C44FA973-CA96-4F50-82A1-6CD343D1D08D}" srcOrd="3" destOrd="0" parTransId="{89CC44F2-DF70-434A-9B1C-2EBD0E091AA3}" sibTransId="{A26A5381-137C-47FC-BEA8-BAF405D607E2}"/>
    <dgm:cxn modelId="{FCB86022-F2EE-4B16-BB3C-BC95CB909412}" type="presOf" srcId="{87E78405-EF28-4535-BA3E-FEA6FAFAFEC9}" destId="{0B893AD0-0A1C-4ADF-9718-A14AC0683237}" srcOrd="0" destOrd="0" presId="urn:microsoft.com/office/officeart/2008/layout/VerticalCurvedList"/>
    <dgm:cxn modelId="{8E34B423-14DC-44BD-83C0-1BC4484DA31D}" srcId="{AB469428-3EB0-4A7D-A4C3-105F04356751}" destId="{0C82D2DA-F89C-493B-9397-65997336A7D5}" srcOrd="2" destOrd="0" parTransId="{F7962206-81B0-4FEC-9BF3-208F2F4A6168}" sibTransId="{5B4C363F-A0E5-49CD-8CB4-44DE311633E4}"/>
    <dgm:cxn modelId="{FE2CF023-821F-40F4-B6E2-BBB07DADF0A1}" srcId="{AB469428-3EB0-4A7D-A4C3-105F04356751}" destId="{763CDE82-0520-4605-8D14-72F9E5AFD0AB}" srcOrd="0" destOrd="0" parTransId="{CA7FD0A2-2989-45BE-AAA7-A013EE4792CC}" sibTransId="{87E78405-EF28-4535-BA3E-FEA6FAFAFEC9}"/>
    <dgm:cxn modelId="{A73B8F4F-503E-4376-BEE9-E9D2CABFDBE4}" type="presOf" srcId="{C44FA973-CA96-4F50-82A1-6CD343D1D08D}" destId="{E439456E-D7F8-4CCC-8AAF-509C7B533D01}" srcOrd="0" destOrd="0" presId="urn:microsoft.com/office/officeart/2008/layout/VerticalCurvedList"/>
    <dgm:cxn modelId="{A86CE6B0-553C-4B40-BB2E-54C818F0DC1B}" type="presOf" srcId="{AB469428-3EB0-4A7D-A4C3-105F04356751}" destId="{4795AB35-2F18-4E0F-B4E1-B2B22647BF0D}" srcOrd="0" destOrd="0" presId="urn:microsoft.com/office/officeart/2008/layout/VerticalCurvedList"/>
    <dgm:cxn modelId="{42989DBA-ED67-4681-B11A-070B2208342A}" type="presOf" srcId="{1D0A4298-8FF2-43F4-8D81-8A7A158B07F5}" destId="{C50AFA46-5CCF-4B41-B1F2-2C82A678FF55}" srcOrd="0" destOrd="0" presId="urn:microsoft.com/office/officeart/2008/layout/VerticalCurvedList"/>
    <dgm:cxn modelId="{D57BD4C1-1CDF-4B52-967B-6AED92FEAF83}" type="presOf" srcId="{0C82D2DA-F89C-493B-9397-65997336A7D5}" destId="{B193DB50-272A-4D4C-A921-5105FA66BD06}" srcOrd="0" destOrd="0" presId="urn:microsoft.com/office/officeart/2008/layout/VerticalCurvedList"/>
    <dgm:cxn modelId="{142A41C2-EDA4-4114-A399-04B111950160}" srcId="{AB469428-3EB0-4A7D-A4C3-105F04356751}" destId="{1D0A4298-8FF2-43F4-8D81-8A7A158B07F5}" srcOrd="1" destOrd="0" parTransId="{4E9A9390-6B94-4C8E-96FD-028E887B13C6}" sibTransId="{C92FE0D9-90CD-4782-A987-EE2F298F043B}"/>
    <dgm:cxn modelId="{28B09EC3-01BE-4FD0-B783-495EAABF9E52}" type="presOf" srcId="{763CDE82-0520-4605-8D14-72F9E5AFD0AB}" destId="{505B6D5A-154B-4BE6-A3A7-88F7CAAC9756}" srcOrd="0" destOrd="0" presId="urn:microsoft.com/office/officeart/2008/layout/VerticalCurvedList"/>
    <dgm:cxn modelId="{33985C14-CDE2-4796-83C8-052E2BC58C56}" type="presParOf" srcId="{4795AB35-2F18-4E0F-B4E1-B2B22647BF0D}" destId="{B3CDF451-ABCF-43B9-8C2C-729B9B15F099}" srcOrd="0" destOrd="0" presId="urn:microsoft.com/office/officeart/2008/layout/VerticalCurvedList"/>
    <dgm:cxn modelId="{FA16CF52-4D3C-493B-A711-2E5FE9C8FF9C}" type="presParOf" srcId="{B3CDF451-ABCF-43B9-8C2C-729B9B15F099}" destId="{56779EDD-1221-4303-B41F-3E5C384C9BFB}" srcOrd="0" destOrd="0" presId="urn:microsoft.com/office/officeart/2008/layout/VerticalCurvedList"/>
    <dgm:cxn modelId="{4F84503B-F300-4BA6-9E92-FE22B3C0B413}" type="presParOf" srcId="{56779EDD-1221-4303-B41F-3E5C384C9BFB}" destId="{B7EEC69E-8022-4A64-A912-F5F8369EF086}" srcOrd="0" destOrd="0" presId="urn:microsoft.com/office/officeart/2008/layout/VerticalCurvedList"/>
    <dgm:cxn modelId="{B6469A10-8E9D-4EB3-9B16-87873C34AA63}" type="presParOf" srcId="{56779EDD-1221-4303-B41F-3E5C384C9BFB}" destId="{0B893AD0-0A1C-4ADF-9718-A14AC0683237}" srcOrd="1" destOrd="0" presId="urn:microsoft.com/office/officeart/2008/layout/VerticalCurvedList"/>
    <dgm:cxn modelId="{8490E46C-3C05-4860-9F0C-9E40EE9131AC}" type="presParOf" srcId="{56779EDD-1221-4303-B41F-3E5C384C9BFB}" destId="{BE45C8A5-1D26-46FF-A10C-8B82359B90E4}" srcOrd="2" destOrd="0" presId="urn:microsoft.com/office/officeart/2008/layout/VerticalCurvedList"/>
    <dgm:cxn modelId="{126D8F57-9A2B-4E79-B6B5-CFA7974DE160}" type="presParOf" srcId="{56779EDD-1221-4303-B41F-3E5C384C9BFB}" destId="{848E226B-ADBB-42EA-A806-5A4B9EDE1566}" srcOrd="3" destOrd="0" presId="urn:microsoft.com/office/officeart/2008/layout/VerticalCurvedList"/>
    <dgm:cxn modelId="{D3B781AB-53D2-4F4D-8DBC-C4CAD7D9E54E}" type="presParOf" srcId="{B3CDF451-ABCF-43B9-8C2C-729B9B15F099}" destId="{505B6D5A-154B-4BE6-A3A7-88F7CAAC9756}" srcOrd="1" destOrd="0" presId="urn:microsoft.com/office/officeart/2008/layout/VerticalCurvedList"/>
    <dgm:cxn modelId="{0DFCA9CF-D350-4199-954B-123D9D262058}" type="presParOf" srcId="{B3CDF451-ABCF-43B9-8C2C-729B9B15F099}" destId="{2A6A0ECB-24FC-48C0-AA20-1AAFA76FAB54}" srcOrd="2" destOrd="0" presId="urn:microsoft.com/office/officeart/2008/layout/VerticalCurvedList"/>
    <dgm:cxn modelId="{9393A668-C8BD-42E8-9E57-EF87BDBB404A}" type="presParOf" srcId="{2A6A0ECB-24FC-48C0-AA20-1AAFA76FAB54}" destId="{E7A6BDE6-E41D-4E3A-9BD8-6D83ACC0BD68}" srcOrd="0" destOrd="0" presId="urn:microsoft.com/office/officeart/2008/layout/VerticalCurvedList"/>
    <dgm:cxn modelId="{218A50BD-A94F-4B35-BBE8-F16EE7EA99B3}" type="presParOf" srcId="{B3CDF451-ABCF-43B9-8C2C-729B9B15F099}" destId="{C50AFA46-5CCF-4B41-B1F2-2C82A678FF55}" srcOrd="3" destOrd="0" presId="urn:microsoft.com/office/officeart/2008/layout/VerticalCurvedList"/>
    <dgm:cxn modelId="{C8275B1A-6507-4ADF-81AC-6BB17BB74CB5}" type="presParOf" srcId="{B3CDF451-ABCF-43B9-8C2C-729B9B15F099}" destId="{04D01961-C3B6-464C-9361-109E04C0E126}" srcOrd="4" destOrd="0" presId="urn:microsoft.com/office/officeart/2008/layout/VerticalCurvedList"/>
    <dgm:cxn modelId="{E68B11B2-73F4-4D71-A822-ADCAEE2FBD48}" type="presParOf" srcId="{04D01961-C3B6-464C-9361-109E04C0E126}" destId="{E3FADB66-1A74-4BB3-AC5A-EAE2BF244DFF}" srcOrd="0" destOrd="0" presId="urn:microsoft.com/office/officeart/2008/layout/VerticalCurvedList"/>
    <dgm:cxn modelId="{7C2F18E9-03D4-458A-867B-6648C6FFE0C3}" type="presParOf" srcId="{B3CDF451-ABCF-43B9-8C2C-729B9B15F099}" destId="{B193DB50-272A-4D4C-A921-5105FA66BD06}" srcOrd="5" destOrd="0" presId="urn:microsoft.com/office/officeart/2008/layout/VerticalCurvedList"/>
    <dgm:cxn modelId="{D4011F87-99DD-4953-AFB5-9B2029B7F42E}" type="presParOf" srcId="{B3CDF451-ABCF-43B9-8C2C-729B9B15F099}" destId="{B1703733-CC5C-434D-94C9-7E45BA2BC244}" srcOrd="6" destOrd="0" presId="urn:microsoft.com/office/officeart/2008/layout/VerticalCurvedList"/>
    <dgm:cxn modelId="{5CE3C5F5-0D6E-4AC9-B7B7-F9613D1A95BF}" type="presParOf" srcId="{B1703733-CC5C-434D-94C9-7E45BA2BC244}" destId="{FC8907A0-78FE-4A60-B009-D6682E021638}" srcOrd="0" destOrd="0" presId="urn:microsoft.com/office/officeart/2008/layout/VerticalCurvedList"/>
    <dgm:cxn modelId="{B432FF7E-B0C1-4DBD-9DAE-EC9C74F284A9}" type="presParOf" srcId="{B3CDF451-ABCF-43B9-8C2C-729B9B15F099}" destId="{E439456E-D7F8-4CCC-8AAF-509C7B533D01}" srcOrd="7" destOrd="0" presId="urn:microsoft.com/office/officeart/2008/layout/VerticalCurvedList"/>
    <dgm:cxn modelId="{83DEC977-7192-49D4-B9B9-9DCD5A7CDC56}" type="presParOf" srcId="{B3CDF451-ABCF-43B9-8C2C-729B9B15F099}" destId="{2442D057-F4FA-44D5-A9C7-A184B33B3C70}" srcOrd="8" destOrd="0" presId="urn:microsoft.com/office/officeart/2008/layout/VerticalCurvedList"/>
    <dgm:cxn modelId="{20D861AB-10CB-47C8-89BC-5A0B25180585}" type="presParOf" srcId="{2442D057-F4FA-44D5-A9C7-A184B33B3C70}" destId="{3A2CD447-01DD-4BFE-87AF-B7378F0F778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93AD0-0A1C-4ADF-9718-A14AC0683237}">
      <dsp:nvSpPr>
        <dsp:cNvPr id="0" name=""/>
        <dsp:cNvSpPr/>
      </dsp:nvSpPr>
      <dsp:spPr bwMode="auto">
        <a:xfrm>
          <a:off x="-5348460" y="-819054"/>
          <a:ext cx="6368661" cy="6368661"/>
        </a:xfrm>
        <a:prstGeom prst="blockArc">
          <a:avLst>
            <a:gd name="adj1" fmla="val 18900000"/>
            <a:gd name="adj2" fmla="val 2700000"/>
            <a:gd name="adj3" fmla="val 339"/>
          </a:avLst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B6D5A-154B-4BE6-A3A7-88F7CAAC9756}">
      <dsp:nvSpPr>
        <dsp:cNvPr id="0" name=""/>
        <dsp:cNvSpPr/>
      </dsp:nvSpPr>
      <dsp:spPr bwMode="auto">
        <a:xfrm>
          <a:off x="534119" y="363684"/>
          <a:ext cx="6571372" cy="727748"/>
        </a:xfrm>
        <a:prstGeom prst="rect">
          <a:avLst/>
        </a:prstGeom>
        <a:solidFill>
          <a:srgbClr val="DEC628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Individualisiertes und differenziertes Lernen</a:t>
          </a:r>
          <a:endParaRPr lang="de-DE" sz="2200" kern="1200"/>
        </a:p>
      </dsp:txBody>
      <dsp:txXfrm>
        <a:off x="534119" y="363684"/>
        <a:ext cx="6571372" cy="727748"/>
      </dsp:txXfrm>
    </dsp:sp>
    <dsp:sp modelId="{E7A6BDE6-E41D-4E3A-9BD8-6D83ACC0BD68}">
      <dsp:nvSpPr>
        <dsp:cNvPr id="0" name=""/>
        <dsp:cNvSpPr/>
      </dsp:nvSpPr>
      <dsp:spPr bwMode="auto">
        <a:xfrm>
          <a:off x="79277" y="272716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0AFA46-5CCF-4B41-B1F2-2C82A678FF55}">
      <dsp:nvSpPr>
        <dsp:cNvPr id="0" name=""/>
        <dsp:cNvSpPr/>
      </dsp:nvSpPr>
      <dsp:spPr bwMode="auto">
        <a:xfrm>
          <a:off x="951354" y="1455496"/>
          <a:ext cx="6154137" cy="727748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Unterstützung bei Routineaufgaben</a:t>
          </a:r>
          <a:endParaRPr lang="de-DE" sz="2200" kern="1200"/>
        </a:p>
      </dsp:txBody>
      <dsp:txXfrm>
        <a:off x="951354" y="1455496"/>
        <a:ext cx="6154137" cy="727748"/>
      </dsp:txXfrm>
    </dsp:sp>
    <dsp:sp modelId="{E3FADB66-1A74-4BB3-AC5A-EAE2BF244DFF}">
      <dsp:nvSpPr>
        <dsp:cNvPr id="0" name=""/>
        <dsp:cNvSpPr/>
      </dsp:nvSpPr>
      <dsp:spPr bwMode="auto">
        <a:xfrm>
          <a:off x="496512" y="1364527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93DB50-272A-4D4C-A921-5105FA66BD06}">
      <dsp:nvSpPr>
        <dsp:cNvPr id="0" name=""/>
        <dsp:cNvSpPr/>
      </dsp:nvSpPr>
      <dsp:spPr bwMode="auto">
        <a:xfrm>
          <a:off x="951354" y="2547307"/>
          <a:ext cx="6154137" cy="72774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Förderung digitaler Kompetenzen</a:t>
          </a:r>
          <a:endParaRPr lang="de-DE" sz="2200" kern="1200"/>
        </a:p>
      </dsp:txBody>
      <dsp:txXfrm>
        <a:off x="951354" y="2547307"/>
        <a:ext cx="6154137" cy="727748"/>
      </dsp:txXfrm>
    </dsp:sp>
    <dsp:sp modelId="{FC8907A0-78FE-4A60-B009-D6682E021638}">
      <dsp:nvSpPr>
        <dsp:cNvPr id="0" name=""/>
        <dsp:cNvSpPr/>
      </dsp:nvSpPr>
      <dsp:spPr bwMode="auto">
        <a:xfrm>
          <a:off x="496512" y="2456339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39456E-D7F8-4CCC-8AAF-509C7B533D01}">
      <dsp:nvSpPr>
        <dsp:cNvPr id="0" name=""/>
        <dsp:cNvSpPr/>
      </dsp:nvSpPr>
      <dsp:spPr bwMode="auto">
        <a:xfrm>
          <a:off x="534119" y="3639119"/>
          <a:ext cx="6571372" cy="727748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765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/>
          </a:pPr>
          <a:r>
            <a:rPr lang="de-DE" sz="2200" b="1" kern="1200"/>
            <a:t>Zugang zu neuen Lernformen</a:t>
          </a:r>
          <a:endParaRPr lang="de-DE" sz="2200" kern="1200"/>
        </a:p>
      </dsp:txBody>
      <dsp:txXfrm>
        <a:off x="534119" y="3639119"/>
        <a:ext cx="6571372" cy="727748"/>
      </dsp:txXfrm>
    </dsp:sp>
    <dsp:sp modelId="{3A2CD447-01DD-4BFE-87AF-B7378F0F7786}">
      <dsp:nvSpPr>
        <dsp:cNvPr id="0" name=""/>
        <dsp:cNvSpPr/>
      </dsp:nvSpPr>
      <dsp:spPr bwMode="auto">
        <a:xfrm>
          <a:off x="79277" y="3548150"/>
          <a:ext cx="909685" cy="9096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D1FC442-79DA-4C9F-836F-0CB1972FE134}" type="datetimeFigureOut">
              <a:rPr lang="de-DE"/>
              <a:t>30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08EC0F0-6FEC-4115-A888-5C6E15144039}" type="slidenum">
              <a:rPr lang="de-DE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Diese Folie ist ausgeblendet und sollte es auch bleiben.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Sie ist nur für die Lehrkräfte gedacht, die den medienpädagogischen Elternabend  zum Thema „Chancen von KI-Anwendungen in der Schule“ durchführen.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/>
              <a:t>Auf dieser Folie finden Sie Tipps, Hinweise und Hintergrundinformationen, die Ihnen die erfolgreiche Gestaltung dieses Elternabends erleichtern. 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nur verantwortet und </a:t>
            </a:r>
            <a:r>
              <a:rPr lang="de-DE" b="1"/>
              <a:t>rechtskonform</a:t>
            </a:r>
            <a:r>
              <a:rPr lang="de-DE"/>
              <a:t>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ier Bausteine: </a:t>
            </a:r>
            <a:r>
              <a:rPr lang="de-DE" b="1"/>
              <a:t>Datenschutz</a:t>
            </a:r>
            <a:r>
              <a:rPr lang="de-DE"/>
              <a:t>, </a:t>
            </a:r>
            <a:r>
              <a:rPr lang="de-DE" b="1"/>
              <a:t>Transparenz</a:t>
            </a:r>
            <a:r>
              <a:rPr lang="de-DE"/>
              <a:t>, </a:t>
            </a:r>
            <a:r>
              <a:rPr lang="de-DE" b="1"/>
              <a:t>Einverständnis</a:t>
            </a:r>
            <a:r>
              <a:rPr lang="de-DE"/>
              <a:t>, </a:t>
            </a:r>
            <a:r>
              <a:rPr lang="de-DE" b="1"/>
              <a:t>Eth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tzung nur mit </a:t>
            </a:r>
            <a:r>
              <a:rPr lang="de-DE" b="1"/>
              <a:t>DSGVO-konformen</a:t>
            </a:r>
            <a:r>
              <a:rPr lang="de-DE"/>
              <a:t>, schulisch freigegebenen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enminimierung</a:t>
            </a:r>
            <a:r>
              <a:rPr lang="de-DE"/>
              <a:t>: nur nötige Daten, kein Upload sensibler Schülerdaten in offen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Verträge/Speicherort klären, Training mit Schuldaten ausschließ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ransparenz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Offenlegen: </a:t>
            </a:r>
            <a:r>
              <a:rPr lang="de-DE" b="1"/>
              <a:t>welches Tool, wofür, welche Daten, wie lan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okumentieren und für SuS/Eltern verständlich erklä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Unterstützung bei Produkten </a:t>
            </a:r>
            <a:r>
              <a:rPr lang="de-DE" b="1"/>
              <a:t>kennzeichnen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verständni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imm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willigung nur, wenn keine andere Rechtsgrundlage</a:t>
            </a:r>
            <a:r>
              <a:rPr lang="de-DE"/>
              <a:t> besteht</a:t>
            </a:r>
            <a:br>
              <a:rPr lang="de-DE"/>
            </a:br>
            <a:r>
              <a:rPr lang="de-DE"/>
              <a:t>– regelmäßig schulischer Auftrag/Schulrecht</a:t>
            </a:r>
            <a:br>
              <a:rPr lang="de-DE"/>
            </a:br>
            <a:r>
              <a:rPr lang="de-DE"/>
              <a:t>– </a:t>
            </a:r>
            <a:r>
              <a:rPr lang="de-DE" b="1"/>
              <a:t>Einwilligung nötig</a:t>
            </a:r>
            <a:r>
              <a:rPr lang="de-DE"/>
              <a:t> bei freiwilligen Angeboten, Veröffentlichungen, Bild/Ton von Kinder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thik (schulrelevante Beispiel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airness/Bias</a:t>
            </a:r>
            <a:r>
              <a:rPr lang="de-DE"/>
              <a:t>: Texte/Bilder können Vorurteile verstärken →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rheberrecht</a:t>
            </a:r>
            <a:r>
              <a:rPr lang="de-DE"/>
              <a:t> und </a:t>
            </a:r>
            <a:r>
              <a:rPr lang="de-DE" b="1"/>
              <a:t>Autorschaft</a:t>
            </a:r>
            <a:r>
              <a:rPr lang="de-DE"/>
              <a:t>: Quellen nennen, KI-Anteil kennt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wertung</a:t>
            </a:r>
            <a:r>
              <a:rPr lang="de-DE"/>
              <a:t> bei der Lehrkraft, nicht bei der KI-Anwe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Verantwortungsvoller Umgang</a:t>
            </a:r>
            <a:r>
              <a:rPr lang="de-DE"/>
              <a:t>: Was kann KI, was nicht – Grenzen thematisie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transparent, datensparsam, fai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Werkzeug und Hilfsmittel</a:t>
            </a:r>
            <a:r>
              <a:rPr lang="de-DE"/>
              <a:t>, kein Ersatz für Lehrkräf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ntscheidend ist </a:t>
            </a:r>
            <a:r>
              <a:rPr lang="de-DE" b="1"/>
              <a:t>verantwortungsvoller, reflektierter 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KI als Werkzeu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entlastet Routinen, hilft bei Differenzierung und Ideenfind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Arbeitsblatt-Entwürfe, Lesetexte in Niveaus, adaptive Üb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itplanke:</a:t>
            </a:r>
            <a:r>
              <a:rPr lang="de-DE"/>
              <a:t> Lehrkraft entscheidet, begleitet, bewertet; KI-Feedbacks sind nur Orientierung für SuS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edienkompetenz för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nder lernen KI-Ergebnisse einzuordnen und zu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Quellen-Check, KI-Anteil kennzeichnen, Bias und Urheberrecht thematis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kritisches Denken und digitales Verantwortungsbewusstsei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ialog gest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Transparente Absprachen zwischen Schule, Eltern, Lern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raxis:</a:t>
            </a:r>
            <a:r>
              <a:rPr lang="de-DE"/>
              <a:t> Klassenregeln zu KI, Infoangebote, fester Rückmeldekanal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Vertrauen, Klarheit, gemeinsame Leitlini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5041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urz s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Ziel: sicherer, klar geregelter KI-Einsatz an unser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Wir nutzen nur freigegebene, datenschutzkonforme Too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Grundkenntnisse</a:t>
            </a:r>
            <a:r>
              <a:rPr lang="de-DE" dirty="0"/>
              <a:t>: LK über ALP/</a:t>
            </a:r>
            <a:r>
              <a:rPr lang="de-DE" dirty="0" err="1"/>
              <a:t>ByLKI</a:t>
            </a:r>
            <a:r>
              <a:rPr lang="de-DE" dirty="0"/>
              <a:t>, </a:t>
            </a:r>
            <a:r>
              <a:rPr lang="de-DE" dirty="0" err="1"/>
              <a:t>SuS</a:t>
            </a:r>
            <a:r>
              <a:rPr lang="de-DE" dirty="0"/>
              <a:t> im Unterricht mit dem KI-Kompa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Datenschutzkonform</a:t>
            </a:r>
            <a:r>
              <a:rPr lang="de-DE" dirty="0"/>
              <a:t>: nur Systeme, die DSGVO und Datenschutzrichtlinien der EU entspre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e personenbezogenen Daten</a:t>
            </a:r>
            <a:r>
              <a:rPr lang="de-DE" dirty="0"/>
              <a:t>: keine Namen, Fotos, Klassenlisten, Leistungsdaten in KI-Anwend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in Training mit Schülerdaten</a:t>
            </a:r>
            <a:r>
              <a:rPr lang="de-DE" dirty="0"/>
              <a:t>: Eingaben der </a:t>
            </a:r>
            <a:r>
              <a:rPr lang="de-DE" dirty="0" err="1"/>
              <a:t>SuS</a:t>
            </a:r>
            <a:r>
              <a:rPr lang="de-DE" dirty="0"/>
              <a:t> werden nicht zur Modellweiterentwicklung genutz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Kennzeichnung</a:t>
            </a:r>
            <a:r>
              <a:rPr lang="de-DE" dirty="0"/>
              <a:t>: KI-Anteile in Abgaben und Produkten sichtbar ma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1" dirty="0"/>
              <a:t>Prüfung</a:t>
            </a:r>
            <a:r>
              <a:rPr lang="de-DE" dirty="0"/>
              <a:t>: Inhalte auf Richtigkeit, Quellen und mögliche Verzerrungen prüfen – KI gibt Feedback, Lehrkraft bewert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Hinweis für E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Transparenz immer, Einwilligung nur wo erforderlich (z. B. Veröffentlichung, freiwillige Angebot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5FABF95-4DB6-EBED-AE99-F3261B414290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Einstie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mpulsfrage: Wie lernen </a:t>
            </a:r>
            <a:r>
              <a:rPr lang="de-DE" sz="1100" dirty="0" err="1"/>
              <a:t>SuS</a:t>
            </a:r>
            <a:r>
              <a:rPr lang="de-DE" sz="1100" dirty="0"/>
              <a:t> den Umgang mit KI an der Schu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Antwort: angeleitetes Ausprobieren </a:t>
            </a:r>
            <a:r>
              <a:rPr lang="de-DE" sz="1100" b="1" dirty="0"/>
              <a:t>im geschützten Rahmen</a:t>
            </a:r>
            <a:r>
              <a:rPr lang="de-DE" sz="1100" dirty="0"/>
              <a:t> und nach klaren Reg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Rechtli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r</a:t>
            </a:r>
            <a:r>
              <a:rPr lang="de-DE" sz="1100" b="1" dirty="0"/>
              <a:t> DSGVO-konforme</a:t>
            </a:r>
            <a:r>
              <a:rPr lang="de-DE" sz="1100" dirty="0"/>
              <a:t> To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eine personenbezogenen Daten in offene Syste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rheberrecht, Altersgrenzen, Jugendschutz beach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inwilligung nur wo nötig, Transparenz imm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Schulische Rahmenbedingu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Orientierung am </a:t>
            </a:r>
            <a:r>
              <a:rPr lang="de-DE" sz="1100" b="1" dirty="0" err="1"/>
              <a:t>LehrplanPlus</a:t>
            </a:r>
            <a:r>
              <a:rPr lang="de-DE" sz="1100" dirty="0"/>
              <a:t> und an Zielen der Medienbi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Lehrkraft wählt Aufgaben, reduziert didaktisch, passt das Niveau 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Nutzung zur </a:t>
            </a:r>
            <a:r>
              <a:rPr lang="de-DE" sz="1100" b="1" dirty="0"/>
              <a:t>Übung, Differenzierung, Feedback</a:t>
            </a:r>
            <a:r>
              <a:rPr lang="de-DE" sz="1100" dirty="0"/>
              <a:t>, nicht zur Bewertung durch KI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1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100" b="1" dirty="0"/>
              <a:t>Kritisches Hinterfr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Inhalte prüfen: </a:t>
            </a:r>
            <a:r>
              <a:rPr lang="de-DE" sz="1100" b="1" dirty="0"/>
              <a:t>Quellen öffnen, Datum, Bias </a:t>
            </a:r>
            <a:r>
              <a:rPr lang="de-DE" sz="1100" b="0" dirty="0"/>
              <a:t>(Vorurteile)</a:t>
            </a:r>
            <a:endParaRPr lang="de-DE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I-Anteil kennzeichnen, Eigenleistung sich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Ethische Fragen thematisieren: Was darf KI, wo sind Grenz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2240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Überblicks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Ggf. Beispiele aus der Unterrichtspraxis zur Arbeit mit KI-Anwendungen nenne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B0E543F-3721-55E1-20C2-710B891310B7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23228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e geht </a:t>
            </a:r>
            <a:r>
              <a:rPr lang="de-DE" b="1"/>
              <a:t>verantwortungsvoll</a:t>
            </a:r>
            <a:r>
              <a:rPr lang="de-DE"/>
              <a:t> mit KI um; Einsatz nur </a:t>
            </a:r>
            <a:r>
              <a:rPr lang="de-DE" b="1"/>
              <a:t>datenschutzkonformer</a:t>
            </a:r>
            <a:r>
              <a:rPr lang="de-DE"/>
              <a:t> Anwendun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ersetzt keine Lehrkraft</a:t>
            </a:r>
            <a:r>
              <a:rPr lang="de-DE"/>
              <a:t>; sie </a:t>
            </a:r>
            <a:r>
              <a:rPr lang="de-DE" b="1"/>
              <a:t>unterstützt Lernprozesse</a:t>
            </a:r>
            <a:r>
              <a:rPr lang="de-DE"/>
              <a:t>. Die LK bleibt </a:t>
            </a:r>
            <a:r>
              <a:rPr lang="de-DE" b="1"/>
              <a:t>pädagogische Entscheidungsinstanz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rgen der Erziehungsberechtigten</a:t>
            </a:r>
            <a:r>
              <a:rPr lang="de-DE"/>
              <a:t> aktiv einladen und ernst nehmen; Raum für Fragen schaf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en Sorgen mit </a:t>
            </a:r>
            <a:r>
              <a:rPr lang="de-DE" b="1"/>
              <a:t>klaren Argumenten</a:t>
            </a:r>
            <a:r>
              <a:rPr lang="de-DE"/>
              <a:t> begegnen: Datenschutzmaßnahmen, begrenzter/zweckgebundener Einsatz, pädagogische Begleit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Übergang) → „Es gibt klare Leitplanken, an die wir uns halten.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tergrund (nur für Referierende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ahmenbedingungen</a:t>
            </a:r>
            <a:r>
              <a:rPr lang="de-DE"/>
              <a:t> für den KI-Einsatz: gemäß </a:t>
            </a:r>
            <a:r>
              <a:rPr lang="de-DE" b="1"/>
              <a:t>Handlungsleitfaden des StMU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Prüfprinzipien: </a:t>
            </a:r>
            <a:r>
              <a:rPr lang="de-DE" b="1"/>
              <a:t>Zweckbindung</a:t>
            </a:r>
            <a:r>
              <a:rPr lang="de-DE"/>
              <a:t>, </a:t>
            </a:r>
            <a:r>
              <a:rPr lang="de-DE" b="1"/>
              <a:t>Datenminimierung</a:t>
            </a:r>
            <a:r>
              <a:rPr lang="de-DE"/>
              <a:t>, </a:t>
            </a:r>
            <a:r>
              <a:rPr lang="de-DE" b="1"/>
              <a:t>Speicherort/-dauer</a:t>
            </a:r>
            <a:r>
              <a:rPr lang="de-DE"/>
              <a:t>, vertragliche Absicherung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terne Abläufe: </a:t>
            </a:r>
            <a:r>
              <a:rPr lang="de-DE" b="1"/>
              <a:t>Transparente Kommunikation</a:t>
            </a:r>
            <a:r>
              <a:rPr lang="de-DE"/>
              <a:t> mit Eltern, </a:t>
            </a:r>
            <a:r>
              <a:rPr lang="de-DE" b="1"/>
              <a:t>Fortbildung</a:t>
            </a:r>
            <a:r>
              <a:rPr lang="de-DE"/>
              <a:t> des Kollegiums, </a:t>
            </a:r>
            <a:r>
              <a:rPr lang="de-DE" b="1"/>
              <a:t>Feedback-/Meldestelle</a:t>
            </a:r>
            <a:r>
              <a:rPr lang="de-DE"/>
              <a:t> bei Probl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(Publikumsfrage) „Welche Fragen oder Bedenken haben Sie persönlich zum KI-Einsatz an der Schule?“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8113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s handelt sich hier um </a:t>
            </a:r>
            <a:r>
              <a:rPr lang="de-DE" b="1"/>
              <a:t>Beispiele</a:t>
            </a:r>
            <a:r>
              <a:rPr lang="de-DE"/>
              <a:t>, keine Werbung/keine Vollständigkeit: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Mathe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</a:t>
            </a:r>
            <a:r>
              <a:rPr lang="de-DE" b="1"/>
              <a:t>LK setzt Ziele</a:t>
            </a:r>
            <a:r>
              <a:rPr lang="de-DE"/>
              <a:t>, kontrolliert Lösungsweg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tzen:</a:t>
            </a:r>
            <a:r>
              <a:rPr lang="de-DE"/>
              <a:t> Tempo-Differenzierung, sofortiges </a:t>
            </a:r>
            <a:r>
              <a:rPr lang="de-DE" b="1"/>
              <a:t>prozessbezogenes Feedback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sen – Unterstützung &amp; Zugäng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Leseflüssigkeit &amp; -verständnis </a:t>
            </a:r>
            <a:r>
              <a:rPr lang="de-DE" b="1"/>
              <a:t>entlasten/aufbauen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LaLeTu, Microsoft Immersive Reader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Vorlesen, Silbierung/Zeilenfokus, </a:t>
            </a:r>
            <a:r>
              <a:rPr lang="de-DE" b="1"/>
              <a:t>Textvereinfachung</a:t>
            </a:r>
            <a:r>
              <a:rPr lang="de-DE"/>
              <a:t>, Glossar, kurze Verständnisfrag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Stillarbeits-Station, Hausaufgabe mit Elterninfo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chreibenlernen – Sensorik/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Schreibmotorik</a:t>
            </a:r>
            <a:r>
              <a:rPr lang="de-DE"/>
              <a:t> und Formtraining mit unmittelbarem Feedback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:</a:t>
            </a:r>
            <a:r>
              <a:rPr lang="de-DE"/>
              <a:t> Stabilo </a:t>
            </a:r>
            <a:r>
              <a:rPr lang="de-DE" b="1"/>
              <a:t>EduPen</a:t>
            </a:r>
            <a:r>
              <a:rPr lang="de-DE"/>
              <a:t> (Digitalstift + App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unktionen:</a:t>
            </a:r>
            <a:r>
              <a:rPr lang="de-DE"/>
              <a:t> Griff/Stiftdruck/Bewegung erfassen → </a:t>
            </a:r>
            <a:r>
              <a:rPr lang="de-DE" b="1"/>
              <a:t>Übungsvorschläge</a:t>
            </a:r>
            <a:r>
              <a:rPr lang="de-DE"/>
              <a:t>; </a:t>
            </a:r>
            <a:r>
              <a:rPr lang="de-DE" b="1"/>
              <a:t>LK sieht Auswertung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stdiagnose als </a:t>
            </a:r>
            <a:r>
              <a:rPr lang="de-DE" b="1"/>
              <a:t>Grundlage für Übungsplan</a:t>
            </a:r>
            <a:r>
              <a:rPr lang="de-DE"/>
              <a:t>, nicht als Note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98229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Beispiele, keine Empfehlungsliste</a:t>
            </a:r>
            <a:r>
              <a:rPr lang="de-DE"/>
              <a:t>; Auswahl richtet sich nach </a:t>
            </a:r>
            <a:r>
              <a:rPr lang="de-DE" b="1"/>
              <a:t>Schulvorgaben &amp; Datenschutz</a:t>
            </a:r>
            <a:r>
              <a:rPr lang="de-DE"/>
              <a:t>.</a:t>
            </a:r>
            <a:endParaRPr/>
          </a:p>
          <a:p>
            <a:pPr>
              <a:defRPr/>
            </a:pPr>
            <a:r>
              <a:rPr lang="de-DE" b="1"/>
              <a:t>Lehrkraft steuert</a:t>
            </a:r>
            <a:r>
              <a:rPr lang="de-DE"/>
              <a:t>, passt an und </a:t>
            </a:r>
            <a:r>
              <a:rPr lang="de-DE" b="1"/>
              <a:t>prüft Ergebnisse</a:t>
            </a:r>
            <a:r>
              <a:rPr lang="de-DE"/>
              <a:t>.</a:t>
            </a:r>
            <a:endParaRPr/>
          </a:p>
          <a:p>
            <a:pPr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athematik – adaptive Lernsyste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Diagnose + </a:t>
            </a:r>
            <a:r>
              <a:rPr lang="de-DE" b="1"/>
              <a:t>auf Niveau angepasste Übungen</a:t>
            </a:r>
            <a:r>
              <a:rPr lang="de-DE"/>
              <a:t> mit Schritt-für-Schritt-Hinweis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bettermarks, Calcularis, Area9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10–15 Min. Übungsphasen/Stationen; Lernpfade je nach </a:t>
            </a:r>
            <a:r>
              <a:rPr lang="de-DE" b="1"/>
              <a:t>Fehlermuster</a:t>
            </a:r>
            <a:r>
              <a:rPr lang="de-DE"/>
              <a:t>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K-Rolle:</a:t>
            </a:r>
            <a:r>
              <a:rPr lang="de-DE"/>
              <a:t> Ziele setzen, Aufgaben freigeben, </a:t>
            </a:r>
            <a:r>
              <a:rPr lang="de-DE" b="1"/>
              <a:t>Lösungswege kontrollieren</a:t>
            </a:r>
            <a:r>
              <a:rPr lang="de-DE"/>
              <a:t>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emdsprachen – interaktive Anwend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Wortschatz, Hör-/Leseverstehen, Sprechen trainier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Duolingo (Drills/Spiel-Elemente), DeepL (verständliche Übersetzungen/Alternativen), LanguageTool (Stil-/Grammatik-Hinweis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Warm-up, Hausaufgabe, Differenzierung im Stationenlern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</a:t>
            </a:r>
            <a:r>
              <a:rPr lang="de-DE" b="1"/>
              <a:t>Eigenleistung sichern</a:t>
            </a:r>
            <a:r>
              <a:rPr lang="de-DE"/>
              <a:t> (z. B. mündliche Checks, kurze Transfers)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Rechtschreibung &amp; Grammati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ck:</a:t>
            </a:r>
            <a:r>
              <a:rPr lang="de-DE"/>
              <a:t> </a:t>
            </a:r>
            <a:r>
              <a:rPr lang="de-DE" b="1"/>
              <a:t>gezielte Fehler-Rückmeldung</a:t>
            </a:r>
            <a:r>
              <a:rPr lang="de-DE"/>
              <a:t> und Überarbeitungsschleif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spiele:</a:t>
            </a:r>
            <a:r>
              <a:rPr lang="de-DE"/>
              <a:t> Orthografietrainer, LanguageTool, DeepL (Formulierungsvariant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nsatz:</a:t>
            </a:r>
            <a:r>
              <a:rPr lang="de-DE"/>
              <a:t> Überarbeitung von Entwürfen mit </a:t>
            </a:r>
            <a:r>
              <a:rPr lang="de-DE" b="1"/>
              <a:t>klaren Kriterien</a:t>
            </a:r>
            <a:r>
              <a:rPr lang="de-DE"/>
              <a:t>; Reflexion: „Was habe ich verbessert?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/>
          </a:p>
          <a:p>
            <a:pPr>
              <a:defRPr/>
            </a:pPr>
            <a:r>
              <a:rPr lang="de-DE" b="1"/>
              <a:t>Wenn an Ihrer Schule bereits im Einsatz:</a:t>
            </a:r>
            <a:endParaRPr/>
          </a:p>
          <a:p>
            <a:pPr>
              <a:defRPr/>
            </a:pPr>
            <a:r>
              <a:rPr lang="de-DE"/>
              <a:t>Kurzschema zur Vorstellung: </a:t>
            </a:r>
            <a:r>
              <a:rPr lang="de-DE" b="1"/>
              <a:t>Tool – Zweck – Jahrgang – Datenschutzrahmen – Rolle der LK</a:t>
            </a:r>
            <a:r>
              <a:rPr lang="de-DE"/>
              <a:t> (1–2 Min.).</a:t>
            </a:r>
            <a:endParaRPr/>
          </a:p>
          <a:p>
            <a:pPr>
              <a:defRPr/>
            </a:pPr>
            <a:endParaRPr lang="de-DE" u="s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3659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KI eignet sich </a:t>
            </a:r>
            <a:r>
              <a:rPr lang="de-DE" b="1" dirty="0"/>
              <a:t>sehr gut</a:t>
            </a:r>
            <a:r>
              <a:rPr lang="de-DE" dirty="0"/>
              <a:t> zur Erstellung </a:t>
            </a:r>
            <a:r>
              <a:rPr lang="de-DE" b="1" dirty="0"/>
              <a:t>multimedialer Inhalte</a:t>
            </a:r>
            <a:r>
              <a:rPr lang="de-DE" dirty="0"/>
              <a:t> (Audio/Podcast/Hörspiel).</a:t>
            </a:r>
            <a:endParaRPr dirty="0"/>
          </a:p>
          <a:p>
            <a:pPr>
              <a:defRPr/>
            </a:pPr>
            <a:r>
              <a:rPr lang="de-DE" b="1" dirty="0"/>
              <a:t>Eltern</a:t>
            </a:r>
            <a:r>
              <a:rPr lang="de-DE" dirty="0"/>
              <a:t> können in den Podcast per </a:t>
            </a:r>
            <a:r>
              <a:rPr lang="de-DE" b="1" dirty="0"/>
              <a:t>QR-Code</a:t>
            </a:r>
            <a:r>
              <a:rPr lang="de-DE" dirty="0"/>
              <a:t> oder Link </a:t>
            </a:r>
            <a:r>
              <a:rPr lang="de-DE" b="1" dirty="0"/>
              <a:t>reinhören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b="1" dirty="0"/>
              <a:t>Eigene Schulbeispiele</a:t>
            </a:r>
            <a:r>
              <a:rPr lang="de-DE" dirty="0"/>
              <a:t> wirken am stärksten – gern </a:t>
            </a:r>
            <a:r>
              <a:rPr lang="de-DE" b="1" dirty="0"/>
              <a:t>kurz </a:t>
            </a:r>
            <a:r>
              <a:rPr lang="de-DE" b="1"/>
              <a:t>live zeigen</a:t>
            </a:r>
            <a:r>
              <a:rPr lang="de-DE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r>
              <a:rPr lang="de-DE" dirty="0"/>
              <a:t>KI = </a:t>
            </a:r>
            <a:r>
              <a:rPr lang="de-DE" b="1" dirty="0"/>
              <a:t>Impulsgeber/Assistent</a:t>
            </a:r>
            <a:r>
              <a:rPr lang="de-DE" dirty="0"/>
              <a:t>, die </a:t>
            </a:r>
            <a:r>
              <a:rPr lang="de-DE" b="1" dirty="0"/>
              <a:t>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Podcast – Grundrechte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Ziel: </a:t>
            </a:r>
            <a:r>
              <a:rPr lang="de-DE" b="1" dirty="0"/>
              <a:t>Wissen vertiefen</a:t>
            </a:r>
            <a:r>
              <a:rPr lang="de-DE" dirty="0"/>
              <a:t> und in </a:t>
            </a:r>
            <a:r>
              <a:rPr lang="de-DE" b="1" dirty="0"/>
              <a:t>Podcast-Form</a:t>
            </a:r>
            <a:r>
              <a:rPr lang="de-DE" dirty="0"/>
              <a:t> für eine Zielgruppe </a:t>
            </a:r>
            <a:r>
              <a:rPr lang="de-DE" b="1" dirty="0"/>
              <a:t>verständlich</a:t>
            </a:r>
            <a:r>
              <a:rPr lang="de-DE" dirty="0"/>
              <a:t> aufbereit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Kompetenzen: </a:t>
            </a:r>
            <a:r>
              <a:rPr lang="de-DE" b="1" dirty="0"/>
              <a:t>Medienkompetenz</a:t>
            </a:r>
            <a:r>
              <a:rPr lang="de-DE" dirty="0"/>
              <a:t> (KI-Tools bedienen, Formatunterschiede </a:t>
            </a:r>
            <a:r>
              <a:rPr lang="de-DE" b="1" dirty="0"/>
              <a:t>Sachtext ↔ Podcast</a:t>
            </a:r>
            <a:r>
              <a:rPr lang="de-DE" dirty="0"/>
              <a:t>, Regeln für gute Podcasts), </a:t>
            </a:r>
            <a:r>
              <a:rPr lang="de-DE" b="1" dirty="0"/>
              <a:t>reflektiertes</a:t>
            </a:r>
            <a:r>
              <a:rPr lang="de-DE" dirty="0"/>
              <a:t> Arbeiten mit digitalen Werkzeug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Fächerverbindung: </a:t>
            </a:r>
            <a:r>
              <a:rPr lang="de-DE" b="1" dirty="0"/>
              <a:t>Politik – Deutsch – Medienbildung</a:t>
            </a:r>
            <a:r>
              <a:rPr lang="de-DE" dirty="0"/>
              <a:t>; </a:t>
            </a:r>
            <a:r>
              <a:rPr lang="de-DE" b="1" dirty="0"/>
              <a:t>Lebensweltbezug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öglich mit </a:t>
            </a:r>
            <a:r>
              <a:rPr lang="de-DE" b="1" dirty="0" err="1"/>
              <a:t>ByLKI</a:t>
            </a:r>
            <a:r>
              <a:rPr lang="de-DE" dirty="0"/>
              <a:t> / </a:t>
            </a:r>
            <a:r>
              <a:rPr lang="de-DE" b="1" dirty="0" err="1"/>
              <a:t>ByCS</a:t>
            </a:r>
            <a:r>
              <a:rPr lang="de-DE" b="1" dirty="0"/>
              <a:t>-KI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 marL="0" indent="0">
              <a:buFont typeface="Arial"/>
              <a:buNone/>
              <a:defRPr/>
            </a:pPr>
            <a:r>
              <a:rPr lang="de-DE" b="1" dirty="0"/>
              <a:t>Beispiel „Hörspiel – Deutsch“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Mit KI </a:t>
            </a:r>
            <a:r>
              <a:rPr lang="de-DE" b="1" dirty="0"/>
              <a:t>Ideen/Handlungsgerüst/Dialogstrukturen/Sound-Hinweise</a:t>
            </a:r>
            <a:r>
              <a:rPr lang="de-DE" dirty="0"/>
              <a:t> generieren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 err="1"/>
              <a:t>SuS</a:t>
            </a:r>
            <a:r>
              <a:rPr lang="de-DE" dirty="0"/>
              <a:t> </a:t>
            </a:r>
            <a:r>
              <a:rPr lang="de-DE" b="1" dirty="0"/>
              <a:t>verfeinern &amp; passen Sprache an</a:t>
            </a:r>
            <a:r>
              <a:rPr lang="de-DE" dirty="0"/>
              <a:t>, erstellen </a:t>
            </a:r>
            <a:r>
              <a:rPr lang="de-DE" b="1" dirty="0"/>
              <a:t>Skript mit Regieanweisungen</a:t>
            </a:r>
            <a:r>
              <a:rPr lang="de-DE" dirty="0"/>
              <a:t>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Produktion: </a:t>
            </a:r>
            <a:r>
              <a:rPr lang="de-DE" b="1" dirty="0"/>
              <a:t>Einsprechen</a:t>
            </a:r>
            <a:r>
              <a:rPr lang="de-DE" dirty="0"/>
              <a:t>, </a:t>
            </a:r>
            <a:r>
              <a:rPr lang="de-DE" b="1" dirty="0"/>
              <a:t>Geräusche/Musik</a:t>
            </a:r>
            <a:r>
              <a:rPr lang="de-DE" dirty="0"/>
              <a:t> aufnehmen, </a:t>
            </a:r>
            <a:r>
              <a:rPr lang="de-DE" b="1" dirty="0"/>
              <a:t>selbst abmischen</a:t>
            </a:r>
            <a:r>
              <a:rPr lang="de-DE" dirty="0"/>
              <a:t> (arbeitsteilig).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r>
              <a:rPr lang="de-DE" dirty="0"/>
              <a:t>Ergebnis: </a:t>
            </a:r>
            <a:r>
              <a:rPr lang="de-DE" b="1" dirty="0"/>
              <a:t>kreatives, authentisches Lernprodukt</a:t>
            </a:r>
            <a:r>
              <a:rPr lang="de-DE" dirty="0"/>
              <a:t>.</a:t>
            </a:r>
            <a:endParaRPr dirty="0"/>
          </a:p>
          <a:p>
            <a:pPr marL="0" indent="0">
              <a:buFont typeface="Arial"/>
              <a:buNone/>
              <a:defRPr/>
            </a:pPr>
            <a:endParaRPr lang="de-DE" b="1" dirty="0"/>
          </a:p>
          <a:p>
            <a:pPr>
              <a:defRPr/>
            </a:pPr>
            <a:r>
              <a:rPr lang="de-DE" b="1" dirty="0"/>
              <a:t>KI = Impulsgeber</a:t>
            </a:r>
            <a:r>
              <a:rPr lang="de-DE" dirty="0"/>
              <a:t>, Gestaltung bleibt bei den </a:t>
            </a:r>
            <a:r>
              <a:rPr lang="de-DE" b="1" dirty="0" err="1"/>
              <a:t>SuS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Ergebnis: </a:t>
            </a:r>
            <a:r>
              <a:rPr lang="de-DE" b="1" dirty="0"/>
              <a:t>motivierende, authentische Lernprodukte</a:t>
            </a:r>
            <a:r>
              <a:rPr lang="de-DE" dirty="0"/>
              <a:t>.</a:t>
            </a:r>
            <a:endParaRPr dirty="0"/>
          </a:p>
          <a:p>
            <a:pPr>
              <a:defRPr/>
            </a:pPr>
            <a:r>
              <a:rPr lang="de-DE" dirty="0"/>
              <a:t>(Optional) Kurz die </a:t>
            </a:r>
            <a:r>
              <a:rPr lang="de-DE" b="1" dirty="0"/>
              <a:t>Erstellung live</a:t>
            </a:r>
            <a:r>
              <a:rPr lang="de-DE" dirty="0"/>
              <a:t> demonstrieren – Prompt → kurzer Clip.</a:t>
            </a:r>
            <a:endParaRPr dirty="0"/>
          </a:p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0556990-3CA1-E35A-54C8-4A51BB5A10A9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34137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QR-Codes scannen oder anklicken</a:t>
            </a:r>
            <a:r>
              <a:rPr lang="de-DE"/>
              <a:t> → Eltern hören/lesen direkt hinein.</a:t>
            </a:r>
            <a:endParaRPr/>
          </a:p>
          <a:p>
            <a:pPr>
              <a:defRPr/>
            </a:pPr>
            <a:r>
              <a:rPr lang="de-DE"/>
              <a:t>Auswahl = </a:t>
            </a:r>
            <a:r>
              <a:rPr lang="de-DE" b="1"/>
              <a:t>seriöse Einstiegsquellen</a:t>
            </a:r>
            <a:r>
              <a:rPr lang="de-DE"/>
              <a:t>; keine Werbung.</a:t>
            </a:r>
            <a:endParaRPr/>
          </a:p>
          <a:p>
            <a:pPr>
              <a:defRPr/>
            </a:pPr>
            <a:endParaRPr lang="de-DE" b="1"/>
          </a:p>
          <a:p>
            <a:pPr>
              <a:defRPr/>
            </a:pPr>
            <a:r>
              <a:rPr lang="de-DE" b="1"/>
              <a:t>Inhalt der Links (1 Satz je Kreis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licksafe:</a:t>
            </a:r>
            <a:r>
              <a:rPr lang="de-DE"/>
              <a:t> Tipps &amp; Materialien zu </a:t>
            </a:r>
            <a:r>
              <a:rPr lang="de-DE" b="1"/>
              <a:t>Medien-/KI-Kompetenz</a:t>
            </a:r>
            <a:r>
              <a:rPr lang="de-DE"/>
              <a:t> für Eltern &amp; Schule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FragZebra:</a:t>
            </a:r>
            <a:r>
              <a:rPr lang="de-DE"/>
              <a:t> </a:t>
            </a:r>
            <a:r>
              <a:rPr lang="de-DE" b="1"/>
              <a:t>Niedrigschwellige Erklärungen</a:t>
            </a:r>
            <a:r>
              <a:rPr lang="de-DE"/>
              <a:t> und Praxisfragen rund um Digitalthem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ultusministerium:</a:t>
            </a:r>
            <a:r>
              <a:rPr lang="de-DE"/>
              <a:t> </a:t>
            </a:r>
            <a:r>
              <a:rPr lang="de-DE" b="1"/>
              <a:t>Regelungen, Leitfäden, Hinweise</a:t>
            </a:r>
            <a:r>
              <a:rPr lang="de-DE"/>
              <a:t> zum KI-Einsatz an Schulen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er KI-Podcast:</a:t>
            </a:r>
            <a:r>
              <a:rPr lang="de-DE"/>
              <a:t> </a:t>
            </a:r>
            <a:r>
              <a:rPr lang="de-DE" b="1"/>
              <a:t>Verständliche Einordnung</a:t>
            </a:r>
            <a:r>
              <a:rPr lang="de-DE"/>
              <a:t> aktueller KI-Themen für den Allta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Moderationshin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1–2 Links kurz live öffnen</a:t>
            </a:r>
            <a:r>
              <a:rPr lang="de-DE"/>
              <a:t> (30–45 Sek. je Link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ermutigen: </a:t>
            </a:r>
            <a:r>
              <a:rPr lang="de-DE" b="1"/>
              <a:t>zu Hause nachschauen</a:t>
            </a:r>
            <a:r>
              <a:rPr lang="de-DE"/>
              <a:t> und bei Fragen </a:t>
            </a:r>
            <a:r>
              <a:rPr lang="de-DE" b="1"/>
              <a:t>Kontakt</a:t>
            </a:r>
            <a:r>
              <a:rPr lang="de-DE"/>
              <a:t> aufnehmen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9304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>
                <a:latin typeface="Arial"/>
                <a:cs typeface="Arial"/>
              </a:rPr>
              <a:t>Hinweis: Um feststehende Elemente auf einer Folie zu löschen, wählen Sie Ansicht  Master  Folienmaster oder wählen Sie dem Folienmaster im Suchfeld aus.</a:t>
            </a:r>
            <a:br>
              <a:rPr lang="de-DE" sz="1100">
                <a:latin typeface="Arial"/>
                <a:cs typeface="Arial"/>
              </a:rPr>
            </a:br>
            <a:br>
              <a:rPr lang="de-DE" sz="1100">
                <a:latin typeface="Arial"/>
                <a:cs typeface="Arial"/>
              </a:rPr>
            </a:br>
            <a:endParaRPr lang="de-DE" sz="110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46727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urz s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wurden vorab über den KI-Einsatz inform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eute sammeln wir Fragen und geben klare Ant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Einstieg mit Zita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arbeiten jetzt mit KI in der Schule“ vorles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ndzeichen: Wer hat das zu Hause schon gehör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ypische Fragen – Kurzantwor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kann ich mein Kind unterstützen</a:t>
            </a:r>
            <a:r>
              <a:rPr lang="de-DE"/>
              <a:t> → Coach sein, nach dem Weg fragen, Ergebnis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ausaufgaben nur noch mit KI</a:t>
            </a:r>
            <a:r>
              <a:rPr lang="de-DE"/>
              <a:t> → nein, nur wenn die Aufgabe es vorsieht, sonst ni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t das Kind noch selbstständig</a:t>
            </a:r>
            <a:r>
              <a:rPr lang="de-DE"/>
              <a:t> → ja, Eigenleistung bleibt Pflicht, KI hilft nu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Anwendungen verwenden</a:t>
            </a:r>
            <a:r>
              <a:rPr lang="de-DE"/>
              <a:t> → ausschließlich von der Schule freigegebene Too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ibt es Regeln</a:t>
            </a:r>
            <a:r>
              <a:rPr lang="de-DE"/>
              <a:t> → Kennzeichnung, Quellen, Datenschutz, keine personenbezogenen Da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ür zu Hau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Absprechen: Was darf KI bei Hausaufgaben, wie kennzeichnen, Zeitfens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ini-Check: Quelle öffnen, Datum prüfen, Erklärung in eigenen Wor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Hinweis für Sie als Lehrkraft: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rgumentationshilfe für kritische Eltern</a:t>
            </a:r>
            <a:r>
              <a:rPr lang="de-DE"/>
              <a:t> </a:t>
            </a:r>
            <a:r>
              <a:rPr lang="de-DE">
                <a:solidFill>
                  <a:srgbClr val="FF0000"/>
                </a:solidFill>
              </a:rPr>
              <a:t>[Link einfügen]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D3DF856-822C-63C5-E1E1-1F6280C051EB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Interesse zeigen &amp; im Gespräch bleiben</a:t>
            </a:r>
            <a:r>
              <a:rPr lang="de-DE"/>
              <a:t> – sich zeigen lassen, was das Kind mit KI 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elbst informieren</a:t>
            </a:r>
            <a:r>
              <a:rPr lang="de-DE"/>
              <a:t> – Schulinfos/Links nutzen, kurz gegenprüfen, was Tools kö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Bedarf Unterstützung holen</a:t>
            </a:r>
            <a:r>
              <a:rPr lang="de-DE"/>
              <a:t> – Rücksprache mit Lehrkraft, Berater digitale Bildung (BdB), andere Erziehungsberechtig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meinsame Regeln festlegen &amp; sichtbar machen</a:t>
            </a:r>
            <a:r>
              <a:rPr lang="de-DE"/>
              <a:t> – was erlaubt ist, Kennzeichnung, Zeiten/Or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gleiten und vertrauen</a:t>
            </a:r>
            <a:r>
              <a:rPr lang="de-DE"/>
              <a:t> – Risiken benennen, Eigenleistung betonen, zu kreativer Nutzung ermut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Überleitung</a:t>
            </a:r>
            <a:r>
              <a:rPr lang="de-DE"/>
              <a:t>: Diese fünf Punkte schauen wir gleich nacheinander genauer an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 b="1"/>
              <a:t>Kernide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Neugier fördern und im Gespräch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nd als </a:t>
            </a:r>
            <a:r>
              <a:rPr lang="de-DE" sz="1100" b="1"/>
              <a:t>Experte</a:t>
            </a:r>
            <a:r>
              <a:rPr lang="de-DE" sz="1100"/>
              <a:t> zu Wort kommen lass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Hilfreiche Fr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ie habt ihr das in der Schule gema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elche KI-Anwendungen habt ihr ge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as habt ihr damit ausprobie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Wollen wir uns das gemeinsam noch mal anseh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arianten je Alt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Jünger:</a:t>
            </a:r>
            <a:r>
              <a:rPr lang="de-DE" sz="1100"/>
              <a:t> Zeig mir mal, wie das g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Älter:</a:t>
            </a:r>
            <a:r>
              <a:rPr lang="de-DE" sz="1100"/>
              <a:t> Welche Schritte hast du gemacht und warum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Wenn die Schule ein Tool nutz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urz vorstellen: </a:t>
            </a:r>
            <a:r>
              <a:rPr lang="de-DE" sz="1100" b="1"/>
              <a:t>Tool – wofür – welche Regel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Mini-Demo in 2 Minuten, dann Rückfragen sammel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5</a:t>
            </a:fld>
            <a:endParaRPr 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/>
              <a:t>KI steckt in vielen Alltagsfunktionen – oft unbewuss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raten lassen, </a:t>
            </a:r>
            <a:r>
              <a:rPr lang="de-DE" b="1"/>
              <a:t>wo</a:t>
            </a:r>
            <a:r>
              <a:rPr lang="de-DE"/>
              <a:t> ihre Kinder KI heute schon begeg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Beispiele knapp erklär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usik- &amp; Videoempfehlungen</a:t>
            </a:r>
            <a:r>
              <a:rPr lang="de-DE"/>
              <a:t> → Vorschläge nach Hör-/Sehverhalten, Abspieldauer, Überspri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cial-Media-Feeds</a:t>
            </a:r>
            <a:r>
              <a:rPr lang="de-DE"/>
              <a:t> → Sortierung nach Interaktionen und Verweildau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-Apps</a:t>
            </a:r>
            <a:r>
              <a:rPr lang="de-DE"/>
              <a:t> → Gegner-KI und </a:t>
            </a:r>
            <a:r>
              <a:rPr lang="de-DE" b="1"/>
              <a:t>dynamischer Schwierigkeitsgrad</a:t>
            </a:r>
            <a:r>
              <a:rPr lang="de-DE"/>
              <a:t> je Leist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Chats &amp; Übersetzungen</a:t>
            </a:r>
            <a:r>
              <a:rPr lang="de-DE"/>
              <a:t> → maschinelle Übersetzung, Chatbot als Gegenüb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</a:t>
            </a:r>
            <a:r>
              <a:rPr lang="de-DE"/>
              <a:t> → Sprache erkennen und in natürlich gesprochene Antworten umwa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amera &amp; Fotos</a:t>
            </a:r>
            <a:r>
              <a:rPr lang="de-DE"/>
              <a:t> → Szenenerkennung, HDR, Rauschreduktion, Portraitmodus, Objekte entf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uchfunktionen</a:t>
            </a:r>
            <a:r>
              <a:rPr lang="de-DE"/>
              <a:t> → Autovervollständigung, Suchvorschläge, teils kurze KI-Zusammenfassung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Z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Nutzungsdaten → persönliche Vorschläge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 zu Hause: </a:t>
            </a:r>
            <a:r>
              <a:rPr lang="de-DE" b="1"/>
              <a:t>neugierig nachfragen, gemeinsam einordne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8FF51B5E-5353-28FD-1323-35447FCB28C9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sind erste Ansprechperson → </a:t>
            </a:r>
            <a:r>
              <a:rPr lang="de-DE" sz="1100" b="1"/>
              <a:t>Grundwissen</a:t>
            </a:r>
            <a:r>
              <a:rPr lang="de-DE" sz="1100"/>
              <a:t> hilft beim Beglei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QR-Code führt zum </a:t>
            </a:r>
            <a:r>
              <a:rPr lang="de-DE" sz="1100" b="1"/>
              <a:t>KI-Campus Podcast „KI kapiert“</a:t>
            </a:r>
            <a:r>
              <a:rPr lang="de-DE" sz="1100"/>
              <a:t> als leichter Einstie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So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QR-Code scannen</a:t>
            </a:r>
            <a:r>
              <a:rPr lang="de-DE" sz="1100"/>
              <a:t> und kurz anhö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Bedarf auf </a:t>
            </a:r>
            <a:r>
              <a:rPr lang="de-DE" sz="1100" b="1"/>
              <a:t>KI-Campus</a:t>
            </a:r>
            <a:r>
              <a:rPr lang="de-DE" sz="1100"/>
              <a:t> weiterstöbern: Grundlagen, kurze Erklärvideos, Glossar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Verlässliche Quellen nen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I-Campus</a:t>
            </a:r>
            <a:r>
              <a:rPr lang="de-DE" sz="1100"/>
              <a:t>, </a:t>
            </a:r>
            <a:r>
              <a:rPr lang="de-DE" sz="1100" b="1"/>
              <a:t>klicksafe</a:t>
            </a:r>
            <a:r>
              <a:rPr lang="de-DE" sz="1100"/>
              <a:t>, Hinweise der </a:t>
            </a:r>
            <a:r>
              <a:rPr lang="de-DE" sz="1100" b="1"/>
              <a:t>Schule/StMUK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Mini-Check beim Informier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Datum</a:t>
            </a:r>
            <a:r>
              <a:rPr lang="de-DE" sz="1100"/>
              <a:t>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erausgeber</a:t>
            </a:r>
            <a:r>
              <a:rPr lang="de-DE" sz="1100"/>
              <a:t> und </a:t>
            </a:r>
            <a:r>
              <a:rPr lang="de-DE" sz="1100" b="1"/>
              <a:t>Quellen</a:t>
            </a:r>
            <a:r>
              <a:rPr lang="de-DE" sz="1100"/>
              <a:t> 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Praxisbezug Schule</a:t>
            </a:r>
            <a:r>
              <a:rPr lang="de-DE" sz="1100"/>
              <a:t> und </a:t>
            </a:r>
            <a:r>
              <a:rPr lang="de-DE" sz="1100" b="1"/>
              <a:t>Datenschutzhinweise</a:t>
            </a:r>
            <a:r>
              <a:rPr lang="de-DE" sz="1100"/>
              <a:t>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u Hause kurz </a:t>
            </a:r>
            <a:r>
              <a:rPr lang="de-DE" sz="1100" b="1"/>
              <a:t>gemeinsam reinhören</a:t>
            </a:r>
            <a:r>
              <a:rPr lang="de-DE" sz="1100"/>
              <a:t> und gemeinsam darüber </a:t>
            </a:r>
            <a:r>
              <a:rPr lang="de-DE" sz="1100" b="1"/>
              <a:t>re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7</a:t>
            </a:fld>
            <a:endParaRPr 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hilft, aber liefert </a:t>
            </a:r>
            <a:r>
              <a:rPr lang="de-DE" b="1"/>
              <a:t>nicht automatisch Wahrheit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ias</a:t>
            </a:r>
            <a:r>
              <a:rPr lang="de-DE"/>
              <a:t> möglich, weil aus einseitigen Daten gelernt wi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Haltung: </a:t>
            </a:r>
            <a:r>
              <a:rPr lang="de-DE" b="1"/>
              <a:t>prüfen statt Panik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So erklärt man Verzerr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inseitige Trainingsdaten → Klischees in Text oder Bil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Modelle klingen sicher, können </a:t>
            </a:r>
            <a:r>
              <a:rPr lang="de-DE" b="1"/>
              <a:t>erfinden</a:t>
            </a:r>
            <a:r>
              <a:rPr lang="de-DE"/>
              <a:t> oder Quellen falsch zuord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amilien-Check in 30 Seku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 öff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Datum prüf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weite Quelle</a:t>
            </a:r>
            <a:r>
              <a:rPr lang="de-DE"/>
              <a:t> su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 in </a:t>
            </a:r>
            <a:r>
              <a:rPr lang="de-DE" b="1"/>
              <a:t>eigenen Worten</a:t>
            </a:r>
            <a:r>
              <a:rPr lang="de-DE"/>
              <a:t> erklär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ragen an die KI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elche Quellen</a:t>
            </a:r>
            <a:r>
              <a:rPr lang="de-DE"/>
              <a:t> hast du genutzt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 sicher</a:t>
            </a:r>
            <a:r>
              <a:rPr lang="de-DE"/>
              <a:t> bist du und was spricht dagegen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Zeig mir Gegenargumente</a:t>
            </a:r>
            <a:r>
              <a:rPr lang="de-DE"/>
              <a:t> oder eine andere Sicht?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Tonlage für die Elt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„Wir nutzen KI gern – </a:t>
            </a:r>
            <a:r>
              <a:rPr lang="de-DE" b="1"/>
              <a:t>wenn wir prüfen</a:t>
            </a:r>
            <a:r>
              <a:rPr lang="de-DE"/>
              <a:t>“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</a:t>
            </a:r>
            <a:r>
              <a:rPr lang="de-DE" b="1"/>
              <a:t>sachliche Aufmerksamkeit</a:t>
            </a:r>
            <a:r>
              <a:rPr lang="de-DE"/>
              <a:t>, kein Misstrau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6AA95C0-A15D-9D8D-F723-62822BB30C26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externe Anlaufstellen für </a:t>
            </a:r>
            <a:r>
              <a:rPr lang="de-DE" sz="1100" b="1"/>
              <a:t>Information</a:t>
            </a:r>
            <a:r>
              <a:rPr lang="de-DE" sz="1100"/>
              <a:t> und </a:t>
            </a:r>
            <a:r>
              <a:rPr lang="de-DE" sz="1100" b="1"/>
              <a:t>Beratung</a:t>
            </a:r>
            <a:r>
              <a:rPr lang="de-DE" sz="1100"/>
              <a:t> zei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Info-Portale nennen: </a:t>
            </a:r>
            <a:r>
              <a:rPr lang="de-DE" sz="1100" b="1"/>
              <a:t>weitklick</a:t>
            </a:r>
            <a:r>
              <a:rPr lang="de-DE" sz="1100"/>
              <a:t>, </a:t>
            </a:r>
            <a:r>
              <a:rPr lang="de-DE" sz="1100" b="1"/>
              <a:t>schau-hin</a:t>
            </a:r>
            <a:r>
              <a:rPr lang="de-DE" sz="1100"/>
              <a:t>, </a:t>
            </a:r>
            <a:r>
              <a:rPr lang="de-DE" sz="1100" b="1"/>
              <a:t>fragzebra</a:t>
            </a:r>
            <a:r>
              <a:rPr lang="de-DE" sz="1100"/>
              <a:t>, </a:t>
            </a:r>
            <a:r>
              <a:rPr lang="de-DE" sz="1100" b="1"/>
              <a:t>klicksafe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ratung in Bayern: </a:t>
            </a:r>
            <a:r>
              <a:rPr lang="de-DE" sz="1100" b="1"/>
              <a:t>Beratung digitale Bildung</a:t>
            </a:r>
            <a:r>
              <a:rPr lang="de-DE" sz="1100"/>
              <a:t> beim StMUK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Schulansprechpartner angeben: </a:t>
            </a:r>
            <a:r>
              <a:rPr lang="de-DE" sz="1100" b="1"/>
              <a:t>Name, Mail, Telefon</a:t>
            </a: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zugänglich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kann um </a:t>
            </a:r>
            <a:r>
              <a:rPr lang="de-DE" sz="1100" b="1"/>
              <a:t>eigene schulische/kommunale Quellen</a:t>
            </a:r>
            <a:r>
              <a:rPr lang="de-DE" sz="1100"/>
              <a:t> erweitert werde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29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1100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Heute: </a:t>
            </a:r>
            <a:r>
              <a:rPr lang="de-DE" sz="1100" b="1"/>
              <a:t>Was ist KI?</a:t>
            </a:r>
            <a:r>
              <a:rPr lang="de-DE" sz="1100"/>
              <a:t> Wie funktioniert sie – und was heißt das </a:t>
            </a:r>
            <a:r>
              <a:rPr lang="de-DE" sz="1100" b="1"/>
              <a:t>für Schule &amp; Kinder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I = Systeme, die </a:t>
            </a:r>
            <a:r>
              <a:rPr lang="de-DE" sz="1100" b="1"/>
              <a:t>aus Daten Muster lernen</a:t>
            </a:r>
            <a:r>
              <a:rPr lang="de-DE" sz="1100"/>
              <a:t> (keine „Magie“, kein Bewusstsein)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Ablauf mit Vide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Kurzer Clip</a:t>
            </a:r>
            <a:r>
              <a:rPr lang="de-DE" sz="1100"/>
              <a:t> „Was ist eigentlich KI?“ (vom </a:t>
            </a:r>
            <a:r>
              <a:rPr lang="de-DE" sz="1100" b="1"/>
              <a:t>KI-Campus</a:t>
            </a:r>
            <a:r>
              <a:rPr lang="de-DE" sz="1100"/>
              <a:t>) abspie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: </a:t>
            </a:r>
            <a:r>
              <a:rPr lang="de-DE" sz="1100" b="1"/>
              <a:t>QR-Code/Link</a:t>
            </a:r>
            <a:r>
              <a:rPr lang="de-DE" sz="1100"/>
              <a:t> nutzen; alternativ </a:t>
            </a:r>
            <a:r>
              <a:rPr lang="de-DE" sz="1100" b="1"/>
              <a:t>ohne Ton kurz zusammenfassen</a:t>
            </a:r>
            <a:endParaRPr lang="de-DE" sz="1100"/>
          </a:p>
          <a:p>
            <a:pPr marL="0" indent="0">
              <a:buFont typeface="Arial"/>
              <a:buNone/>
              <a:defRPr/>
            </a:pPr>
            <a:endParaRPr lang="de-DE" sz="1100" b="1"/>
          </a:p>
          <a:p>
            <a:pPr marL="0" indent="0">
              <a:buFont typeface="Arial"/>
              <a:buNone/>
              <a:defRPr/>
            </a:pPr>
            <a:r>
              <a:rPr lang="de-DE" sz="1100" b="1"/>
              <a:t>Gesprächsimpulse (30 Sek.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Handzeichen:</a:t>
            </a:r>
            <a:r>
              <a:rPr lang="de-DE" sz="1100"/>
              <a:t> Wer nutzt </a:t>
            </a:r>
            <a:r>
              <a:rPr lang="de-DE" sz="1100" b="1"/>
              <a:t>Sprachassistent/Übersetzer/Empfehlungen</a:t>
            </a:r>
            <a:r>
              <a:rPr lang="de-DE" sz="1100"/>
              <a:t>?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eitfrage: </a:t>
            </a:r>
            <a:r>
              <a:rPr lang="de-DE" sz="1100" b="1"/>
              <a:t>Wo</a:t>
            </a:r>
            <a:r>
              <a:rPr lang="de-DE" sz="1100"/>
              <a:t> begegnet Ihnen KI im Alltag Ihres Kindes?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sz="1100"/>
              <a:t>Ziel: Eltern kennen verlässliche </a:t>
            </a:r>
            <a:r>
              <a:rPr lang="de-DE" sz="1100" b="1"/>
              <a:t>Beratungsstell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100"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chule des Kindes</a:t>
            </a:r>
            <a:r>
              <a:rPr lang="de-DE" sz="1100"/>
              <a:t> als erste Anlaufstelle – Tel/Mail einbl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slehrkraft</a:t>
            </a:r>
            <a:r>
              <a:rPr lang="de-DE" sz="1100"/>
              <a:t> nennen – Name einse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Beratung digitale Bildung</a:t>
            </a:r>
            <a:r>
              <a:rPr lang="de-DE" sz="1100"/>
              <a:t> im mebis Magazin – zuständigen </a:t>
            </a:r>
            <a:r>
              <a:rPr lang="de-DE" sz="1100" b="1"/>
              <a:t>BdB</a:t>
            </a:r>
            <a:r>
              <a:rPr lang="de-DE" sz="1100"/>
              <a:t> fi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Staatliche Schulberatung in Bayern</a:t>
            </a:r>
            <a:r>
              <a:rPr lang="de-DE" sz="1100"/>
              <a:t> erwäh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Optional 1–2 Seiten kurz </a:t>
            </a:r>
            <a:r>
              <a:rPr lang="de-DE" sz="1100" b="1"/>
              <a:t>live zeigen</a:t>
            </a:r>
            <a:r>
              <a:rPr lang="de-DE" sz="1100"/>
              <a:t> oder per </a:t>
            </a:r>
            <a:r>
              <a:rPr lang="de-DE" sz="1100" b="1"/>
              <a:t>QR-Code</a:t>
            </a:r>
            <a:r>
              <a:rPr lang="de-DE" sz="1100"/>
              <a:t> teil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Liste bei Bedarf um </a:t>
            </a:r>
            <a:r>
              <a:rPr lang="de-DE" sz="1100" b="1"/>
              <a:t>eigene schulische/kommunale Angebote</a:t>
            </a:r>
            <a:r>
              <a:rPr lang="de-DE" sz="1100"/>
              <a:t> erweiter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0</a:t>
            </a:fld>
            <a:endParaRPr lang="de-DE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Ziel der Foli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Schulregeln zu KI </a:t>
            </a:r>
            <a:r>
              <a:rPr lang="de-DE" b="1"/>
              <a:t>gemeinsam tragen</a:t>
            </a:r>
            <a:r>
              <a:rPr lang="de-DE"/>
              <a:t> und </a:t>
            </a:r>
            <a:r>
              <a:rPr lang="de-DE" b="1"/>
              <a:t>sichtbar mach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ltern zeigen, wie sie das zu Hause </a:t>
            </a:r>
            <a:r>
              <a:rPr lang="de-DE" b="1"/>
              <a:t>übernehmen</a:t>
            </a:r>
            <a:r>
              <a:rPr lang="de-DE"/>
              <a:t> könn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r>
              <a:rPr lang="de-DE" b="1"/>
              <a:t>Kernregeln kurz bünd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</a:t>
            </a:r>
            <a:r>
              <a:rPr lang="de-DE" b="1"/>
              <a:t>nur bei Bedarf</a:t>
            </a:r>
            <a:r>
              <a:rPr lang="de-DE"/>
              <a:t> und </a:t>
            </a:r>
            <a:r>
              <a:rPr lang="de-DE" b="1"/>
              <a:t>als Unterstüt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Nur von der Lehrkraft freigegebene</a:t>
            </a:r>
            <a:r>
              <a:rPr lang="de-DE"/>
              <a:t> Tools nut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</a:t>
            </a:r>
            <a:r>
              <a:rPr lang="de-DE" b="1"/>
              <a:t>kritisch prüfen</a:t>
            </a:r>
            <a:r>
              <a:rPr lang="de-DE"/>
              <a:t> – Sachbücher, Recherche, Lexika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persönlichen Daten</a:t>
            </a:r>
            <a:r>
              <a:rPr lang="de-DE"/>
              <a:t> einge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-Hilfe </a:t>
            </a:r>
            <a:r>
              <a:rPr lang="de-DE" b="1"/>
              <a:t>kennzeichn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ei Problemen red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Regelverstoß → kein KI-Einsatz</a:t>
            </a:r>
            <a:endParaRPr lang="de-DE"/>
          </a:p>
          <a:p>
            <a:pPr marL="0" indent="0">
              <a:buFont typeface="Arial"/>
              <a:buNone/>
              <a:defRPr/>
            </a:pPr>
            <a:endParaRPr lang="de-D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4DCE49A-E94B-78E7-5F8B-A9BC471F3895}" type="slidenum">
              <a:rPr/>
              <a:t>31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Ziel: Schulregeln in </a:t>
            </a:r>
            <a:r>
              <a:rPr lang="de-DE" sz="1100" b="1"/>
              <a:t>Hausregeln</a:t>
            </a:r>
            <a:r>
              <a:rPr lang="de-DE" sz="1100"/>
              <a:t> übertragen und sichtbar ma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Regeln der Schule</a:t>
            </a:r>
            <a:r>
              <a:rPr lang="de-DE" sz="1100"/>
              <a:t> zu Hause anwend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Gemeinsam formulieren</a:t>
            </a:r>
            <a:r>
              <a:rPr lang="de-DE" sz="1100"/>
              <a:t> – bei Bedarf gleich </a:t>
            </a:r>
            <a:r>
              <a:rPr lang="de-DE" sz="1100" b="1"/>
              <a:t>Konsequenzen</a:t>
            </a:r>
            <a:r>
              <a:rPr lang="de-DE" sz="1100"/>
              <a:t> festle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Regeln </a:t>
            </a:r>
            <a:r>
              <a:rPr lang="de-DE" sz="1100" b="1"/>
              <a:t>sichtbar aufhängen</a:t>
            </a:r>
            <a:r>
              <a:rPr lang="de-DE" sz="1100"/>
              <a:t> am Lernplatz/Familienboard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Vorbild sein</a:t>
            </a:r>
            <a:r>
              <a:rPr lang="de-DE" sz="1100"/>
              <a:t>: Eltern und Kinder halten die Regeln 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spiele aus der Grafik: </a:t>
            </a:r>
            <a:r>
              <a:rPr lang="de-DE" sz="1100" b="1"/>
              <a:t>Mikrofon aus</a:t>
            </a:r>
            <a:r>
              <a:rPr lang="de-DE" sz="1100"/>
              <a:t>, </a:t>
            </a:r>
            <a:r>
              <a:rPr lang="de-DE" sz="1100" b="1"/>
              <a:t>Quellen vergleichen</a:t>
            </a:r>
            <a:r>
              <a:rPr lang="de-DE" sz="1100"/>
              <a:t>, </a:t>
            </a:r>
            <a:r>
              <a:rPr lang="de-DE" sz="1100" b="1"/>
              <a:t>Autoplay aus</a:t>
            </a:r>
            <a:r>
              <a:rPr lang="de-DE" sz="1100"/>
              <a:t>, </a:t>
            </a:r>
            <a:r>
              <a:rPr lang="de-DE" sz="1100" b="1"/>
              <a:t>über Bilder sprechen</a:t>
            </a:r>
            <a:r>
              <a:rPr lang="de-DE" sz="1100"/>
              <a:t>, </a:t>
            </a:r>
            <a:r>
              <a:rPr lang="de-DE" sz="1100" b="1"/>
              <a:t>Profil privat</a:t>
            </a:r>
            <a:r>
              <a:rPr lang="de-DE" sz="1100"/>
              <a:t>, </a:t>
            </a:r>
            <a:r>
              <a:rPr lang="de-DE" sz="1100" b="1"/>
              <a:t>Spielezeit planen</a:t>
            </a:r>
            <a:endParaRPr lang="de-DE" sz="1100" b="1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>
                <a:latin typeface="Arial"/>
                <a:cs typeface="Arial"/>
              </a:rPr>
              <a:t>Von Zeit zu Zeit aktualisieren!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2</a:t>
            </a:fld>
            <a:endParaRPr lang="de-DE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1100"/>
              <a:t>Positiven Abschluss setzen: Chancen sehen, ruhig blei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Eltern als </a:t>
            </a:r>
            <a:r>
              <a:rPr lang="de-DE" sz="1100" b="1"/>
              <a:t>Coach</a:t>
            </a:r>
            <a:r>
              <a:rPr lang="de-DE" sz="1100"/>
              <a:t>: begleiten, nicht abneh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igenleistung</a:t>
            </a:r>
            <a:r>
              <a:rPr lang="de-DE" sz="1100"/>
              <a:t> bleibt Maßstab – KI nur als Hilf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Im Dialog bleiben</a:t>
            </a:r>
            <a:r>
              <a:rPr lang="de-DE" sz="1100"/>
              <a:t>: kurz nachfragen,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Verantwortung schrittweise </a:t>
            </a:r>
            <a:r>
              <a:rPr lang="de-DE" sz="1100" b="1"/>
              <a:t>übergeben</a:t>
            </a:r>
            <a:r>
              <a:rPr lang="de-DE" sz="1100"/>
              <a:t> – Kind arbeitet möglichst selbstständi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Kleine Routine zu Hause: Plan → eigener Versuch → KI als Coach → Quellenche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 b="1"/>
              <a:t>Erfolge würdigen</a:t>
            </a:r>
            <a:r>
              <a:rPr lang="de-DE" sz="1100"/>
              <a:t>, gute Beispiele sammel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sz="1100"/>
              <a:t>Bei Unsicherheit kurz Rückkopplung mit der </a:t>
            </a:r>
            <a:r>
              <a:rPr lang="de-DE" sz="1100" b="1"/>
              <a:t>Schule</a:t>
            </a:r>
            <a:endParaRPr lang="de-DE" sz="11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3</a:t>
            </a:fld>
            <a:endParaRPr lang="de-DE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4AC3F3-92E0-B354-E8F4-AAE046D193BA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0" i="0" u="none" strike="noStrike">
                <a:solidFill>
                  <a:srgbClr val="000000"/>
                </a:solidFill>
                <a:latin typeface="Helvetica"/>
              </a:rPr>
              <a:t>Bitte bei Verwendung der Grafiken folgende Quelle angeben: BLM Stiftung Medienpädagogik Bayern, CC-BY-NC-4.0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35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Definitio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I = Maschinen imitieren menschliche Fähigkeiten</a:t>
            </a:r>
            <a:r>
              <a:rPr lang="de-DE"/>
              <a:t> (Denken, Lernen, Planen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 Bewusstsein</a:t>
            </a:r>
            <a:r>
              <a:rPr lang="de-DE"/>
              <a:t> – es geht um </a:t>
            </a:r>
            <a:r>
              <a:rPr lang="de-DE" b="1"/>
              <a:t>Nachahmung</a:t>
            </a:r>
            <a:r>
              <a:rPr lang="de-DE"/>
              <a:t> von Leistungen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unktionsweis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Algorithmen + viele Daten → Mustererkenn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Modell berechnet </a:t>
            </a:r>
            <a:r>
              <a:rPr lang="de-DE" b="1"/>
              <a:t>Wahrscheinlichkeiten</a:t>
            </a:r>
            <a:r>
              <a:rPr lang="de-DE"/>
              <a:t> („was passt am ehesten?“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hr &amp; passendes Training →</a:t>
            </a:r>
            <a:r>
              <a:rPr lang="de-DE"/>
              <a:t> Ergebnisse werden </a:t>
            </a:r>
            <a:r>
              <a:rPr lang="de-DE" b="1"/>
              <a:t>genauer/leistungsfähiger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Qualität nur so gut wie die </a:t>
            </a:r>
            <a:r>
              <a:rPr lang="de-DE" b="1"/>
              <a:t>Da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ichts Neues:</a:t>
            </a:r>
            <a:r>
              <a:rPr lang="de-DE" sz="1200">
                <a:latin typeface="Aptos"/>
                <a:cs typeface="Arial"/>
              </a:rPr>
              <a:t> KI-Forschung seit den </a:t>
            </a:r>
            <a:r>
              <a:rPr lang="de-DE" sz="1200" b="1">
                <a:latin typeface="Aptos"/>
                <a:cs typeface="Arial"/>
              </a:rPr>
              <a:t>1950ern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5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Turing-Test </a:t>
            </a:r>
            <a:r>
              <a:rPr lang="de-DE" sz="1200" b="0">
                <a:latin typeface="Aptos"/>
                <a:cs typeface="Arial"/>
              </a:rPr>
              <a:t>(zur Unterscheidung von Mensch und Computer)</a:t>
            </a:r>
            <a:r>
              <a:rPr lang="de-DE" sz="1200">
                <a:latin typeface="Aptos"/>
                <a:cs typeface="Arial"/>
              </a:rPr>
              <a:t>; erste Programme automatisieren einfache Aufgaben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1960er–80er:</a:t>
            </a:r>
            <a:r>
              <a:rPr lang="de-DE" sz="1200">
                <a:latin typeface="Aptos"/>
                <a:cs typeface="Arial"/>
              </a:rPr>
              <a:t> komplexere Systeme (</a:t>
            </a:r>
            <a:r>
              <a:rPr lang="de-DE" sz="1200" b="1">
                <a:latin typeface="Aptos"/>
                <a:cs typeface="Arial"/>
              </a:rPr>
              <a:t>Schach</a:t>
            </a:r>
            <a:r>
              <a:rPr lang="de-DE" sz="1200">
                <a:latin typeface="Aptos"/>
                <a:cs typeface="Arial"/>
              </a:rPr>
              <a:t>, Logik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2000er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Big Data + Rechenleistung</a:t>
            </a:r>
            <a:r>
              <a:rPr lang="de-DE" sz="1200">
                <a:latin typeface="Aptos"/>
                <a:cs typeface="Arial"/>
              </a:rPr>
              <a:t> → maschinelles Lernen wird praxistauglich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Seit 2010:</a:t>
            </a:r>
            <a:r>
              <a:rPr lang="de-DE" sz="1200">
                <a:latin typeface="Aptos"/>
                <a:cs typeface="Arial"/>
              </a:rPr>
              <a:t> </a:t>
            </a:r>
            <a:r>
              <a:rPr lang="de-DE" sz="1200" b="1">
                <a:latin typeface="Aptos"/>
                <a:cs typeface="Arial"/>
              </a:rPr>
              <a:t>Deep Learning</a:t>
            </a:r>
            <a:r>
              <a:rPr lang="de-DE" sz="1200">
                <a:latin typeface="Aptos"/>
                <a:cs typeface="Arial"/>
              </a:rPr>
              <a:t>; große Sprachmodelle (z. B. ChatGPT).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Neuheit:</a:t>
            </a:r>
            <a:r>
              <a:rPr lang="de-DE" sz="1200">
                <a:latin typeface="Aptos"/>
                <a:cs typeface="Arial"/>
              </a:rPr>
              <a:t> KI kann </a:t>
            </a:r>
            <a:r>
              <a:rPr lang="de-DE" sz="1200" b="1">
                <a:latin typeface="Aptos"/>
                <a:cs typeface="Arial"/>
              </a:rPr>
              <a:t>Inhalte generieren</a:t>
            </a:r>
            <a:r>
              <a:rPr lang="de-DE" sz="1200">
                <a:latin typeface="Aptos"/>
                <a:cs typeface="Arial"/>
              </a:rPr>
              <a:t> (Text/Bild/Audio) – nicht nur erkennen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 sz="1200" b="1">
                <a:latin typeface="Aptos"/>
                <a:cs typeface="Arial"/>
              </a:rPr>
              <a:t>Brücke zur Schule:</a:t>
            </a:r>
            <a:r>
              <a:rPr lang="de-DE" sz="1200">
                <a:latin typeface="Aptos"/>
                <a:cs typeface="Arial"/>
              </a:rPr>
              <a:t> neue </a:t>
            </a:r>
            <a:r>
              <a:rPr lang="de-DE" sz="1200" b="1">
                <a:latin typeface="Aptos"/>
                <a:cs typeface="Arial"/>
              </a:rPr>
              <a:t>Lern- &amp; Feedback-Möglichkeiten</a:t>
            </a:r>
            <a:r>
              <a:rPr lang="de-DE" sz="1200">
                <a:latin typeface="Aptos"/>
                <a:cs typeface="Arial"/>
              </a:rPr>
              <a:t>; </a:t>
            </a:r>
            <a:r>
              <a:rPr lang="de-DE" sz="1200" b="1">
                <a:latin typeface="Aptos"/>
                <a:cs typeface="Arial"/>
              </a:rPr>
              <a:t>Bewertung bleibt menschlich</a:t>
            </a:r>
            <a:r>
              <a:rPr lang="de-DE" sz="1200">
                <a:latin typeface="Aptos"/>
                <a:cs typeface="Arial"/>
              </a:rPr>
              <a:t>.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b="1"/>
              <a:t>Ziel:</a:t>
            </a:r>
            <a:r>
              <a:rPr lang="de-DE"/>
              <a:t> Eltern verstehen, worüber Kinder sprechen (z. B. </a:t>
            </a:r>
            <a:r>
              <a:rPr lang="de-DE" b="1"/>
              <a:t>ChatGPT</a:t>
            </a:r>
            <a:r>
              <a:rPr lang="de-DE"/>
              <a:t>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LM:</a:t>
            </a:r>
            <a:r>
              <a:rPr lang="de-DE"/>
              <a:t> große </a:t>
            </a:r>
            <a:r>
              <a:rPr lang="de-DE" b="1"/>
              <a:t>Sprachmodelle</a:t>
            </a:r>
            <a:r>
              <a:rPr lang="de-DE"/>
              <a:t>; auf vielen Texten trainiert; sagen </a:t>
            </a:r>
            <a:r>
              <a:rPr lang="de-DE" b="1"/>
              <a:t>wahrscheinlich nächstes Wort</a:t>
            </a:r>
            <a:r>
              <a:rPr lang="de-DE"/>
              <a:t> voraus (z. B. ChatGPT, Gemini, Claude).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Generative KI:</a:t>
            </a:r>
            <a:r>
              <a:rPr lang="de-DE"/>
              <a:t> </a:t>
            </a:r>
            <a:r>
              <a:rPr lang="de-DE" b="1"/>
              <a:t>erstellt Neues</a:t>
            </a:r>
            <a:r>
              <a:rPr lang="de-DE"/>
              <a:t> aus Vorgaben (Text, Bild, Audio, Video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aschinelles Lernen:</a:t>
            </a:r>
            <a:r>
              <a:rPr lang="de-DE"/>
              <a:t> aus </a:t>
            </a:r>
            <a:r>
              <a:rPr lang="de-DE" b="1"/>
              <a:t>Daten Muster lernen</a:t>
            </a:r>
            <a:r>
              <a:rPr lang="de-DE"/>
              <a:t> → Modell wird durch </a:t>
            </a:r>
            <a:r>
              <a:rPr lang="de-DE" b="1"/>
              <a:t>Training</a:t>
            </a:r>
            <a:r>
              <a:rPr lang="de-DE"/>
              <a:t> besser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erksatz:</a:t>
            </a:r>
            <a:r>
              <a:rPr lang="de-DE"/>
              <a:t> </a:t>
            </a:r>
            <a:r>
              <a:rPr lang="de-DE" i="1"/>
              <a:t>ML = Fundament</a:t>
            </a:r>
            <a:r>
              <a:rPr lang="de-DE"/>
              <a:t>, </a:t>
            </a:r>
            <a:r>
              <a:rPr lang="de-DE" i="1"/>
              <a:t>LLM = Sprachspezialist</a:t>
            </a:r>
            <a:r>
              <a:rPr lang="de-DE"/>
              <a:t>, </a:t>
            </a:r>
            <a:r>
              <a:rPr lang="de-DE" i="1"/>
              <a:t>generative KI = Inhalte erzeug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Hinweis:</a:t>
            </a:r>
            <a:r>
              <a:rPr lang="de-DE"/>
              <a:t> Ergebnisse </a:t>
            </a:r>
            <a:r>
              <a:rPr lang="de-DE" b="1"/>
              <a:t>prüfen</a:t>
            </a:r>
            <a:r>
              <a:rPr lang="de-DE"/>
              <a:t> (Fehler/Halluzinationen möglich)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b="1"/>
              <a:t>Kernbotschaf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nder begegnen KI täglich in Medien, Spielen, Suche und beim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Ziel: Chancen nutzen, Nutzung bewusst beglei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o begegnet sie den Kinder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oziale Medien:</a:t>
            </a:r>
            <a:r>
              <a:rPr lang="de-DE"/>
              <a:t> Chatbots, personalisierte Feeds und Empfehl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iele:</a:t>
            </a:r>
            <a:r>
              <a:rPr lang="de-DE"/>
              <a:t> Gegner-KI, dynamischer Schwierigkeitsgrad, personalisierte Quest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Sprachassistenten &amp; Suche:</a:t>
            </a:r>
            <a:r>
              <a:rPr lang="de-DE"/>
              <a:t> Siri, Alexa, Gemini; teils KI-Antworten als schneller Einstie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Lern-Apps:</a:t>
            </a:r>
            <a:r>
              <a:rPr lang="de-DE"/>
              <a:t> Anton, Duolingo, Scoyo nutzen KI zur Anpass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Positive Effekte von Lern-Apps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Passende Aufgaben</a:t>
            </a:r>
            <a:r>
              <a:rPr lang="de-DE"/>
              <a:t> je nach Lernstand und Temp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Unmittelbares Feedback</a:t>
            </a:r>
            <a:r>
              <a:rPr lang="de-DE"/>
              <a:t> und klare nächste Schritt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Motivation</a:t>
            </a:r>
            <a:r>
              <a:rPr lang="de-DE"/>
              <a:t> durch kleine Erfolge, Gamification, individuelle Ziel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Barriereärmerer Zugang</a:t>
            </a:r>
            <a:r>
              <a:rPr lang="de-DE"/>
              <a:t> z. B. Vorlesen, einfache Sprache, Übersetzun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Transparenz für Lehrkräfte</a:t>
            </a:r>
            <a:r>
              <a:rPr lang="de-DE"/>
              <a:t> zu Fortschritt und Übungsschwerpunk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Leitplan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und Datenschutzeinstellungen gemeinsam prüf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nicht ungeprüft übernehmen, immer gegencheck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Bei Fragen an Schule wenden – wir begleiten die Nutzung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Vorabinfo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Richtig eingesetzt bereichert KI Unterricht, schafft Zeit für pädagogische Kern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itplanke: Lehrkraft steuert, prüft, bewerte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Individualisiertes und differenziertes Lern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-Anwendungen passen Inhalte, Schwierigkeit und Tempo an den Lernstand an und geben gezieltes Hinweis-Feedback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Aufgaben in 3 Niveaus, vereinfachte Lesetexte, adaptive Matheübungen, Zusatzhilfen für DaZ/LRS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Unterstützung bei Routine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Wiederkehrende Tätigkeiten werden automatisiert, damit mehr Raum für Interaktion entste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Entwürfe für Arbeitsblätter und Elternbriefe, Fragenpools und Mini-Quizzes, Rechtschreib-/Stilhinweise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Förderung digitaler Kompetenz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Bewusster KI-Einsatz stärkt Medienkompetenz, kritisches Denken und Verantwortungsbewusstsei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Quellen prüfen und KI-Antworten verifizieren, gute Prompts schreiben, Bias erkennen, Urheberrecht und Datenschutz beachten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Zugang zu neuen Lernform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rklärung:</a:t>
            </a:r>
            <a:r>
              <a:rPr lang="de-DE"/>
              <a:t> KI eröffnet kreative, multimodale Projekte und sichere Übungsräume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Wie:</a:t>
            </a:r>
            <a:r>
              <a:rPr lang="de-DE"/>
              <a:t> Podcast oder Hörspiel mit KI als Ideen- und Strukturhilfe, Bild-Text-Storytelling, Fremdsprachen-Chatbots für Rollenspiele, Debatten-Simulationen in D/GPG/SoWi</a:t>
            </a:r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Wichtig: Lehrkraft führt – KI unterstütz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indent="0">
              <a:buFont typeface="Arial"/>
              <a:buNone/>
              <a:defRPr/>
            </a:pPr>
            <a:r>
              <a:rPr lang="de-DE" b="1"/>
              <a:t>Kernbotschaf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Chancen nutzen, Risiken aktiv manag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Drei Felder: Datenschutz, Verlässlichkeit, Übernutzung/Täuschung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Datenschutz &amp; Sicherhei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verarbeitet oft </a:t>
            </a:r>
            <a:r>
              <a:rPr lang="de-DE" b="1"/>
              <a:t>personenbezogene Daten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Nur </a:t>
            </a:r>
            <a:r>
              <a:rPr lang="de-DE" b="1"/>
              <a:t>zugelassene, DSGVO-konforme</a:t>
            </a:r>
            <a:r>
              <a:rPr lang="de-DE"/>
              <a:t> Tools; Rahmen: </a:t>
            </a:r>
            <a:r>
              <a:rPr lang="de-DE" b="1"/>
              <a:t>EU-KI-VO</a:t>
            </a:r>
            <a:r>
              <a:rPr lang="de-DE"/>
              <a:t>, Schulrecht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Keine Schülerdaten</a:t>
            </a:r>
            <a:r>
              <a:rPr lang="de-DE"/>
              <a:t> in offene Systeme, </a:t>
            </a:r>
            <a:r>
              <a:rPr lang="de-DE" b="1"/>
              <a:t>genaue Prüfung</a:t>
            </a:r>
            <a:r>
              <a:rPr lang="de-DE"/>
              <a:t> vor Einsatz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Verlässlichkeit von Inhalt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Inhalte können </a:t>
            </a:r>
            <a:r>
              <a:rPr lang="de-DE" b="1"/>
              <a:t>fehlerhaft</a:t>
            </a:r>
            <a:r>
              <a:rPr lang="de-DE"/>
              <a:t> oder </a:t>
            </a:r>
            <a:r>
              <a:rPr lang="de-DE" b="1"/>
              <a:t>verzerrt</a:t>
            </a:r>
            <a:r>
              <a:rPr lang="de-DE"/>
              <a:t> sein (</a:t>
            </a:r>
            <a:r>
              <a:rPr lang="de-DE" b="1"/>
              <a:t>Bias</a:t>
            </a:r>
            <a:r>
              <a:rPr lang="de-DE"/>
              <a:t>)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Quellen-Check</a:t>
            </a:r>
            <a:r>
              <a:rPr lang="de-DE"/>
              <a:t>: Quelle öffnen, Datum prüfen, mit Fachwissen vergleich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Ergebnisse als </a:t>
            </a:r>
            <a:r>
              <a:rPr lang="de-DE" b="1"/>
              <a:t>Entwurf</a:t>
            </a:r>
            <a:r>
              <a:rPr lang="de-DE"/>
              <a:t> nutzen, nicht als Endprodukt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b="1"/>
          </a:p>
          <a:p>
            <a:pPr marL="0" indent="0">
              <a:buFont typeface="Arial"/>
              <a:buNone/>
              <a:defRPr/>
            </a:pPr>
            <a:r>
              <a:rPr lang="de-DE" b="1"/>
              <a:t>Gefahr der Übernutzung oder Täuschung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KI ist </a:t>
            </a:r>
            <a:r>
              <a:rPr lang="de-DE" b="1"/>
              <a:t>Hilfe, keine Abkürzung</a:t>
            </a:r>
            <a:endParaRPr lang="de-DE"/>
          </a:p>
          <a:p>
            <a:pPr marL="171450" indent="-171450">
              <a:buFont typeface="Arial"/>
              <a:buChar char="•"/>
              <a:defRPr/>
            </a:pPr>
            <a:r>
              <a:rPr lang="de-DE" b="1"/>
              <a:t>Eigenleistung bleibt wichtig</a:t>
            </a:r>
            <a:r>
              <a:rPr lang="de-DE"/>
              <a:t>: KI-Nutzung kennzeichnen, praxisorientierte Aufgaben</a:t>
            </a:r>
            <a:endParaRPr/>
          </a:p>
          <a:p>
            <a:pPr marL="171450" indent="-171450">
              <a:buFont typeface="Arial"/>
              <a:buChar char="•"/>
              <a:defRPr/>
            </a:pPr>
            <a:r>
              <a:rPr lang="de-DE"/>
              <a:t>Lernfortschritt sichern durch </a:t>
            </a:r>
            <a:r>
              <a:rPr lang="de-DE" b="1"/>
              <a:t>mündliche Checks</a:t>
            </a:r>
            <a:r>
              <a:rPr lang="de-DE"/>
              <a:t> und Prozessdokumentation</a:t>
            </a:r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008EC0F0-6FEC-4115-A888-5C6E15144039}" type="slidenum">
              <a:rPr lang="de-DE"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ver 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1" y="5124852"/>
            <a:ext cx="5545135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, consetetur </a:t>
            </a:r>
            <a:br>
              <a:rPr lang="de-DE"/>
            </a:br>
            <a:r>
              <a:rPr lang="de-DE"/>
              <a:t>sadipscing elitr, sed nonumy dolor </a:t>
            </a:r>
            <a:br>
              <a:rPr lang="de-DE"/>
            </a:br>
            <a:r>
              <a:rPr lang="de-DE"/>
              <a:t>eirmod tempor invidunt ut labore. 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2" y="902151"/>
            <a:ext cx="673288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4800" b="1" i="0" cap="all" spc="100">
                <a:solidFill>
                  <a:srgbClr val="FFFCDC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 des Themenbereichs</a:t>
            </a:r>
            <a:endParaRPr/>
          </a:p>
        </p:txBody>
      </p:sp>
      <p:sp>
        <p:nvSpPr>
          <p:cNvPr id="2" name="Textfeld 1"/>
          <p:cNvSpPr txBox="1"/>
          <p:nvPr userDrawn="1"/>
        </p:nvSpPr>
        <p:spPr bwMode="auto">
          <a:xfrm>
            <a:off x="7793182" y="11222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1" y="4259555"/>
            <a:ext cx="6732885" cy="437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ERGÄNZUNG ODER UNTERÜBERSCHRIFT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Textplatzhalter 10"/>
          <p:cNvSpPr>
            <a:spLocks noGrp="1"/>
          </p:cNvSpPr>
          <p:nvPr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60513" y="1509553"/>
            <a:ext cx="6203969" cy="476506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036" y="515519"/>
            <a:ext cx="67709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6" name="Textplatzhalter 19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293" y="778589"/>
            <a:ext cx="67709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5786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546629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1" name="Freihandform: Form 20"/>
          <p:cNvSpPr/>
          <p:nvPr/>
        </p:nvSpPr>
        <p:spPr bwMode="auto">
          <a:xfrm>
            <a:off x="6127731" y="5994990"/>
            <a:ext cx="585985" cy="863010"/>
          </a:xfrm>
          <a:custGeom>
            <a:avLst/>
            <a:gdLst>
              <a:gd name="connsiteX0" fmla="*/ 0 w 585985"/>
              <a:gd name="connsiteY0" fmla="*/ 0 h 863010"/>
              <a:gd name="connsiteX1" fmla="*/ 430018 w 585985"/>
              <a:gd name="connsiteY1" fmla="*/ 0 h 863010"/>
              <a:gd name="connsiteX2" fmla="*/ 436292 w 585985"/>
              <a:gd name="connsiteY2" fmla="*/ 0 h 863010"/>
              <a:gd name="connsiteX3" fmla="*/ 445615 w 585985"/>
              <a:gd name="connsiteY3" fmla="*/ 0 h 863010"/>
              <a:gd name="connsiteX4" fmla="*/ 451889 w 585985"/>
              <a:gd name="connsiteY4" fmla="*/ 0 h 863010"/>
              <a:gd name="connsiteX5" fmla="*/ 461211 w 585985"/>
              <a:gd name="connsiteY5" fmla="*/ 3168 h 863010"/>
              <a:gd name="connsiteX6" fmla="*/ 467486 w 585985"/>
              <a:gd name="connsiteY6" fmla="*/ 3168 h 863010"/>
              <a:gd name="connsiteX7" fmla="*/ 476808 w 585985"/>
              <a:gd name="connsiteY7" fmla="*/ 6275 h 863010"/>
              <a:gd name="connsiteX8" fmla="*/ 483083 w 585985"/>
              <a:gd name="connsiteY8" fmla="*/ 9382 h 863010"/>
              <a:gd name="connsiteX9" fmla="*/ 489297 w 585985"/>
              <a:gd name="connsiteY9" fmla="*/ 9382 h 863010"/>
              <a:gd name="connsiteX10" fmla="*/ 498679 w 585985"/>
              <a:gd name="connsiteY10" fmla="*/ 12490 h 863010"/>
              <a:gd name="connsiteX11" fmla="*/ 504894 w 585985"/>
              <a:gd name="connsiteY11" fmla="*/ 15597 h 863010"/>
              <a:gd name="connsiteX12" fmla="*/ 511109 w 585985"/>
              <a:gd name="connsiteY12" fmla="*/ 21871 h 863010"/>
              <a:gd name="connsiteX13" fmla="*/ 517384 w 585985"/>
              <a:gd name="connsiteY13" fmla="*/ 24979 h 863010"/>
              <a:gd name="connsiteX14" fmla="*/ 523598 w 585985"/>
              <a:gd name="connsiteY14" fmla="*/ 28087 h 863010"/>
              <a:gd name="connsiteX15" fmla="*/ 529873 w 585985"/>
              <a:gd name="connsiteY15" fmla="*/ 31194 h 863010"/>
              <a:gd name="connsiteX16" fmla="*/ 536087 w 585985"/>
              <a:gd name="connsiteY16" fmla="*/ 37468 h 863010"/>
              <a:gd name="connsiteX17" fmla="*/ 539195 w 585985"/>
              <a:gd name="connsiteY17" fmla="*/ 40576 h 863010"/>
              <a:gd name="connsiteX18" fmla="*/ 545469 w 585985"/>
              <a:gd name="connsiteY18" fmla="*/ 46790 h 863010"/>
              <a:gd name="connsiteX19" fmla="*/ 551684 w 585985"/>
              <a:gd name="connsiteY19" fmla="*/ 53065 h 863010"/>
              <a:gd name="connsiteX20" fmla="*/ 554792 w 585985"/>
              <a:gd name="connsiteY20" fmla="*/ 56173 h 863010"/>
              <a:gd name="connsiteX21" fmla="*/ 561066 w 585985"/>
              <a:gd name="connsiteY21" fmla="*/ 62387 h 863010"/>
              <a:gd name="connsiteX22" fmla="*/ 564174 w 585985"/>
              <a:gd name="connsiteY22" fmla="*/ 68662 h 863010"/>
              <a:gd name="connsiteX23" fmla="*/ 567281 w 585985"/>
              <a:gd name="connsiteY23" fmla="*/ 74877 h 863010"/>
              <a:gd name="connsiteX24" fmla="*/ 570388 w 585985"/>
              <a:gd name="connsiteY24" fmla="*/ 81092 h 863010"/>
              <a:gd name="connsiteX25" fmla="*/ 573556 w 585985"/>
              <a:gd name="connsiteY25" fmla="*/ 87366 h 863010"/>
              <a:gd name="connsiteX26" fmla="*/ 576663 w 585985"/>
              <a:gd name="connsiteY26" fmla="*/ 93582 h 863010"/>
              <a:gd name="connsiteX27" fmla="*/ 579771 w 585985"/>
              <a:gd name="connsiteY27" fmla="*/ 99796 h 863010"/>
              <a:gd name="connsiteX28" fmla="*/ 582877 w 585985"/>
              <a:gd name="connsiteY28" fmla="*/ 109178 h 863010"/>
              <a:gd name="connsiteX29" fmla="*/ 582877 w 585985"/>
              <a:gd name="connsiteY29" fmla="*/ 115393 h 863010"/>
              <a:gd name="connsiteX30" fmla="*/ 585985 w 585985"/>
              <a:gd name="connsiteY30" fmla="*/ 121667 h 863010"/>
              <a:gd name="connsiteX31" fmla="*/ 585985 w 585985"/>
              <a:gd name="connsiteY31" fmla="*/ 127882 h 863010"/>
              <a:gd name="connsiteX32" fmla="*/ 585985 w 585985"/>
              <a:gd name="connsiteY32" fmla="*/ 137264 h 863010"/>
              <a:gd name="connsiteX33" fmla="*/ 585985 w 585985"/>
              <a:gd name="connsiteY33" fmla="*/ 143479 h 863010"/>
              <a:gd name="connsiteX34" fmla="*/ 585985 w 585985"/>
              <a:gd name="connsiteY34" fmla="*/ 863010 h 863010"/>
              <a:gd name="connsiteX35" fmla="*/ 4157 w 585985"/>
              <a:gd name="connsiteY35" fmla="*/ 863010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5985" h="863010" extrusionOk="0">
                <a:moveTo>
                  <a:pt x="0" y="0"/>
                </a:moveTo>
                <a:lnTo>
                  <a:pt x="430018" y="0"/>
                </a:lnTo>
                <a:lnTo>
                  <a:pt x="436292" y="0"/>
                </a:lnTo>
                <a:lnTo>
                  <a:pt x="445615" y="0"/>
                </a:lnTo>
                <a:lnTo>
                  <a:pt x="451889" y="0"/>
                </a:lnTo>
                <a:lnTo>
                  <a:pt x="461211" y="3168"/>
                </a:lnTo>
                <a:lnTo>
                  <a:pt x="467486" y="3168"/>
                </a:lnTo>
                <a:lnTo>
                  <a:pt x="476808" y="6275"/>
                </a:lnTo>
                <a:lnTo>
                  <a:pt x="483083" y="9382"/>
                </a:lnTo>
                <a:lnTo>
                  <a:pt x="489297" y="9382"/>
                </a:lnTo>
                <a:lnTo>
                  <a:pt x="498679" y="12490"/>
                </a:lnTo>
                <a:lnTo>
                  <a:pt x="504894" y="15597"/>
                </a:lnTo>
                <a:lnTo>
                  <a:pt x="511109" y="21871"/>
                </a:lnTo>
                <a:lnTo>
                  <a:pt x="517384" y="24979"/>
                </a:lnTo>
                <a:lnTo>
                  <a:pt x="523598" y="28087"/>
                </a:lnTo>
                <a:lnTo>
                  <a:pt x="529873" y="31194"/>
                </a:lnTo>
                <a:lnTo>
                  <a:pt x="536087" y="37468"/>
                </a:lnTo>
                <a:lnTo>
                  <a:pt x="539195" y="40576"/>
                </a:lnTo>
                <a:lnTo>
                  <a:pt x="545469" y="46790"/>
                </a:lnTo>
                <a:lnTo>
                  <a:pt x="551684" y="53065"/>
                </a:lnTo>
                <a:lnTo>
                  <a:pt x="554792" y="56173"/>
                </a:lnTo>
                <a:lnTo>
                  <a:pt x="561066" y="62387"/>
                </a:lnTo>
                <a:lnTo>
                  <a:pt x="564174" y="68662"/>
                </a:lnTo>
                <a:lnTo>
                  <a:pt x="567281" y="74877"/>
                </a:lnTo>
                <a:lnTo>
                  <a:pt x="570388" y="81092"/>
                </a:lnTo>
                <a:lnTo>
                  <a:pt x="573556" y="87366"/>
                </a:lnTo>
                <a:lnTo>
                  <a:pt x="576663" y="93582"/>
                </a:lnTo>
                <a:lnTo>
                  <a:pt x="579771" y="99796"/>
                </a:lnTo>
                <a:lnTo>
                  <a:pt x="582877" y="109178"/>
                </a:lnTo>
                <a:lnTo>
                  <a:pt x="582877" y="115393"/>
                </a:lnTo>
                <a:lnTo>
                  <a:pt x="585985" y="121667"/>
                </a:lnTo>
                <a:lnTo>
                  <a:pt x="585985" y="127882"/>
                </a:lnTo>
                <a:lnTo>
                  <a:pt x="585985" y="137264"/>
                </a:lnTo>
                <a:lnTo>
                  <a:pt x="585985" y="143479"/>
                </a:lnTo>
                <a:lnTo>
                  <a:pt x="585985" y="863010"/>
                </a:lnTo>
                <a:lnTo>
                  <a:pt x="4157" y="8630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29" name="Freihandform: Form 28"/>
          <p:cNvSpPr/>
          <p:nvPr/>
        </p:nvSpPr>
        <p:spPr bwMode="auto">
          <a:xfrm>
            <a:off x="5478283" y="5994990"/>
            <a:ext cx="654766" cy="863010"/>
          </a:xfrm>
          <a:custGeom>
            <a:avLst/>
            <a:gdLst>
              <a:gd name="connsiteX0" fmla="*/ 134156 w 654766"/>
              <a:gd name="connsiteY0" fmla="*/ 0 h 863010"/>
              <a:gd name="connsiteX1" fmla="*/ 140431 w 654766"/>
              <a:gd name="connsiteY1" fmla="*/ 0 h 863010"/>
              <a:gd name="connsiteX2" fmla="*/ 149753 w 654766"/>
              <a:gd name="connsiteY2" fmla="*/ 0 h 863010"/>
              <a:gd name="connsiteX3" fmla="*/ 156029 w 654766"/>
              <a:gd name="connsiteY3" fmla="*/ 0 h 863010"/>
              <a:gd name="connsiteX4" fmla="*/ 649449 w 654766"/>
              <a:gd name="connsiteY4" fmla="*/ 0 h 863010"/>
              <a:gd name="connsiteX5" fmla="*/ 654766 w 654766"/>
              <a:gd name="connsiteY5" fmla="*/ 863010 h 863010"/>
              <a:gd name="connsiteX6" fmla="*/ 0 w 654766"/>
              <a:gd name="connsiteY6" fmla="*/ 863010 h 863010"/>
              <a:gd name="connsiteX7" fmla="*/ 0 w 654766"/>
              <a:gd name="connsiteY7" fmla="*/ 143479 h 863010"/>
              <a:gd name="connsiteX8" fmla="*/ 0 w 654766"/>
              <a:gd name="connsiteY8" fmla="*/ 137264 h 863010"/>
              <a:gd name="connsiteX9" fmla="*/ 0 w 654766"/>
              <a:gd name="connsiteY9" fmla="*/ 127882 h 863010"/>
              <a:gd name="connsiteX10" fmla="*/ 0 w 654766"/>
              <a:gd name="connsiteY10" fmla="*/ 121667 h 863010"/>
              <a:gd name="connsiteX11" fmla="*/ 3168 w 654766"/>
              <a:gd name="connsiteY11" fmla="*/ 115393 h 863010"/>
              <a:gd name="connsiteX12" fmla="*/ 3168 w 654766"/>
              <a:gd name="connsiteY12" fmla="*/ 109178 h 863010"/>
              <a:gd name="connsiteX13" fmla="*/ 6275 w 654766"/>
              <a:gd name="connsiteY13" fmla="*/ 99796 h 863010"/>
              <a:gd name="connsiteX14" fmla="*/ 9382 w 654766"/>
              <a:gd name="connsiteY14" fmla="*/ 93582 h 863010"/>
              <a:gd name="connsiteX15" fmla="*/ 12489 w 654766"/>
              <a:gd name="connsiteY15" fmla="*/ 87366 h 863010"/>
              <a:gd name="connsiteX16" fmla="*/ 15597 w 654766"/>
              <a:gd name="connsiteY16" fmla="*/ 81092 h 863010"/>
              <a:gd name="connsiteX17" fmla="*/ 18765 w 654766"/>
              <a:gd name="connsiteY17" fmla="*/ 74877 h 863010"/>
              <a:gd name="connsiteX18" fmla="*/ 21871 w 654766"/>
              <a:gd name="connsiteY18" fmla="*/ 68662 h 863010"/>
              <a:gd name="connsiteX19" fmla="*/ 28086 w 654766"/>
              <a:gd name="connsiteY19" fmla="*/ 62387 h 863010"/>
              <a:gd name="connsiteX20" fmla="*/ 31194 w 654766"/>
              <a:gd name="connsiteY20" fmla="*/ 56173 h 863010"/>
              <a:gd name="connsiteX21" fmla="*/ 34361 w 654766"/>
              <a:gd name="connsiteY21" fmla="*/ 53065 h 863010"/>
              <a:gd name="connsiteX22" fmla="*/ 40576 w 654766"/>
              <a:gd name="connsiteY22" fmla="*/ 46790 h 863010"/>
              <a:gd name="connsiteX23" fmla="*/ 46790 w 654766"/>
              <a:gd name="connsiteY23" fmla="*/ 40576 h 863010"/>
              <a:gd name="connsiteX24" fmla="*/ 49958 w 654766"/>
              <a:gd name="connsiteY24" fmla="*/ 37468 h 863010"/>
              <a:gd name="connsiteX25" fmla="*/ 56173 w 654766"/>
              <a:gd name="connsiteY25" fmla="*/ 31194 h 863010"/>
              <a:gd name="connsiteX26" fmla="*/ 62387 w 654766"/>
              <a:gd name="connsiteY26" fmla="*/ 28087 h 863010"/>
              <a:gd name="connsiteX27" fmla="*/ 68662 w 654766"/>
              <a:gd name="connsiteY27" fmla="*/ 24979 h 863010"/>
              <a:gd name="connsiteX28" fmla="*/ 74877 w 654766"/>
              <a:gd name="connsiteY28" fmla="*/ 21871 h 863010"/>
              <a:gd name="connsiteX29" fmla="*/ 81152 w 654766"/>
              <a:gd name="connsiteY29" fmla="*/ 15597 h 863010"/>
              <a:gd name="connsiteX30" fmla="*/ 90474 w 654766"/>
              <a:gd name="connsiteY30" fmla="*/ 12490 h 863010"/>
              <a:gd name="connsiteX31" fmla="*/ 96748 w 654766"/>
              <a:gd name="connsiteY31" fmla="*/ 9382 h 863010"/>
              <a:gd name="connsiteX32" fmla="*/ 102963 w 654766"/>
              <a:gd name="connsiteY32" fmla="*/ 9382 h 863010"/>
              <a:gd name="connsiteX33" fmla="*/ 109237 w 654766"/>
              <a:gd name="connsiteY33" fmla="*/ 6275 h 863010"/>
              <a:gd name="connsiteX34" fmla="*/ 118560 w 654766"/>
              <a:gd name="connsiteY34" fmla="*/ 3168 h 863010"/>
              <a:gd name="connsiteX35" fmla="*/ 124834 w 654766"/>
              <a:gd name="connsiteY35" fmla="*/ 3168 h 86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54766" h="863010" extrusionOk="0">
                <a:moveTo>
                  <a:pt x="134156" y="0"/>
                </a:moveTo>
                <a:lnTo>
                  <a:pt x="140431" y="0"/>
                </a:lnTo>
                <a:lnTo>
                  <a:pt x="149753" y="0"/>
                </a:lnTo>
                <a:lnTo>
                  <a:pt x="156029" y="0"/>
                </a:lnTo>
                <a:lnTo>
                  <a:pt x="649449" y="0"/>
                </a:lnTo>
                <a:lnTo>
                  <a:pt x="654766" y="863010"/>
                </a:lnTo>
                <a:lnTo>
                  <a:pt x="0" y="863010"/>
                </a:lnTo>
                <a:lnTo>
                  <a:pt x="0" y="143479"/>
                </a:lnTo>
                <a:lnTo>
                  <a:pt x="0" y="137264"/>
                </a:lnTo>
                <a:lnTo>
                  <a:pt x="0" y="127882"/>
                </a:lnTo>
                <a:lnTo>
                  <a:pt x="0" y="121667"/>
                </a:lnTo>
                <a:lnTo>
                  <a:pt x="3168" y="115393"/>
                </a:lnTo>
                <a:lnTo>
                  <a:pt x="3168" y="109178"/>
                </a:lnTo>
                <a:lnTo>
                  <a:pt x="6275" y="99796"/>
                </a:lnTo>
                <a:lnTo>
                  <a:pt x="9382" y="93582"/>
                </a:lnTo>
                <a:lnTo>
                  <a:pt x="12489" y="87366"/>
                </a:lnTo>
                <a:lnTo>
                  <a:pt x="15597" y="81092"/>
                </a:lnTo>
                <a:lnTo>
                  <a:pt x="18765" y="74877"/>
                </a:lnTo>
                <a:lnTo>
                  <a:pt x="21871" y="68662"/>
                </a:lnTo>
                <a:lnTo>
                  <a:pt x="28086" y="62387"/>
                </a:lnTo>
                <a:lnTo>
                  <a:pt x="31194" y="56173"/>
                </a:lnTo>
                <a:lnTo>
                  <a:pt x="34361" y="53065"/>
                </a:lnTo>
                <a:lnTo>
                  <a:pt x="40576" y="46790"/>
                </a:lnTo>
                <a:lnTo>
                  <a:pt x="46790" y="40576"/>
                </a:lnTo>
                <a:lnTo>
                  <a:pt x="49958" y="37468"/>
                </a:lnTo>
                <a:lnTo>
                  <a:pt x="56173" y="31194"/>
                </a:lnTo>
                <a:lnTo>
                  <a:pt x="62387" y="28087"/>
                </a:lnTo>
                <a:lnTo>
                  <a:pt x="68662" y="24979"/>
                </a:lnTo>
                <a:lnTo>
                  <a:pt x="74877" y="21871"/>
                </a:lnTo>
                <a:lnTo>
                  <a:pt x="81152" y="15597"/>
                </a:lnTo>
                <a:lnTo>
                  <a:pt x="90474" y="12490"/>
                </a:lnTo>
                <a:lnTo>
                  <a:pt x="96748" y="9382"/>
                </a:lnTo>
                <a:lnTo>
                  <a:pt x="102963" y="9382"/>
                </a:lnTo>
                <a:lnTo>
                  <a:pt x="109237" y="6275"/>
                </a:lnTo>
                <a:lnTo>
                  <a:pt x="118560" y="3168"/>
                </a:lnTo>
                <a:lnTo>
                  <a:pt x="124834" y="316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/>
        </p:nvSpPr>
        <p:spPr bwMode="auto">
          <a:xfrm>
            <a:off x="4628995" y="2420077"/>
            <a:ext cx="2934010" cy="3581552"/>
          </a:xfrm>
          <a:custGeom>
            <a:avLst/>
            <a:gdLst>
              <a:gd name="connsiteX0" fmla="*/ 1145091 w 2743499"/>
              <a:gd name="connsiteY0" fmla="*/ 13427 h 3348995"/>
              <a:gd name="connsiteX1" fmla="*/ 16698 w 2743499"/>
              <a:gd name="connsiteY1" fmla="*/ 1466806 h 3348995"/>
              <a:gd name="connsiteX2" fmla="*/ 589779 w 2743499"/>
              <a:gd name="connsiteY2" fmla="*/ 2506578 h 3348995"/>
              <a:gd name="connsiteX3" fmla="*/ 743387 w 2743499"/>
              <a:gd name="connsiteY3" fmla="*/ 2949688 h 3348995"/>
              <a:gd name="connsiteX4" fmla="*/ 820219 w 2743499"/>
              <a:gd name="connsiteY4" fmla="*/ 3286463 h 3348995"/>
              <a:gd name="connsiteX5" fmla="*/ 1408946 w 2743499"/>
              <a:gd name="connsiteY5" fmla="*/ 3345582 h 3348995"/>
              <a:gd name="connsiteX6" fmla="*/ 1978171 w 2743499"/>
              <a:gd name="connsiteY6" fmla="*/ 3221477 h 3348995"/>
              <a:gd name="connsiteX7" fmla="*/ 2007730 w 2743499"/>
              <a:gd name="connsiteY7" fmla="*/ 2896548 h 3348995"/>
              <a:gd name="connsiteX8" fmla="*/ 2716650 w 2743499"/>
              <a:gd name="connsiteY8" fmla="*/ 1514078 h 3348995"/>
              <a:gd name="connsiteX9" fmla="*/ 1145091 w 2743499"/>
              <a:gd name="connsiteY9" fmla="*/ 13427 h 3348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43499" h="3348995" extrusionOk="0">
                <a:moveTo>
                  <a:pt x="1145091" y="13427"/>
                </a:moveTo>
                <a:cubicBezTo>
                  <a:pt x="453326" y="96126"/>
                  <a:pt x="-104780" y="765764"/>
                  <a:pt x="16698" y="1466806"/>
                </a:cubicBezTo>
                <a:cubicBezTo>
                  <a:pt x="102303" y="1838616"/>
                  <a:pt x="391749" y="2190981"/>
                  <a:pt x="589779" y="2506578"/>
                </a:cubicBezTo>
                <a:cubicBezTo>
                  <a:pt x="644148" y="2610175"/>
                  <a:pt x="727630" y="2834133"/>
                  <a:pt x="743387" y="2949688"/>
                </a:cubicBezTo>
                <a:cubicBezTo>
                  <a:pt x="764229" y="3050045"/>
                  <a:pt x="728188" y="3218572"/>
                  <a:pt x="820219" y="3286463"/>
                </a:cubicBezTo>
                <a:cubicBezTo>
                  <a:pt x="864195" y="3386763"/>
                  <a:pt x="1328370" y="3333121"/>
                  <a:pt x="1408946" y="3345582"/>
                </a:cubicBezTo>
                <a:cubicBezTo>
                  <a:pt x="1537744" y="3339212"/>
                  <a:pt x="1913297" y="3378326"/>
                  <a:pt x="1978171" y="3221477"/>
                </a:cubicBezTo>
                <a:cubicBezTo>
                  <a:pt x="2004881" y="3130452"/>
                  <a:pt x="2011307" y="2991485"/>
                  <a:pt x="2007730" y="2896548"/>
                </a:cubicBezTo>
                <a:cubicBezTo>
                  <a:pt x="2124738" y="2416559"/>
                  <a:pt x="2587908" y="1993174"/>
                  <a:pt x="2716650" y="1514078"/>
                </a:cubicBezTo>
                <a:cubicBezTo>
                  <a:pt x="2908254" y="563822"/>
                  <a:pt x="2042151" y="-104196"/>
                  <a:pt x="1145091" y="134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58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/>
        </p:nvSpPr>
        <p:spPr bwMode="auto">
          <a:xfrm>
            <a:off x="5329564" y="6075174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3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0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3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3"/>
                  <a:pt x="98187" y="155685"/>
                </a:cubicBezTo>
                <a:lnTo>
                  <a:pt x="1305927" y="959"/>
                </a:lnTo>
                <a:cubicBezTo>
                  <a:pt x="1367281" y="-6920"/>
                  <a:pt x="1423102" y="34598"/>
                  <a:pt x="1430702" y="93660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/>
        </p:nvSpPr>
        <p:spPr bwMode="auto">
          <a:xfrm>
            <a:off x="5329564" y="6359921"/>
            <a:ext cx="1532810" cy="410496"/>
          </a:xfrm>
          <a:custGeom>
            <a:avLst/>
            <a:gdLst>
              <a:gd name="connsiteX0" fmla="*/ 1432434 w 1433282"/>
              <a:gd name="connsiteY0" fmla="*/ 107015 h 383842"/>
              <a:gd name="connsiteX1" fmla="*/ 1335095 w 1433282"/>
              <a:gd name="connsiteY1" fmla="*/ 228158 h 383842"/>
              <a:gd name="connsiteX2" fmla="*/ 127356 w 1433282"/>
              <a:gd name="connsiteY2" fmla="*/ 382884 h 383842"/>
              <a:gd name="connsiteX3" fmla="*/ 2581 w 1433282"/>
              <a:gd name="connsiteY3" fmla="*/ 290182 h 383842"/>
              <a:gd name="connsiteX4" fmla="*/ 849 w 1433282"/>
              <a:gd name="connsiteY4" fmla="*/ 276828 h 383842"/>
              <a:gd name="connsiteX5" fmla="*/ 98187 w 1433282"/>
              <a:gd name="connsiteY5" fmla="*/ 155685 h 383842"/>
              <a:gd name="connsiteX6" fmla="*/ 1305927 w 1433282"/>
              <a:gd name="connsiteY6" fmla="*/ 959 h 383842"/>
              <a:gd name="connsiteX7" fmla="*/ 1430702 w 1433282"/>
              <a:gd name="connsiteY7" fmla="*/ 93661 h 383842"/>
              <a:gd name="connsiteX8" fmla="*/ 1432434 w 1433282"/>
              <a:gd name="connsiteY8" fmla="*/ 107015 h 38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3282" h="383842" extrusionOk="0">
                <a:moveTo>
                  <a:pt x="1432434" y="107015"/>
                </a:moveTo>
                <a:cubicBezTo>
                  <a:pt x="1439977" y="166078"/>
                  <a:pt x="1396393" y="220279"/>
                  <a:pt x="1335095" y="228158"/>
                </a:cubicBezTo>
                <a:lnTo>
                  <a:pt x="127356" y="382884"/>
                </a:lnTo>
                <a:cubicBezTo>
                  <a:pt x="66002" y="390762"/>
                  <a:pt x="10180" y="349245"/>
                  <a:pt x="2581" y="290182"/>
                </a:cubicBezTo>
                <a:lnTo>
                  <a:pt x="849" y="276828"/>
                </a:lnTo>
                <a:cubicBezTo>
                  <a:pt x="-6695" y="217765"/>
                  <a:pt x="36890" y="163564"/>
                  <a:pt x="98187" y="155685"/>
                </a:cubicBezTo>
                <a:lnTo>
                  <a:pt x="1305927" y="959"/>
                </a:lnTo>
                <a:cubicBezTo>
                  <a:pt x="1367281" y="-6919"/>
                  <a:pt x="1423102" y="34598"/>
                  <a:pt x="1430702" y="93661"/>
                </a:cubicBezTo>
                <a:lnTo>
                  <a:pt x="1432434" y="1070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rtlCol="0" anchor="ctr"/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37" name="Freihandform: Form 36"/>
          <p:cNvSpPr/>
          <p:nvPr/>
        </p:nvSpPr>
        <p:spPr bwMode="auto">
          <a:xfrm>
            <a:off x="5353554" y="6644668"/>
            <a:ext cx="1508820" cy="213333"/>
          </a:xfrm>
          <a:custGeom>
            <a:avLst/>
            <a:gdLst>
              <a:gd name="connsiteX0" fmla="*/ 1372622 w 1508820"/>
              <a:gd name="connsiteY0" fmla="*/ 1026 h 213333"/>
              <a:gd name="connsiteX1" fmla="*/ 1506061 w 1508820"/>
              <a:gd name="connsiteY1" fmla="*/ 100165 h 213333"/>
              <a:gd name="connsiteX2" fmla="*/ 1507913 w 1508820"/>
              <a:gd name="connsiteY2" fmla="*/ 114446 h 213333"/>
              <a:gd name="connsiteX3" fmla="*/ 1483472 w 1508820"/>
              <a:gd name="connsiteY3" fmla="*/ 199751 h 213333"/>
              <a:gd name="connsiteX4" fmla="*/ 1467452 w 1508820"/>
              <a:gd name="connsiteY4" fmla="*/ 213333 h 213333"/>
              <a:gd name="connsiteX5" fmla="*/ 0 w 1508820"/>
              <a:gd name="connsiteY5" fmla="*/ 213333 h 213333"/>
              <a:gd name="connsiteX6" fmla="*/ 1359 w 1508820"/>
              <a:gd name="connsiteY6" fmla="*/ 210746 h 213333"/>
              <a:gd name="connsiteX7" fmla="*/ 81015 w 1508820"/>
              <a:gd name="connsiteY7" fmla="*/ 166496 h 21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8820" h="213333" extrusionOk="0">
                <a:moveTo>
                  <a:pt x="1372622" y="1026"/>
                </a:moveTo>
                <a:cubicBezTo>
                  <a:pt x="1438236" y="-7400"/>
                  <a:pt x="1497933" y="37001"/>
                  <a:pt x="1506061" y="100165"/>
                </a:cubicBezTo>
                <a:lnTo>
                  <a:pt x="1507913" y="114446"/>
                </a:lnTo>
                <a:cubicBezTo>
                  <a:pt x="1511947" y="146029"/>
                  <a:pt x="1502311" y="176311"/>
                  <a:pt x="1483472" y="199751"/>
                </a:cubicBezTo>
                <a:lnTo>
                  <a:pt x="1467452" y="213333"/>
                </a:lnTo>
                <a:lnTo>
                  <a:pt x="0" y="213333"/>
                </a:lnTo>
                <a:lnTo>
                  <a:pt x="1359" y="210746"/>
                </a:lnTo>
                <a:cubicBezTo>
                  <a:pt x="20197" y="187306"/>
                  <a:pt x="48239" y="170709"/>
                  <a:pt x="81015" y="16649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b="0" i="0">
              <a:latin typeface="Aptos"/>
            </a:endParaRP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296000" y="1601496"/>
            <a:ext cx="3600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et 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8262815" y="2906464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5" name="Textplatzhalter 71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262815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636205" y="5243899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7" name="Textplatzhalter 71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2" y="4075181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5243899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058943" y="2209359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pic>
        <p:nvPicPr>
          <p:cNvPr id="12" name="Image 6" descr="preencoded.png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7775756" y="2245908"/>
            <a:ext cx="337832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7594030" y="5308135"/>
            <a:ext cx="400493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10" name="Image 4" descr="preencoded.png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436641" y="5030087"/>
            <a:ext cx="400062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</a:t>
            </a:r>
            <a:br>
              <a:rPr lang="de-DE"/>
            </a:br>
            <a:r>
              <a:rPr lang="de-DE"/>
              <a:t>dolor set </a:t>
            </a:r>
            <a:endParaRPr/>
          </a:p>
        </p:txBody>
      </p:sp>
      <p:pic>
        <p:nvPicPr>
          <p:cNvPr id="3" name="Image 0" descr="preencoded.png"/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rgbClr val="E8DC7B">
                <a:tint val="45000"/>
                <a:satMod val="400000"/>
              </a:srgbClr>
            </a:duotone>
          </a:blip>
          <a:stretch/>
        </p:blipFill>
        <p:spPr bwMode="auto">
          <a:xfrm>
            <a:off x="4291767" y="2245908"/>
            <a:ext cx="3600000" cy="3463811"/>
          </a:xfrm>
          <a:prstGeom prst="rect">
            <a:avLst/>
          </a:prstGeom>
        </p:spPr>
      </p:pic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1424450" y="1768063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424450" y="3042909"/>
            <a:ext cx="54180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4" name="Shape 1"/>
          <p:cNvSpPr/>
          <p:nvPr userDrawn="1"/>
        </p:nvSpPr>
        <p:spPr bwMode="auto">
          <a:xfrm>
            <a:off x="554327" y="1742985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Shape 4"/>
          <p:cNvSpPr/>
          <p:nvPr userDrawn="1"/>
        </p:nvSpPr>
        <p:spPr bwMode="auto">
          <a:xfrm>
            <a:off x="554327" y="3042909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7"/>
          <p:cNvSpPr/>
          <p:nvPr userDrawn="1"/>
        </p:nvSpPr>
        <p:spPr bwMode="auto">
          <a:xfrm>
            <a:off x="554327" y="4244487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3" name="Shape 10"/>
          <p:cNvSpPr/>
          <p:nvPr userDrawn="1"/>
        </p:nvSpPr>
        <p:spPr bwMode="auto">
          <a:xfrm>
            <a:off x="554327" y="5446066"/>
            <a:ext cx="459224" cy="459224"/>
          </a:xfrm>
          <a:prstGeom prst="roundRect">
            <a:avLst>
              <a:gd name="adj" fmla="val 18671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Textplatzhalter 71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1424450" y="4242046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6" name="Textplatzhalter 71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424450" y="5443625"/>
            <a:ext cx="541805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.</a:t>
            </a:r>
            <a:endParaRPr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2"/>
          </p:nvPr>
        </p:nvSpPr>
        <p:spPr bwMode="auto">
          <a:xfrm>
            <a:off x="7327557" y="-1"/>
            <a:ext cx="4864443" cy="62746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402526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3" name="Textplatzhalter 71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9098923" y="3420836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50725" y="3420837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54327" y="3407841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pic>
        <p:nvPicPr>
          <p:cNvPr id="4" name="Image 1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465210" y="2100182"/>
            <a:ext cx="2815343" cy="747152"/>
          </a:xfrm>
          <a:prstGeom prst="rect">
            <a:avLst/>
          </a:prstGeom>
        </p:spPr>
      </p:pic>
      <p:pic>
        <p:nvPicPr>
          <p:cNvPr id="5" name="Image 2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3280553" y="2100182"/>
            <a:ext cx="2815446" cy="747152"/>
          </a:xfrm>
          <a:prstGeom prst="rect">
            <a:avLst/>
          </a:prstGeom>
        </p:spPr>
      </p:pic>
      <p:pic>
        <p:nvPicPr>
          <p:cNvPr id="6" name="Image 3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6095999" y="2100182"/>
            <a:ext cx="2815343" cy="747152"/>
          </a:xfrm>
          <a:prstGeom prst="rect">
            <a:avLst/>
          </a:prstGeom>
        </p:spPr>
      </p:pic>
      <p:pic>
        <p:nvPicPr>
          <p:cNvPr id="7" name="Image 4" descr="preencoded.png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EC628">
                <a:tint val="45000"/>
                <a:satMod val="400000"/>
              </a:srgbClr>
            </a:duotone>
          </a:blip>
          <a:stretch/>
        </p:blipFill>
        <p:spPr bwMode="auto">
          <a:xfrm>
            <a:off x="8911342" y="2100182"/>
            <a:ext cx="2815446" cy="74715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el + Glühbirne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8" name="Textplatzhalter 71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4816731" y="2730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76" name="Textplatzhalter 71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554413" y="2730840"/>
            <a:ext cx="251469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79" name="Textplatzhalter 71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1088740" y="2743840"/>
            <a:ext cx="2514694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Lorem ipsum dolor sit amet, consetetur sadipscing elitr, sed diam nonumy eirmod tempor invidunt ut labore et dolore magna aliquyam erat, sed diam voluptua. 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3" name="Shape 1"/>
          <p:cNvSpPr/>
          <p:nvPr userDrawn="1"/>
        </p:nvSpPr>
        <p:spPr bwMode="auto">
          <a:xfrm>
            <a:off x="554327" y="1920791"/>
            <a:ext cx="11059291" cy="18458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>
            <a:solidFill>
              <a:srgbClr val="E8DC7B"/>
            </a:solidFill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9" name="Shape 6"/>
          <p:cNvSpPr/>
          <p:nvPr userDrawn="1"/>
        </p:nvSpPr>
        <p:spPr bwMode="auto">
          <a:xfrm>
            <a:off x="2325887" y="1920741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Shape 3"/>
          <p:cNvSpPr/>
          <p:nvPr userDrawn="1"/>
        </p:nvSpPr>
        <p:spPr bwMode="auto">
          <a:xfrm>
            <a:off x="2173050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6"/>
          <p:cNvSpPr/>
          <p:nvPr userDrawn="1"/>
        </p:nvSpPr>
        <p:spPr bwMode="auto">
          <a:xfrm>
            <a:off x="6063569" y="1920742"/>
            <a:ext cx="45719" cy="782555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Shape 7"/>
          <p:cNvSpPr/>
          <p:nvPr userDrawn="1"/>
        </p:nvSpPr>
        <p:spPr bwMode="auto">
          <a:xfrm>
            <a:off x="5910732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4" name="Shape 11"/>
          <p:cNvSpPr/>
          <p:nvPr userDrawn="1"/>
        </p:nvSpPr>
        <p:spPr bwMode="auto">
          <a:xfrm>
            <a:off x="9801251" y="1920743"/>
            <a:ext cx="45719" cy="782554"/>
          </a:xfrm>
          <a:prstGeom prst="roundRect">
            <a:avLst>
              <a:gd name="adj" fmla="val 333395"/>
            </a:avLst>
          </a:prstGeom>
          <a:solidFill>
            <a:srgbClr val="E8DC7B"/>
          </a:solidFill>
          <a:ln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5" name="Shape 12"/>
          <p:cNvSpPr/>
          <p:nvPr userDrawn="1"/>
        </p:nvSpPr>
        <p:spPr bwMode="auto">
          <a:xfrm>
            <a:off x="9648414" y="1755971"/>
            <a:ext cx="346177" cy="329640"/>
          </a:xfrm>
          <a:prstGeom prst="roundRect">
            <a:avLst>
              <a:gd name="adj" fmla="val 18668"/>
            </a:avLst>
          </a:prstGeom>
          <a:solidFill>
            <a:srgbClr val="E8DC7B"/>
          </a:solidFill>
          <a:ln w="7620">
            <a:solidFill>
              <a:srgbClr val="C0C1D7"/>
            </a:solidFill>
            <a:prstDash val="solid"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eine Spal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11081494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284782" y="1606812"/>
            <a:ext cx="5356356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Text (zwei Spalten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559644" y="1606812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354790" y="1606811"/>
            <a:ext cx="3326555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2" name="Textplatzhalter 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8149936" y="1606811"/>
            <a:ext cx="3482420" cy="4701913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0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Text + Dia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6276000" y="1671122"/>
            <a:ext cx="5365138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 bwMode="auto">
          <a:xfrm>
            <a:off x="556180" y="1665288"/>
            <a:ext cx="5359820" cy="4643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/>
              <a:t>Diagramm hier einfügen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5695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+ Grafik + Inhalt_01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811358" y="1925782"/>
            <a:ext cx="6493166" cy="4122449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11080624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Bild + IPa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0" name="Grafik 479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 flipH="1">
            <a:off x="544964" y="1665287"/>
            <a:ext cx="9541308" cy="4643437"/>
          </a:xfrm>
          <a:prstGeom prst="rect">
            <a:avLst/>
          </a:prstGeom>
        </p:spPr>
      </p:pic>
      <p:pic>
        <p:nvPicPr>
          <p:cNvPr id="21" name="Picture 22" descr="Shape, square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rot="16199998">
            <a:off x="1578359" y="610519"/>
            <a:ext cx="4675968" cy="6742760"/>
          </a:xfrm>
          <a:prstGeom prst="rect">
            <a:avLst/>
          </a:prstGeom>
        </p:spPr>
      </p:pic>
      <p:sp>
        <p:nvSpPr>
          <p:cNvPr id="7" name="Inhaltsplatzhalter 5"/>
          <p:cNvSpPr>
            <a:spLocks noGrp="1" noRot="1" noMove="1" noResize="1" noEditPoints="1" noAdjustHandles="1" noChangeArrowheads="1" noChangeShapeType="1"/>
          </p:cNvSpPr>
          <p:nvPr>
            <p:ph sz="quarter" idx="11" hasCustomPrompt="1"/>
          </p:nvPr>
        </p:nvSpPr>
        <p:spPr bwMode="auto">
          <a:xfrm>
            <a:off x="726562" y="1863144"/>
            <a:ext cx="6368400" cy="4276800"/>
          </a:xfrm>
          <a:prstGeom prst="roundRect">
            <a:avLst>
              <a:gd name="adj" fmla="val 254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 spc="10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Inhalt hier einfügen</a:t>
            </a:r>
            <a:endParaRPr/>
          </a:p>
        </p:txBody>
      </p:sp>
      <p:sp>
        <p:nvSpPr>
          <p:cNvPr id="3" name="Textplatzhalter 1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4" name="Textplatzhalter 19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+ Grafik + Inhalt _0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5" y="515520"/>
            <a:ext cx="920981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 sz="1400" spc="300">
                <a:solidFill>
                  <a:schemeClr val="bg1">
                    <a:lumMod val="75000"/>
                  </a:schemeClr>
                </a:solidFill>
                <a:latin typeface="Segoe UI"/>
                <a:cs typeface="Segoe UI"/>
              </a:rPr>
              <a:t>Themenüberschrift</a:t>
            </a:r>
            <a:endParaRPr/>
          </a:p>
        </p:txBody>
      </p:sp>
      <p:sp>
        <p:nvSpPr>
          <p:cNvPr id="20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9"/>
            <a:ext cx="9209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100">
                <a:solidFill>
                  <a:srgbClr val="DEC628"/>
                </a:solidFill>
                <a:latin typeface="Aptos"/>
              </a:defRPr>
            </a:lvl1pPr>
          </a:lstStyle>
          <a:p>
            <a:pPr lvl="0">
              <a:defRPr/>
            </a:pPr>
            <a:r>
              <a:rPr lang="de-DE"/>
              <a:t>Überschrift</a:t>
            </a:r>
            <a:endParaRPr/>
          </a:p>
        </p:txBody>
      </p:sp>
      <p:sp>
        <p:nvSpPr>
          <p:cNvPr id="6" name="Textplatzhalter 7"/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 bwMode="auto">
          <a:xfrm>
            <a:off x="560514" y="1671122"/>
            <a:ext cx="5535486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27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1pPr>
            <a:lvl2pPr marL="54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2pPr>
            <a:lvl3pPr marL="810000" indent="-2700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</a:defRPr>
            </a:lvl3pPr>
          </a:lstStyle>
          <a:p>
            <a:pPr lvl="0">
              <a:defRPr/>
            </a:pPr>
            <a:r>
              <a:rPr lang="de-DE"/>
              <a:t>Erste Ebene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1" name="Textplatzhalter 10"/>
          <p:cNvSpPr>
            <a:spLocks noGrp="1" noRot="1" noMove="1" noResize="1" noEditPoints="1" noAdjustHandles="1" noChangeArrowheads="1" noChangeShapeType="1"/>
          </p:cNvSpPr>
          <p:nvPr userDrawn="1">
            <p:ph type="body" sz="quarter" idx="14"/>
          </p:nvPr>
        </p:nvSpPr>
        <p:spPr bwMode="auto">
          <a:xfrm>
            <a:off x="4748854" y="4415461"/>
            <a:ext cx="586093" cy="124041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DEC628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12" name="Textplatzhalter 11"/>
          <p:cNvSpPr>
            <a:spLocks noGrp="1" noRot="1" noChangeAspect="1" noMove="1" noResize="1" noEditPoints="1" noAdjustHandles="1" noChangeArrowheads="1" noChangeShapeType="1"/>
          </p:cNvSpPr>
          <p:nvPr userDrawn="1">
            <p:ph type="body" sz="quarter" idx="15"/>
          </p:nvPr>
        </p:nvSpPr>
        <p:spPr bwMode="auto">
          <a:xfrm>
            <a:off x="5353468" y="5141071"/>
            <a:ext cx="381024" cy="806400"/>
          </a:xfrm>
          <a:custGeom>
            <a:avLst/>
            <a:gdLst>
              <a:gd name="connsiteX0" fmla="*/ 248860 w 586093"/>
              <a:gd name="connsiteY0" fmla="*/ 982450 h 1240410"/>
              <a:gd name="connsiteX1" fmla="*/ 373401 w 586093"/>
              <a:gd name="connsiteY1" fmla="*/ 1089447 h 1240410"/>
              <a:gd name="connsiteX2" fmla="*/ 373401 w 586093"/>
              <a:gd name="connsiteY2" fmla="*/ 1135148 h 1240410"/>
              <a:gd name="connsiteX3" fmla="*/ 248860 w 586093"/>
              <a:gd name="connsiteY3" fmla="*/ 1240410 h 1240410"/>
              <a:gd name="connsiteX4" fmla="*/ 126055 w 586093"/>
              <a:gd name="connsiteY4" fmla="*/ 1135148 h 1240410"/>
              <a:gd name="connsiteX5" fmla="*/ 126055 w 586093"/>
              <a:gd name="connsiteY5" fmla="*/ 1089447 h 1240410"/>
              <a:gd name="connsiteX6" fmla="*/ 248860 w 586093"/>
              <a:gd name="connsiteY6" fmla="*/ 982450 h 1240410"/>
              <a:gd name="connsiteX7" fmla="*/ 259692 w 586093"/>
              <a:gd name="connsiteY7" fmla="*/ 0 h 1240410"/>
              <a:gd name="connsiteX8" fmla="*/ 586093 w 586093"/>
              <a:gd name="connsiteY8" fmla="*/ 259692 h 1240410"/>
              <a:gd name="connsiteX9" fmla="*/ 585874 w 586093"/>
              <a:gd name="connsiteY9" fmla="*/ 259474 h 1240410"/>
              <a:gd name="connsiteX10" fmla="*/ 585874 w 586093"/>
              <a:gd name="connsiteY10" fmla="*/ 292830 h 1240410"/>
              <a:gd name="connsiteX11" fmla="*/ 447257 w 586093"/>
              <a:gd name="connsiteY11" fmla="*/ 589342 h 1240410"/>
              <a:gd name="connsiteX12" fmla="*/ 389428 w 586093"/>
              <a:gd name="connsiteY12" fmla="*/ 652585 h 1240410"/>
              <a:gd name="connsiteX13" fmla="*/ 345459 w 586093"/>
              <a:gd name="connsiteY13" fmla="*/ 768459 h 1240410"/>
              <a:gd name="connsiteX14" fmla="*/ 345459 w 586093"/>
              <a:gd name="connsiteY14" fmla="*/ 810479 h 1240410"/>
              <a:gd name="connsiteX15" fmla="*/ 296294 w 586093"/>
              <a:gd name="connsiteY15" fmla="*/ 861376 h 1240410"/>
              <a:gd name="connsiteX16" fmla="*/ 197963 w 586093"/>
              <a:gd name="connsiteY16" fmla="*/ 861376 h 1240410"/>
              <a:gd name="connsiteX17" fmla="*/ 147063 w 586093"/>
              <a:gd name="connsiteY17" fmla="*/ 810479 h 1240410"/>
              <a:gd name="connsiteX18" fmla="*/ 147063 w 586093"/>
              <a:gd name="connsiteY18" fmla="*/ 786003 h 1240410"/>
              <a:gd name="connsiteX19" fmla="*/ 218971 w 586093"/>
              <a:gd name="connsiteY19" fmla="*/ 566599 h 1240410"/>
              <a:gd name="connsiteX20" fmla="*/ 315570 w 586093"/>
              <a:gd name="connsiteY20" fmla="*/ 456138 h 1240410"/>
              <a:gd name="connsiteX21" fmla="*/ 380547 w 586093"/>
              <a:gd name="connsiteY21" fmla="*/ 298244 h 1240410"/>
              <a:gd name="connsiteX22" fmla="*/ 380547 w 586093"/>
              <a:gd name="connsiteY22" fmla="*/ 271819 h 1240410"/>
              <a:gd name="connsiteX23" fmla="*/ 236734 w 586093"/>
              <a:gd name="connsiteY23" fmla="*/ 173488 h 1240410"/>
              <a:gd name="connsiteX24" fmla="*/ 54365 w 586093"/>
              <a:gd name="connsiteY24" fmla="*/ 199914 h 1240410"/>
              <a:gd name="connsiteX25" fmla="*/ 0 w 586093"/>
              <a:gd name="connsiteY25" fmla="*/ 155944 h 1240410"/>
              <a:gd name="connsiteX26" fmla="*/ 0 w 586093"/>
              <a:gd name="connsiteY26" fmla="*/ 78840 h 1240410"/>
              <a:gd name="connsiteX27" fmla="*/ 61510 w 586093"/>
              <a:gd name="connsiteY27" fmla="*/ 22744 h 1240410"/>
              <a:gd name="connsiteX28" fmla="*/ 259692 w 586093"/>
              <a:gd name="connsiteY28" fmla="*/ 0 h 124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6093" h="1240410" extrusionOk="0">
                <a:moveTo>
                  <a:pt x="248860" y="982450"/>
                </a:moveTo>
                <a:cubicBezTo>
                  <a:pt x="327700" y="982450"/>
                  <a:pt x="373401" y="1019270"/>
                  <a:pt x="373401" y="1089447"/>
                </a:cubicBezTo>
                <a:lnTo>
                  <a:pt x="373401" y="1135148"/>
                </a:lnTo>
                <a:cubicBezTo>
                  <a:pt x="373401" y="1201857"/>
                  <a:pt x="329432" y="1240410"/>
                  <a:pt x="248860" y="1240410"/>
                </a:cubicBezTo>
                <a:cubicBezTo>
                  <a:pt x="168289" y="1240410"/>
                  <a:pt x="126055" y="1201857"/>
                  <a:pt x="126055" y="1135148"/>
                </a:cubicBezTo>
                <a:lnTo>
                  <a:pt x="126055" y="1089447"/>
                </a:lnTo>
                <a:cubicBezTo>
                  <a:pt x="126055" y="1019270"/>
                  <a:pt x="170024" y="982450"/>
                  <a:pt x="248860" y="982450"/>
                </a:cubicBezTo>
                <a:close/>
                <a:moveTo>
                  <a:pt x="259692" y="0"/>
                </a:moveTo>
                <a:cubicBezTo>
                  <a:pt x="491226" y="0"/>
                  <a:pt x="586093" y="89453"/>
                  <a:pt x="586093" y="259692"/>
                </a:cubicBezTo>
                <a:lnTo>
                  <a:pt x="585874" y="259474"/>
                </a:lnTo>
                <a:lnTo>
                  <a:pt x="585874" y="292830"/>
                </a:lnTo>
                <a:cubicBezTo>
                  <a:pt x="585874" y="396360"/>
                  <a:pt x="549054" y="482345"/>
                  <a:pt x="447257" y="589342"/>
                </a:cubicBezTo>
                <a:lnTo>
                  <a:pt x="389428" y="652585"/>
                </a:lnTo>
                <a:cubicBezTo>
                  <a:pt x="354340" y="689405"/>
                  <a:pt x="345459" y="708681"/>
                  <a:pt x="345459" y="768459"/>
                </a:cubicBezTo>
                <a:lnTo>
                  <a:pt x="345459" y="810479"/>
                </a:lnTo>
                <a:cubicBezTo>
                  <a:pt x="345459" y="842100"/>
                  <a:pt x="327918" y="861376"/>
                  <a:pt x="296294" y="861376"/>
                </a:cubicBezTo>
                <a:lnTo>
                  <a:pt x="197963" y="861376"/>
                </a:lnTo>
                <a:cubicBezTo>
                  <a:pt x="166342" y="861376"/>
                  <a:pt x="147063" y="842100"/>
                  <a:pt x="147063" y="810479"/>
                </a:cubicBezTo>
                <a:lnTo>
                  <a:pt x="147063" y="786003"/>
                </a:lnTo>
                <a:cubicBezTo>
                  <a:pt x="147063" y="668397"/>
                  <a:pt x="153994" y="638722"/>
                  <a:pt x="218971" y="566599"/>
                </a:cubicBezTo>
                <a:lnTo>
                  <a:pt x="315570" y="456138"/>
                </a:lnTo>
                <a:cubicBezTo>
                  <a:pt x="369934" y="392893"/>
                  <a:pt x="380547" y="363222"/>
                  <a:pt x="380547" y="298244"/>
                </a:cubicBezTo>
                <a:lnTo>
                  <a:pt x="380547" y="271819"/>
                </a:lnTo>
                <a:cubicBezTo>
                  <a:pt x="380547" y="205109"/>
                  <a:pt x="347194" y="173488"/>
                  <a:pt x="236734" y="173488"/>
                </a:cubicBezTo>
                <a:cubicBezTo>
                  <a:pt x="126273" y="173488"/>
                  <a:pt x="113925" y="185833"/>
                  <a:pt x="54365" y="199914"/>
                </a:cubicBezTo>
                <a:cubicBezTo>
                  <a:pt x="21008" y="208792"/>
                  <a:pt x="0" y="191033"/>
                  <a:pt x="0" y="155944"/>
                </a:cubicBezTo>
                <a:lnTo>
                  <a:pt x="0" y="78840"/>
                </a:lnTo>
                <a:cubicBezTo>
                  <a:pt x="0" y="48951"/>
                  <a:pt x="21008" y="29675"/>
                  <a:pt x="61510" y="22744"/>
                </a:cubicBezTo>
                <a:cubicBezTo>
                  <a:pt x="131687" y="8663"/>
                  <a:pt x="205327" y="0"/>
                  <a:pt x="259692" y="0"/>
                </a:cubicBezTo>
                <a:close/>
              </a:path>
            </a:pathLst>
          </a:custGeom>
          <a:solidFill>
            <a:srgbClr val="E8DC7B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b="0" i="0">
                <a:noFill/>
                <a:latin typeface="Aptos"/>
              </a:defRPr>
            </a:lvl1pPr>
          </a:lstStyle>
          <a:p>
            <a:pPr lvl="0">
              <a:defRPr/>
            </a:pPr>
            <a:endParaRPr lang="de-DE"/>
          </a:p>
        </p:txBody>
      </p:sp>
      <p:sp>
        <p:nvSpPr>
          <p:cNvPr id="2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reihandform: Form 2"/>
          <p:cNvSpPr/>
          <p:nvPr userDrawn="1"/>
        </p:nvSpPr>
        <p:spPr bwMode="auto">
          <a:xfrm>
            <a:off x="213350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5" name="Freihandform: Form 4"/>
          <p:cNvSpPr/>
          <p:nvPr userDrawn="1"/>
        </p:nvSpPr>
        <p:spPr bwMode="auto">
          <a:xfrm>
            <a:off x="3693762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5"/>
          <p:cNvSpPr/>
          <p:nvPr userDrawn="1"/>
        </p:nvSpPr>
        <p:spPr bwMode="auto">
          <a:xfrm>
            <a:off x="2652810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7" name="Freihandform: Form 6"/>
          <p:cNvSpPr/>
          <p:nvPr userDrawn="1"/>
        </p:nvSpPr>
        <p:spPr bwMode="auto">
          <a:xfrm>
            <a:off x="1614194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8" name="Freihandform: Form 7"/>
          <p:cNvSpPr/>
          <p:nvPr userDrawn="1"/>
        </p:nvSpPr>
        <p:spPr bwMode="auto">
          <a:xfrm>
            <a:off x="3168146" y="6473813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9" name="Freihandform: Form 8"/>
          <p:cNvSpPr/>
          <p:nvPr userDrawn="1"/>
        </p:nvSpPr>
        <p:spPr bwMode="auto">
          <a:xfrm>
            <a:off x="1094886" y="6474495"/>
            <a:ext cx="180000" cy="180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4" name="Freihandform: Form 4"/>
          <p:cNvSpPr/>
          <p:nvPr userDrawn="1"/>
        </p:nvSpPr>
        <p:spPr bwMode="auto">
          <a:xfrm>
            <a:off x="575578" y="6480332"/>
            <a:ext cx="180000" cy="180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grpSp>
        <p:nvGrpSpPr>
          <p:cNvPr id="49" name="Gruppieren 48"/>
          <p:cNvGrpSpPr/>
          <p:nvPr userDrawn="1"/>
        </p:nvGrpSpPr>
        <p:grpSpPr bwMode="auto">
          <a:xfrm>
            <a:off x="0" y="-141789"/>
            <a:ext cx="7948338" cy="4202173"/>
            <a:chOff x="0" y="-141789"/>
            <a:chExt cx="7948338" cy="4202173"/>
          </a:xfrm>
        </p:grpSpPr>
        <p:sp>
          <p:nvSpPr>
            <p:cNvPr id="43" name="Freihandform 42"/>
            <p:cNvSpPr/>
            <p:nvPr userDrawn="1"/>
          </p:nvSpPr>
          <p:spPr bwMode="auto">
            <a:xfrm rot="13735889">
              <a:off x="2308096" y="351702"/>
              <a:ext cx="4202173" cy="3215192"/>
            </a:xfrm>
            <a:custGeom>
              <a:avLst/>
              <a:gdLst>
                <a:gd name="connsiteX0" fmla="*/ 4201782 w 4202173"/>
                <a:gd name="connsiteY0" fmla="*/ 2179218 h 3215192"/>
                <a:gd name="connsiteX1" fmla="*/ 3332553 w 4202173"/>
                <a:gd name="connsiteY1" fmla="*/ 3176739 h 3215192"/>
                <a:gd name="connsiteX2" fmla="*/ 3213375 w 4202173"/>
                <a:gd name="connsiteY2" fmla="*/ 3196508 h 3215192"/>
                <a:gd name="connsiteX3" fmla="*/ 2220165 w 4202173"/>
                <a:gd name="connsiteY3" fmla="*/ 3150484 h 3215192"/>
                <a:gd name="connsiteX4" fmla="*/ 88068 w 4202173"/>
                <a:gd name="connsiteY4" fmla="*/ 1265960 h 3215192"/>
                <a:gd name="connsiteX5" fmla="*/ 3011345 w 4202173"/>
                <a:gd name="connsiteY5" fmla="*/ 11538 h 3215192"/>
                <a:gd name="connsiteX6" fmla="*/ 4202173 w 4202173"/>
                <a:gd name="connsiteY6" fmla="*/ 2044941 h 321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2173" h="3215192" extrusionOk="0">
                  <a:moveTo>
                    <a:pt x="4201782" y="2179218"/>
                  </a:moveTo>
                  <a:lnTo>
                    <a:pt x="3332553" y="3176739"/>
                  </a:lnTo>
                  <a:lnTo>
                    <a:pt x="3213375" y="3196508"/>
                  </a:lnTo>
                  <a:cubicBezTo>
                    <a:pt x="2893715" y="3236628"/>
                    <a:pt x="2539471" y="3207914"/>
                    <a:pt x="2220165" y="3150484"/>
                  </a:cubicBezTo>
                  <a:cubicBezTo>
                    <a:pt x="1376361" y="2997170"/>
                    <a:pt x="-416724" y="2378467"/>
                    <a:pt x="88068" y="1265960"/>
                  </a:cubicBezTo>
                  <a:cubicBezTo>
                    <a:pt x="592860" y="153452"/>
                    <a:pt x="2190126" y="-56526"/>
                    <a:pt x="3011345" y="11538"/>
                  </a:cubicBezTo>
                  <a:cubicBezTo>
                    <a:pt x="3774038" y="80772"/>
                    <a:pt x="4179417" y="1082780"/>
                    <a:pt x="4202173" y="2044941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5" name="Freihandform 44"/>
            <p:cNvSpPr/>
            <p:nvPr userDrawn="1"/>
          </p:nvSpPr>
          <p:spPr bwMode="auto">
            <a:xfrm>
              <a:off x="4243774" y="0"/>
              <a:ext cx="3704564" cy="3289426"/>
            </a:xfrm>
            <a:custGeom>
              <a:avLst/>
              <a:gdLst>
                <a:gd name="connsiteX0" fmla="*/ 2119791 w 3704564"/>
                <a:gd name="connsiteY0" fmla="*/ 0 h 3289426"/>
                <a:gd name="connsiteX1" fmla="*/ 2697650 w 3704564"/>
                <a:gd name="connsiteY1" fmla="*/ 0 h 3289426"/>
                <a:gd name="connsiteX2" fmla="*/ 2785686 w 3704564"/>
                <a:gd name="connsiteY2" fmla="*/ 29039 h 3289426"/>
                <a:gd name="connsiteX3" fmla="*/ 3703591 w 3704564"/>
                <a:gd name="connsiteY3" fmla="*/ 1953641 h 3289426"/>
                <a:gd name="connsiteX4" fmla="*/ 1451079 w 3704564"/>
                <a:gd name="connsiteY4" fmla="*/ 3255494 h 3289426"/>
                <a:gd name="connsiteX5" fmla="*/ 23745 w 3704564"/>
                <a:gd name="connsiteY5" fmla="*/ 1274993 h 3289426"/>
                <a:gd name="connsiteX6" fmla="*/ 2055769 w 3704564"/>
                <a:gd name="connsiteY6" fmla="*/ 12473 h 32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4564" h="3289426" extrusionOk="0">
                  <a:moveTo>
                    <a:pt x="2119791" y="0"/>
                  </a:moveTo>
                  <a:lnTo>
                    <a:pt x="2697650" y="0"/>
                  </a:lnTo>
                  <a:lnTo>
                    <a:pt x="2785686" y="29039"/>
                  </a:lnTo>
                  <a:cubicBezTo>
                    <a:pt x="3348473" y="258001"/>
                    <a:pt x="3726330" y="1025209"/>
                    <a:pt x="3703591" y="1953641"/>
                  </a:cubicBezTo>
                  <a:cubicBezTo>
                    <a:pt x="3677799" y="3014706"/>
                    <a:pt x="2182200" y="3415426"/>
                    <a:pt x="1451079" y="3255494"/>
                  </a:cubicBezTo>
                  <a:cubicBezTo>
                    <a:pt x="726552" y="3095383"/>
                    <a:pt x="-156612" y="1823384"/>
                    <a:pt x="23745" y="1274993"/>
                  </a:cubicBezTo>
                  <a:cubicBezTo>
                    <a:pt x="170284" y="829424"/>
                    <a:pt x="1270226" y="196157"/>
                    <a:pt x="2055769" y="12473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/>
            </a:p>
          </p:txBody>
        </p:sp>
        <p:sp>
          <p:nvSpPr>
            <p:cNvPr id="40" name="Freihandform 39"/>
            <p:cNvSpPr/>
            <p:nvPr userDrawn="1"/>
          </p:nvSpPr>
          <p:spPr bwMode="auto">
            <a:xfrm>
              <a:off x="0" y="0"/>
              <a:ext cx="3759048" cy="3427376"/>
            </a:xfrm>
            <a:custGeom>
              <a:avLst/>
              <a:gdLst>
                <a:gd name="connsiteX0" fmla="*/ 1533802 w 3759048"/>
                <a:gd name="connsiteY0" fmla="*/ 0 h 3427376"/>
                <a:gd name="connsiteX1" fmla="*/ 2608111 w 3759048"/>
                <a:gd name="connsiteY1" fmla="*/ 0 h 3427376"/>
                <a:gd name="connsiteX2" fmla="*/ 2620438 w 3759048"/>
                <a:gd name="connsiteY2" fmla="*/ 1407 h 3427376"/>
                <a:gd name="connsiteX3" fmla="*/ 2781319 w 3759048"/>
                <a:gd name="connsiteY3" fmla="*/ 27924 h 3427376"/>
                <a:gd name="connsiteX4" fmla="*/ 3724377 w 3759048"/>
                <a:gd name="connsiteY4" fmla="*/ 2509186 h 3427376"/>
                <a:gd name="connsiteX5" fmla="*/ 1652306 w 3759048"/>
                <a:gd name="connsiteY5" fmla="*/ 3276202 h 3427376"/>
                <a:gd name="connsiteX6" fmla="*/ 150832 w 3759048"/>
                <a:gd name="connsiteY6" fmla="*/ 2497914 h 3427376"/>
                <a:gd name="connsiteX7" fmla="*/ 0 w 3759048"/>
                <a:gd name="connsiteY7" fmla="*/ 2359105 h 3427376"/>
                <a:gd name="connsiteX8" fmla="*/ 0 w 3759048"/>
                <a:gd name="connsiteY8" fmla="*/ 698508 h 3427376"/>
                <a:gd name="connsiteX9" fmla="*/ 11267 w 3759048"/>
                <a:gd name="connsiteY9" fmla="*/ 685208 h 3427376"/>
                <a:gd name="connsiteX10" fmla="*/ 1516571 w 3759048"/>
                <a:gd name="connsiteY10" fmla="*/ 1754 h 342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9048" h="3427376" extrusionOk="0">
                  <a:moveTo>
                    <a:pt x="1533802" y="0"/>
                  </a:moveTo>
                  <a:lnTo>
                    <a:pt x="2608111" y="0"/>
                  </a:lnTo>
                  <a:lnTo>
                    <a:pt x="2620438" y="1407"/>
                  </a:lnTo>
                  <a:cubicBezTo>
                    <a:pt x="2676910" y="9265"/>
                    <a:pt x="2730683" y="18173"/>
                    <a:pt x="2781319" y="27924"/>
                  </a:cubicBezTo>
                  <a:cubicBezTo>
                    <a:pt x="3583231" y="189290"/>
                    <a:pt x="3864992" y="1434718"/>
                    <a:pt x="3724377" y="2509186"/>
                  </a:cubicBezTo>
                  <a:cubicBezTo>
                    <a:pt x="3583988" y="3583677"/>
                    <a:pt x="2483372" y="3525538"/>
                    <a:pt x="1652306" y="3276202"/>
                  </a:cubicBezTo>
                  <a:cubicBezTo>
                    <a:pt x="1240605" y="3151836"/>
                    <a:pt x="605285" y="2879851"/>
                    <a:pt x="150832" y="2497914"/>
                  </a:cubicBezTo>
                  <a:lnTo>
                    <a:pt x="0" y="2359105"/>
                  </a:lnTo>
                  <a:lnTo>
                    <a:pt x="0" y="698508"/>
                  </a:lnTo>
                  <a:lnTo>
                    <a:pt x="11267" y="685208"/>
                  </a:lnTo>
                  <a:cubicBezTo>
                    <a:pt x="406379" y="275284"/>
                    <a:pt x="969683" y="76753"/>
                    <a:pt x="1516571" y="1754"/>
                  </a:cubicBezTo>
                  <a:close/>
                </a:path>
              </a:pathLst>
            </a:custGeom>
            <a:solidFill>
              <a:srgbClr val="DEC62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5" imgW="7772400" imgH="10058400" progId="TCLayout.ActiveDocument.1">
                  <p:embed/>
                </p:oleObj>
              </mc:Choice>
              <mc:Fallback>
                <p:oleObj name="oleObj" r:id="rId15" imgW="7772400" imgH="1005840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22" name="Freihandform 21"/>
          <p:cNvSpPr/>
          <p:nvPr userDrawn="1"/>
        </p:nvSpPr>
        <p:spPr bwMode="auto">
          <a:xfrm rot="21289040">
            <a:off x="10722570" y="200240"/>
            <a:ext cx="1472723" cy="1020433"/>
          </a:xfrm>
          <a:custGeom>
            <a:avLst/>
            <a:gdLst>
              <a:gd name="connsiteX0" fmla="*/ 1012272 w 1559302"/>
              <a:gd name="connsiteY0" fmla="*/ 1420 h 1083206"/>
              <a:gd name="connsiteX1" fmla="*/ 1508010 w 1559302"/>
              <a:gd name="connsiteY1" fmla="*/ 389121 h 1083206"/>
              <a:gd name="connsiteX2" fmla="*/ 1559302 w 1559302"/>
              <a:gd name="connsiteY2" fmla="*/ 505984 h 1083206"/>
              <a:gd name="connsiteX3" fmla="*/ 1517685 w 1559302"/>
              <a:gd name="connsiteY3" fmla="*/ 964814 h 1083206"/>
              <a:gd name="connsiteX4" fmla="*/ 1441103 w 1559302"/>
              <a:gd name="connsiteY4" fmla="*/ 1018179 h 1083206"/>
              <a:gd name="connsiteX5" fmla="*/ 821443 w 1559302"/>
              <a:gd name="connsiteY5" fmla="*/ 1062436 h 1083206"/>
              <a:gd name="connsiteX6" fmla="*/ 5658 w 1559302"/>
              <a:gd name="connsiteY6" fmla="*/ 460105 h 1083206"/>
              <a:gd name="connsiteX7" fmla="*/ 1012272 w 1559302"/>
              <a:gd name="connsiteY7" fmla="*/ 1420 h 1083206"/>
              <a:gd name="connsiteX0" fmla="*/ 1028712 w 1575742"/>
              <a:gd name="connsiteY0" fmla="*/ 2514 h 1084300"/>
              <a:gd name="connsiteX1" fmla="*/ 1524450 w 1575742"/>
              <a:gd name="connsiteY1" fmla="*/ 390215 h 1084300"/>
              <a:gd name="connsiteX2" fmla="*/ 1575742 w 1575742"/>
              <a:gd name="connsiteY2" fmla="*/ 507078 h 1084300"/>
              <a:gd name="connsiteX3" fmla="*/ 1534125 w 1575742"/>
              <a:gd name="connsiteY3" fmla="*/ 965908 h 1084300"/>
              <a:gd name="connsiteX4" fmla="*/ 1457543 w 1575742"/>
              <a:gd name="connsiteY4" fmla="*/ 1019273 h 1084300"/>
              <a:gd name="connsiteX5" fmla="*/ 837883 w 1575742"/>
              <a:gd name="connsiteY5" fmla="*/ 1063530 h 1084300"/>
              <a:gd name="connsiteX6" fmla="*/ 22098 w 1575742"/>
              <a:gd name="connsiteY6" fmla="*/ 461199 h 1084300"/>
              <a:gd name="connsiteX7" fmla="*/ 1028712 w 1575742"/>
              <a:gd name="connsiteY7" fmla="*/ 2514 h 108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5742" h="1084300" extrusionOk="0">
                <a:moveTo>
                  <a:pt x="1028712" y="2514"/>
                </a:moveTo>
                <a:cubicBezTo>
                  <a:pt x="1229932" y="17329"/>
                  <a:pt x="1416068" y="186100"/>
                  <a:pt x="1524450" y="390215"/>
                </a:cubicBezTo>
                <a:lnTo>
                  <a:pt x="1575742" y="507078"/>
                </a:lnTo>
                <a:lnTo>
                  <a:pt x="1534125" y="965908"/>
                </a:lnTo>
                <a:lnTo>
                  <a:pt x="1457543" y="1019273"/>
                </a:lnTo>
                <a:cubicBezTo>
                  <a:pt x="1297498" y="1099373"/>
                  <a:pt x="1048487" y="1094253"/>
                  <a:pt x="837883" y="1063530"/>
                </a:cubicBezTo>
                <a:cubicBezTo>
                  <a:pt x="404650" y="1019453"/>
                  <a:pt x="-113874" y="791618"/>
                  <a:pt x="22098" y="461199"/>
                </a:cubicBezTo>
                <a:cubicBezTo>
                  <a:pt x="158070" y="130780"/>
                  <a:pt x="520310" y="-21846"/>
                  <a:pt x="1028712" y="2514"/>
                </a:cubicBezTo>
                <a:close/>
              </a:path>
            </a:pathLst>
          </a:custGeom>
          <a:solidFill>
            <a:srgbClr val="DEC62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15" name="Gerader Verbinder 14"/>
          <p:cNvCxnSpPr>
            <a:cxnSpLocks/>
          </p:cNvCxnSpPr>
          <p:nvPr userDrawn="1"/>
        </p:nvCxnSpPr>
        <p:spPr bwMode="auto">
          <a:xfrm>
            <a:off x="560515" y="6484664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 i="0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fld id="{B3D266E1-CF7D-47E8-B8E6-FE2361DFB2DF}" type="slidenum">
              <a:rPr lang="de-DE"/>
              <a:t>‹Nr.›</a:t>
            </a:fld>
            <a:endParaRPr lang="de-DE"/>
          </a:p>
        </p:txBody>
      </p:sp>
      <p:sp>
        <p:nvSpPr>
          <p:cNvPr id="5" name="Freihandform: Form 2"/>
          <p:cNvSpPr/>
          <p:nvPr userDrawn="1"/>
        </p:nvSpPr>
        <p:spPr bwMode="auto">
          <a:xfrm>
            <a:off x="211225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6" name="Freihandform: Form 4"/>
          <p:cNvSpPr/>
          <p:nvPr userDrawn="1"/>
        </p:nvSpPr>
        <p:spPr bwMode="auto">
          <a:xfrm>
            <a:off x="3672511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2" name="Freihandform: Form 5"/>
          <p:cNvSpPr/>
          <p:nvPr userDrawn="1"/>
        </p:nvSpPr>
        <p:spPr bwMode="auto">
          <a:xfrm>
            <a:off x="2631559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3" name="Freihandform: Form 6"/>
          <p:cNvSpPr/>
          <p:nvPr userDrawn="1"/>
        </p:nvSpPr>
        <p:spPr bwMode="auto">
          <a:xfrm>
            <a:off x="1592943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6" name="Freihandform: Form 7"/>
          <p:cNvSpPr/>
          <p:nvPr userDrawn="1"/>
        </p:nvSpPr>
        <p:spPr bwMode="auto">
          <a:xfrm>
            <a:off x="3146894" y="181982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8" name="Freihandform: Form 8"/>
          <p:cNvSpPr/>
          <p:nvPr userDrawn="1"/>
        </p:nvSpPr>
        <p:spPr bwMode="auto">
          <a:xfrm>
            <a:off x="1073635" y="182664"/>
            <a:ext cx="108000" cy="108000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  <p:sp>
        <p:nvSpPr>
          <p:cNvPr id="19" name="Freihandform: Form 4"/>
          <p:cNvSpPr/>
          <p:nvPr userDrawn="1"/>
        </p:nvSpPr>
        <p:spPr bwMode="auto">
          <a:xfrm>
            <a:off x="554327" y="188501"/>
            <a:ext cx="108000" cy="108000"/>
          </a:xfrm>
          <a:prstGeom prst="roundRect">
            <a:avLst>
              <a:gd name="adj" fmla="val 16667"/>
            </a:avLst>
          </a:prstGeom>
          <a:solidFill>
            <a:srgbClr val="DEC6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de-DE" b="0" i="0">
              <a:latin typeface="Apto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1" r:id="rId16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bis.bycs.de/beitrag/ki-in-der-schule" TargetMode="External"/><Relationship Id="rId3" Type="http://schemas.openxmlformats.org/officeDocument/2006/relationships/image" Target="../media/image11.jpg"/><Relationship Id="rId7" Type="http://schemas.openxmlformats.org/officeDocument/2006/relationships/hyperlink" Target="https://mebis.bycs.de/kategorien/medienerziehung/medienpaedagogische-elternarbe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bis.bycs.de/kategorien/medienerziehung/themen-im-fokus-me/kuenstliche-intelligenz" TargetMode="External"/><Relationship Id="rId5" Type="http://schemas.openxmlformats.org/officeDocument/2006/relationships/hyperlink" Target="https://www.km.bayern.de/gestalten/digitalisierung/kuenstliche-intelligenz" TargetMode="External"/><Relationship Id="rId4" Type="http://schemas.openxmlformats.org/officeDocument/2006/relationships/hyperlink" Target="https://fibs.alp.dillingen.de/lehrgangssuche?container_id=410953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42.png"/><Relationship Id="rId7" Type="http://schemas.openxmlformats.org/officeDocument/2006/relationships/image" Target="../media/image4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50.jpg"/><Relationship Id="rId4" Type="http://schemas.openxmlformats.org/officeDocument/2006/relationships/image" Target="../media/image4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0.png"/><Relationship Id="rId4" Type="http://schemas.openxmlformats.org/officeDocument/2006/relationships/hyperlink" Target="https://9177.drive.bycs.de/s/yxqWUkfrkOMajAj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hyperlink" Target="https://www.klicksafe.de/kuenstliche-intelligenz" TargetMode="External"/><Relationship Id="rId7" Type="http://schemas.openxmlformats.org/officeDocument/2006/relationships/hyperlink" Target="https://www.fragzebra.de/themenwelt/k%C3%BCnstliche-intelligenz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2.png"/><Relationship Id="rId5" Type="http://schemas.openxmlformats.org/officeDocument/2006/relationships/hyperlink" Target="https://www.km.bayern.de/gestalten/digitalisierung/kuenstliche-intelligenz" TargetMode="External"/><Relationship Id="rId10" Type="http://schemas.openxmlformats.org/officeDocument/2006/relationships/image" Target="../media/image64.png"/><Relationship Id="rId4" Type="http://schemas.openxmlformats.org/officeDocument/2006/relationships/image" Target="../media/image61.png"/><Relationship Id="rId9" Type="http://schemas.openxmlformats.org/officeDocument/2006/relationships/hyperlink" Target="https://www.ardaudiothek.de/sendung/der-ki-podcast/94632864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9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5.png"/><Relationship Id="rId4" Type="http://schemas.openxmlformats.org/officeDocument/2006/relationships/hyperlink" Target="https://ki-campus.org/podcasts/kikapiert?locale=de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g"/><Relationship Id="rId3" Type="http://schemas.openxmlformats.org/officeDocument/2006/relationships/hyperlink" Target="http://www.weitklick.de/" TargetMode="External"/><Relationship Id="rId7" Type="http://schemas.openxmlformats.org/officeDocument/2006/relationships/hyperlink" Target="https://www.km.bayern.de/gestalten/digitalisierung/unterrichten-in-der-digitalen-welt/beratung-digitale-bildung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1.xml"/><Relationship Id="rId6" Type="http://schemas.openxmlformats.org/officeDocument/2006/relationships/hyperlink" Target="http://www.klicksafe.de/" TargetMode="External"/><Relationship Id="rId5" Type="http://schemas.openxmlformats.org/officeDocument/2006/relationships/hyperlink" Target="http://www.fragzebra.de/" TargetMode="External"/><Relationship Id="rId4" Type="http://schemas.openxmlformats.org/officeDocument/2006/relationships/hyperlink" Target="http://www.schau-hin.info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ki-campus.org/videos/wasistki" TargetMode="External"/><Relationship Id="rId5" Type="http://schemas.openxmlformats.org/officeDocument/2006/relationships/image" Target="../media/image12.png"/><Relationship Id="rId4" Type="http://schemas.openxmlformats.org/officeDocument/2006/relationships/image" Target="../media/image14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ebis.bycs.de/bdb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2.jpg"/><Relationship Id="rId4" Type="http://schemas.openxmlformats.org/officeDocument/2006/relationships/hyperlink" Target="https://www.schulberatung.bayern.de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g"/><Relationship Id="rId13" Type="http://schemas.openxmlformats.org/officeDocument/2006/relationships/image" Target="../media/image80.jpg"/><Relationship Id="rId18" Type="http://schemas.openxmlformats.org/officeDocument/2006/relationships/image" Target="../media/image84.jpg"/><Relationship Id="rId3" Type="http://schemas.openxmlformats.org/officeDocument/2006/relationships/image" Target="../media/image43.jpg"/><Relationship Id="rId21" Type="http://schemas.openxmlformats.org/officeDocument/2006/relationships/image" Target="../media/image86.jpg"/><Relationship Id="rId7" Type="http://schemas.openxmlformats.org/officeDocument/2006/relationships/image" Target="../media/image50.jpg"/><Relationship Id="rId12" Type="http://schemas.openxmlformats.org/officeDocument/2006/relationships/image" Target="../media/image79.jpg"/><Relationship Id="rId17" Type="http://schemas.openxmlformats.org/officeDocument/2006/relationships/image" Target="../media/image83.jpg"/><Relationship Id="rId25" Type="http://schemas.openxmlformats.org/officeDocument/2006/relationships/image" Target="../media/image88.jpg"/><Relationship Id="rId2" Type="http://schemas.openxmlformats.org/officeDocument/2006/relationships/notesSlide" Target="../notesSlides/notesSlide35.xml"/><Relationship Id="rId16" Type="http://schemas.openxmlformats.org/officeDocument/2006/relationships/image" Target="../media/image11.jpg"/><Relationship Id="rId20" Type="http://schemas.openxmlformats.org/officeDocument/2006/relationships/image" Target="../media/image85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jpg"/><Relationship Id="rId11" Type="http://schemas.openxmlformats.org/officeDocument/2006/relationships/image" Target="../media/image78.jpg"/><Relationship Id="rId24" Type="http://schemas.openxmlformats.org/officeDocument/2006/relationships/image" Target="../media/image44.jpg"/><Relationship Id="rId5" Type="http://schemas.openxmlformats.org/officeDocument/2006/relationships/image" Target="../media/image49.jpg"/><Relationship Id="rId15" Type="http://schemas.openxmlformats.org/officeDocument/2006/relationships/image" Target="../media/image82.jpg"/><Relationship Id="rId23" Type="http://schemas.openxmlformats.org/officeDocument/2006/relationships/image" Target="../media/image45.jpg"/><Relationship Id="rId10" Type="http://schemas.openxmlformats.org/officeDocument/2006/relationships/image" Target="../media/image77.jpg"/><Relationship Id="rId19" Type="http://schemas.openxmlformats.org/officeDocument/2006/relationships/image" Target="../media/image48.jpg"/><Relationship Id="rId4" Type="http://schemas.openxmlformats.org/officeDocument/2006/relationships/image" Target="../media/image75.jpg"/><Relationship Id="rId9" Type="http://schemas.openxmlformats.org/officeDocument/2006/relationships/image" Target="../media/image47.jpg"/><Relationship Id="rId14" Type="http://schemas.openxmlformats.org/officeDocument/2006/relationships/image" Target="../media/image81.jpg"/><Relationship Id="rId22" Type="http://schemas.openxmlformats.org/officeDocument/2006/relationships/image" Target="../media/image8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dirty="0"/>
              <a:t>B</a:t>
            </a:r>
            <a:endParaRPr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</a:t>
            </a:fld>
            <a:endParaRPr lang="de-DE"/>
          </a:p>
        </p:txBody>
      </p:sp>
      <p:pic>
        <p:nvPicPr>
          <p:cNvPr id="6" name="Grafik 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50863" y="1779342"/>
            <a:ext cx="1029384" cy="1029384"/>
          </a:xfrm>
          <a:prstGeom prst="rect">
            <a:avLst/>
          </a:prstGeom>
        </p:spPr>
      </p:pic>
      <p:sp>
        <p:nvSpPr>
          <p:cNvPr id="7" name="Textplatzhalter 1"/>
          <p:cNvSpPr txBox="1"/>
          <p:nvPr/>
        </p:nvSpPr>
        <p:spPr bwMode="auto">
          <a:xfrm>
            <a:off x="1580247" y="1687988"/>
            <a:ext cx="9877426" cy="5004895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rIns="360000" bIns="360000">
            <a:normAutofit fontScale="92500"/>
          </a:bodyPr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chemeClr val="accent6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/>
              <a:t>… noch einige wichtige Hinweise: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Informieren Sie sich über die Grundlagen der Arbeit mit KI-Anwendungen, indem Sie den entsprechenden </a:t>
            </a:r>
            <a:r>
              <a:rPr lang="de-DE" u="sng">
                <a:hlinkClick r:id="rId4" tooltip="https://fibs.alp.dillingen.de/lehrgangssuche?container_id=410953"/>
              </a:rPr>
              <a:t>Selbstlernkurs</a:t>
            </a:r>
            <a:r>
              <a:rPr lang="de-DE"/>
              <a:t> der ALP Dillingen bearbeiten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Beachten Sie die Hinweise des </a:t>
            </a:r>
            <a:r>
              <a:rPr lang="de-DE" u="sng">
                <a:hlinkClick r:id="rId5" tooltip="https://www.km.bayern.de/gestalten/digitalisierung/kuenstliche-intelligenz"/>
              </a:rPr>
              <a:t>StMUK</a:t>
            </a:r>
            <a:r>
              <a:rPr lang="de-DE"/>
              <a:t> zu Künstlicher Intelligenz in Schule und Unterricht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Weitere Hinweise zum Thema „Künstliche Intelligenz“ finden Sie auch im </a:t>
            </a:r>
            <a:r>
              <a:rPr lang="de-DE" u="sng">
                <a:hlinkClick r:id="rId6" tooltip="https://mebis.bycs.de/kategorien/medienerziehung/themen-im-fokus-me/kuenstliche-intelligenz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Holen Sie sich Tipps zur Durchführung eines medienpädagogischen Elternabends ebenfalls im </a:t>
            </a:r>
            <a:r>
              <a:rPr lang="de-DE" u="sng">
                <a:hlinkClick r:id="rId7" tooltip="https://mebis.bycs.de/kategorien/medienerziehung/medienpaedagogische-elternarbeit"/>
              </a:rPr>
              <a:t>mebis-Magazin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r>
              <a:rPr lang="de-DE"/>
              <a:t>Eine Sammlung mit Argumentationshilfen bei kritischen Elternfragen finden Sie </a:t>
            </a:r>
            <a:r>
              <a:rPr lang="de-DE" u="sng">
                <a:hlinkClick r:id="rId8" tooltip="https://mebis.bycs.de/beitrag/ki-in-der-schule"/>
              </a:rPr>
              <a:t>hier</a:t>
            </a:r>
            <a:r>
              <a:rPr lang="de-DE"/>
              <a:t>.</a:t>
            </a:r>
            <a:endParaRPr/>
          </a:p>
          <a:p>
            <a:pPr marL="457200" indent="-457200">
              <a:buFont typeface="+mj-lt"/>
              <a:buAutoNum type="arabicPeriod"/>
              <a:defRPr/>
            </a:pPr>
            <a:endParaRPr lang="de-D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528385" y="2497087"/>
            <a:ext cx="2710476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Datenschutz</a:t>
            </a:r>
            <a:endParaRPr lang="de-DE"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42795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Datenschutz &amp; ethische Aspekte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8266951" y="2497087"/>
            <a:ext cx="2710476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Transparenz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 bwMode="auto">
          <a:xfrm>
            <a:off x="8266950" y="4835749"/>
            <a:ext cx="2396664" cy="1261883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3600" b="1">
                <a:highlight>
                  <a:srgbClr val="DEC628"/>
                </a:highlight>
              </a:rPr>
              <a:t>Ethik</a:t>
            </a:r>
            <a:endParaRPr sz="360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>
              <a:highlight>
                <a:srgbClr val="DEC628"/>
              </a:highlight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 bwMode="auto">
          <a:xfrm>
            <a:off x="1035425" y="4808646"/>
            <a:ext cx="3336846" cy="126188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de-DE" sz="3600" b="1" dirty="0">
                <a:highlight>
                  <a:srgbClr val="DEC628"/>
                </a:highlight>
              </a:rPr>
              <a:t>Einverständnis</a:t>
            </a:r>
            <a:endParaRPr sz="3600" dirty="0">
              <a:highlight>
                <a:srgbClr val="DEC628"/>
              </a:highlight>
            </a:endParaRPr>
          </a:p>
          <a:p>
            <a:pPr algn="ctr">
              <a:defRPr/>
            </a:pPr>
            <a:endParaRPr lang="de-DE" sz="3600" dirty="0">
              <a:highlight>
                <a:srgbClr val="DEC628"/>
              </a:highlight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0</a:t>
            </a:fld>
            <a:endParaRPr lang="de-DE"/>
          </a:p>
        </p:txBody>
      </p:sp>
      <p:pic>
        <p:nvPicPr>
          <p:cNvPr id="9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27361" y="2670610"/>
            <a:ext cx="540132" cy="649715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816208" y="2924410"/>
            <a:ext cx="651267" cy="783397"/>
          </a:xfrm>
          <a:prstGeom prst="rect">
            <a:avLst/>
          </a:prstGeom>
        </p:spPr>
      </p:pic>
      <p:pic>
        <p:nvPicPr>
          <p:cNvPr id="11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490574" y="4513859"/>
            <a:ext cx="651267" cy="783397"/>
          </a:xfrm>
          <a:prstGeom prst="rect">
            <a:avLst/>
          </a:prstGeom>
        </p:spPr>
      </p:pic>
      <p:pic>
        <p:nvPicPr>
          <p:cNvPr id="12" name="Image 7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890875" y="4456601"/>
            <a:ext cx="540132" cy="6497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1</a:t>
            </a:fld>
            <a:endParaRPr lang="de-DE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 bwMode="auto">
          <a:xfrm>
            <a:off x="556036" y="515519"/>
            <a:ext cx="6770908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 bwMode="auto">
          <a:xfrm>
            <a:off x="544293" y="778589"/>
            <a:ext cx="6770907" cy="430887"/>
          </a:xfrm>
        </p:spPr>
        <p:txBody>
          <a:bodyPr/>
          <a:lstStyle/>
          <a:p>
            <a:pPr>
              <a:defRPr/>
            </a:pPr>
            <a:r>
              <a:rPr lang="de-DE"/>
              <a:t>Ziele in der nutzung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7666971" y="6475333"/>
            <a:ext cx="3970702" cy="262240"/>
            <a:chOff x="7666971" y="6475333"/>
            <a:chExt cx="3970702" cy="262240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7666971" y="6491352"/>
              <a:ext cx="3970702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Vater hilft seinem Kind bei den Hausaufgaben – erstellt mit ChatGPT 4.o am 05.06.2025</a:t>
              </a:r>
              <a:endParaRPr/>
            </a:p>
            <a:p>
              <a:pPr algn="r">
                <a:defRPr/>
              </a:pPr>
              <a:endParaRPr lang="de-DE">
                <a:solidFill>
                  <a:srgbClr val="DEC628"/>
                </a:solidFill>
                <a:latin typeface="Aptos"/>
              </a:endParaRPr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hape 1"/>
          <p:cNvSpPr/>
          <p:nvPr/>
        </p:nvSpPr>
        <p:spPr bwMode="auto">
          <a:xfrm>
            <a:off x="554326" y="1641484"/>
            <a:ext cx="3014373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72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KI als Werkzeug</a:t>
            </a:r>
            <a:endParaRPr lang="de-DE">
              <a:latin typeface="Aptos"/>
            </a:endParaRPr>
          </a:p>
        </p:txBody>
      </p:sp>
      <p:sp>
        <p:nvSpPr>
          <p:cNvPr id="13" name="Shape 7"/>
          <p:cNvSpPr/>
          <p:nvPr/>
        </p:nvSpPr>
        <p:spPr bwMode="auto">
          <a:xfrm>
            <a:off x="554326" y="4621321"/>
            <a:ext cx="6377813" cy="1813833"/>
          </a:xfrm>
          <a:prstGeom prst="roundRect">
            <a:avLst>
              <a:gd name="adj" fmla="val 3946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Dialog gestalten</a:t>
            </a:r>
            <a:endParaRPr/>
          </a:p>
          <a:p>
            <a:pPr lvl="0">
              <a:buClr>
                <a:srgbClr val="DEC628"/>
              </a:buClr>
              <a:defRPr/>
            </a:pPr>
            <a:endParaRPr lang="de-DE"/>
          </a:p>
        </p:txBody>
      </p:sp>
      <p:sp>
        <p:nvSpPr>
          <p:cNvPr id="17" name="Shape 1"/>
          <p:cNvSpPr/>
          <p:nvPr/>
        </p:nvSpPr>
        <p:spPr bwMode="auto">
          <a:xfrm>
            <a:off x="3743232" y="1641484"/>
            <a:ext cx="3188218" cy="2922407"/>
          </a:xfrm>
          <a:prstGeom prst="roundRect">
            <a:avLst>
              <a:gd name="adj" fmla="val 2464"/>
            </a:avLst>
          </a:prstGeom>
          <a:solidFill>
            <a:schemeClr val="bg1">
              <a:lumMod val="95000"/>
            </a:schemeClr>
          </a:solidFill>
          <a:ln w="7620">
            <a:noFill/>
            <a:prstDash val="solid"/>
          </a:ln>
        </p:spPr>
        <p:txBody>
          <a:bodyPr lIns="108000" tIns="108000" rIns="108000" bIns="108000"/>
          <a:lstStyle/>
          <a:p>
            <a:pPr lvl="0">
              <a:spcAft>
                <a:spcPts val="1200"/>
              </a:spcAft>
              <a:buClr>
                <a:srgbClr val="DEC628"/>
              </a:buClr>
              <a:defRPr/>
            </a:pPr>
            <a:r>
              <a:rPr lang="de-DE" b="1">
                <a:latin typeface="Aptos"/>
              </a:rPr>
              <a:t>Medienkompetenz fördern</a:t>
            </a:r>
            <a:endParaRPr lang="de-DE">
              <a:latin typeface="Aptos"/>
            </a:endParaRPr>
          </a:p>
        </p:txBody>
      </p:sp>
      <p:pic>
        <p:nvPicPr>
          <p:cNvPr id="20" name="Image 0" descr="preencoded.png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6995" b="6995"/>
          <a:stretch/>
        </p:blipFill>
        <p:spPr bwMode="auto">
          <a:prstGeom prst="rect">
            <a:avLst/>
          </a:prstGeom>
        </p:spPr>
      </p:pic>
      <p:pic>
        <p:nvPicPr>
          <p:cNvPr id="12" name="Grafik 11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14327" y="2174481"/>
            <a:ext cx="2106378" cy="2106378"/>
          </a:xfrm>
          <a:prstGeom prst="rect">
            <a:avLst/>
          </a:prstGeom>
        </p:spPr>
      </p:pic>
      <p:pic>
        <p:nvPicPr>
          <p:cNvPr id="14" name="Grafik 13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964117" y="2370263"/>
            <a:ext cx="1058737" cy="1058737"/>
          </a:xfrm>
          <a:prstGeom prst="rect">
            <a:avLst/>
          </a:prstGeom>
        </p:spPr>
      </p:pic>
      <p:pic>
        <p:nvPicPr>
          <p:cNvPr id="16" name="Grafik 15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43739" y="2899631"/>
            <a:ext cx="1175921" cy="1175921"/>
          </a:xfrm>
          <a:prstGeom prst="rect">
            <a:avLst/>
          </a:prstGeom>
        </p:spPr>
      </p:pic>
      <p:pic>
        <p:nvPicPr>
          <p:cNvPr id="19" name="Grafik 18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2400323" y="5202386"/>
            <a:ext cx="1072234" cy="1072234"/>
          </a:xfrm>
          <a:prstGeom prst="rect">
            <a:avLst/>
          </a:prstGeom>
        </p:spPr>
      </p:pic>
      <p:pic>
        <p:nvPicPr>
          <p:cNvPr id="21" name="Grafik 20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472557" y="5202387"/>
            <a:ext cx="1072233" cy="107223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Rechtliche Rahmenbedingungen</a:t>
            </a: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 dirty="0"/>
              <a:t>KI–Anwendungen</a:t>
            </a:r>
            <a:br>
              <a:rPr lang="de-DE" sz="4200" dirty="0"/>
            </a:br>
            <a:r>
              <a:rPr lang="de-DE" sz="4200" dirty="0"/>
              <a:t>in der Schule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524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cs typeface="Segoe UI"/>
              </a:rPr>
              <a:t>Rechtliche Rahmenbedingung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</a:t>
            </a:r>
            <a:endParaRPr/>
          </a:p>
        </p:txBody>
      </p:sp>
      <p:sp>
        <p:nvSpPr>
          <p:cNvPr id="2" name="Rectangle 1"/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5696" y="1489663"/>
            <a:ext cx="11305730" cy="3749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und Schülerinnen und Schüler haben Grundkenntnisse zu KI (z. B. Fortbildung zu </a:t>
            </a:r>
            <a:r>
              <a:rPr lang="de-DE" b="0" i="0" u="none" strike="noStrike" cap="none" dirty="0" err="1">
                <a:ln>
                  <a:noFill/>
                </a:ln>
                <a:latin typeface="Aptos"/>
              </a:rPr>
              <a:t>ByLKI</a:t>
            </a:r>
            <a:r>
              <a:rPr lang="de-DE" b="0" i="0" u="none" strike="noStrike" cap="none" dirty="0">
                <a:ln>
                  <a:noFill/>
                </a:ln>
                <a:latin typeface="Aptos"/>
              </a:rPr>
              <a:t>, KI-Kompass), bevor sie KI-Systeme nutz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Nur datenschutzkonforme KI-Systeme werden eingesetz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s werden keine personenbezogenen Daten eingegeb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Eingaben von Schülerinnen und Schülern werden nicht zum Training der KI verwendet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KI-generierte Inhalte müssen immer gekennzeichnet werden.</a:t>
            </a:r>
            <a:endParaRPr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de-DE" b="0" i="0" u="none" strike="noStrike" cap="none" dirty="0">
              <a:ln>
                <a:noFill/>
              </a:ln>
              <a:latin typeface="Aptos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defRPr/>
            </a:pPr>
            <a:r>
              <a:rPr lang="de-DE" b="0" i="0" u="none" strike="noStrike" cap="none" dirty="0">
                <a:ln>
                  <a:noFill/>
                </a:ln>
                <a:latin typeface="Aptos"/>
              </a:rPr>
              <a:t> Lehrkräfte sowie Schülerinnen und Schüler prüfen KI-Inhalte auf Richtigkeit.</a:t>
            </a:r>
            <a:endParaRPr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auto">
          <a:xfrm>
            <a:off x="745068" y="1676900"/>
            <a:ext cx="7357740" cy="4091722"/>
          </a:xfrm>
        </p:spPr>
        <p:txBody>
          <a:bodyPr anchor="t"/>
          <a:lstStyle/>
          <a:p>
            <a:pPr algn="l">
              <a:defRPr/>
            </a:pPr>
            <a:r>
              <a:rPr lang="de-DE" sz="2400" dirty="0"/>
              <a:t>                 </a:t>
            </a:r>
            <a:endParaRPr dirty="0"/>
          </a:p>
          <a:p>
            <a:pPr algn="l">
              <a:defRPr/>
            </a:pPr>
            <a:r>
              <a:rPr lang="de-DE" sz="2400" b="1" dirty="0"/>
              <a:t>	    Rechtliche Rahmenbedingungen</a:t>
            </a:r>
            <a:endParaRPr lang="de-DE" sz="2400" dirty="0"/>
          </a:p>
          <a:p>
            <a:pPr algn="l">
              <a:defRPr/>
            </a:pPr>
            <a:r>
              <a:rPr lang="de-DE" sz="2400" dirty="0"/>
              <a:t>                 </a:t>
            </a:r>
            <a:r>
              <a:rPr lang="de-DE" sz="1800" dirty="0"/>
              <a:t>Urheberrecht, Altersgrenzen, Jugendschutz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600" dirty="0"/>
              <a:t>	      </a:t>
            </a:r>
            <a:r>
              <a:rPr lang="de-DE" sz="2400" b="1" dirty="0"/>
              <a:t>Schulische Rahmenbedingun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</a:t>
            </a:r>
            <a:r>
              <a:rPr lang="de-DE" sz="1800" dirty="0" err="1"/>
              <a:t>LehrplanPlus</a:t>
            </a:r>
            <a:r>
              <a:rPr lang="de-DE" sz="1800" dirty="0"/>
              <a:t>, Medienbildung, Didaktik</a:t>
            </a:r>
            <a:endParaRPr dirty="0"/>
          </a:p>
          <a:p>
            <a:pPr algn="l">
              <a:defRPr/>
            </a:pPr>
            <a:endParaRPr lang="de-DE" sz="1800" dirty="0"/>
          </a:p>
          <a:p>
            <a:pPr algn="l">
              <a:defRPr/>
            </a:pPr>
            <a:r>
              <a:rPr lang="de-DE" sz="1800" dirty="0"/>
              <a:t>	      </a:t>
            </a:r>
            <a:r>
              <a:rPr lang="de-DE" sz="2400" b="1" dirty="0"/>
              <a:t>Kritisches Hinterfragen</a:t>
            </a:r>
            <a:endParaRPr dirty="0"/>
          </a:p>
          <a:p>
            <a:pPr algn="l">
              <a:defRPr/>
            </a:pPr>
            <a:r>
              <a:rPr lang="de-DE" sz="2400" b="1" dirty="0"/>
              <a:t>                  </a:t>
            </a:r>
            <a:r>
              <a:rPr lang="de-DE" sz="1800" dirty="0"/>
              <a:t>Richtigkeit, ethische Fragestellungen</a:t>
            </a:r>
            <a:endParaRPr lang="de-DE" sz="2400" b="1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erwendung von KI-basierten System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Programme in der Schule – Rechtliche Rahmenbedingungen</a:t>
            </a:r>
            <a:endParaRPr/>
          </a:p>
        </p:txBody>
      </p:sp>
      <p:pic>
        <p:nvPicPr>
          <p:cNvPr id="3" name="Grafik 2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95882" y="1801276"/>
            <a:ext cx="963735" cy="963735"/>
          </a:xfrm>
          <a:prstGeom prst="rect">
            <a:avLst/>
          </a:prstGeom>
        </p:spPr>
      </p:pic>
      <p:pic>
        <p:nvPicPr>
          <p:cNvPr id="7" name="Grafik 6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5882" y="3075204"/>
            <a:ext cx="898116" cy="898116"/>
          </a:xfrm>
          <a:prstGeom prst="rect">
            <a:avLst/>
          </a:prstGeom>
        </p:spPr>
      </p:pic>
      <p:pic>
        <p:nvPicPr>
          <p:cNvPr id="8" name="Grafik 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095882" y="4305421"/>
            <a:ext cx="898116" cy="898116"/>
          </a:xfrm>
          <a:prstGeom prst="rect">
            <a:avLst/>
          </a:prstGeom>
        </p:spPr>
      </p:pic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8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445281" y="3973321"/>
            <a:ext cx="3403504" cy="2269002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1" y="526622"/>
            <a:ext cx="7319923" cy="1938992"/>
          </a:xfrm>
        </p:spPr>
        <p:txBody>
          <a:bodyPr/>
          <a:lstStyle/>
          <a:p>
            <a:pPr>
              <a:defRPr/>
            </a:pPr>
            <a:r>
              <a:rPr lang="de-DE" sz="4200" dirty="0"/>
              <a:t>Chancen von</a:t>
            </a:r>
            <a:br>
              <a:rPr lang="de-DE" sz="4200" dirty="0"/>
            </a:br>
            <a:r>
              <a:rPr lang="de-DE" sz="4200" dirty="0"/>
              <a:t>KI–Anwendungen</a:t>
            </a:r>
            <a:br>
              <a:rPr lang="de-DE" sz="4200" dirty="0"/>
            </a:br>
            <a:r>
              <a:rPr lang="de-DE" sz="4200" dirty="0"/>
              <a:t>in der Schule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59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455674" y="952885"/>
            <a:ext cx="10617754" cy="853799"/>
          </a:xfrm>
        </p:spPr>
        <p:txBody>
          <a:bodyPr/>
          <a:lstStyle/>
          <a:p>
            <a:pPr>
              <a:defRPr/>
            </a:pPr>
            <a:r>
              <a:rPr lang="de-DE"/>
              <a:t>Welche Chancen bieten KI-Anwendungen im Unterricht?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8444" y="2943416"/>
            <a:ext cx="10743873" cy="3000353"/>
          </a:xfrm>
        </p:spPr>
        <p:txBody>
          <a:bodyPr/>
          <a:lstStyle/>
          <a:p>
            <a:pPr>
              <a:defRPr/>
            </a:pPr>
            <a:r>
              <a:rPr lang="de-DE" sz="2400"/>
              <a:t>zur Lernunterstützung durch gestufte Hilfen</a:t>
            </a:r>
            <a:endParaRPr/>
          </a:p>
          <a:p>
            <a:pPr>
              <a:defRPr/>
            </a:pPr>
            <a:r>
              <a:rPr lang="de-DE" sz="2400"/>
              <a:t>zur gezielten Förderung/Differenzierung</a:t>
            </a:r>
            <a:endParaRPr/>
          </a:p>
          <a:p>
            <a:pPr>
              <a:defRPr/>
            </a:pPr>
            <a:r>
              <a:rPr lang="de-DE" sz="2400"/>
              <a:t>für Hilfestellungen in kreativen Aufgaben</a:t>
            </a:r>
            <a:endParaRPr/>
          </a:p>
          <a:p>
            <a:pPr>
              <a:defRPr/>
            </a:pPr>
            <a:r>
              <a:rPr lang="de-DE" sz="2400"/>
              <a:t>zur Erstellung von multimedialen Inhalten (Podcast, Hörspiel)</a:t>
            </a:r>
            <a:endParaRPr/>
          </a:p>
          <a:p>
            <a:pPr>
              <a:defRPr/>
            </a:pPr>
            <a:r>
              <a:rPr lang="de-DE" sz="2400"/>
              <a:t>als Unterstützung bei der Erstellung von Unterrichtsmaterialien</a:t>
            </a:r>
            <a:endParaRPr/>
          </a:p>
          <a:p>
            <a:pPr>
              <a:defRPr/>
            </a:pPr>
            <a:r>
              <a:rPr lang="de-DE" sz="2400"/>
              <a:t>als organisatorische Hilfe (Planung, Formulierung, etc.)</a:t>
            </a:r>
            <a:endParaRPr lang="de-DE"/>
          </a:p>
          <a:p>
            <a:pPr marL="0" indent="0">
              <a:buNone/>
              <a:defRPr/>
            </a:pPr>
            <a:endParaRPr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6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18" name="Textfeld 17"/>
          <p:cNvSpPr txBox="1"/>
          <p:nvPr/>
        </p:nvSpPr>
        <p:spPr bwMode="auto">
          <a:xfrm>
            <a:off x="455674" y="2116377"/>
            <a:ext cx="6470066" cy="457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400">
                <a:latin typeface="Aptos"/>
              </a:rPr>
              <a:t>KI-Anwendungen können eingesetzt werden…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31460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1231092"/>
            <a:ext cx="9211612" cy="427079"/>
          </a:xfrm>
        </p:spPr>
        <p:txBody>
          <a:bodyPr/>
          <a:lstStyle/>
          <a:p>
            <a:pPr>
              <a:defRPr/>
            </a:pPr>
            <a:r>
              <a:rPr lang="de-DE"/>
              <a:t>Ganz besonders wichtig ist uns: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1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29" name="Textplatzhalter 3"/>
          <p:cNvSpPr txBox="1"/>
          <p:nvPr/>
        </p:nvSpPr>
        <p:spPr bwMode="auto">
          <a:xfrm>
            <a:off x="3458817" y="2377551"/>
            <a:ext cx="7344299" cy="3249357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In der Schule werden nur KI-Anwendungen eingesetzt, die </a:t>
            </a:r>
            <a:r>
              <a:rPr lang="de-DE" sz="2400" b="1">
                <a:solidFill>
                  <a:srgbClr val="C00000"/>
                </a:solidFill>
              </a:rPr>
              <a:t>geprüft </a:t>
            </a:r>
            <a:r>
              <a:rPr lang="de-DE" sz="2400">
                <a:solidFill>
                  <a:srgbClr val="C00000"/>
                </a:solidFill>
              </a:rPr>
              <a:t>und für den Einsatz in der Schule </a:t>
            </a:r>
            <a:r>
              <a:rPr lang="de-DE" sz="2400" b="1">
                <a:solidFill>
                  <a:srgbClr val="C00000"/>
                </a:solidFill>
              </a:rPr>
              <a:t>freigegeben </a:t>
            </a:r>
            <a:r>
              <a:rPr lang="de-DE" sz="2400">
                <a:solidFill>
                  <a:srgbClr val="C00000"/>
                </a:solidFill>
              </a:rPr>
              <a:t>sind.</a:t>
            </a:r>
            <a:endParaRPr sz="2400"/>
          </a:p>
          <a:p>
            <a:pPr>
              <a:defRPr/>
            </a:pPr>
            <a:r>
              <a:rPr lang="de-DE" sz="2400">
                <a:solidFill>
                  <a:srgbClr val="C00000"/>
                </a:solidFill>
              </a:rPr>
              <a:t>Die </a:t>
            </a:r>
            <a:r>
              <a:rPr lang="de-DE" sz="2400" b="1">
                <a:solidFill>
                  <a:srgbClr val="C00000"/>
                </a:solidFill>
              </a:rPr>
              <a:t>Lehrkraft </a:t>
            </a:r>
            <a:r>
              <a:rPr lang="de-DE" sz="2400">
                <a:solidFill>
                  <a:srgbClr val="C00000"/>
                </a:solidFill>
              </a:rPr>
              <a:t>hat weiterhin die zentrale Rolle bei der Förderung der Schülerinnen und Schüler. KI-Anwendungen werden zur </a:t>
            </a:r>
            <a:r>
              <a:rPr lang="de-DE" sz="2400" b="1">
                <a:solidFill>
                  <a:srgbClr val="C00000"/>
                </a:solidFill>
              </a:rPr>
              <a:t>Unterstützung </a:t>
            </a:r>
            <a:r>
              <a:rPr lang="de-DE" sz="2400">
                <a:solidFill>
                  <a:srgbClr val="C00000"/>
                </a:solidFill>
              </a:rPr>
              <a:t>des Lernens eingesetzt.</a:t>
            </a:r>
            <a:endParaRPr sz="2400"/>
          </a:p>
          <a:p>
            <a:pPr>
              <a:defRPr/>
            </a:pPr>
            <a:endParaRPr lang="de-DE" sz="2400">
              <a:solidFill>
                <a:srgbClr val="C00000"/>
              </a:solidFill>
            </a:endParaRPr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  <a:p>
            <a:pPr>
              <a:defRPr/>
            </a:pPr>
            <a:endParaRPr lang="de-DE" sz="2400"/>
          </a:p>
        </p:txBody>
      </p:sp>
      <p:pic>
        <p:nvPicPr>
          <p:cNvPr id="30" name="Grafik 29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88882" y="2656984"/>
            <a:ext cx="1711145" cy="17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9664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6" y="731606"/>
            <a:ext cx="9548173" cy="853799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Grundschul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613466" y="3714285"/>
            <a:ext cx="2975566" cy="2611588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lösen in kleinen Schritten die Aufgab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8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9898414" y="6475333"/>
            <a:ext cx="1739259" cy="200685"/>
            <a:chOff x="9898414" y="6475333"/>
            <a:chExt cx="173925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9898414" y="6552907"/>
              <a:ext cx="173925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5.06.2025 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rcRect t="7647" b="4430"/>
          <a:stretch/>
        </p:blipFill>
        <p:spPr bwMode="auto">
          <a:xfrm>
            <a:off x="1179075" y="1640363"/>
            <a:ext cx="1703663" cy="2246803"/>
          </a:xfrm>
          <a:prstGeom prst="flowChartAlternateProcess">
            <a:avLst/>
          </a:prstGeom>
        </p:spPr>
      </p:pic>
      <p:sp>
        <p:nvSpPr>
          <p:cNvPr id="15" name="Textfeld 14"/>
          <p:cNvSpPr txBox="1"/>
          <p:nvPr/>
        </p:nvSpPr>
        <p:spPr bwMode="auto">
          <a:xfrm rot="11660252">
            <a:off x="1454567" y="3257545"/>
            <a:ext cx="510219" cy="32291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36:8=42</a:t>
            </a:r>
            <a:endParaRPr/>
          </a:p>
          <a:p>
            <a:pPr>
              <a:defRPr/>
            </a:pPr>
            <a:r>
              <a:rPr sz="600"/>
              <a:t>320:8=40</a:t>
            </a:r>
            <a:endParaRPr/>
          </a:p>
          <a:p>
            <a:pPr>
              <a:defRPr/>
            </a:pPr>
            <a:r>
              <a:rPr sz="600"/>
              <a:t>  16:8=  2</a:t>
            </a:r>
            <a:endParaRPr/>
          </a:p>
        </p:txBody>
      </p:sp>
      <p:sp>
        <p:nvSpPr>
          <p:cNvPr id="16" name="Textfeld 15"/>
          <p:cNvSpPr txBox="1"/>
          <p:nvPr/>
        </p:nvSpPr>
        <p:spPr bwMode="auto">
          <a:xfrm rot="11718693">
            <a:off x="1906790" y="3312243"/>
            <a:ext cx="444125" cy="32291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sz="600"/>
              <a:t>378:7=54</a:t>
            </a:r>
            <a:endParaRPr/>
          </a:p>
          <a:p>
            <a:pPr>
              <a:defRPr/>
            </a:pPr>
            <a:r>
              <a:rPr sz="600"/>
              <a:t>350:7=50</a:t>
            </a:r>
            <a:endParaRPr/>
          </a:p>
          <a:p>
            <a:pPr>
              <a:defRPr/>
            </a:pPr>
            <a:r>
              <a:rPr sz="600"/>
              <a:t>  28:7=  4</a:t>
            </a:r>
            <a:endParaRPr sz="2400"/>
          </a:p>
        </p:txBody>
      </p:sp>
      <p:sp>
        <p:nvSpPr>
          <p:cNvPr id="27" name="Textplatzhalter 3"/>
          <p:cNvSpPr txBox="1"/>
          <p:nvPr/>
        </p:nvSpPr>
        <p:spPr bwMode="auto">
          <a:xfrm>
            <a:off x="7981920" y="3768043"/>
            <a:ext cx="3655753" cy="2611589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Werkzeuge können die Schülerinnen und Schüler beim Schreibenlernen unterstützen durch Auswahl geeigneter Übungsformen und direktes Feedback. </a:t>
            </a:r>
            <a:endParaRPr/>
          </a:p>
          <a:p>
            <a:pPr marL="0" indent="0">
              <a:buFont typeface="Arial"/>
              <a:buNone/>
              <a:defRPr/>
            </a:pPr>
            <a:r>
              <a:rPr lang="de-DE" sz="1600"/>
              <a:t>Spezielle KI-gestützte Stifte helfen beim Erlernen einer  entspannten Stifthaltung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154641" y="3750233"/>
            <a:ext cx="3198267" cy="2611588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KI-Anwendungen können die Schülerinnen und Schüler beim Lesenlernen unterstützen durch Hilfestellungen und Training der Leseflüssigkei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5004" y="1675081"/>
            <a:ext cx="1510344" cy="2265517"/>
          </a:xfrm>
          <a:prstGeom prst="flowChartAlternateProcess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8895909" y="1640363"/>
            <a:ext cx="1558159" cy="2337237"/>
          </a:xfrm>
          <a:prstGeom prst="flowChartAlternateProcess">
            <a:avLst/>
          </a:prstGeom>
        </p:spPr>
      </p:pic>
    </p:spTree>
    <p:extLst>
      <p:ext uri="{BB962C8B-B14F-4D97-AF65-F5344CB8AC3E}">
        <p14:creationId xmlns:p14="http://schemas.microsoft.com/office/powerpoint/2010/main" val="2549495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751043"/>
            <a:ext cx="10288559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gezielten Förderung (Sekundarstufe)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734327" y="3730891"/>
            <a:ext cx="3240000" cy="2915281"/>
          </a:xfrm>
        </p:spPr>
        <p:txBody>
          <a:bodyPr lIns="180000" tIns="216000" rIns="180000" bIns="180000"/>
          <a:lstStyle/>
          <a:p>
            <a:pPr marL="0" indent="0">
              <a:buNone/>
              <a:defRPr/>
            </a:pPr>
            <a:r>
              <a:rPr lang="de-DE" sz="1600"/>
              <a:t>Adaptives Lernsystem für Mathematik: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Schülerinnen und Schüler können in kleinen Schritten die Aufgaben lösen, bekommen Hilfe zu den Lösungsschritten und direktes Feedback. </a:t>
            </a:r>
            <a:endParaRPr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19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775219" y="3329848"/>
            <a:ext cx="1027524" cy="262240"/>
            <a:chOff x="10610149" y="6475333"/>
            <a:chExt cx="1027524" cy="262240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610149" y="6491352"/>
              <a:ext cx="1027524" cy="24622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erstellt am 06.06.2025 </a:t>
              </a:r>
              <a:endParaRPr/>
            </a:p>
            <a:p>
              <a:pPr algn="r">
                <a:defRPr/>
              </a:pPr>
              <a:r>
                <a:rPr lang="de-DE">
                  <a:solidFill>
                    <a:schemeClr val="tx1"/>
                  </a:solidFill>
                </a:rPr>
                <a:t>mit ChatGPT 4</a:t>
              </a:r>
              <a:endParaRPr>
                <a:solidFill>
                  <a:schemeClr val="tx1"/>
                </a:solidFill>
              </a:endParaRPr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platzhalter 3"/>
          <p:cNvSpPr txBox="1"/>
          <p:nvPr/>
        </p:nvSpPr>
        <p:spPr bwMode="auto">
          <a:xfrm>
            <a:off x="7955884" y="3760736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600"/>
              <a:t>Die Lernenden können selbst verfasste Texte  mit KI-Anwendungen hinsichtlich Rechtschreibung, Grammatik, Satzbau und Ausdruck verbesser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 personalisierte  Feedback verbessern sie ihre Schreibkompetenzen. 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 sz="1600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sp>
        <p:nvSpPr>
          <p:cNvPr id="31" name="Textplatzhalter 3"/>
          <p:cNvSpPr txBox="1"/>
          <p:nvPr/>
        </p:nvSpPr>
        <p:spPr bwMode="auto">
          <a:xfrm>
            <a:off x="4324612" y="3733083"/>
            <a:ext cx="3240000" cy="2915282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216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600"/>
              <a:t>Interaktive KI-Anwendungen unterstützen Schülerinnen und Schüler beim Erlernen von Fremdsprachen.</a:t>
            </a:r>
            <a:endParaRPr/>
          </a:p>
          <a:p>
            <a:pPr marL="0" indent="0">
              <a:buNone/>
              <a:defRPr/>
            </a:pPr>
            <a:r>
              <a:rPr lang="de-DE" sz="1600"/>
              <a:t>Durch das KI-System werden die Inhalte an den Lernstand, das Interesse und den Zeitplan des Lernenden angepasst.</a:t>
            </a:r>
            <a:endParaRPr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  <a:p>
            <a:pPr marL="0" indent="0">
              <a:buFont typeface="Arial"/>
              <a:buNone/>
              <a:defRPr/>
            </a:pPr>
            <a:endParaRPr lang="de-DE"/>
          </a:p>
        </p:txBody>
      </p:sp>
      <p:pic>
        <p:nvPicPr>
          <p:cNvPr id="9" name="Grafik 8" descr="Ein Bild, das Zeichnung, Menschliches Gesicht, Entwurf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608213" y="1656697"/>
            <a:ext cx="1492228" cy="2238341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8" name="Grafik 17" descr="Ein Bild, das Entwurf, Zeichnung, Kinderkunst, Darstellung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876319" y="1640364"/>
            <a:ext cx="1492227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1" name="Grafik 20" descr="Ein Bild, das Büroausstattung, Schreibwaren, Werkzeug, Bürobedarf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3350465">
            <a:off x="10127223" y="3371396"/>
            <a:ext cx="282832" cy="424249"/>
          </a:xfrm>
          <a:prstGeom prst="rect">
            <a:avLst/>
          </a:prstGeom>
        </p:spPr>
      </p:pic>
      <p:pic>
        <p:nvPicPr>
          <p:cNvPr id="37" name="Grafik 36" descr="Ein Bild, das Zeichnung, Computer, Cartoon, computer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06292" y="1640364"/>
            <a:ext cx="2238340" cy="2238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4234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WAS IST KI UND WIE FUNKTIONIERT SIE?</a:t>
            </a:r>
            <a:endParaRPr/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Künstliche Intelligenz – Eine Einführung</a:t>
            </a:r>
            <a:endParaRPr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4327" y="809348"/>
            <a:ext cx="9850885" cy="861774"/>
          </a:xfrm>
        </p:spPr>
        <p:txBody>
          <a:bodyPr/>
          <a:lstStyle/>
          <a:p>
            <a:pPr>
              <a:defRPr/>
            </a:pPr>
            <a:r>
              <a:rPr lang="de-DE"/>
              <a:t>KI-Anwendungen zur Erstellung von multimedialen Inhalten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183581" cy="4637603"/>
          </a:xfrm>
        </p:spPr>
        <p:txBody>
          <a:bodyPr lIns="180000" tIns="180000" rIns="180000" bIns="180000"/>
          <a:lstStyle/>
          <a:p>
            <a:pPr marL="0" indent="0">
              <a:lnSpc>
                <a:spcPct val="100000"/>
              </a:lnSpc>
              <a:buNone/>
              <a:defRPr/>
            </a:pPr>
            <a:r>
              <a:rPr lang="de-DE" b="1"/>
              <a:t>Podcast: 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Die Schülerinnen und Schüler erstellen im Rahmen der Verfassungsviertelstunde kurze Texte zu den im Grundgesetz verankerten Grundrechten und ihrer Bedeutung für den Alltag in der Schule …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Die Schülerinnen und Schüler oder die Lehrkraft erstellen daraus mit Hilfe eines passenden KI-Werkzeugs einen Podcast …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/>
              <a:t>Hier ein Beispiel … </a:t>
            </a:r>
            <a:endParaRPr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spcBef>
                <a:spcPts val="0"/>
              </a:spcBef>
              <a:buNone/>
              <a:defRPr/>
            </a:pPr>
            <a:endParaRPr lang="de-DE"/>
          </a:p>
          <a:p>
            <a:pPr marL="0" indent="0">
              <a:buNone/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0</a:t>
            </a:fld>
            <a:endParaRPr lang="de-DE"/>
          </a:p>
        </p:txBody>
      </p:sp>
      <p:pic>
        <p:nvPicPr>
          <p:cNvPr id="8" name="Grafik 7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003525" y="233653"/>
            <a:ext cx="975823" cy="975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1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2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 descr="Ein Bild, das Muster, Quadrat, Pixel, Kreuzworträtsel enthält.&#10;&#10;KI-generierte Inhalte können fehlerhaft sein.">
            <a:hlinkClick r:id="rId4"/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89819" y="4993677"/>
            <a:ext cx="1054975" cy="1054975"/>
          </a:xfrm>
          <a:prstGeom prst="rect">
            <a:avLst/>
          </a:prstGeom>
        </p:spPr>
      </p:pic>
      <p:sp>
        <p:nvSpPr>
          <p:cNvPr id="15" name="Textplatzhalter 3"/>
          <p:cNvSpPr txBox="1"/>
          <p:nvPr/>
        </p:nvSpPr>
        <p:spPr bwMode="auto">
          <a:xfrm>
            <a:off x="6274092" y="1671122"/>
            <a:ext cx="5183581" cy="4637603"/>
          </a:xfrm>
          <a:prstGeom prst="roundRect">
            <a:avLst>
              <a:gd name="adj" fmla="val 3275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27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54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2pPr>
            <a:lvl3pPr marL="810000" indent="-270000" algn="l" defTabSz="914400">
              <a:lnSpc>
                <a:spcPct val="110000"/>
              </a:lnSpc>
              <a:spcBef>
                <a:spcPts val="1500"/>
              </a:spcBef>
              <a:buClr>
                <a:srgbClr val="DEC628"/>
              </a:buClr>
              <a:buFont typeface="Arial"/>
              <a:buChar char="•"/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/>
              <a:buNone/>
              <a:defRPr/>
            </a:pPr>
            <a:r>
              <a:rPr lang="de-DE" b="1" dirty="0"/>
              <a:t>Hörspiel: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ie Schülerinnen und Schüler erstellen im Deutschunterricht mit Hilfe von KI ein Drehbuch für ein Hörspiel mit genauen Angaben zu den Dialogen, Geräuschen und Musikeinspielungen …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r>
              <a:rPr lang="de-DE" dirty="0"/>
              <a:t>Dann sprechen die Schülerinnen und Schüler die Dialoge ein, nehmen die Geräusche und die Musik auf und mischen ihr Hörspiel ab. </a:t>
            </a:r>
            <a:endParaRPr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spcBef>
                <a:spcPts val="0"/>
              </a:spcBef>
              <a:buFont typeface="Arial"/>
              <a:buNone/>
              <a:defRPr/>
            </a:pPr>
            <a:endParaRPr lang="de-DE" dirty="0"/>
          </a:p>
          <a:p>
            <a:pPr marL="0" indent="0">
              <a:buFont typeface="Arial"/>
              <a:buNone/>
              <a:defRPr/>
            </a:pPr>
            <a:endParaRPr lang="de-DE" dirty="0"/>
          </a:p>
        </p:txBody>
      </p:sp>
      <p:sp>
        <p:nvSpPr>
          <p:cNvPr id="5" name="Foliennummernplatzhalter 5"/>
          <p:cNvSpPr txBox="1"/>
          <p:nvPr/>
        </p:nvSpPr>
        <p:spPr bwMode="auto">
          <a:xfrm>
            <a:off x="3248666" y="6109187"/>
            <a:ext cx="1537280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chemeClr val="tx1"/>
                </a:solidFill>
              </a:rPr>
              <a:t>erstellt am 04.06.2025 mit FOBIZZ</a:t>
            </a:r>
            <a:endParaRPr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942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weitere Materialien</a:t>
            </a: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1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7" name="Gruppieren 16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8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9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1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Chancen von KI-Anwendungen in der Schule</a:t>
            </a:r>
            <a:endParaRPr/>
          </a:p>
          <a:p>
            <a:pPr>
              <a:defRPr/>
            </a:pPr>
            <a:endParaRPr lang="de-DE"/>
          </a:p>
        </p:txBody>
      </p:sp>
      <p:grpSp>
        <p:nvGrpSpPr>
          <p:cNvPr id="2" name="Gruppieren 1"/>
          <p:cNvGrpSpPr/>
          <p:nvPr/>
        </p:nvGrpSpPr>
        <p:grpSpPr bwMode="auto">
          <a:xfrm>
            <a:off x="610194" y="1666874"/>
            <a:ext cx="2578982" cy="2182812"/>
            <a:chOff x="0" y="0"/>
            <a:chExt cx="2578982" cy="2182812"/>
          </a:xfrm>
        </p:grpSpPr>
        <p:sp>
          <p:nvSpPr>
            <p:cNvPr id="5" name="Oval 4"/>
            <p:cNvSpPr/>
            <p:nvPr/>
          </p:nvSpPr>
          <p:spPr bwMode="auto">
            <a:xfrm>
              <a:off x="0" y="0"/>
              <a:ext cx="2182812" cy="21828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 bwMode="auto">
            <a:xfrm>
              <a:off x="521913" y="218280"/>
              <a:ext cx="205706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3" tooltip="https://www.klicksafe.de/kuenstliche-intelligenz"/>
                </a:rPr>
                <a:t>Klicksafe</a:t>
              </a:r>
              <a:endParaRPr/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461367" y="634999"/>
              <a:ext cx="1260078" cy="1260078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 bwMode="auto">
          <a:xfrm>
            <a:off x="2839223" y="3695656"/>
            <a:ext cx="2321718" cy="2321718"/>
            <a:chOff x="0" y="0"/>
            <a:chExt cx="2321718" cy="2321718"/>
          </a:xfrm>
        </p:grpSpPr>
        <p:sp>
          <p:nvSpPr>
            <p:cNvPr id="15" name="Oval 14"/>
            <p:cNvSpPr/>
            <p:nvPr/>
          </p:nvSpPr>
          <p:spPr bwMode="auto">
            <a:xfrm>
              <a:off x="0" y="0"/>
              <a:ext cx="2321718" cy="232171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6" name="Textfeld 15"/>
            <p:cNvSpPr txBox="1"/>
            <p:nvPr/>
          </p:nvSpPr>
          <p:spPr bwMode="auto">
            <a:xfrm>
              <a:off x="257618" y="327422"/>
              <a:ext cx="1995016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sz="1600" u="sng">
                  <a:hlinkClick r:id="rId5" tooltip="https://www.km.bayern.de/gestalten/digitalisierung/kuenstliche-intelligenz"/>
                </a:rPr>
                <a:t>Kultusministerium</a:t>
              </a:r>
              <a:endParaRPr sz="1600"/>
            </a:p>
          </p:txBody>
        </p:sp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486171" y="693541"/>
              <a:ext cx="1349374" cy="1349374"/>
            </a:xfrm>
            <a:prstGeom prst="rect">
              <a:avLst/>
            </a:prstGeom>
          </p:spPr>
        </p:pic>
      </p:grpSp>
      <p:grpSp>
        <p:nvGrpSpPr>
          <p:cNvPr id="21" name="Gruppieren 20"/>
          <p:cNvGrpSpPr/>
          <p:nvPr/>
        </p:nvGrpSpPr>
        <p:grpSpPr bwMode="auto">
          <a:xfrm>
            <a:off x="5391985" y="1330139"/>
            <a:ext cx="2311796" cy="2311796"/>
            <a:chOff x="0" y="0"/>
            <a:chExt cx="2311796" cy="2311796"/>
          </a:xfrm>
        </p:grpSpPr>
        <p:sp>
          <p:nvSpPr>
            <p:cNvPr id="22" name="Oval 21"/>
            <p:cNvSpPr/>
            <p:nvPr/>
          </p:nvSpPr>
          <p:spPr bwMode="auto">
            <a:xfrm>
              <a:off x="0" y="0"/>
              <a:ext cx="2311796" cy="2311796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3" name="Textfeld 22"/>
            <p:cNvSpPr txBox="1"/>
            <p:nvPr/>
          </p:nvSpPr>
          <p:spPr bwMode="auto">
            <a:xfrm>
              <a:off x="496093" y="282773"/>
              <a:ext cx="1351623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u="sng">
                  <a:hlinkClick r:id="rId7" tooltip="https://www.fragzebra.de/themenwelt/k%C3%BCnstliche-intelligenz"/>
                </a:rPr>
                <a:t>FragZebra</a:t>
              </a:r>
              <a:endParaRPr/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496093" y="669726"/>
              <a:ext cx="1319609" cy="1319609"/>
            </a:xfrm>
            <a:prstGeom prst="rect">
              <a:avLst/>
            </a:prstGeom>
          </p:spPr>
        </p:pic>
      </p:grpSp>
      <p:grpSp>
        <p:nvGrpSpPr>
          <p:cNvPr id="25" name="Gruppieren 24"/>
          <p:cNvGrpSpPr/>
          <p:nvPr/>
        </p:nvGrpSpPr>
        <p:grpSpPr bwMode="auto">
          <a:xfrm>
            <a:off x="7952933" y="2823026"/>
            <a:ext cx="2450702" cy="2450702"/>
            <a:chOff x="0" y="0"/>
            <a:chExt cx="2450702" cy="2450702"/>
          </a:xfrm>
        </p:grpSpPr>
        <p:sp>
          <p:nvSpPr>
            <p:cNvPr id="26" name="Oval 25"/>
            <p:cNvSpPr/>
            <p:nvPr/>
          </p:nvSpPr>
          <p:spPr bwMode="auto">
            <a:xfrm>
              <a:off x="0" y="0"/>
              <a:ext cx="2450702" cy="245070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7" name="Textfeld 26"/>
            <p:cNvSpPr txBox="1"/>
            <p:nvPr/>
          </p:nvSpPr>
          <p:spPr bwMode="auto">
            <a:xfrm>
              <a:off x="355722" y="307577"/>
              <a:ext cx="1845828" cy="366119"/>
            </a:xfrm>
            <a:prstGeom prst="rect">
              <a:avLst/>
            </a:prstGeom>
            <a:noFill/>
          </p:spPr>
          <p:txBody>
            <a:bodyPr vertOverflow="overflow" horzOverflow="overflow" vert="horz" wrap="square" lIns="91440" tIns="45720" rIns="91440" bIns="45720" numCol="1" spcCol="0" rtlCol="0" fromWordArt="0" anchor="t" anchorCtr="0" forceAA="0" compatLnSpc="0">
              <a:spAutoFit/>
            </a:bodyPr>
            <a:lstStyle/>
            <a:p>
              <a:pPr>
                <a:defRPr/>
              </a:pPr>
              <a:r>
                <a:rPr lang="de-DE" sz="1800" b="0" i="0" u="sng" strike="noStrike" cap="none" spc="0">
                  <a:solidFill>
                    <a:schemeClr val="tx1"/>
                  </a:solidFill>
                  <a:latin typeface="Arial"/>
                  <a:ea typeface="Arial"/>
                  <a:cs typeface="Arial"/>
                  <a:hlinkClick r:id="rId9" tooltip="https://www.ardaudiothek.de/sendung/der-ki-podcast/94632864/"/>
                </a:rPr>
                <a:t>Der KI-Podcast</a:t>
              </a:r>
              <a:endParaRPr/>
            </a:p>
          </p:txBody>
        </p:sp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10"/>
            <a:stretch/>
          </p:blipFill>
          <p:spPr bwMode="auto">
            <a:xfrm>
              <a:off x="572988" y="728763"/>
              <a:ext cx="1304726" cy="13047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52115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0861" y="5124852"/>
            <a:ext cx="5545135" cy="594137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Herzlich willkommen </a:t>
            </a:r>
            <a:b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</a:br>
            <a:r>
              <a:rPr lang="de-DE" sz="1800" spc="1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Segoe UI"/>
              </a:rPr>
              <a:t>zum Elternabend am XX.XX.XXXX </a:t>
            </a:r>
            <a:endParaRPr lang="de-DE" spc="10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….bei der Nutzung von KI-Anwendungen in der Schule</a:t>
            </a: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213659" y="6475333"/>
            <a:ext cx="3424014" cy="200685"/>
            <a:chOff x="8213659" y="6475333"/>
            <a:chExt cx="3424014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213659" y="6552907"/>
              <a:ext cx="3424014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in Junge lernt mit KI am Computer – erstellt mit ChatGPT 4.o am 05.06.2025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>
          <a:xfrm>
            <a:off x="550862" y="1016951"/>
            <a:ext cx="7319923" cy="1292662"/>
          </a:xfrm>
        </p:spPr>
        <p:txBody>
          <a:bodyPr/>
          <a:lstStyle/>
          <a:p>
            <a:pPr>
              <a:defRPr/>
            </a:pPr>
            <a:r>
              <a:rPr lang="de-DE" sz="4200"/>
              <a:t>Unterstützung </a:t>
            </a:r>
            <a:r>
              <a:rPr lang="de-DE" sz="4200" dirty="0"/>
              <a:t>im häuslichen </a:t>
            </a:r>
            <a:r>
              <a:rPr lang="de-DE" sz="4200" dirty="0" err="1"/>
              <a:t>bereich</a:t>
            </a:r>
            <a:r>
              <a:rPr lang="de-DE" sz="4200" dirty="0"/>
              <a:t> …</a:t>
            </a:r>
            <a:endParaRPr dirty="0"/>
          </a:p>
        </p:txBody>
      </p:sp>
      <p:pic>
        <p:nvPicPr>
          <p:cNvPr id="4" name="Grafik 3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025833" y="2617836"/>
            <a:ext cx="4952037" cy="330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006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034" y="780608"/>
            <a:ext cx="9572704" cy="369332"/>
          </a:xfrm>
        </p:spPr>
        <p:txBody>
          <a:bodyPr/>
          <a:lstStyle/>
          <a:p>
            <a:pPr>
              <a:defRPr/>
            </a:pPr>
            <a:r>
              <a:rPr lang="de-DE" sz="2400"/>
              <a:t>Wichtige fragen zum Umgang mit ki-Anwendungen zu hause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46492"/>
            <a:ext cx="5535486" cy="4906415"/>
          </a:xfrm>
        </p:spPr>
        <p:txBody>
          <a:bodyPr/>
          <a:lstStyle/>
          <a:p>
            <a:pPr>
              <a:defRPr/>
            </a:pPr>
            <a:r>
              <a:rPr lang="de-DE" dirty="0"/>
              <a:t>Wie kann ich mein Kind unterstützen?</a:t>
            </a:r>
            <a:endParaRPr dirty="0"/>
          </a:p>
          <a:p>
            <a:pPr>
              <a:defRPr/>
            </a:pPr>
            <a:r>
              <a:rPr lang="de-DE" dirty="0"/>
              <a:t>Macht mein Kind seine Hausaufgaben jetzt nur noch mit KI-Anwendungen? </a:t>
            </a:r>
            <a:endParaRPr dirty="0"/>
          </a:p>
          <a:p>
            <a:pPr>
              <a:defRPr/>
            </a:pPr>
            <a:r>
              <a:rPr lang="de-DE" dirty="0"/>
              <a:t>Lernt mein Kind dann überhaupt noch etwas eigenständig?</a:t>
            </a:r>
            <a:endParaRPr dirty="0"/>
          </a:p>
          <a:p>
            <a:pPr>
              <a:defRPr/>
            </a:pPr>
            <a:r>
              <a:rPr lang="de-DE" dirty="0"/>
              <a:t>Welche KI-Anwendungen sollen wir verwenden?</a:t>
            </a:r>
            <a:endParaRPr dirty="0"/>
          </a:p>
          <a:p>
            <a:pPr>
              <a:defRPr/>
            </a:pPr>
            <a:r>
              <a:rPr lang="de-DE" dirty="0"/>
              <a:t>Gibt es bestimmte Regeln?</a:t>
            </a:r>
            <a:endParaRPr dirty="0"/>
          </a:p>
          <a:p>
            <a:pPr marL="0" indent="0">
              <a:buNone/>
              <a:defRPr/>
            </a:pPr>
            <a:r>
              <a:rPr lang="de-DE" b="1" dirty="0"/>
              <a:t>Vielleicht haben Sie genau diese oder noch weitere Fragen…?</a:t>
            </a:r>
            <a:endParaRPr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5286681" y="4636662"/>
            <a:ext cx="439674" cy="982271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5524961" y="5371980"/>
            <a:ext cx="381024" cy="806400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3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1">
            <a:off x="9359432" y="3277181"/>
            <a:ext cx="2352074" cy="2352074"/>
          </a:xfrm>
          <a:prstGeom prst="rect">
            <a:avLst/>
          </a:prstGeom>
        </p:spPr>
      </p:pic>
      <p:cxnSp>
        <p:nvCxnSpPr>
          <p:cNvPr id="12" name="Gerader Verbinder 14"/>
          <p:cNvCxnSpPr>
            <a:cxnSpLocks/>
          </p:cNvCxnSpPr>
          <p:nvPr/>
        </p:nvCxnSpPr>
        <p:spPr bwMode="auto">
          <a:xfrm>
            <a:off x="11457673" y="6475333"/>
            <a:ext cx="35251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/>
          <p:cNvGrpSpPr/>
          <p:nvPr/>
        </p:nvGrpSpPr>
        <p:grpSpPr bwMode="auto">
          <a:xfrm>
            <a:off x="6363839" y="2532669"/>
            <a:ext cx="2995594" cy="1437010"/>
            <a:chOff x="6631678" y="1841440"/>
            <a:chExt cx="2995594" cy="1437010"/>
          </a:xfrm>
        </p:grpSpPr>
        <p:sp>
          <p:nvSpPr>
            <p:cNvPr id="13" name="Abgerundete rechteckige Legende 12"/>
            <p:cNvSpPr/>
            <p:nvPr/>
          </p:nvSpPr>
          <p:spPr bwMode="auto">
            <a:xfrm>
              <a:off x="6631678" y="1841440"/>
              <a:ext cx="2995594" cy="1437010"/>
            </a:xfrm>
            <a:prstGeom prst="wedgeRoundRectCallout">
              <a:avLst>
                <a:gd name="adj1" fmla="val 61044"/>
                <a:gd name="adj2" fmla="val -6622"/>
                <a:gd name="adj3" fmla="val 16667"/>
              </a:avLst>
            </a:prstGeom>
            <a:solidFill>
              <a:srgbClr val="FFFF99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Textfeld 13"/>
            <p:cNvSpPr txBox="1"/>
            <p:nvPr/>
          </p:nvSpPr>
          <p:spPr bwMode="auto">
            <a:xfrm>
              <a:off x="6798899" y="1893455"/>
              <a:ext cx="266115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de-DE" sz="2800" b="1">
                  <a:latin typeface="Ink Free"/>
                </a:rPr>
                <a:t>,,Wir arbeiten jetzt mit KI in der Schule!“</a:t>
              </a:r>
              <a:endParaRPr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17" name="Foliennummernplatzhalter 5"/>
          <p:cNvSpPr txBox="1"/>
          <p:nvPr/>
        </p:nvSpPr>
        <p:spPr bwMode="auto">
          <a:xfrm>
            <a:off x="10398297" y="5869416"/>
            <a:ext cx="1540486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5.6.2025 mit ChatGPT4</a:t>
            </a:r>
            <a:endParaRPr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5 Tipps für sie als erziehungsberechtigte: 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1. Interesse zeigen / Neugier fördern und im Gespräch bleiben 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2. Selbst inform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3. Ggf. externe Hilfe such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4. Gemeinsam Regeln aufstellen &amp; visualisieren</a:t>
            </a:r>
            <a:endParaRPr/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de-DE" sz="2800"/>
              <a:t>5. Begleiten – aber auch vertrauen (Bewusst machen der Risiken &amp;  zu kreativem und kompetentem Gebrauch ermutigen)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24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4" y="1671122"/>
            <a:ext cx="5786498" cy="463760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sz="2400" b="1"/>
              <a:t>Diese Fragen können helfen:</a:t>
            </a:r>
            <a:endParaRPr lang="de-DE" sz="2400"/>
          </a:p>
          <a:p>
            <a:pPr>
              <a:defRPr/>
            </a:pPr>
            <a:r>
              <a:rPr lang="de-DE"/>
              <a:t>Wie habt ihr das in der Schule gemacht?</a:t>
            </a:r>
            <a:endParaRPr/>
          </a:p>
          <a:p>
            <a:pPr>
              <a:defRPr/>
            </a:pPr>
            <a:r>
              <a:rPr lang="de-DE"/>
              <a:t>Welche KI-Anwendungen habt ihr verwendet?</a:t>
            </a:r>
            <a:endParaRPr/>
          </a:p>
          <a:p>
            <a:pPr>
              <a:defRPr/>
            </a:pPr>
            <a:r>
              <a:rPr lang="de-DE"/>
              <a:t>Was habt ihr damit ausprobiert?</a:t>
            </a:r>
            <a:endParaRPr/>
          </a:p>
          <a:p>
            <a:pPr>
              <a:defRPr/>
            </a:pPr>
            <a:r>
              <a:rPr lang="de-DE"/>
              <a:t>Schauen wir es uns zusammen noch einmal an?</a:t>
            </a:r>
            <a:endParaRPr/>
          </a:p>
          <a:p>
            <a:pPr marL="0" indent="0">
              <a:buNone/>
              <a:defRPr/>
            </a:pPr>
            <a:r>
              <a:rPr lang="de-DE" b="1"/>
              <a:t>Wir informieren uns gemeinsam als Familie!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5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pic>
        <p:nvPicPr>
          <p:cNvPr id="9" name="Grafik 8" descr="Ein Bild, das Animierter Cartoon, Animation, Darstellung, Cartoon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771708" y="2372139"/>
            <a:ext cx="4697679" cy="3131786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>
          <a:xfrm>
            <a:off x="568018" y="53875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1. Interesse zeig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6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auto">
          <a:xfrm>
            <a:off x="546629" y="2906464"/>
            <a:ext cx="3378323" cy="615553"/>
          </a:xfrm>
        </p:spPr>
        <p:txBody>
          <a:bodyPr/>
          <a:lstStyle/>
          <a:p>
            <a:pPr>
              <a:defRPr/>
            </a:pPr>
            <a:r>
              <a:rPr lang="de-DE"/>
              <a:t>Suchfunktionen / Auto-Vervollständigungen</a:t>
            </a:r>
            <a:endParaRPr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 bwMode="auto">
          <a:xfrm>
            <a:off x="550862" y="4075181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Kamera &amp; Fotos</a:t>
            </a:r>
            <a:endParaRPr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 bwMode="auto">
          <a:xfrm>
            <a:off x="554327" y="5243899"/>
            <a:ext cx="4000625" cy="307777"/>
          </a:xfrm>
        </p:spPr>
        <p:txBody>
          <a:bodyPr/>
          <a:lstStyle/>
          <a:p>
            <a:pPr>
              <a:defRPr/>
            </a:pPr>
            <a:r>
              <a:rPr lang="de-DE"/>
              <a:t>Sprachassistenten</a:t>
            </a:r>
            <a:endParaRPr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usik- &amp; Videoempfehlungen</a:t>
            </a:r>
            <a:endParaRPr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4"/>
          </p:nvPr>
        </p:nvSpPr>
        <p:spPr bwMode="auto">
          <a:xfrm>
            <a:off x="8262815" y="2906464"/>
            <a:ext cx="3378323" cy="307777"/>
          </a:xfrm>
        </p:spPr>
        <p:txBody>
          <a:bodyPr/>
          <a:lstStyle/>
          <a:p>
            <a:pPr>
              <a:defRPr/>
            </a:pPr>
            <a:r>
              <a:rPr lang="de-DE"/>
              <a:t>Social Media Feeds</a:t>
            </a:r>
            <a:endParaRPr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5"/>
          </p:nvPr>
        </p:nvSpPr>
        <p:spPr bwMode="auto">
          <a:xfrm>
            <a:off x="8262814" y="4075180"/>
            <a:ext cx="3379042" cy="305159"/>
          </a:xfrm>
        </p:spPr>
        <p:txBody>
          <a:bodyPr/>
          <a:lstStyle/>
          <a:p>
            <a:pPr>
              <a:defRPr/>
            </a:pPr>
            <a:r>
              <a:rPr lang="de-DE"/>
              <a:t>Spiele-Apps</a:t>
            </a:r>
            <a:endParaRPr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16"/>
          </p:nvPr>
        </p:nvSpPr>
        <p:spPr bwMode="auto">
          <a:xfrm>
            <a:off x="7636205" y="5243899"/>
            <a:ext cx="4004933" cy="307777"/>
          </a:xfrm>
        </p:spPr>
        <p:txBody>
          <a:bodyPr/>
          <a:lstStyle/>
          <a:p>
            <a:pPr>
              <a:defRPr/>
            </a:pPr>
            <a:r>
              <a:rPr lang="de-DE"/>
              <a:t>Chats &amp; Übersetzungsfunktionen</a:t>
            </a:r>
            <a:endParaRPr/>
          </a:p>
        </p:txBody>
      </p:sp>
      <p:grpSp>
        <p:nvGrpSpPr>
          <p:cNvPr id="18" name="Gruppieren 17"/>
          <p:cNvGrpSpPr/>
          <p:nvPr/>
        </p:nvGrpSpPr>
        <p:grpSpPr bwMode="auto">
          <a:xfrm>
            <a:off x="4324708" y="2867688"/>
            <a:ext cx="900000" cy="900000"/>
            <a:chOff x="4289185" y="3182473"/>
            <a:chExt cx="900000" cy="900000"/>
          </a:xfrm>
        </p:grpSpPr>
        <p:sp>
          <p:nvSpPr>
            <p:cNvPr id="19" name="Ellipse 13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Ellipse 14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21" name="Gruppieren 20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22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23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24" name="Gruppieren 23"/>
          <p:cNvGrpSpPr/>
          <p:nvPr/>
        </p:nvGrpSpPr>
        <p:grpSpPr bwMode="auto">
          <a:xfrm>
            <a:off x="6963059" y="2867688"/>
            <a:ext cx="900000" cy="900000"/>
            <a:chOff x="4289185" y="3182473"/>
            <a:chExt cx="900000" cy="900000"/>
          </a:xfrm>
        </p:grpSpPr>
        <p:sp>
          <p:nvSpPr>
            <p:cNvPr id="38" name="Ellipse 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39" name="Ellipse 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46" name="Gruppieren 4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47" name="Freihandform: Form 26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54" name="Freihandform: Form 27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55" name="Gruppieren 54"/>
          <p:cNvGrpSpPr/>
          <p:nvPr/>
        </p:nvGrpSpPr>
        <p:grpSpPr bwMode="auto">
          <a:xfrm>
            <a:off x="4362925" y="4028925"/>
            <a:ext cx="900000" cy="900000"/>
            <a:chOff x="4289185" y="3182473"/>
            <a:chExt cx="900000" cy="900000"/>
          </a:xfrm>
        </p:grpSpPr>
        <p:sp>
          <p:nvSpPr>
            <p:cNvPr id="62" name="Ellipse 3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4" name="Ellipse 32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0" name="Gruppieren 69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1" name="Freihandform: Form 34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2" name="Freihandform: Form 35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3" name="Gruppieren 72"/>
          <p:cNvGrpSpPr/>
          <p:nvPr/>
        </p:nvGrpSpPr>
        <p:grpSpPr bwMode="auto">
          <a:xfrm>
            <a:off x="6914327" y="4028925"/>
            <a:ext cx="900000" cy="900000"/>
            <a:chOff x="4289185" y="3182473"/>
            <a:chExt cx="900000" cy="900000"/>
          </a:xfrm>
        </p:grpSpPr>
        <p:sp>
          <p:nvSpPr>
            <p:cNvPr id="74" name="Ellipse 40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75" name="Ellipse 41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76" name="Gruppieren 75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77" name="Freihandform: Form 4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78" name="Freihandform: Form 4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79" name="Gruppieren 78"/>
          <p:cNvGrpSpPr/>
          <p:nvPr/>
        </p:nvGrpSpPr>
        <p:grpSpPr bwMode="auto">
          <a:xfrm>
            <a:off x="6372481" y="5101675"/>
            <a:ext cx="900000" cy="900000"/>
            <a:chOff x="4289185" y="3182473"/>
            <a:chExt cx="900000" cy="900000"/>
          </a:xfrm>
        </p:grpSpPr>
        <p:sp>
          <p:nvSpPr>
            <p:cNvPr id="80" name="Ellipse 48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1" name="Ellipse 49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2" name="Gruppieren 81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3" name="Freihandform: Form 51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84" name="Freihandform: Form 52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85" name="Gruppieren 84"/>
          <p:cNvGrpSpPr/>
          <p:nvPr/>
        </p:nvGrpSpPr>
        <p:grpSpPr bwMode="auto">
          <a:xfrm>
            <a:off x="4919519" y="5101675"/>
            <a:ext cx="900000" cy="900000"/>
            <a:chOff x="4289185" y="3182473"/>
            <a:chExt cx="900000" cy="900000"/>
          </a:xfrm>
        </p:grpSpPr>
        <p:sp>
          <p:nvSpPr>
            <p:cNvPr id="86" name="Ellipse 56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87" name="Ellipse 57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88" name="Gruppieren 87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89" name="Freihandform: Form 59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0" name="Freihandform: Form 60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1" name="Gruppieren 90"/>
          <p:cNvGrpSpPr/>
          <p:nvPr/>
        </p:nvGrpSpPr>
        <p:grpSpPr bwMode="auto">
          <a:xfrm>
            <a:off x="5562481" y="2011620"/>
            <a:ext cx="900000" cy="900000"/>
            <a:chOff x="4289185" y="3182473"/>
            <a:chExt cx="900000" cy="900000"/>
          </a:xfrm>
        </p:grpSpPr>
        <p:sp>
          <p:nvSpPr>
            <p:cNvPr id="92" name="Ellipse 61"/>
            <p:cNvSpPr/>
            <p:nvPr/>
          </p:nvSpPr>
          <p:spPr bwMode="auto">
            <a:xfrm flipH="1">
              <a:off x="4289185" y="3182473"/>
              <a:ext cx="900000" cy="900000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93" name="Ellipse 63"/>
            <p:cNvSpPr/>
            <p:nvPr/>
          </p:nvSpPr>
          <p:spPr bwMode="auto">
            <a:xfrm flipH="1">
              <a:off x="4379185" y="327247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defRPr/>
              </a:pPr>
              <a:endParaRPr lang="de-DE" sz="2800">
                <a:solidFill>
                  <a:schemeClr val="accent1"/>
                </a:solidFill>
                <a:latin typeface="Aptos"/>
              </a:endParaRPr>
            </a:p>
          </p:txBody>
        </p:sp>
        <p:grpSp>
          <p:nvGrpSpPr>
            <p:cNvPr id="94" name="Gruppieren 93"/>
            <p:cNvGrpSpPr/>
            <p:nvPr/>
          </p:nvGrpSpPr>
          <p:grpSpPr bwMode="auto">
            <a:xfrm>
              <a:off x="4379185" y="3272473"/>
              <a:ext cx="720000" cy="720000"/>
              <a:chOff x="-356480" y="4360321"/>
              <a:chExt cx="2641600" cy="2641600"/>
            </a:xfrm>
          </p:grpSpPr>
          <p:sp>
            <p:nvSpPr>
              <p:cNvPr id="95" name="Freihandform: Form 3"/>
              <p:cNvSpPr/>
              <p:nvPr/>
            </p:nvSpPr>
            <p:spPr bwMode="auto">
              <a:xfrm>
                <a:off x="-356480" y="4360321"/>
                <a:ext cx="2641600" cy="2641600"/>
              </a:xfrm>
              <a:custGeom>
                <a:avLst/>
                <a:gdLst>
                  <a:gd name="connsiteX0" fmla="*/ 1320800 w 2641600"/>
                  <a:gd name="connsiteY0" fmla="*/ 0 h 2641600"/>
                  <a:gd name="connsiteX1" fmla="*/ 0 w 2641600"/>
                  <a:gd name="connsiteY1" fmla="*/ 1320800 h 2641600"/>
                  <a:gd name="connsiteX2" fmla="*/ 1320800 w 2641600"/>
                  <a:gd name="connsiteY2" fmla="*/ 2641600 h 2641600"/>
                  <a:gd name="connsiteX3" fmla="*/ 2641600 w 2641600"/>
                  <a:gd name="connsiteY3" fmla="*/ 1320800 h 2641600"/>
                  <a:gd name="connsiteX4" fmla="*/ 1320800 w 2641600"/>
                  <a:gd name="connsiteY4" fmla="*/ 0 h 2641600"/>
                  <a:gd name="connsiteX5" fmla="*/ 1931619 w 2641600"/>
                  <a:gd name="connsiteY5" fmla="*/ 1098296 h 2641600"/>
                  <a:gd name="connsiteX6" fmla="*/ 1271219 w 2641600"/>
                  <a:gd name="connsiteY6" fmla="*/ 1860296 h 2641600"/>
                  <a:gd name="connsiteX7" fmla="*/ 1124712 w 2641600"/>
                  <a:gd name="connsiteY7" fmla="*/ 1930400 h 2641600"/>
                  <a:gd name="connsiteX8" fmla="*/ 1117600 w 2641600"/>
                  <a:gd name="connsiteY8" fmla="*/ 1930400 h 2641600"/>
                  <a:gd name="connsiteX9" fmla="*/ 973938 w 2641600"/>
                  <a:gd name="connsiteY9" fmla="*/ 1870863 h 2641600"/>
                  <a:gd name="connsiteX10" fmla="*/ 618338 w 2641600"/>
                  <a:gd name="connsiteY10" fmla="*/ 1515263 h 2641600"/>
                  <a:gd name="connsiteX11" fmla="*/ 618338 w 2641600"/>
                  <a:gd name="connsiteY11" fmla="*/ 1227938 h 2641600"/>
                  <a:gd name="connsiteX12" fmla="*/ 905662 w 2641600"/>
                  <a:gd name="connsiteY12" fmla="*/ 1227938 h 2641600"/>
                  <a:gd name="connsiteX13" fmla="*/ 1106831 w 2641600"/>
                  <a:gd name="connsiteY13" fmla="*/ 1429309 h 2641600"/>
                  <a:gd name="connsiteX14" fmla="*/ 1624381 w 2641600"/>
                  <a:gd name="connsiteY14" fmla="*/ 832307 h 2641600"/>
                  <a:gd name="connsiteX15" fmla="*/ 1910893 w 2641600"/>
                  <a:gd name="connsiteY15" fmla="*/ 811784 h 2641600"/>
                  <a:gd name="connsiteX16" fmla="*/ 1931619 w 2641600"/>
                  <a:gd name="connsiteY16" fmla="*/ 1098296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16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cubicBezTo>
                      <a:pt x="2049069" y="2641600"/>
                      <a:pt x="2641600" y="2049069"/>
                      <a:pt x="2641600" y="1320800"/>
                    </a:cubicBezTo>
                    <a:cubicBezTo>
                      <a:pt x="2641600" y="592531"/>
                      <a:pt x="2049069" y="0"/>
                      <a:pt x="1320800" y="0"/>
                    </a:cubicBezTo>
                    <a:close/>
                    <a:moveTo>
                      <a:pt x="1931619" y="1098296"/>
                    </a:move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97789" y="1148487"/>
                      <a:pt x="826211" y="1148487"/>
                      <a:pt x="905662" y="1227938"/>
                    </a:cubicBezTo>
                    <a:lnTo>
                      <a:pt x="1106831" y="1429309"/>
                    </a:lnTo>
                    <a:lnTo>
                      <a:pt x="1624381" y="832307"/>
                    </a:lnTo>
                    <a:cubicBezTo>
                      <a:pt x="1697939" y="747370"/>
                      <a:pt x="1826362" y="738632"/>
                      <a:pt x="1910893" y="811784"/>
                    </a:cubicBezTo>
                    <a:cubicBezTo>
                      <a:pt x="1995831" y="885139"/>
                      <a:pt x="2004975" y="1013562"/>
                      <a:pt x="1931619" y="1098296"/>
                    </a:cubicBezTo>
                    <a:close/>
                  </a:path>
                </a:pathLst>
              </a:custGeom>
              <a:solidFill>
                <a:srgbClr val="E8DC7B">
                  <a:alpha val="80000"/>
                </a:srgbClr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  <p:sp>
            <p:nvSpPr>
              <p:cNvPr id="96" name="Freihandform: Form 4"/>
              <p:cNvSpPr/>
              <p:nvPr/>
            </p:nvSpPr>
            <p:spPr bwMode="auto">
              <a:xfrm>
                <a:off x="-356480" y="4360321"/>
                <a:ext cx="1320800" cy="2641600"/>
              </a:xfrm>
              <a:custGeom>
                <a:avLst/>
                <a:gdLst>
                  <a:gd name="connsiteX0" fmla="*/ 1320800 w 1320800"/>
                  <a:gd name="connsiteY0" fmla="*/ 0 h 2641600"/>
                  <a:gd name="connsiteX1" fmla="*/ 0 w 1320800"/>
                  <a:gd name="connsiteY1" fmla="*/ 1320800 h 2641600"/>
                  <a:gd name="connsiteX2" fmla="*/ 1320800 w 1320800"/>
                  <a:gd name="connsiteY2" fmla="*/ 2641600 h 2641600"/>
                  <a:gd name="connsiteX3" fmla="*/ 1320800 w 1320800"/>
                  <a:gd name="connsiteY3" fmla="*/ 1802993 h 2641600"/>
                  <a:gd name="connsiteX4" fmla="*/ 1271219 w 1320800"/>
                  <a:gd name="connsiteY4" fmla="*/ 1860296 h 2641600"/>
                  <a:gd name="connsiteX5" fmla="*/ 1124712 w 1320800"/>
                  <a:gd name="connsiteY5" fmla="*/ 1930400 h 2641600"/>
                  <a:gd name="connsiteX6" fmla="*/ 1117600 w 1320800"/>
                  <a:gd name="connsiteY6" fmla="*/ 1930400 h 2641600"/>
                  <a:gd name="connsiteX7" fmla="*/ 973938 w 1320800"/>
                  <a:gd name="connsiteY7" fmla="*/ 1870863 h 2641600"/>
                  <a:gd name="connsiteX8" fmla="*/ 618338 w 1320800"/>
                  <a:gd name="connsiteY8" fmla="*/ 1515263 h 2641600"/>
                  <a:gd name="connsiteX9" fmla="*/ 618338 w 1320800"/>
                  <a:gd name="connsiteY9" fmla="*/ 1227938 h 2641600"/>
                  <a:gd name="connsiteX10" fmla="*/ 762000 w 1320800"/>
                  <a:gd name="connsiteY10" fmla="*/ 1168400 h 2641600"/>
                  <a:gd name="connsiteX11" fmla="*/ 905662 w 1320800"/>
                  <a:gd name="connsiteY11" fmla="*/ 1227938 h 2641600"/>
                  <a:gd name="connsiteX12" fmla="*/ 1106831 w 1320800"/>
                  <a:gd name="connsiteY12" fmla="*/ 1429309 h 2641600"/>
                  <a:gd name="connsiteX13" fmla="*/ 1320800 w 1320800"/>
                  <a:gd name="connsiteY13" fmla="*/ 1182421 h 264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0800" h="2641600" extrusionOk="0">
                    <a:moveTo>
                      <a:pt x="1320800" y="0"/>
                    </a:moveTo>
                    <a:cubicBezTo>
                      <a:pt x="592531" y="0"/>
                      <a:pt x="0" y="592531"/>
                      <a:pt x="0" y="1320800"/>
                    </a:cubicBezTo>
                    <a:cubicBezTo>
                      <a:pt x="0" y="2049069"/>
                      <a:pt x="592531" y="2641600"/>
                      <a:pt x="1320800" y="2641600"/>
                    </a:cubicBezTo>
                    <a:lnTo>
                      <a:pt x="1320800" y="1802993"/>
                    </a:lnTo>
                    <a:lnTo>
                      <a:pt x="1271219" y="1860296"/>
                    </a:lnTo>
                    <a:cubicBezTo>
                      <a:pt x="1234237" y="1902968"/>
                      <a:pt x="1181202" y="1928165"/>
                      <a:pt x="1124712" y="1930400"/>
                    </a:cubicBezTo>
                    <a:lnTo>
                      <a:pt x="1117600" y="1930400"/>
                    </a:lnTo>
                    <a:cubicBezTo>
                      <a:pt x="1063752" y="1930400"/>
                      <a:pt x="1012139" y="1909064"/>
                      <a:pt x="973938" y="1870863"/>
                    </a:cubicBezTo>
                    <a:lnTo>
                      <a:pt x="618338" y="1515263"/>
                    </a:lnTo>
                    <a:cubicBezTo>
                      <a:pt x="538887" y="1435811"/>
                      <a:pt x="538887" y="1307389"/>
                      <a:pt x="618338" y="1227938"/>
                    </a:cubicBezTo>
                    <a:cubicBezTo>
                      <a:pt x="657962" y="1188314"/>
                      <a:pt x="709981" y="1168400"/>
                      <a:pt x="762000" y="1168400"/>
                    </a:cubicBezTo>
                    <a:cubicBezTo>
                      <a:pt x="814019" y="1168400"/>
                      <a:pt x="866038" y="1188314"/>
                      <a:pt x="905662" y="1227938"/>
                    </a:cubicBezTo>
                    <a:lnTo>
                      <a:pt x="1106831" y="1429309"/>
                    </a:lnTo>
                    <a:lnTo>
                      <a:pt x="1320800" y="1182421"/>
                    </a:lnTo>
                    <a:close/>
                  </a:path>
                </a:pathLst>
              </a:custGeom>
              <a:solidFill>
                <a:srgbClr val="DEC628"/>
              </a:solidFill>
              <a:ln w="203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de-DE">
                  <a:latin typeface="Aptos"/>
                </a:endParaRPr>
              </a:p>
            </p:txBody>
          </p:sp>
        </p:grpSp>
      </p:grpSp>
      <p:grpSp>
        <p:nvGrpSpPr>
          <p:cNvPr id="98" name="Gruppieren 97"/>
          <p:cNvGrpSpPr/>
          <p:nvPr/>
        </p:nvGrpSpPr>
        <p:grpSpPr bwMode="auto">
          <a:xfrm>
            <a:off x="10901894" y="6475333"/>
            <a:ext cx="735779" cy="200685"/>
            <a:chOff x="10901894" y="6475333"/>
            <a:chExt cx="735779" cy="200685"/>
          </a:xfrm>
        </p:grpSpPr>
        <p:sp>
          <p:nvSpPr>
            <p:cNvPr id="99" name="Foliennummernplatzhalter 5"/>
            <p:cNvSpPr txBox="1"/>
            <p:nvPr/>
          </p:nvSpPr>
          <p:spPr bwMode="auto">
            <a:xfrm>
              <a:off x="10901894" y="6552907"/>
              <a:ext cx="735779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nangaben</a:t>
              </a:r>
              <a:endParaRPr/>
            </a:p>
          </p:txBody>
        </p:sp>
        <p:cxnSp>
          <p:nvCxnSpPr>
            <p:cNvPr id="100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764611" y="997858"/>
            <a:ext cx="9868809" cy="366120"/>
          </a:xfrm>
        </p:spPr>
        <p:txBody>
          <a:bodyPr/>
          <a:lstStyle/>
          <a:p>
            <a:pPr>
              <a:defRPr/>
            </a:pPr>
            <a:r>
              <a:rPr lang="de-DE" sz="2400" b="1"/>
              <a:t>Hier begegnen uns KI-Anwendungen  bereits im Alltag</a:t>
            </a:r>
            <a:endParaRPr/>
          </a:p>
        </p:txBody>
      </p:sp>
      <p:grpSp>
        <p:nvGrpSpPr>
          <p:cNvPr id="5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5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1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6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" name="Inhaltsplatzhalter 2"/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/>
        </p:blipFill>
        <p:spPr bwMode="auto">
          <a:xfrm>
            <a:off x="8612945" y="2993283"/>
            <a:ext cx="2475687" cy="2541182"/>
          </a:xfr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</a:t>
            </a:r>
            <a:endParaRPr/>
          </a:p>
        </p:txBody>
      </p:sp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7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406545" y="2065309"/>
            <a:ext cx="795236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2800"/>
              <a:t>Informieren Sie sich selbst, so gut es geht. Sie sind für Ihr Kind immer der erste Ansprechpartner bei Fragen und Problemen</a:t>
            </a:r>
            <a:endParaRPr/>
          </a:p>
          <a:p>
            <a:pPr>
              <a:defRPr/>
            </a:pPr>
            <a:r>
              <a:rPr lang="de-DE" sz="2800"/>
              <a:t> —&gt; Seien Sie bereit für diesen Fall!</a:t>
            </a:r>
            <a:endParaRPr/>
          </a:p>
        </p:txBody>
      </p:sp>
      <p:sp>
        <p:nvSpPr>
          <p:cNvPr id="7" name="Rechteck 6"/>
          <p:cNvSpPr/>
          <p:nvPr/>
        </p:nvSpPr>
        <p:spPr bwMode="auto">
          <a:xfrm>
            <a:off x="8506691" y="5534466"/>
            <a:ext cx="3056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u="sng">
                <a:hlinkClick r:id="rId4" tooltip="https://ki-campus.org/podcasts/kikapiert?locale=de"/>
              </a:rPr>
              <a:t>KI kapiert | KI-Campus</a:t>
            </a:r>
            <a:endParaRPr lang="de-DE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320673" cy="1723549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2. Selbst informieren - </a:t>
            </a:r>
            <a:r>
              <a:rPr lang="de-DE"/>
              <a:t>Auch KI-Systeme können fehlerhaft und vorurteilsbehaftet sein!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auto">
          <a:xfrm>
            <a:off x="554327" y="2456557"/>
            <a:ext cx="11081494" cy="4701913"/>
          </a:xfrm>
        </p:spPr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de-DE" sz="2800"/>
              <a:t> KI-Anwendungen können sich irren und Vorurteile übernehm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KI-generierte Ergebnisse müssen selbst geprüft, reflektiert und hinterfragt werden.</a:t>
            </a:r>
            <a:endParaRPr/>
          </a:p>
          <a:p>
            <a:pPr>
              <a:lnSpc>
                <a:spcPct val="150000"/>
              </a:lnSpc>
              <a:defRPr/>
            </a:pPr>
            <a:r>
              <a:rPr lang="de-DE" sz="2800"/>
              <a:t>Alle Ausgaben kritisch hinterfragen und gemeinsam einordnen.</a:t>
            </a:r>
            <a:endParaRPr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8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8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9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0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4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5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205182" y="1616840"/>
            <a:ext cx="5292436" cy="480458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hlinkClick r:id="rId3" tooltip="http://www.weitklick.de"/>
              </a:rPr>
              <a:t>Weitere Informationen für Eltern: </a:t>
            </a:r>
            <a:endParaRPr/>
          </a:p>
          <a:p>
            <a:pPr>
              <a:defRPr/>
            </a:pPr>
            <a:r>
              <a:rPr lang="de-DE" u="sng">
                <a:hlinkClick r:id="rId3" tooltip="http://www.weitklick.de"/>
              </a:rPr>
              <a:t>www.weitklick.de</a:t>
            </a:r>
            <a:endParaRPr lang="de-DE"/>
          </a:p>
          <a:p>
            <a:pPr>
              <a:defRPr/>
            </a:pPr>
            <a:r>
              <a:rPr lang="de-DE" u="sng">
                <a:hlinkClick r:id="rId4" tooltip="http://www.schu"/>
              </a:rPr>
              <a:t>www.schau-hin.info</a:t>
            </a:r>
            <a:r>
              <a:rPr lang="de-DE"/>
              <a:t> </a:t>
            </a:r>
            <a:endParaRPr/>
          </a:p>
          <a:p>
            <a:pPr>
              <a:defRPr/>
            </a:pPr>
            <a:r>
              <a:rPr lang="de-DE" u="sng">
                <a:hlinkClick r:id="rId5" tooltip="http://www.fragzebra.de"/>
              </a:rPr>
              <a:t>www.fragzebra.de</a:t>
            </a:r>
            <a:endParaRPr lang="de-DE"/>
          </a:p>
          <a:p>
            <a:pPr>
              <a:defRPr/>
            </a:pPr>
            <a:r>
              <a:rPr lang="de-DE" u="sng">
                <a:hlinkClick r:id="rId6" tooltip="http://www.klicksafe.de"/>
              </a:rPr>
              <a:t>www.klicksafe.de</a:t>
            </a:r>
            <a:endParaRPr lang="de-DE" u="sng"/>
          </a:p>
          <a:p>
            <a:pPr>
              <a:defRPr/>
            </a:pPr>
            <a:r>
              <a:rPr lang="de-DE" u="sng">
                <a:hlinkClick r:id="rId7" tooltip="https://www.km.bayern.de/gestalten/digitalisierung/unterrichten-in-der-digitalen-welt/beratung-digitale-bildung"/>
              </a:rPr>
              <a:t>Beratung digitale Bildung in Bayern | Unterrichten in der digitalen Welt | Digitalisierung | Bayerisches Staatsministerium für Unterricht und Kultus</a:t>
            </a:r>
            <a:endParaRPr lang="de-DE" u="sng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29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pic>
        <p:nvPicPr>
          <p:cNvPr id="23" name="Grafik 22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 rot="2361590">
            <a:off x="8039804" y="2047372"/>
            <a:ext cx="3132416" cy="3132416"/>
          </a:xfrm>
          <a:prstGeom prst="rect">
            <a:avLst/>
          </a:prstGeom>
        </p:spPr>
      </p:pic>
      <p:sp>
        <p:nvSpPr>
          <p:cNvPr id="24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EINSTIEG INS THEMA </a:t>
            </a:r>
            <a:endParaRPr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117364" y="387531"/>
            <a:ext cx="652481" cy="626749"/>
          </a:xfrm>
          <a:prstGeom prst="rect">
            <a:avLst/>
          </a:prstGeom>
        </p:spPr>
      </p:pic>
      <p:sp>
        <p:nvSpPr>
          <p:cNvPr id="2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460520" y="6475333"/>
            <a:ext cx="3177153" cy="200685"/>
            <a:chOff x="8460520" y="6475333"/>
            <a:chExt cx="3177153" cy="200685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460520" y="6552907"/>
              <a:ext cx="317715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KI-Campus: https://ki-campus.org/overview/video CC BY-SA 4.0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6" name="Grafik 5" descr="Ein Bild, das Cartoon, computer, Computer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9317947" y="4619558"/>
            <a:ext cx="2475048" cy="1650032"/>
          </a:xfrm>
          <a:prstGeom prst="rect">
            <a:avLst/>
          </a:prstGeom>
        </p:spPr>
      </p:pic>
      <p:pic>
        <p:nvPicPr>
          <p:cNvPr id="9" name="Inhaltsplatzhalter 8">
            <a:hlinkClick r:id="rId6"/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/>
          <a:stretch/>
        </p:blipFill>
        <p:spPr bwMode="auto">
          <a:xfrm>
            <a:off x="2278201" y="1438313"/>
            <a:ext cx="6492875" cy="3255430"/>
          </a:xfrm>
        </p:spPr>
      </p:pic>
      <p:sp>
        <p:nvSpPr>
          <p:cNvPr id="10" name="Textfeld 9"/>
          <p:cNvSpPr txBox="1"/>
          <p:nvPr/>
        </p:nvSpPr>
        <p:spPr bwMode="auto">
          <a:xfrm>
            <a:off x="2278201" y="4865689"/>
            <a:ext cx="65652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3000">
                <a:solidFill>
                  <a:srgbClr val="DEC628"/>
                </a:solidFill>
                <a:latin typeface="Aptos"/>
              </a:rPr>
              <a:t>Was ist eigentlich Künstliche Intelligenz?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m="http://schemas.openxmlformats.org/officeDocument/2006/math" xmlns:w="http://schemas.openxmlformats.org/wordprocessingml/2006/main">
      <p:transition spd="slow" advClick="1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3. ggf. externe Hilfen suchen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2309548" y="1747760"/>
            <a:ext cx="5051834" cy="447754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u="sng">
                <a:solidFill>
                  <a:schemeClr val="tx1"/>
                </a:solidFill>
              </a:rPr>
              <a:t>Beratungsangebote:</a:t>
            </a:r>
            <a:endParaRPr lang="de-DE">
              <a:solidFill>
                <a:schemeClr val="tx1"/>
              </a:solidFill>
            </a:endParaRPr>
          </a:p>
          <a:p>
            <a:pPr>
              <a:defRPr/>
            </a:pPr>
            <a:r>
              <a:rPr lang="de-DE"/>
              <a:t>Wenden Sie sich an die Schule Ihres Kindes: </a:t>
            </a:r>
            <a:r>
              <a:rPr lang="de-DE" sz="1400"/>
              <a:t>(Schule Telefonnummer/ Mailadresse)</a:t>
            </a:r>
            <a:endParaRPr/>
          </a:p>
          <a:p>
            <a:pPr>
              <a:defRPr/>
            </a:pPr>
            <a:r>
              <a:rPr lang="de-DE"/>
              <a:t>Beratungslehrer: </a:t>
            </a:r>
            <a:r>
              <a:rPr lang="de-DE" sz="1400"/>
              <a:t>(Schule Name einfügen)</a:t>
            </a:r>
            <a:endParaRPr/>
          </a:p>
          <a:p>
            <a:pPr>
              <a:defRPr/>
            </a:pPr>
            <a:r>
              <a:rPr lang="de-DE" u="sng">
                <a:hlinkClick r:id="rId3" tooltip="https://mebis.bycs.de/bdb"/>
              </a:rPr>
              <a:t>Beratung digitale Bildung | mebis Magazin</a:t>
            </a:r>
            <a:r>
              <a:rPr lang="de-DE"/>
              <a:t> (Hier kann der zuständige BdB gesucht werden)</a:t>
            </a:r>
            <a:endParaRPr/>
          </a:p>
          <a:p>
            <a:pPr>
              <a:defRPr/>
            </a:pPr>
            <a:r>
              <a:rPr lang="de-DE" u="sng">
                <a:hlinkClick r:id="rId4" tooltip="https://www.schulberatung.bayern.de/"/>
              </a:rPr>
              <a:t>Staatliche Schulberatung in Bayern</a:t>
            </a: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0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cxnSp>
        <p:nvCxnSpPr>
          <p:cNvPr id="1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grpSp>
        <p:nvGrpSpPr>
          <p:cNvPr id="14" name="Grafik 13"/>
          <p:cNvGrpSpPr/>
          <p:nvPr/>
        </p:nvGrpSpPr>
        <p:grpSpPr bwMode="auto">
          <a:xfrm>
            <a:off x="11169749" y="376595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4" name="AutoShape 2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155575" y="-3889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8" name="AutoShape 4" descr="data:image/png;base64,iVBORw0KGgoAAAANSUhEUgAABuwAAAbsCAYAAAD8trVtAAAAAXNSR0IArs4c6QAAIABJREFUeF7s3WmwLNtZ5vf/Wiszq2pPZ7z3zOcOaEASAgSi6aCBBloYaHqKhjYBbmOHw43DDvuTv/uDw+FwOBxhY0d0W0HbDgNtWzSGCLoBt7AMiAYasJgENEYIoelOZ9pzVWXmWsvxrqw6Z+tKSPeec/fd05NXW+fsfaqyMn+ZtfeOfPJ9X5dzzmiRgAQkIAEJSEACEpCABCQgAQlIQAISkIAEJCABCUhAAhKQgASORMApsDsSd72oBCQgAQlIQAISkIAEJCABCUhAAhKQgAQkIAEJSEACEpCABIqAAjudCB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KQgAQkIAEJSEACEpCABCQgAQlIQAISOEIBBXZHiK+XloAEJCABCUhAAhKQgAQkIAEJSEACEpCABCQgAQlIQAISkIACO50DEpCABCQgAQlIQAISkIAEJCABCUhAAhKQgAQkIAEJSEACEjhCAQV2R4ivl5aABCQgAQlIQAISkIAEJCABCUhAAhKQgAQkIAEJSEACEpCAAjudAxKQgAQkIAEJSEACEpCABCQgAQlIQAISkIAEJCABCUhAAhI4QgEFdkeIr5eWgAQkIAEJSEACEpCABCQgAQlIQAISkIAEJCABCUhAAhKQgAI7nQMSkIAEJCABCUhAAhI4SwIZcLbDiUwc/lr+35e/xezL33JO5TG2eJfBDY/sU7X8a/lzeNaj9fVUuMVaD7Lay9pSL9Y5PKOs/cBXoHr42bDm4TGPFr9c0Rda+XJXUoLsH23cciXL3Rx2BV69LnvccoceOi0e63py7HGhedUWvbGf5hhxrnroXbZxuS0Ouhzx3uMWG5/NOrvhmGQ7VnbsHu2Yc7kYZvsvZyqqxb5/7s7nhYlLbnF+HPA54NWF/QWSJxQsO18WaBl61x84Jw6eH8NjbBvc4lwqx2i5GYvtf3jqHPR/9WOWx3lJX/Y5ls+cC2/sAdHaJCABCUhAAhKQgAQkIAEJvEkCCuzeJGi9jAQkIAEJSEACEpCABI6LwBDoJCzMGZYheBmWV0VkFqosF/un0H+B3ViGQAfCpWwBUVceW/IZv3iN/sD6XIKyDYvXLH8/EIgtwqeIhTGJ7DIhjYbtdv2BWNAeOGxDvwyXFvtSwsfyfMuhHOlz9nXYlUxLTPvE1LLafpqcHMlCv/LYIdjs+xkx9aT+7qEexs39wSIvEjRHoKoqRqMJTdNQV9fIKdHHrvxpAdWomVBP1qEekbjIMq8bVrEMXodjXcX60aF+aPUonB18hucttuTAOZGo4uTR/n+h4PPA4V3gQgl/h7AuV0OgdjDoXb6ehYrLCHkIAj9/8XHx1UcZ86EeD61cAhKQgAQkIAEJSEACEpDAmyWgwO7NktbrSEACEpCABCQgAQlI4BgIWA5lgddQ5fSopKyEPNkK0yxkC+TsiYs8zx66LIpysSvPtaCorGNZAbbM/sJsqG47GLzZfpeqt56+ehTIHQxkHv49twsl274DqUxZv1XN2fYty7F6Up7R9tu0/S4xzRi1r9DHGSnukdwObdxi3t4n5j1wkYvzTfp+Shc36dMunnbhUUEO7Pj5UAXGolLLWWDXk9KclCKrfnSoR/HTd8cP15+TX1Q6Wt7ZlMq6vnNDhd3igJRcsdS6WeVjwKddHA3Br9JU56jDBqFeJzDGuRouPlXW5fyEplqn8qvU5c8x3lesXnonWJWdnRAWsmaIizw1FJL46GQony3C30V86uMivF0c0IPxr612qN6002E4B50360zKqbgH/+oKuVfHdnsLHwv07LUcOdv5OpyLn/f0Qz1aWrkEJCABCUhAAhKQgAQkIIE3TkCB3RtnqTVJQAISkIAEJCABCUjgRAoswzrbePu75W3LgG4IXCy0staKkfpAEGePHbplWhtHe2RPj1VgJRxWiWdVcBYmWQhjgZhlQQlXqu8cpb2lOxDIlEK6lyHNiXGTtnuFrh8+2viAHPdpum36uEff3adL94lpC9y8BD/eB5q+WbSEDOVzW1waXsOCrrnrShg5VBla+GTbOccxIzPHc354jv3n/MN1ZBdLeJbyo0DtMA72Zz41JoSqfFigZYGcVftZWGhL5dPnBHYW6g2hXdlD6tCWfYuL+jjbB/t6qW6zr4fBYhlIDoHbo2Xf7ZJjoK4usDp+mnHzNE04R1VvMB6tMXUXGY9WWVm9zGR0kao+h/drOL+Ct9dyQ1XlcNYMZ4Ity9cZHQxhF9t8MNTzeVnBebDq89H2dYuqvmVrVPuznKuvbql5GAdH65SABCQgAQlIQAISkIAEJHCIAgrsDhFXq5aABCQgAQlIQAISkMDxEzg4qO0LbJ3lQiUA6Q+ELxa21SVwa5NVMSV8Cejiom1hDRaKHZwVt1x1CVhm0O0Q44ww/xSp36Ht7jPrXySmF2m7z9K2L9PFB8z8XgnySlhmUVOOhGV6WKKnPRwrpYrMUQ+v4lrIUzL7hHzt4Qy3UoXmIsTlfDNfisfKkpsyKy4sAqWc+0WotWzPOTxnuSwDr1R9oSF6b9xRfumF1WGXDsxiM4uhqtGR+vli+5ehoz22KiGeBZS7/j7Lyjz7epmHlwPJDY9f65aBms3Bq8rX7c9h8YSqpe8t1MwlNLSlS3157aqqiXEZCDp6CzCdhXtj6vEqTTMiV8+Xir1Rc5nx+Cork5usja/QjC7h/GqZt1cq90puOJxDi5ceDku/qB58OOfOlWO2rPL8nHDvcw7Q4pPPaYn6xh0XrUkCEpCABCQgAQlIQAISkMBhCyiwO2xhrV8CEpCABCQgAQlIQALHSsBaDy5TDQuBlhs3RCHzEsIN1U1+8bhwcBZaaYE5VMuVxYK7foscN8k2B276+3T9DrP2RaYWxHUv0Ke7pLRJzlMaV5VKNfuo8Dhf4V2NS0NLRPxkqLxbzDwbWiimh9vifY2Fa6TpYkaeRW5jvBuXEG+32i9ft7q+h4uFdovFu4ZMR0rWetOquUb4NMK7VVyuSdXu4rW7Ieyz1y8VekO1Xv2qirQ3+tB++s5aKXMcjIaquGVYV17LT8u2LEM2O5bLsNG2d8y5h88tgdhiH2KpELQk1PZ/GXvFIcB86BNp0joxmotVTXqssrBP9ndHqDxVtHNmqP6zILC3ikyb+bdokRpKxeKwWDVl2Q+bh7c8z1aeZTI6x8r4GpPRTSb1dVZH15lMruLrDZisPTqvhrWU6rzl031ahrQH5O0cNKtXBZ1v9LHR+iQgAQlIQAISkIAEJCABCRymgAK7w9TVuiUgAQlIQAISkIAEJHDsBIbA7nODIJsF19Gnjuw2qK0I6mAhmc2D6x8QrRXl3kfL/LdZ+1mm3afo4ktkC+PctDzHp60yKy1km6c2VGh5rErOZt8lpm48hDiLFpNLnqFFJYyXgcxyhpx9MT+aa7bn9ob1+9Gjlpd5Tioh3JxRvvBQ3LbHXqsET3kIqTr3It6NCP4czsI6a9OZu7JvJchzTy8CLAvrhqBqCOuGkCzk/UM9op98afIwoBvaWT5ahpacfelZaiHZMkS0gjXnh/10sSEyVAuW7fcWZD0KLNOipWlpYVqqJC1YG/bVliZdGAJR+0oJ3KzSsvQqLV9zpeXpcjlQhWitTp1j1M+Gf8w249COfyjbO/wddt3uUGDn7azIpdXnUEFnLU09vXsro2aDyeQ6Gyu3WFu5zfrkFisrV6DZGNa97IH5KHceXjIPVYhaJCABCUhAAhKQgAQkIAEJnEQBBXYn8ahpmyUgAQlIQAISkIAEJPDYAkNLzGVgt2xL2Pb7zLspk9mHmfebtLPPMJ1/ir59gdy/gsvz0p6yb0Jpf1lq8FJVQi77umdOpmXuL5XQZAjLcpkf53MoFW/equvSooLNUptF9dwQ2AxByzIsyn74/OC/2eeVFXblIegZQrhqCNKoSyjUuq0DMougbxH4uZRJwVpOWlRkodYQLlnQZW03nVX8laBrqDDLVi1Wquusosxagga6AzPaHvsQfJEn3n3p4sOWnkuLgw+3XSnz52zQ4MNQc9gfC/PqsJhVV6ojLTSz/RocLOSzCsEhzBv8U/lz8e9WpeZ38AdaZJbnLcK20ibTDRV9xS1Z9d9wLhSvnJmG1RLGBjv+JMIiCFxW9TX9iOWxteeU0G6xg6WKL0/LNudg55mjy8N6bRss0HPnvoqmOsfK5Bpra8+ysnqL1cktmubyYobeYRwVrVMCEpCABCQgAQlIQAISkMDhCyiwO3xjvYIEJCABCUhAAhKQwFkSOFiZVv6++IJb9nm0cqjhq5ZRHZzJVeKnEob4MuvLMpdsc8se1jdBk22GmQU2i7aUViFWuhNa20ALzqzlZKa8XGlbeADfVjT/I/r2AW37WWbtx5nPP07X/jkxvoBzW4R48SwdrWO3r599ZfVA9eMiVEuLGXylP+jZriArFYb2DlmGiCVQhaaZMBqNYfSNnDt3ndWV26ys3ma8dr20WS2dXB3EMh/RnmGtOm0eXypBrVVdWrRZ3rGL90yJMRcBsT2+BIn05fHW0NWWZY2hPdPeXk1urdxx8R72jzrHnu3DduzeZ9ogCUhAAhKQgAQkIAEJHEcBBXbH8ahomyQgAQlIQAISkIAETqzAUL1kF/dLRDBc8S8B3KKiLM2GarLlR3nUo9aCkWZRsbSoXFquJlocEJnVFsxZxdpQFbWIBgavZGVNljAk4iKQ62YfY97+KdP5x+m7e0S/BzHh8qy0qiwfyWK+EZUPdLE7sfanYcO/WGDnfXjY2vM07Ovj7MOyHm8Z2FmWadWWITTUdUOOLTkkZlYlGvdpRtcYj24xGd1mbf0659bfw6S5xHj1BtQXH71Fy9t0MTewtEK1d66F5Yv37/JduUzYrbqzzM5btui0N7Kn9cNcyFfnc9aY1L43NK9qc/o4BnqOBCQgAQlIQAISkIAEJHA6BRTYnc7jqr2SgAQkIAEJSEACEjgqgWUh3SKrW17fT6lcsocwBHdDo0WbR2ZldstQD5IVz9kDSiXdMEPNqn9K4JehtflfpRKv9CSE/g7t7OPszf6Eefsi092fg9QRU4vPfQkDrV2lzXdLqS/BXKKlWlQV+VyVtpXQlPaGvbWB1HJkAi/cWR9m/GWb6bZsVTl8rvlsQ5tNW0r7UptNmBwxLqrufKDutwn1hJwrYnZ4XxNt9l9KJdDrbMaetdYMq/jmApOV5zm//g42zr2dtckV/MqzDzP25Yw/m41nX3xYDevyotXn8s1uIflQ8Wrv34ctVRdBvLVrte2x97ryuiN7a+mFJSABCUhAAhKQgAQkcOwFFNgd+0OkDZSABCQgAQlIQAISOFkCQ8vKnENpZ2nLwbaXPbNSuTNMdRva6tm8t+US3YxQvr5oeblo39fHKdlCt+3fYdZ9ip3Z7zKd/w45/ikhZUK8RJXPUbmtEu7EZbBhc+OchRtDq8zKZrGVJZbAz8KhlKw14LARy3llJ8v89GztC3dXS7hUWjXafLhy3BTYLY/w8jy1zx/OPVy0xSxmocP7MaSKtHjjZaYk9gkhU1tPzFDjGdE5X0K9nm54t7hIz5hLl97J+fV3Ma6+jLWV51i/8Dz4lRK4pfDoPV2KX5fv3UVJXbP8/OFgvledm0Ner0UCEpCABCQgAQlIQAISkMDnCSiw00khAQlIQAISkIAEJCCBN1Agxg4rjFq2xEslCrBZVvafoyrVOoswzsK8RYHd0PAyMynVdpnYvkQ3/zP2Z3/AdP57TOcfZdb9CZfTVWJMpGiPC9QWwDlbd0/OHW3th2qslId2lxksnrCqH/vaLAxVW7ZYqLcMPZIfEoY6jt5ADa3q9Qq8eG+tBHbW5tECu3J8bJ6hKuweUr46tDMnWyywa9PYCujIzlq7RgJmN8yE9N4X2+U5PwTl1h62Ly1ss4vU/iJ7s83yfmomqzg/oetXGY+usnHuGucvfB2Tlcusr9+C5rK9Y8o7vCu1rC0r9v4ZCvI+f7EHPnr7vd5TQ4+XgAQkIAEJSEACEpCABE65gAK7U36AtXsSkIAEJCABCUhAAm+ygF2UX1ywzyzmwWVfauqsZV701qqyxlkwV9paRuhfpJt/gnn7ErvbP0uMO8O8uf4BpH2L5ahYo8ojsn9QwpvkLGTwpVooWUVfqomlMu9liwWHZCBbHZ9V1FlsYV/zRL9Z2glGa/FXwsFhPRbYWeA3UmD3Jp8wn/tyL91fLS0eh2CpUmD3qqNxMJxbBncWwJX2mDZXrry/hvCuBHWLpWKw3K+78nULr+09aI8N2VFZm0znyHGKw0LrQGJop+l8trdSCQK7aYcLFVWzQTW6ysrqW7hw7j1cuvTVhJUbEKw95zBZ8mE73PI3i8cTTVm3FglIQAISkIAEJCABCUhAAp8voMBOZ4UEJCABCUhAAhKQgATeQIFEhy8tMS2kK8Vyw5Ij5A6sXV/3Mjt7v8d0+hH62UfJ3SfJ3SvkuMPIXSYnXyrvShvLRVtNC/ZizmTvsCDQKrAsBCitL60SKwes6G6jnyyq9vqh8sd15etxER6O3Kfx7iIwIUcLMWq8a4ZNtHAiHejP+Qa6aFWvTeDlB2v0vR3foTKzVNlZhaYq7B4COithtdC6vAeG1pg2287O3yqOSrWcffiQi1t5P9lHhFjPhn/3Q8tRmw3pk/lW5FRR+W5YX870OZJzD95COGshGxm7FbJrymOtnaZVxdpjUgnqEuML38z62m0unX9XmY1Xja6DH1rfWmBnVX5aJCABCUhAAhKQgAQkIAEJfCEBBXY6LyQgAQlIQAISkIAEJPAGCiTmZBpCqV6zZUbffYzNvY+yvf/nNPd/slTH4drSRM8CA7IFZk2plOvC3dIy04KziprgUqkCspo4q4Cbs1qCBquZK2GOBWxWpVeWns4qhxYVRzYl7+Bi6+lTQ+XCEAbayztrG2gtNedlll0Kyxl3byCKVvWaBV7ZWqXvUqmyU2D3+WwxRkKw83eoqCtVdm4xf3Ex98/aX1pJnHOB3mpJnVXJ9aXN5Vq/PsxtJAw1bzbH0Sdimef4yNxe2d4v9l7y2PszlJl4fbD3yRBs23uzKm+x4fOUW2p/nj53dLkl+glNfYONjXdw+eK7WV+/yeTSN7zmc0EPlIAEJCABCUhAAhKQgATOloACu7N1vLW3EpCABCQgAQlI4MwLLNvU2UX2UjVjlTlWyWStIy0YK20qSwEPy+K2guaWjx8CrbgoRCsj6cpahgqacdeS5n/Ozv5vsbv367Szj5L6l2iyhWzWYu8LDbc684dFAAuBOw9W6Loeksf7mlzOlyGQzVbxZdVlWk6sQO8dqytfxsUL7+XypfeyuvHlUF8sVbIWCLYh4RdB+9BYc1g8iyq/8n1naHdbgsnlt5NFG95H398eER382lDrp0UCEpCABCQgAQlIQAISOI4CCuyO41HRNklAAhKQgAQkIAEJHJ6AZR8PM7P8sOWkVeGUYMTaVjoL5YZgbviq1eJYqOdI7NKwUtrolX/MU5j/ITt7v83+7BNs7f3fpeLN5Tme+WJGVkXI46GKLk0Pb9+05hMvoMDuxB/CL7oDPq2QfUvvpsyz1f9tMFl5C09dehcb527y9Pr7CPUEqpWHdwxYRmdVgPYNx74XDXMphyjPqvpSjnhr7emsprYauvDa9yCr5C3fpCymq7ERf9YFVIsEJCABCUhAAhKQgAQkcDwFFNgdz+OirZKABCQgAQlIQAISODSBrrShzNHj/KJCpQR4fbnwjRs9fGVrFGltKG0JuVnkfAlmf87Wzm+yu/ev6OZ/hO/vEKKnyTWt+xjO2laybvV2ZZ6ctdqLbresq3bnDm3PtOKTL6DA7uQfwy+2B1U7JlQOQlfacVrrzN4SNl+Xisqu32N18hyXzn8Nly6+l7Vzb8OProIbl6rerhrGYtocS6u1tPBuyOCGCjxfKoX/glTOvr+pQvN0n2DaOwlIQAISkIAEJCCBEy2gwO5EHz5tvAQkIAEJSEACEpDA6xXo8y5VqaBbVqjY7CoIflSuhM9KVcpwMbzOo0WJ3V367d9ma/dfM59+kJh2iXkL8h64npDsKvpKqaAbp1GZq5VcxKZmWeVe9r0lfjifSe3r3WI9/iwJKLA73Ud77Gv6PpUPW0Jw5ftDzB0xzpmEm+D2af0WLS05XGQyeTuXzr+bjY1nufzUt4Kb4P14qMAr368yaVERbK0zrY1qtpaZVmhnD3nYztduPrDvU1okIAEJSEACEpCABCQggeMooMDuOB4VbZMEJCABCUhAAhKQwKEJ2OXtciF7MYMuLNtj2uf2j3adO81I00+ytfev2Nv7EPPZb+LzC1ScI7RzslsluzH4CdlVJB/p8j4ptTRVU9bvrZrFKvmsVV1qyMkqXypc2D20fdOKT76AAruTfwy/2B70aRfvQ7lBwLlQwv3SXreEaw5n1bg5lwDPPrfvL84m2FnVXHZEt8Lq5GkuXHwXT136ejbOfRU0l8vzS4FwY6Gcte599bQ6m7BpX9UUu9N9hmnvJCABCUhAAhKQgAROsoACu5N89LTtEpCABCQgAQlIQAKvWyBlm/tkgV0kuDBU0FmFSvsJZt0n6TZ/nmn7EtP5J+jiS3hrM+cmhLxaLq6H0JQ/rc1lXrShe7QRgbayQC4QLJxzDp8DNlnK22s6V6potEjgLxJQYHe6z41Z3iWECZ4VQq5JKZFpCa7Heau8i1RhhCPgkrXutYq5TFXVNMHTt1PwFb2Hecr0YY2V1bdy5fLXcPH821jf+Hor2wPvH87qtLa8tiyn2Z1uYe2dBCQgAQlIQAISkIAETq6AAruTe+y05RKQgAQkIAEJSEACjyOQe7AWlnb1evan7O7/Elv7H2bWfoycdmgsT3OxtJGzShirorP2mXZh3SrocjUqVTA2L8rlbqiQyaF8kAOxeVCq6kqBXZklVRFIQ1s6nyCuPc5W6zlnRECB3Sk/0KEi5Y6UuvJ9pFTV2QdV+V7i8jo5tyTmJXOrSwlwIPV5Eeb1ZQxdtl6XNMQ0VN9ln/AhkvIVLpx7B9ee+gYuXvga3OiZoWrYblSgxS8qgE+5snZPAhKQgAQkIAEJSEACJ1JAgd2JPGzaaAlIQAISkIAEJCCBxxXY3fpn7M0+xs7e/0s//2OqdI9xagjWli627I9GVIyH3pgxYkPnfG5xzlO5hjm75e9lyWHx9+W8KE/dNeVrycK5RVWLzbPLOWGVLlZpp0UCf5GAArvTfW64WEGZKTfMlhu+l3iy3URgf6t3SfbPyWp7HakMobPvHbHcJODT6vCtJ/cElwm2Dvs+ZNV4eQj/op/RuX2iH9GM38KFC1/P9ae+mY3zb4Xq4ukG1t5JQAISkIAEJCABCUjgBAsosDvBB0+bLgEJSEACEpCABE6jQLRSEKtIYzlczlPisWwXqaF3MMydsyq3jLMPq24rZSQwc1MaJqWYrayq3yTu/w4Pdn+J7f3fpZ792Wlk0z6dEgEFdqfkQB7T3Vjd+G6uXX0Xl59+D9Q3gZpo9ya4oeh4bN8zM0RrGVy+0aYSHFqLTltaeosXy382XS9gszkX32vtATZqr7T/fQRg1cneygW1SEACEpCABCQgAQlIQAJfVECBnU4QCUhAAhKQgAQkIIFjLmCz4jI5DdVsD68D20Viu8hcvpBI1rYyQ2NXnfuX2dv7CJt7v8Tu7FeI3UepUk3tLlH11uJSiwSOp4ACu+N5XE7LVsV6Rht7cGtMJm/nyqW/wlMXv4619bdAvU7ru+EGCZuhlz1hWRFcsrsZpAChHjjs+29O5FI27MttFot/+RwuC+xsUWh3Ws4i7YcEJCABCUhAAhKQwGEJKLA7LFmtVwISkIAEJCABCUjgsQRyH4cZcnbV2FVgc+DK9WCrqOvKTLihosNayC3iu7zLtPs0bf8ys3s/wbz9LLP5x8npJRo3oeESPk9stXR+97G2S0+SwJshoMDuzVA+u68Roi83OYSQSGFOG2ckxqyMv4xz67dYvf5vsrF6lbWV65BHA9SihWf5XmydOcvXho9cbpqwuujSx5OKUZnFVx6yKLOzz5dfU2h3ds897bkEJCABCUhAAhKQwJcWUGD3pY30CAlIQAISkIAEJCCBN1XAgrmKFC2Xy3hvc54WFRylUMNq6RahXf+Afu8jbO18mN3pb9D1n2CUrH3bGOdG+BzKrKeUWpxdNLY5T/XyivObulN6MQm8JgEFdq+JSQ96TIEqOWKalhCurmxWp6drI9HCtirQUuH9Ohvn3smVq9/Ipaf+En50ozyut++9FtKVVsSORbPiMnPP/nUozas+L7B7zE3V0yQgAQlIQAISkIAEJHDmBBTYnblDrh2WgAQkIAEJSEACx1tgxiYVa+XCr82hswvEpZqjzKOz68b7zLY+wp37P1/aXYb8KSa5IsQJoa9oRy2UmXb2PAvn5sNf3QTHqIR3WiRwXAUU2B3XI3NKtiutg7O2l1atHMnJKpVDaVdZuYDvt8jO0XvYz3PmTFhZfRvXrn8T16+9h/HkvWRa0vDNuDw3p7rMrLMPa4w5LJpZd0rOGO2GBCQgAQlIQAISkMAup1eEAAAgAElEQVSbKKDA7k3E1ktJQAISkIAEJCABCXxpgS5B8IuKDWt7WTqt7TKb/RZ3936D+cv/PcFt4FkjOE9mH58j2R6bG3LYo8/zUuXh/QqV3ygt4Lp0h5g+wzi/7UtvhB4hgSMSUGB3RPBn5GXtFgbvmlJtnKyeLszwPhN7T996xo21weyI2ebVVVRhnaqa0Pdz2m6XtP4Obl79Rm5f+Tb8yjMQKpKz+K7U2LHyMLAbQrtXt8c8I8zaTQlIQAISkIAEJCABCTyWgAK7x2LTkyQgAQlIQAISkIAEDk0g7oJbG4K62R9xf/tn2dz9EN3804QcWKcuIV1kSpenpZouuwYXunLhmW6V4DfAr5Zquj5uk9nF+xHBr0JUS8xDO3Za8RMLKLB7YkKt4IsIdHmGD5SbHFJscHlcquvwU7LbZNadY+TXcRbq9UMMV/k4zKOLjmhj7MIO0TtGo3dz+eJf4+kr38jqudsQHF3fU1dWtTdU2GUbcndgnp0OjgQkIAEJSEACEpCABCTwFwsosNPZIQEJSEACEpCABCRwvARmn+H+5q9yZ+vniPHXqPNLNP056rTO2K9xv7pPSKMyo845j0+htL50VjGS7MJyIpc2mFbvYW3aahz1cPHY2sAt22Uer73W1kigCCiw04lwmAI+20zQCkdTqt+yTaZLqbTB9N5aWybaPC1tL0OwsM3Tly6XgRAqJn0gxr5U1eWqJdKRucjG2ju4tPE2zt3+IUajEXXVLHZDrTEP83hq3RKQgAQkIAEJSEACp0tAgd3pOp7aGwlIQAISkIAEJHD4AssRRQ6S64eOlVSLP2HFZs3Z4hJk+1cryVhctHXQ2pwjb8+IEOthNl26w+7uB7mz/SGqrd86/H3QK0jgmArcebDGfD4jWNDsqhJCZ+9IuccKobDWr1okcEwFpnmT8+vv5erlb+XSpW+kWX8eqhrKz4o5Pq4OM0nLkq3U72E1XrLi52Cz9QIx5VLV5xaVelbgZ/NIPdayU4sEJCABCUhAAhKQgAROp4ACu9N5XLVXEpCABCQgAQlI4NAE+r6nqpZtJUdD4Oasos3SBKtk67G6Dbv4OlRsLC7N5kwbW5rQYJdhYZe4+wfc3/wldnZ/Fbo/w7NPyGuHtu1asQSOu4ACu+N+hLR9X0zAs07M28yZkcMqq6vv4ulL38S1y9/EaP05OmvHWSqfU/kzZ1/u7SiLdd3MHSHYJwHy8kaPfgiq7ceO8mqdgBKQgAQkIAEJSEACp1hAgd0pPrjaNQlIQAISkIAEJHA4AjvAhBSrRcXP4lWsMCLCfGWLwCqeipyt+s6qhSzVszCvwu99hu3dD/LKzgdo29+iaS9R9ZcZ+Z663mWadEX2cI6b1noSBO5urjKbzVVhdxIOlrbx8wTq3pOtas5FWhKJgPMr+Mpmi4556i3/AZfPP8v6ym3II1KpyF5Uj9pfLZizr9lHsKBu8TW7x8NNy88eLRKQgAQkIAEJSEACEjitAgrsTuuR1X5JQAISkIAEJCCBwxKwEM66XWKVEHYVdVH5YK8XpvRMcES8VU5k65tpF1wfcH/3F7i/92usPPgIfT8rs5PqOpQ5dFZ5Z/OUgh9BsouyWiRwNgXuba2VwM4Cb2uJmXMi2duotMS0qqOH/QTPJpD2+lgLuLQ5zMhzvswLjVZPnQPJ+dLisvMzgr/GuY2v4+rVb+PipffiRmt0zn6i7LFiFdZu+PlSKrHtfM8RnJXd2bzSY7372jgJSEACEpCABCQgAQk8kYACuyfi05MlIAEJSEACEpDAGRTorftlJtkHnp6WzB4jxqX6wS+7ZRrN/I+5d/+fs7n9/5D7F2nChKbfo7cLsJbjWb/MYBdzY5nVZVOOxskq8bRI4GwK3N/eYDrdXczqGloCWmBngTYuP5zpdTZ1tNcnQaCEdY96IX/OJlftDr6uaXFMk6Oa3Oapp7+BG1ffx9rGO4Gm1OXZnR7eD7NRy3tg8afqr0/CGaBtlIAEJCABCUhAAhJ4XAEFdo8rp+dJQAISkIAEJCCBsyqQ9sCPSFR0dhXVR0L5rKafQtXcZbr1m9zZ/Hnm89+gzndp+hEhjqmouBtm1PUc51pyn3H9KpWbEKz3mWuJqiA6q2eW9ht4sLPGdDrF5WYxF9JGefkSaCuw0yly3AVSHpNdB+WjJScLnT3eWlnmQNWvk9wWrtrEhzldrOnnI5r6HKur51i79Z1cvfiXmax+VWmHWYK6MPzZx8Q4LObaHXcIbZ8EJCABCUhAAhKQgAQeQ0CB3WOg6SkSkIAEJCABCUjgbAtYP0w/XJQtDc8q69cH04+xt/eH3L373xFTD7EjOJtglLFLrC55cnJMR/ulZZq3z6O1/ptTWQs1xuUxfZl3p0UCZ1Ngc3ed/f39klK4bNWmoVSiptyVloJaJHCcBazuemhjaS0sh3Atug4X5uXnRfBruD6UtsrOKq39nKqUZUdcyszcDdq8x7kLb+G5W9/DhYvfDO482apLK/vZoMDuOB9/bZsEJCABCUhAAhKQwJMJKLB7Mj89WwISkIAEJCABCZxJgWwXW0t20NNNf58H936W6davQP8ZKmtzVtWlKqhLM/o8L9dunauJObHWWePLlRLQZW/tMG1G17zMtLMqiirZhV4tEjibAgrszuZxPy17XRPJi8DO5tbZzR2U7/GREualWfn34Bp8tUZOVqndl5av3sMkzshVw5w99uM2YXKDK1e+g5tXvpP19XdDpaaYp+Vc0X5IQAISkIAEJCABCXy+gAI7nRUSkIAEJCABCUjgjAn0WGWcpW3DhU+rV8jlaxUuOxtP92hgkLUic6lEadb00gK1Ffv3+CK7m7/C5r2fI85/l8pbRVBF37d4NzljotpdCbxxApt7Y/b3Ei7bTEibXdeSQy4VScGNS7CtRQJnQaDMbbSfVs7hQ4X3ngvP/6dcvfQVrK48s/gZZhV9efiwxI+2zMErP9nsB9ainWZMHcE7fGnjbEGivbksTBwkbU5kn6BRAd9ZOLW0jxKQgAQkIAEJSODYCiiwO7aHRhsmAQlIQAISkIAEDkcg9lDGANmFSqt8yB3eWes9+6JVQHjwU6udIzHCM6Kyi5xxF/oXeeHOj9POP0Gcf4oq7RDSDpltsrtA8NdI6c7hbLjWKoEzIKDA7gwcZO3iFxVwzpOtjLsE1rkEdvY15z2ztEd2FZcufhO3r30/GxtfB2PoF/lcQyKXVs1DS07L8ZyzdQ3rS2WeXknthpTOunHaXSohkmjxrOroSEACEpCABCQgAQlI4MgEFNgdGb1eWAISkIAEJCABCRyRgF2gdJkcp2U2lq8srBuq7ewaaZu60nXMLnh6q0CwsoPpH7Dz4Ke4t/nTNONIN50RUse4aXDU7HeONgdCPSEkq7bTIgEJPI6AArvHUdNzTouABXPLxUK7g1V29vWm63FhlTiK7LstXPMOblz9e1y//s2MR2vM2lWaxuK4ZSVqZZ2by882F6ArJeWx/Hvw9XCDSqkyLw2eqe1rWiQgAQlIQAISkIAEJHBEAgrsjgheLysBCUhAAhKQgASOTMBK7JYVdrkqFQgpZ5Lr8T6TaYaKujRnvvUh7j34CabTD5ULnCN3A5dyadfnsiV/O2RvFQ0rdK6j4wFNOn9ku6YXlsBJF1Bgd9KPoLb/jRRYBnbLdVb5HDHtlbl3wU9IYco8vcJo9DxXzn8tT9/+tzh37nlw60NRnd2LYtXk9nPO2c+64XNH9+imFFt5qcKbgirs3sjDp3VJQAISkIAEJCABCbxOAQV2rxNMD5eABCQgAQlIQAInXSCWHmBDBZ0tQ32BVSPYXB+rqHuZB1u/wL37H6Cb/xKTfJmaqyRnz7xHG9eoqt0S4OW2Lq3K6lHGU9P2E3y2GUJaJCCBxxFQYPc4anrOaRE4GNBZK8yDi/1bJFBXo1IhTt6lqRpcPya2Eed6dqsrrK5d4cb1v8q1p/86jJ4uc+yi/fzKjpynVN4tfv4Fcq5KW0xfWYA3A9ZPC6X2QwISkIAEJCABCUjgBAoosDuBB02bLAEJSEACEpCABJ5EYJahchbPJXK/T2CtrC73/x8v7P4M6ZWfoI1dmSFUVc3wb+0+Ls+og2e/meBpcTb7zuYDpYDLE3yaQBqR/YMn2Tw9VwJnWkCB3Zk+/Gd+519dUbecX7ecaUd0xLxNVUe8r8nzCY5VQmhIqSNXnyBzgXnuidWYy0+9j2dufD/rG+9e3p0yGFu13UK73LQy9MQEdcQ88+egACQgAQlIQAISkMBRCiiwO0p9vbYEJCABCUhAAhI4AgG7JunSnJBHwxXL2R/xyuaPsrn7QXLc52JYZd4+oI27+GqVujqHz4GUp8Rs8+kukKIFeYlQ75VgL/XrZd6dDxb0dUewV3pJCZwOAQV2p+M4ai8eT8Aqtl89u275NVvjuPJ0bUeixrsJfbYWz9PSmrnrIivW87JOxFiT/Hr5+yx2bKx+Jc/dfB+Xnv4uCGuPArtFK+ihDM+XP7RIQAISkIAEJCABCUjgqAQU2B2VvF5XAhKQgAQkIAEJHKVA6pjv/x4v3v0As72fZ5wfMEkXoa/ZDonGt4yJ+N6R05joatqqo/NzzrVjkm8triPmqrTKdH6X6Gc41+D7oWJPiwQk8PoFFNi9fjM94/QIOB+wwaopLVo3O1faLi8r7OZxn1GzQUrQ9VOCr/Del5mqziWq9BQpz8HtD0FebMhpUuazumqfvdGz3L7xb3Dr2ndRj26XGa7YzzBnf7Fau6FJtBYJSEACEpCABCQgAQkchYACu6NQ12tKQAISkIAEJCCBJxEoFxiH7l32kcn43NNQYZN57H+25BzLRc1gJQNh0fwrebj7Y9zf+m0293+ZFH6X2j2Nj+ewR3rfk+LoSbZOz5WABJ5AQIHdE+DpqRL4EgLZB2b9Dr65wNUr38LN69/N6vp7wNWl4Nxbq8wM/kBuZzXjmUQiMiZgk/TKz1qbf7f4eVx+JueeylU6BhKQgAQkIAEJSEACEnhsAQV2j02nJ0pAAhKQgAQkIIGjEejzLj6P8Xax0MI5b7GdLcPFw9QnfG0XFz0ZR7AHdYn9rX/BS1v/A2HWkdIdEveo/QSfL5C7QM49vurV0vJoDqteVQJFQIGdTgQJHJ6A7xP4NaKvmLsdegcbG1/JW25+Lxef/jZwoRTZ2U9Q+xk6/GRNkBMkRwoBt7j/ZajO6xfhXkU3h1r3uxzewdOaJSABCUhAAhKQwBkQUGB3Bg6ydlECEpCABCQggdMl0KWO2tXDnf2pH/70VZm9M2PGOI8ht4A9pmW6/8vcvf9+5js/zah7nmn4OI4NqnCNKq+SU0WOLc51+NCTU326wLQ3EjhBAgrsTtDB0qaeOIFx2ie7UWnf3DtPFyN98vhqrbTavHHzb3LtmW+EcIsuBbLPNBbcDR06y5g7q8ALpWp9mNdq3TuDHw3F7YsK9xMHow2WgAQkIAEJSEACEjgWAgrsjsVh0EZIQAISkIAEJCCB1y5gFwudXT1MHc6Nhyc6C+iaRXi3R96fs7Pzi9zb/sfMpx9mlJ+iCSv4DF2d8XFMioGUO3Db+PJ8C/hsFtDqa98YPVICEnhDBRTYvaGcWpkEPkdgks/T9Tv06T5UjiqMSx16bxV1qWPkLjPLI5669ld5/vnvJay8pTy/tKCOLeM6kuxnpdXdWeEdkdp+sD5c1BJTp5wEJCABCUhAAhKQwOMLKLB7fDs9UwISkIAEJCABCRyJQExznB+VeTs2v85aXg7XC/ehu8/9Vz7I1uznmc9+jXG8TOPOkVIk5n1S9RKeDciToZLOtbhq26bXQVwjdhN8tXck+6UXlYAE1BJT54AEDlUgOrz3hGDzXjMp9qSUyDnhfSCnidXRQd3iqwmr57+eZ5/5e6yc/2p6aiqrtPOQXVdaTi+DOxc7vI+4sLiJ5lB3QiuXgAQkIAEJSEACEjitAgrsTuuR1X5JQAISkIAEJHBqBXLOZGd3+WcSjsZm2XXbbG3/FC/d/xE2Zh1dmtOzQ662cW6E7y/j3Sp1SMy7F0po591GmVuHm+K8rcsq7Ca4vHNq7bRjEjjuAqqwO+5HSNt3kgXs51xy2yS2Cd6aXW7gWSttLTM9+9WMkQM/gyrVVFXNfvSsXXgPz73lr3F+/Tuhsjl3qbTGtAF2DwvsynC7Ye6dFglIQAISkIAEJCABCTyOgAK7x1HTcyQgAQlIQAISkMARCkR2CBaupXEJ6ra3/zl3HvzPzGcfYZyfY1ICvYoY7pJ9wqer4CKRl0l9Q+0nOEaQm1JVkPIemRmuqgihJll3TC0SkMCRCCiwOxJ2vegZEfDVvFSXx2hVdUMrS++tzbTdsBJoq1QK7JrsGVeUx6RY09HTscfK+D285a1/i3NX3wd5nT4lQtWWtppkq1o/I5DaTQlIQAISkIAEJCCBQxFQYHcorFqpBCQgAQlIQAISOEQBa8lFx3TrX3Dv3o+xv/8LjNyIhuvE6GmbOSFPqWJNiDUZq7Zr6KsxfbXHqGvLRUjnXAnobCktM61ez3l8ag5x47VqCUjgiwkosNP5IYHDE3BdxLkG76zSzqrhbI5rZz8FS+X6KDYk15J8ps8QUyCEgA8OFxOdj8zjiGbtHdx85q9z4/r7qNgoFXo+2DzZw9t2rVkCEpCABCQgAQlI4PQLKLA7/cdYeygBCUhAAhKQwDET6IE27VPliio0OOzu/NJba9jScpd+jz0uUS3+f463f08jeOXHubfz62xO/y+S+zMa/yy+v1jm7rhqh9yvHLM91uZIQAKvVWBrVrO3adU6I5xviXmGD2vkZN8l+hK0a5GABI5GYB47Vpt1LKGbzyIra89x6/a3c/nqt0Nzg66itMi07G74eQ7JLT6wn+N2E00uP+2Hn/v2c96Wqnw23EKjRQISkIAEJCABCUjgrAoosDurR177LQEJSEACEpDAkQnkvINjfXh9u7PfAjq7qJfB27V4q6CzsXQuMu2nrLi1Etv1Wx/k03d+hNDt0cd7ZHeXJoxwrJBaB67Fh1gu7GuRgAROpsDWtGJvy3rxDYFdYo7zqwrsTubh1FafMgFfN7TTPXxOjCY1XerZ6yasrL+dp66+k7fc/o+hqspNNx25tJ8uN+VkC+kmpGyTZz2Wu1tHzpK/l9l3EGN8WPV+yti0OxKQgAQkIAEJSEACr1FAgd1rhNLDJCABCUhAAhKQwBsmYNfm4hz8qKwy28W8YBfofbmAl7214ZpTZ5szB2n6EV585f1Md36FUb7AXvh1AhvU/hmqcgGwJcf9MoMnhBFJQ+jesEOlFUngzRY4GNj50JUKOwV2b/ZR0OtJ4AsLdHlGxYhgU+tcpst7dK4nhTEuTPDzDW7c/HaeeeZ78SvP0rkptc2MTR66OdTDz32YD3+44ef8sKRhoJ4WCUhAAhKQgAQkIIEzK6DA7sweeu24BCQgAQlIQAJHJmCBWl7MibMul6UgrseRSDZzLjiq3MPeb3Hv7v/K/vaHh8f7Vdr8EvVoio8XSP2ktMjLbofg9nHZ2uatLkr0jmzv9MISkMATCGzuB/a3rep2hAV2VmFn7/0c7bq+WmI+Aa2eKoEnFiiBnWsIucYlh/cBVzl6a5HZt4x9Sxt6Ur3O05f/Bs/d/EGa1ZvDbDu7WaeyZtfLZQjnunlHhcM1jWbgPfER0gokIAEJSEACEpDAyRZQYHeyj5+2XgISkIAEJCCBkyiQILtMcjska43FWpln4+1qXvbE6b/mlbv/lO2tD7CaHjDiCm2cMq92YbROmK9AHibkZPZxYU7lIccRfQchqCXmSTwttM0SMIFlhZ1j/HCGnbMZdgrsdIJI4MgF+pzLz1sL2HLO5NiTooPgS3FczA0pz6l9IPoZOazx9JW/zTM3v4d64xrECdnZLTrW6tZ+8tvP8jKhdjnF9sj3URsgAQlIQAISkIAEJHB0Agrsjs5erywBCUhAAhKQwBkV6Hvw1XCzPTblpu+o/Qr0n+Ll+z/F/O6PQJoMF/JcWx7lnCezR58/Rohvx7uAc3V5TLaZOM6T3HDnvksH7+A/o8jabQmcUIGtWc3+YoYdbq4Zdif0OGqzT6dA7Cuq2lpXzsl9j8sNVbVSdjbGnlit4PsE/TYj70hhhb04Ja0+zfmLf4mvePbfJ6xcLK0w58kq7HNprTkEdkNwp0UCEpCABCQgAQlI4OwKKLA7u8deey4BCUhAAhKQwBEK2Nw6uzvf25y6NGXr3j/h/v0fJ84esEJL8nv0IZLdhBxXycnRuEhV2x381v7S5t5MyNmXmXW2LkImhKpcRNQiAQmcTIHtecPeZigtMS2wsxl23irsrHeuiydzp7TVEjglAt6N6eM+Mc2owoTgNsjZEWMLbkZ0VjcfGYUVfHZ03ZTECDeqiPVLzGbXef723+HW9b9Ftf7soiX2lJQjlRtbz8xTIqXdkIAEJCABCUhAAhJ4HAEFdo+jpudIQAISkIAEJCCBJxGIPbiqXIy/9+BneOXuj1G3f8w51vFtx7bdoU+Hz3YBsC2VdI6KaDPukl0MnJNtfg51aX+Z/Q7RLiAS8EwI2S76aZGABE6iwE47Zm/Tk5PNsxoCO2cVuNYGV4HdSTyk2uZTJOCSJ/l+0f4ykFMYfi7X+/hqD7rV8l6NNpOOitrVpd11tkDP8vbxjD2rxPM3uHL1u3jume9hdfLsUHIfrHJPNXan6HTRrkhAAhKQgAQkIIHXLaDA7nWT6QkSkIAEJCABCZx1gWjFbKX95MO+ljZMblhCT6LCY/9uX3Q2sA5cKNfj7KPqIG//Cq9sfoD5/q9CmuHyOtnb46a4tFzZWZfW/kvg7AlM+8zOvQ3a7MFPiXm46O8swLdL/xpRefZOCu3xqRFoY8+4sso8TzuP1KObPPPsd/DUje+E6hrzaphlVybbLX8VcEMD7b5PVFZFX+JAu6HHKu0XAZ++L5yac0Q7IgEJSEACEpDA2RZQYHe2j7/2XgISkIAEJCCBxxTIdv3Md2UGnbWmpAR4cxxjUp9wIZCdXXI7cNEtzmG+y5+/+J/RdX9K6n6figeM8zPgLpZZNtHtEywR1CIBCZxJAQV2Z/Kwa6fPiICralJn1XYdVeNKAL8zb5isv51rN76S52/+A6isujbQpYxzubS8rstM24o2Qu3BlZwukZMf7gSyP/wegdUzIqndlIAEJCABCUhAAqdTQIHd6Tyu2isJSEACEpCABA5RwMbFWfWcc65cJ6NU09nVs+FOd29fdNDlWL5UWyu79i579/9PXrz/P9IzI+QZNS1Vtjk3K/QpEsMWyb9M07/9ELdeq5aABI6zgAK743x0tG0SeDKBNk0ZhVVcSrgcyaFlnuf0rqYebVD1a9y+/u9w/bnvgzowd3MqHIGmBHOWz9mNQtF+70gNwYVSiZewNp1zUGD3ZAdIz5aABCQgAQlIQAJHLKDA7ogPgF5eAhKQgAQkIIETKJD6UjaXqEvXy1Sq63z5z8I8q6uLzu50b8rMmt37v8xLD/4htD9Nw3ngSpk/V6Wm3DmfLKxzHdlumQ+ZEDXD5gSeFdpkCbwhAgrs3hBGrUQCx1LAfta75KjdGJ9t/l3E11aR79if7zP2c+Y8oJ78ZZ65/R9y7fa3DjcAxRl1GDPjHo07V1pyD/cGtbjF7x/lF5BFZf+x3HltlAQkIAEJSEACEpDAlxRQYPclifQACUhAAhKQgAQk8CqBPMyvSy4RacnZ7nLPBLvjPY+IeU5II/Ls93n5/o+wef+fUacR4+oi+Ht0/YyKMc5VuNLXKpZ2mImmfIRkd8lrkYAEzqKAAruzeNS1z2dFIDkHqaPxw8//vp2Vtpauslt9rJ12S+UuEf0+s3iX0eiv8OwzP8TTN7+B5Gf4OKHr5/ja2mKO6JK1yOztdiH6uaMaVWeFUvspAQlIQAISkIAETqWAArtTeVi1UxKQgAQkIAEJHKpAXMyLcT3JbminssK4Um1nH7H/JC8/+AA7D36cqvskq9zChRW6NGcaO1aqCVaHZ9V1OXfgWry3xpodyebasH6om6+VS0ACx1dAgd3xPTbaMgk8qUDfBZqxI+V9UtdRhxW8H5dKO1vm0dG4UKrwvP1WUL1A21Scu/h3uXXt+7i48dVDGb+HGBez7Lx9avV29qHA7kmPkZ4vAQlIQAISkIAEjlJAgd1R6uu1JSABCUhAAhI4mQKlwK4roVvKvsyPwWbR7H+Svdnv8fKD/4JuvkOV9xgHC/PGpNiQ3RhL5mKpoIvlAp19ODcm+FGZiUdMOD87mS7aaglI4IkFFNg9MaFWIIFjK+DdmJRntN0ewY8Z1RdJCdp2ivNWOTcidaXWHh8iMbb0HlLV2G8NXL/8bbz12R+AtXeSmZGD/S6yjrPwLlhgp5bax/bga8MkIAEJSEACEpDAaxBQYPcakPQQCUhAAhKQgAQk8DkC1hLT2VcsqautpI52/tu89OBHufvg/dxIX0mfbLadfQyhXCDjfIfLU/p8hVzv4Pw2Oc9xXKLKq7hUE2OPc3YBTosEJHAWBRTYncWjrn0+KwKBijZNqSqbW9fQd/Z7BPh6n8QmVb9BdlYlF8pNPBWO3Ocy767yge1qn8h5rt/8Gzz//A9QVVfosd8b0jA3V4sEJCABCUhAAhKQwIkWUGB3og+fNl4CEpCABCQggcMQsHvULYvzLkG2W9vtapq1qwolhGuBhh5vn+x/jJ37P869zZ8kx02a6urD1laHsW1apwQkcLoFFNid7uOrvZPAkwikWIPfK3PwVkbv4OaNv8PlW98BzaVhtXEO1ahU5c3IVOUjUVmrzATRUcK9ZftM6xBgFX42O89h1f0bT7J5eq4EJCABCUhAAhKQwBMKKLB7QkA9XQISkIAEJCCBUyhQArr7kCekPMGXSjnbzx0yK2VWjIsVuw/+KZ+9+99SzbeYVFcg79DGzmK9U4iiXZKABN4MAQV2b4ayXkMCJ1MgpUQV1vA5MUt36ZSyFqwAACAASURBVB2srH0tt259H9dufCfZfkPxHZ4OZx0AcPTWxjtXVHWiX96MVB4ZhpuSLL7LiZhm1NXKyYTRVktAAhKQgAQkIIFTIqDA7pQcSO2GBCQgAQlIQAJvoMAyb/OdNZoi5wqXofJ9ueiVdn6Vz97/J+ztfZgm1/jYQWpxYcVG1EG0ajwtEpCABF6/gAK712+mZ0jgrAgk+z0k2qS6RF1XZa7dfhugeYq1jRvcetvf56m1d+Pz+fI4y+TwNjfXOgbYTUg2JzeWrt6lGWeuhw7f9tcMTiPwzsqppP2UgAQkIAEJSOCYCiiwO6YHRpslAQlIQAISkMARClhg5yh3rtvFreAcwT6ZbvLy3vvZfvl/p6kiLne4WFO5Cc6vME+bdP73GMWvOMKN10tLQAInWUCB3Uk+etp2CRyugAsTcpySe5uN6wjNpMywm+ddot8nc4Ob176b527+IPXKFZKzmbsJb/Pt7O+5WszgHdpilnaYziblLZaHfznc/dDaJSABCUhAAhKQgAS+sIACO50ZEpCABCQgAQlI4FUCu/Eu43AZu9Hc2krRV8y2PsQrD/4b2umnqbt9RuEW2e0R8x3IY6LbJ/lI7W6T475MJSABCTyWgAK7x2LTkyRwJgTauWM0aqi8FfPPcSmTvSNai0tXQ79L8mvk0U2uXf+bPPfM34XRhD63JbSzmXVWeVdyuxLO9WT7LzmyDyUE1CIBCUhAAhKQgAQkcHQCCuyOzl6vLAEJSEACEpDAMRWwGS+RLUb5HLSf5oU7/zXbmz/Dal7FsU0TbtN226W9lHMd8/xp6nCe4K4z7+dUfnpM90ybJQEJHHcBBXbH/Qhp+yRwdAI+ODItqd8jpxGBdaAmWyAXOpxz+FCRYs88dkzOfQXPP/vvceHqt5SuARWLKjvrkOkttLNKu1gCP4fHUx3dzumVJSABCUhAAhKQgARQYKeTQAISkIAEJCABCbxaIM+gHbP94Ed55cE/wsd7NNmT4gpVVdPyUnlG7GqCu8R4tE6Km8zbHaqwBrQylYAEJPBYAgrsHotNT5LAmRDIfYv3gegiPoD3mWTVcf0Y7yZ0eQ9HR01ffl/pUs9uarj01Lfz5c/9IM3GBj6cLzccWXZHbbPsOroUqXxTIjstEpCABCQgAQlIQAJHJ6DA7ujs9coSkIAEJCABCRxTgbT3h3z23vvZ3/xFVjI0riHS07pdesZULkBu8NaSil1yt4/3I2rv7G4oYhof0z3TZklAAsddQIHdcT9C2j4JHKFAdNTVmGRzdvt5Ce5wsbTG9K4iuxk+r5GocbkFPwcCIXtc6Fi//Z/z7K2vYDy+Udp9ExYze3PCO8V1R3hk9dISkIAEJCABCUigCCiw04kgAQlIQAISkMCpE0jZZs/Zbzp2+3gLyW4hr4f99C2UFlAVyT4iZRZMudW8+yR37v8is5d/+NSZaIckIIGTIbAXMzv3NkjRQ5hCqsDXJNrSsk6LBCQggccVWMvb9NXbuP7c3+fp5/42LTUxw8gxzLdzPV3fU4dAGWdn33+GXpqL8G/0uC+t50lAAhKQgAQkIAEJvAYBBXavAUkPkYAEJCABCUjghAlkyK4rc1kcY7B8zq47ZXA+47JdmbLL3wlHRZ1guv0veeXuD5Omf0y1ePwJ22ttrgQkcAoEFNidgoOoXZDAMRXI7RqETD/aY+PC1/Lc9R9i4/JXld+J+pxIuaLyPZ4IqbFfpiB05deomGtqC/G0SEACEpCABCQgAQkcmoACu0Oj1YolIAEJSEACEjgygXKX+PDqkUyMHfiqtHuyxf6/7fcYVyOIe9x5+f1sbf4fjPtAFe/R+dUj23S9sAQkcLYFFNid7eOvvZfAYQr0dUVudxlzgZT3iVXk1s1/l1vP/ACMJ8zzhGAFdeX3KIvpOjKOmL3d8USlKt/DPDxatwQkIAEJSEACElBLTJ0DEpCABCQgAQmcQgG7xuQ6osvDHBfcosjOLjy1hLxaquj67d/gzp3/ijT/CCFdpuclcFfJ2arztEhAAhJ48wUU2L355npFCZwVgZmfMnEX8d0uVY64MGIrPWCy8bV82e1/wKXr31J+f4K6dCVY3vzky29RNg9vclaotJ8SkIAEJCABCUjgSARUYXck7HpRCUhAAhKQgAQOVeBhYAeZxey63FI5N8yym93lzt0PsLfzv9D0M5p+TJ8jfVihaz5F1Z0/1M3TyiUgAQn8RQIK7HRuSEAChyWQUiL4iI8VKVnRXI/za/TZRtVtcenqt/D2Z/8jwtrbmNk84DB0JfD9HJ9HluNpkYAEJCABCUhAAhI4RAEFdoeIq1VLQAISkIAEJHA0Ajnt49xKeXGrsgv9oj9m2iTO/4S7L/yXzOOfkfop2e3i82VcuoD3uzjnSKk9mg3Xq0pAAmdeQIHdmT8FBCCBQxMY+5Y+OuZxBH5EVYOz34XijEkV2EkQ6wm3b/0Qzzz3b5Mrh7NKvBjsDigFdod2ZLRiCUhAAhKQgAQkMAgosNOZIAEJSEACEpDAqRPo8y6VWxv2y3o6ZQftFnubP8mL9/8Ra+kV+nyB3u2CWyXbdaj0Er6rqFgju9GpM9EOSUACJ0NAgd3JOE7aSgmcSIG4jXdPE2mJYZsqrOP7NejmeLdPrgLRRTo2Wd/4Jt56+z9h9fLXQGXtMG3R70cn8rhroyUgAQlIQAISODECCuxOzKHShkpAAhKQgAQk8JoFEmXaitXVOdezv/urvHznf6Lb+2VWmDCPYyofcT7h0oycPZ6LZJ/Jbg8XrQGUFglIQAJvvoACuzffXK8ogbMi4OLT5OplXNghdmNSdIRQEXxTfhfKOVG7lpqWab9Fqi5z5Znv5+qzPwDNFYbeBVokIAEJSEACEpCABA5LQIHdYclqvRKQgAQkIAEJHJrAnMioxHEdpBn4FRJ1mbNC7Nl3sJIr6CPb9/4h9x78MC6+xNh9OamviX730LZNK5aABCTwJALJR+68cIEU5vRlxtQKKe5R+QmkOdmGSmmRgAQkcBgCeUpwqyS7caluyaFjvt9wbvW9vOPLvo36xvfgXW+/bIHNtLO7o4L9HyXwc24GVMOWpUimw3mryquJEYK+fR3GUdM6JSABCUhAAhI4RQIK7E7RwdSuSEACEpCABM6MQA/JQ0vLyDU4m6sS51CNLMKjdlO6/T/khbs/wnTrN5mUCrpNcm6owpgY7WKTFglIQALHT0CB3fE7JtoiCZwVAZ/BuxW6LhKZUo16uphI3RrN6Arr176Kt9/6AerVt9DnhKsijoDLDjekdyWY8946HAytDlJKePuCFglIQAISkIAEJCCBLymgwO5LEukBEpCABCQgAQkcO4HFDdxtNdzc3QCeREz3Cf4yu6/8b7y084/ppv+SFXeDkFYhT8j+Ll0fqd25Y7dL2iAJSEACJqDATueBBCRwVAK5b6nrCTlVdKnHh/j/s3cnQLNmd33fv2d5nu5+l7vPvTN37uzSLBppZjQLkk1VHBtsxRQkFWwIAVM4EGETITbZEhiZ1QgijERECHYqEQY7OCnKcWwSYRbZSiVUwE5SZRPEIiTNcu/cfXm37n6Wc07qPH1HjAYk3e29/fTbv6N6pfe+t7ufcz7nKd23+3fO/4BviWlKiFNcWsX4+zlx71/lngf/Y1qTzwBu8MZ3oV2T/vguuhzVxfxaOQ2kmNfQdF0JSEACEpCABCSwEAIK7BZimtRJCUhAAhKQgAReLZBDuvwBUGKTyJBEOSvAVD/PS6c+QLP1qzgKTMofLu3DMiCaiwQi1u8ntZVAJSABCfRSQIFdL6dFnZLAUggYxhhjuq/IKqHJ59olXNFgyjFpq8aPVtkylv0Hv5Q3vO6vM1y5P1cg78pdBtNi8646EjmeM1fLledFVSm0GJeXWKlJQAISkIAEJCABCXwuAQV2ujckIAEJSEACElg4gbzBzjBhwCindt02u52tj3H6zI/hqk8wSInC3k1IO4QwxlpHspGGfI6Kw6Z64casDktAAsshoMBuOeZZo5RAHwUK66maSxgbcXmBU8hnaBakVJOYMBoWNHVe9FRQmzF2dIT77vs6TtzzNURG3WKqqq4w3mCdJaRE3lhX2GJWEkGVMfs47eqTBCQgAQlIQAI9ElBg16PJUFckIAEJSEACErg2gSYGjM3BG9hmwsa5/47zFz7EwFqM9wzbo0zbP8ByDDeItOksKR3GmJppU1Pa9Wu7kB4lAQlI4DYLKLC7zeC6nAQk8BmBFPaBybvstrpddpY1nF0lpZY2TJiywSr3YRoLboNYbrGVavYd/g94/OG3Mxo93C2M6s6u63ba5W8DJubXsgrsdK9JQAISkIAEJCCBLyCgwE63iAQkIAEJSEACiyeQYrezrtn5vzl17gOk7d9k1RxnGndo7DalrbHxXppwGhhQuAO0PA/JMRweop7mbXlqEpCABPonoMCuf3OiHklgWQRiu4IvIpYpdTshBYNzJcYkUookt4+UtijtCJcGNO2EYD1YyyRd4bGH3s1dx5+F4QOE4DFdvfJ29jrGKbBblhtJ45SABCQgAQlI4IYFFNjdMJ2eKAEJSEACEpDA3AQiXDr7YTYu/QyeT2PYT90kMAcY+BFVOtkFdS7dAXaHFHYw6SAOQ0w73apxNQlIQAJ9FFBg18dZUZ8ksBwCMdXYXK0gJUxyOOeJtITQdj+v24bBYI0QKtowxdnB7BThEPGm4JJ3HDv8F3jgwa9mtO/1tCliTIujhJB35S2Ho0YpAQlIQAISkIAEblRAgd2Nyul5EpCABCQgAQncsEDbHWMSsamiW34d8yc4BlKucWnBNMRUdOWUSDU+lJB31eUamDguf/rLqKod6uYKmPzhUl75/cquOdftpFOTgAQksIgCCuwWcdbUZwlIoBOwNXWzwWj4FPff81e448Sfh8EKDYkGxzAXyUwt1lw9gDgOZ7Uz89l2dgdYFaQEJCABCUhAAhJYagEFdks9/Rq8BCQgAQlIYD4CdQvF7IiTVw44meV1BFIumZRbXuXdnYPiiEywYUR15V/x4vlvYz0com2nhDjB2AZrXxXQJdeVbVKTgAQksIgCCuwWcdbUZwlIIAv4/Dtb2se0vUwaNNx1/G3cd/c3Mlh9HdH+0Zl2ueLBZ37gp91irNAWuK6EppoEJCABCUhAAhJYXgEFdss79xq5BCQgAQlIYG4COU6zNLPr5510EUzeJWdyycr8gU/+u4JEjSEQ6pJzV/5rxpc/xGi6SZuOz3bUmVyiCYyx3a66HNQZU5DS1dee2wh1YQlIQAI3JqDA7sbc9CwJSGD+ArFpKIoB0UaaNKFOUI4e4/7jf5kT93wZwa90ZxCbXGIz77Jzs98B2xzmGRjOfwjqgQQkIAEJSEACEpirgAK7ufLr4hKQgAQkIIHlFUhsEwmYuEoyHmMi+T/g8aEFm89NgenkU5y9+LcIlz/OIK5izTaBXFQzB3WmC+tSVzszV9S0V8+nC8sLq5FLQAILLaDAbqGnT52XwFILOCwh7UD0WLNOoKZhh8HoHg7uf5zXP/K3McNcunxEm3/Ju1ogoQ0R6+LsPDw1CUhAAhKQgAQksMQCCuyWePI1dAlIQAISkMDcBBKEmEtZetKsMCYx76YzLRFDEUfdz65c+TXOX/oxyvFFhqamaQsaYyhcLp80+1Anh3Wz8+vc1bAu/1SB3dzmVheWgARuSkCB3U3x6ckSkMAcBdpQM7Dr3ZF0MY2738cijjafYudavH8db3z03awd/dM0NtFiusyuzAuxop+dZacmAQlIQAISkIAEllhAgd0ST76GLgEJSEACEpifQIQ0+1Qmb47LZ9fZvDsuzcI7zAZnz/437Fz6eQbT/SS7QbKm+7CHcBDDla705StlMPPOullpTJPrLBGV181vanVlCUjgpgQU2N0Un54sAQnMUSB15c5d/lUMmyte+tmiqpB/v7MFsM2UwPET38RDD30TlOu0oaVMOaybVVdQk4AEJCABCUhAAsssoMBumWdfY5eABCQgAQnMSyAFYnJYm+shVbPvUwk0hOnznDzzY9B8Ejd9kdK0GH8/k3iRuq0p3QjiBGsHV3fXzcpg5sCuC+tiDd1rqUlAAhJYPAEFdos3Z+qxBCQwE6hjTVkWWGpCnRdjHcSmdYIdE4tzlAxpgmWrPseRQ1/CU2/4Luz6o2ArZifYaYud7iUJSEACEpCABJZbQIHdcs+/Ri8BCUhAAhKYj0BMpO78uZaUi2CGWcC2M/51PnX2p7lj8xMEFwl5pXU7wqQa78bUfoNcDHMlHMqFM7tV3Cnl0A+sC6TU0IYxzuyfz7h0VQlIQAI3KaDA7iYB9XQJSGBuAsEVEBoIAWsGlK6gYUwTK5IZYNsDDNyUURGZ1ldoOMTxh76Oex/8Wiq71kV2ahKQgAQkIAEJSGCZBRTYLfPsa+wSkIAEJCCB3RLIR8qZCDGC8fmAulz3EnwF7QBcBaYgJtuVxPTtFpcu/gJXLv5DyvBxUrx7t3qm15WABCTQawEFdr2eHnVOAhK4CQEXtnD2GG0siG6D1l6irg9y4vB/xMNv+FqqtftxRHzeaZd/b+xKbObv09VymXmhVz79+GoJdezVc4y7MgvkyuhqEpCABCQgAQlIYJEFFNgt8uyp7xKQgAQkIIGeCsTYYrsalYEQ8nkkLc4ZYvBYN6FlRGqhyA+pJpy+/L1sXPoYa8bSVg3OzXbNqUlAAhJYNgEFdss24xqvBJZHwIaKwh2mjZZgJlBu07ZT2nCAlfJuHnz8WzhyxzNg1gj5XLscw5kKm6sq1BbK2AV0MS8Iy1GezWXRXfd9/nl3lrGaBCQgAQlIQAISWGABBXYLPHnqugQkIAEJSKC3AqnJC51JBBL5AxdPG/MHK5FARWLEMEHa/ENOXngnaess3tY0dcIPG2IY9HZo6pgEJCCB3RRQYLebunptCUhgngKRbbwfElrbVc70hcUVgRC3aeMGBc9w191/kXvu+1rMygFa2u53SJtqLGX3u+UrrSviYGZfuaUUPhPezXOMurYEJCABCUhAAhK4GQEFdjejp+dKQAISkIAEJPAnCySIoQZvu2qYufSlMfYzn7P4tMH25sc4fe69lNuGkW0IbYEd5hPtRrTtRLISkIAEllJAgd1STrsGLYGlEGjStCuZ7k0ua7lCCgU2ua4Kg7EtTb1BMkdYOfQcj7z+7QwPvJ5ITUolybTY5LGv3kSXF4d1pTNzWJf/IpduUJOABCQgAQlIQAKLK6DAbnHnTj2XgAQkIAEJ9FYg1d0Rdd35dE3cobCr2AghTHGFYfryT3Lqwj/tzrgr/XkSY7w5QtsMrn7gUvd2bOqYBCQggd0UUGC3m7p6bQlIYJ4Cxq7StFMcCVdYTIiEkEsuWEw02GH+/S/QRkcxOM5D9/8XHLzrL1C5HfJzfYzdArDUVW2YjSTmp6dcTj0HdrMymmoSkIAEJCABCUhgUQUU2C3qzKnfEpCABCQggT4L5B123ecvO7i4mmtjzlp1jufPfw/+/P/KaPgo2+15WuNwxQqJF7BxnVAZCq+SmH2eXvVNAhLYPQEFdrtnq1eWgATmK2Dy6q3kSdF1JSxh0gVt3bnH0bNVj1kbFDiTaGtDZRx3n/gqHnz9O6DMZ9XllM51IZ/BzUI7kxeEKbCb78zq6hKQgAQkIAEJ3CoBBXa3SlKvIwEJSEACEpDAqwSq2YcqqSCkC7h4BLY/zQvn/zrN+BOsm33UYZvoHTGvs7YeFw8Q44sUPpHafdKUgAQksJQCCuyWcto1aAkshUDbnqEsDuHMShe6xdgQc4jXnUGXwDlczCUaIsnkqgxDqjRhZf0p3njv34AjdzPwK0BBjHZWHrMrixm6UpuGYikcNUgJSEACEpCABPaugAK7vTu3GpkEJCABCUhgbgKB1H144o0nH2K3ceUXOH3ufQyqhnWzyhUShUskU0EcQyxxaYizB0hhi2jyqms1CUhAAssnoMBu+eZcI5bAsgiUDHMRS+rQkFLE+4JkDDGXunTgUqAJAyKe5BuSuQzNiIE9jC8qjjz8IY4dzaHdGjHOdtzNSmN2JyarJOay3EgapwQkIAEJSGAPCyiw28OTq6FJQAISkIAEdk0gNZBXQJv88UgLpsEyunq5CRNKRvmTl7rmyrmf5sLGj+NiojRHuhXUKR9upyYBCUhAAn9MIC94uHTR0TSr3eKFRMCZISb/f6eZ5uUOUpOABCSwlAJVscXdd3wzDz3w9ZjRIWoiNtnZyXV5rVf+ZrZhD0zdld401l39fbXGmnIp3TRoCUhAAhKQgAQWR0CB3eLMlXoqAQlIQAIS6I9AhBDzKSL5w5G2W+Ec4hTDSvehiM1n2E3P8ML576be+X9Zae8hpU9BymeWFFibn6MmAQlIQAKvFXh1YJdsJKZWgZ1uEwlIQAJZoN5HM7zI+sEv5nUPfjNrB95Aou5+DzWpzJU0sS4ndjm9c/kwZWKKXdUH57TYQTeRBCQgAQlIQAL9F1Bg1/85Ug8lIAEJSEACvROoUoOjwJqYT6qbfTASiu5DE2NL2Pz/eOHiD7Mz/jf4GgYuMnD304QtgtnBJX1o0rtJVYckIIFeCOQNyK/eYafArhfTok5IQAI9EBiahqr21L7Frxzn/vu+gbvu+QoiAyZpyqjbQWfJx+HFXJrdBgypO/OOYK+uNOvBQNQFCUhAAhKQgAQk8DkEFNjp1pCABCQgAQlI4LoFAtOu4pDpziKZQBzh8w9S5PLW/8j2qX8AbpNYX8Dnz0fMAdrUENwl4Ci2zauh1SQgAQlI4LUCnyuwy1tHcklMVNJNN40EJLCkAv5qSfWUHK2bUNsBdx7/Wh559BuIZh0TIT/EXK28nhc8+O5cZAetn5XMVJOABCQgAQlIQAI9FlBg1+PJUdckIAEJSEAC/RWYQBoxNRUhDRgY8E1i++LPcv7yz+Pq32bkHqJNJyGukMwqwW6S4mEac5EyrvV3aOqZBCQggTkKJGu4eMF+5gy7V3bYKbCb46To0hKQQC8EmpAobMnQR5q6Jf//5ZgJ6/u/hGfe8Ddg9TjYhpgSIZa4XAYiB3i5AkSX1s3qQqhJQAISkIAEJCCBvgoosOvrzKhfEpCABCQggT4LpHwGne+KDCUDqT3HhYs/w86Ff8IgbDJwxxhPnqccHiHRUtUF3u2jNae757mUd+apSUACEpDAawXyB9CXLnrqekQ04bPOsIt5R7N22OmmkYAEllSgKWp8dKS6ZKWEJr5MVY8oB68jp3OPvukd7Dv8HMQDNKFhdmxdQf611XWlIBTYLemto2FLQAISkIAEFkZAgd3CTJU6KgEJSEACEuiRQD4bJFRYO4D6JKfO/wjbG/+CkSlwraEJQ8pBy6RqKfwBfAGTyRbWOlw5xjQrPRqMuiIBCUigPwI6w64/c6GeSEAC/RIIXMSEo10Ql8IGljWcHdHESxg7pnIP8dgD38QdJ74MvCdSE9MAE0pcLpPp+jUe9UYCEpCABCQgAQm8VkCBne4JCUhAAhKQgASuW2CbwFpwxPG/5eyZ91Nt/xs8ayQzINoabEFoHLbYInC+K4tZmsOYlIhxgnnlcJHrvrKeIAEJSGBvCyiw29vzq9FJQAI3LjBMZfd75rQyYEf4gaUOVzCtY1jsZxJ2qM2Ie+77Sh584GtwxSGiabG5JkQoFNjdOL2eKQEJSEACEpDAbRJQYHeboHUZCUhAAhKQwEIJBEiuJhBwuG5lMgSiy2uVC4Y1VJu/yJlLH8bUn+5KXCZ2aIl4c4QUxgs1XHVWAhKQQF8EPtcZdnnBQzJTEl2NNzUJSEACEniNgIkJ4wIhBA6u/zkefew7Yd8JGjehpWTUFXPPO+8aEhMMueKDnZ1xl8u15114ahKQgAQkIAEJSGCOAgrs5oivS0tAAhKQgAT6KhASmAjGNZhUkBLdlzVVd/zHxumfZXPnN5iMf4sieoZ2jZaLOdIDcxgXq74OTf2SgAQk0GsBBXa9nh51TgIS6LFAihVlOaCtRgSbcKuHePzRd7J24M8SHZgUMCbSxqI7g9maMYYCGwvatsaXeYGamgQkIAEJSEACEpifgAK7+dnryhKQgAQkIIHeCtR5vXHb4q0nmURrDEVelNw2nD/3X3Fl6x9DewobLGU6gbeOlnO0KZA4RoF22PV2ctUxCUig1wIK7Ho9PeqcBCTQY4EYCqzdoSg842qT1m+Be4SH738Hd9/9leSD7HL1CONmO+26SpkxUeQ/J6sddj2eW3VNAhKQgAQksCwCCuyWZaY1TglIQAISkMB1CFRd4UtPCGOcLbGmhDjlzJkf4vLZj7DiAsY2FLl8UFghmYZgLhGNJ8QDCuyuw1oPlYAEJPBqAQV2uh8kIAEJ3JhAjJHCHaGpT2OLTZy/g3E7JdnD3HPsbTzw8DsxzmDskDaCdV3hCFIuidl952/swnqWBCQgAQlIQAISuEUCCuxuEaReRgISkIAEJLCnBFpofD7bI+JTCfUOL5/+Xja3/xcKWzCo7sXaCSk1xJgP/AiYoibaSEwFLuQPPdQkIAEJSOB6BRTYXa+YHi8BCUhgJpADO2tWIDQYP8Ukh7EHqNMOwbxIcfjL+VOP/QgUh4gBbAHJbGMYQvSz9E5NAhKQgAQkIAEJzFFAgd0c8XVpCUhAAhKQQG8F4tWe2ZY0eYmTJ3+AdvovsekoFFNsXYCZ5BqZxOi7DzqcjwQ7JsYtXDjW26GpYxKQgAT6LKDArs+zo75JQAJ9FkhhlWBfYnWwn2Y6JMQpISRWRvtowzZbtmZt/R6efezHcauPQpqAGxFTizVeJTH7PLnqmwQkIAEJSGBJBBTYLclEa5gSkIAEJCCB6xJINZiGePkMz597D6n5FUbhUawLTPNflVsYY8AEiAXgIDkSFSZNMGn/dV1OD5aABCQggZmAAjvdCRKQgARuXMD5gqbdxFpHaByjcpWmbkmxBH+R5EsaO+LR172bo3e/DVIktANy9XdtyzklaQAAIABJREFUsLtxdz1TAhKQgAQkIIFbI6DA7tY46lUkIAEJSEACe0qgBSYb/5JLZ3+csPM8pRuB2yBWjtKtMc0fKpt8BkhDMjUpRWwosamcBXnUe8pDg5GABCRwuwQU2N0uaV1HAhLYawI2ReoWvC+w1nahXVVN8DZifaSYHqb1W2yZ88Tybh564Fu5/56vIlqIqcbn1E5NAhKQgAQkIAEJzFFAgd0c8XVpCUhAAhKQwNwEUv5ggm4psaWF1oKxtC5SYVk9/XOcuvBL7MRfZlgcIdZHsdHgB1NiuERKB+fWdV1YAhKQwF4WUGC3l2dXY5OABOYpYBgQm4ZyYGnTZWqzwr3Hv577HvgGKPZTubwirWGQF58lD20CH7oqEnSVJebZe11bAhKQgAQkIIFlEFBgtwyzrDFKQAISkIAEXiuQdohxFesiEdud7+HSFGuGnL74s8SzH2HcfhxbnGPo7qKpVsirlvM5dSlU3e46NQlIQAISuPUCCuxuvaleUQISkEAWSEQKU9A0E4wZ0FrDTqg4euxLefMbvwWK+7tQrm3rroJE4YaA785snv2vmgQkIAEJSEACEthdAQV2u+urV5eABCQgAQn0VyDvsAMqEzA4ythy7tR7iZv/ms32t3BuRGkPkNr8lTC2wnlDDHn5cejvuNQzCUhAAgssoMBugSdPXZeABHot0MYNSneEFGpsAleO2I6Xac2QtbVHefLR9zDY9wAwIhqItAQaCgpCYyiK/DuwmgQkIAEJSEACEtg9AQV2u2erV5aABCQgAQn0ViC+qmd5d11hG86c+bvUF3+FwfS3qFaO4cw+QjOY7b4zFbaYdCuMU7IQ1no7NnVMAhKQwCILKLBb5NlT3yUggT4LJL9DqkcUHMC7hjZsgDlIsJ7t9ndZXXmGt7zxB7H7nyAZCDaPpsXm3XURbPdnNQlIQAISkIAEJLB7Agrsds9WrywBCUhAAhLorUAO7EJsZquLQ82pU++h3f41ynCYZAJ1mkV6JsZuZ50vLCkl2rCFMRGT9vd2bOqYBCQggUUWUGC3yLOnvktAAn0WMDmkawI+HsHjaNJpsC3OHcI5z7RuqIsxTzzyfg4d/fOksialkpjDOtcd/awmAQlIQAISkIAEdlVAgd2u8urFJSABCUhAAj0VyBUt86cO9XlePvNe2Pw1TDuhdS2tfRhXN2ASmEm3s86kFUI96kI7V+QPL169R6+nY1S3JCABCSyggAK7BZw0dVkCElgIgRjyLjmHMVNS932BK3eIaUI7PUhRlLQRqsFpHjrxHk7c89egyNUlPLnAhAK7hZhmdVICEpCABCSw0AIK7BZ6+tR5CUhAAhKQwA0KhAraipOnv51q+1+wEo/j7Cbb8SLBlqyao6RYgKlJZrM7ty41h3GuxPoxIbQ3eGE9TQISkIAEPp+AAjvdHxKQgAR2R8DZEW3bYPwWxk4J9X5SzGfTTTE2kpoDxDTGFTCJV7jnzr/GA49+GxSBlgE+l8ZUk4AEJCABCUhAArsooMBuF3H10hKQgAQkIIG+CsTJ7/H7L3w7vvp3rPn7mFQ10dYMB6vEqsHacxAPkIwHt0GKActBrLW06RwmHurr0NQvCUhAAgstoMBuoadPnZeABHosYGIg+UBsSqDAlA2mLQhtibE13g1J8Qom7uD9EXbayP6jf5bH3vQOTHmn4roez626JgEJSEACEtgrAgrs9spMahwSkIAEJCCBVwlEIjYlwHU/beMEb0e5BiZt+zynP/6X5CUBCUhAAj0UiDawcXnAZFISberODSUOulJsKZdxo+hhr9UlCUhAAosvYJOjcC1NnbB2SCous11vcOTgV/OmJ7+LanicIleMD/kQ6EgwiRbLMNfLzL92q2bm4t8EGoEEJCABCUhgzgIK7OY8Abq8BCQgAQlIYDcEusAuGggmLyAmF7A0Lbj2d/nE89/CsLq4G5fVa0pAAhKQwE0KvDawg4BJQwV2N+mqp0tAAhL4QgL5jDtvwUSPNSuYYsI4XiCGYwwHj/Pks99GMTiK9QeJpqKOFUXch+sqZebznZXYfSFj/b0EJCABCUhAAp9fQIGd7hAJSEACEpDAXhRI0OV1hG50Rd5pN/1tPvGpt1NWY6zNy4DVJCABCUigbwI5sNu8MmI89t0OOwV2fZsh9UcCEtirAtGYrkKFwxKDJRGwZSS5iqreYqV8M29+6vtx+x/vFsN5mqsUA6apYmgGe5VG45KABCQgAQlI4DYJKLC7TdC6jAQkIAEJSOD2ClTUDGhoGSTwV/41L57+elxYp42HsJy/vd3R1SQgAQlI4JoEkotsXB4ymRSEXA5TO+yuyU0PkoAEJHCzAsE0xAhlt2OuJtR5z9waReEIXMHUBrf+CPc+8F0cOf6n81Y8YrQkG8gxX/c0NQlIQAISkIAEJHATAgrsbgJPT5WABCQgAQn0VSCxSZPWcNHSbH2Usy++m7Uapu4cU38XZZz0tevqlwQkIIGlFlBgt9TTr8FLQAJzFIiuIrYjUmopii0MHtMcgFBgbI21UIcxsdjPo498L4ePfymtoft5tyHazLHzurQEJCABCUhAAntCQIHdnphGDUICEpCABCTw2QI1UIZAfekjnDrztykDpJRIbkowLS6uiEwCEpCABPoo4GDjyqAriakddn2cIPVJAhLYqwKGBmsOE0KiTpcpi4hPq+Sz7QqX2K4a9o2GVPU2oTzEQw+/k6MnvpxuW17y5Ar0ahKQgAQkIAEJSOBmBBTY3YyenisBCUhAAhLoq0CsmV7+Zc6f+z6Y7tCaElNOcXGVMkKtI+z6OnPqlwQksOwCCuyW/Q7Q+CUggTkJmLamcAcINp9ONyamKSbkQ6ED3kbCaAR1gw+Dblfd2G1z/PjX8rpHvgNcQS6gqSYBCUhAAhKQgARuRkCB3c3o6bkSkIAEJCCBngqEC/+M589/kFCfYlQcJcQtYqwZ2hGhyQdy6AOFnk6duiUBCSy7gAK7Zb8DNH4JSGBOAmvGsdNMCCZAaSE5YnAUpsAZw05s8EVDqseM0j6sdeyYKQdOfDWPPvbdOsNuTvOmy0pAAhKQgAT2koACu700mxqLBCQgAQksjUDs1vA2kPJhGZ7KTCgYYdOE+uL/wdlT71oaCw1UAhKQwF4SiMaxvQ3bO44YB1gHiYCNeWu0JeqMpL003RqLBCSwQAIpWoyNJOLVtW8FTRUZDY9w57F7ufPhn+h+bsyQEMH5/NhAaiPW58VyeReemgQkIAEJSEACEvjcAgrsdHdIQAISkIAEFlKgIdQW5x2NDRgcPkUm536FU5d+iEG9vZCjUqclIAEJLLuAArtlvwM0fglIoLcCqcDYQBsqIOD9kLZOpDhgNNpPc+ge3vqG94E9AL7tgj2Tym44MdRYP/teTQISkIAEJCABCXwuAQV2ujckIAEJSEACiyiQ2u5w+00qSjtgmGB6/lc5c+m7SONtvFtfxFGpzxKQgASWXkCB3dLfAgKQgAR6KpCix/pECBUxNhTFAGNct8suJUtdjDl08K089eSPglsj2pIYcy0MIO+O1g7pns6suiUBCUhAAhLoj4ACu/7MhXoiAQlIQAISuHaBBI0JBBxDWiZnP8qZC99O0dZ4ewdNHF/7a+mREpCABCTQGwEFdr2ZCnVEAhKQwGcJhDbhS09KbRfa5ZLF1uRdc7ncpcPXlmlRMdz/NM88+aNEv392bnRsscYrsNP9JAEJSEACEpDAFxRQYPcFifQACUhAAhKQQP8EKiY4RvhEVwbz0sX3YidjWgttGfCtzsjo36ypRxKQgAS+sIACuy9spEdIQAISmIdAPsMuh3QxtV1ol1LeWZcwxuB9ySgMqULJ2G0zPPQYb3nyJ8HnqheW1ECX7alJQAISkIAEJCCBzyOgwE63hwQkIAEJSGABBWJ+658i0/O/zunz38Zw6hgMVtjmD5nEE6ykBRyUuiwBCUhAAiiw000gAQlIoL8CMc5COutMF9TFGGZ/to5BdCQbqUk0GAYrj/GWJ/4OlMegKGYb8dQkIAEJSEACEpCAAjvdAxKQgAQkIIE9JpAmTM59jLOX/ya+GpPiiFS8jCsfYrITGdhmjw1Yw5GABCSwHAIK7JZjnjVKCUhg8QSMsYTQdh13Lpe4vHooXUrdbruQPM6fY5COEJohO/Fl/MrjPPfUj1OuHwJ3YPEGrR5LQAISkIAEJHBbBbTD7rZy62ISkIAEJCCBWyNQX/hVXjz//bjJaUbFMSZ2gzoUuFAwcFNI7tZcSK8iAQlIQAK3VUCB3W3l1sUkIAEJXLOAyTvkkp2Vwoy2211nbdHttEspMHGJFTPA19sMrIfCcyG+BCtP85YnfoqVtRPXfC09UAISkIAEJCCB5RRQYLec865RS0ACEpBAzwVyyUtosSmv3m0I7JA4gA8N4fJHePnUe3s+AnVPAhKQgARuRECB3Y2o6TkSkIAE5i+QS2O+uuUgL7e8My+3Z9/yj3Gju2h9CanG5wV2+ctCbTYp2Tf/QagHEpCABCQgAQnMVUCB3Vz5dXEJSEACEpDA5xBINbQlsYBc3DLvl/NNQ7X1z3npzM8waM6KTgISkIAE9qCAArs9OKkakgQksNQCrwR2sbib5978g7iVxwg+h3kNloLQVhRuAFcrbC41lgYvAQlIQAISWHIBBXZLfgNo+BKQgAQk0FOBvEA3JSoTaY2jaMFu/hKnTv8AVbjCKK30tOPqlgQkIAEJ3IyAArub0dNzJSABCfRXoIkXccP7eeub/x6sPkTtcj2NbVZYw4arK/T62331TAISkIAEJCCB2yCgwO42IOsSEpCABCQggesXyEUxLS35jIyGtP2bnHz+2yjTFtEdx4SN639JPUMCEpCABHovoMCu91OkDkpAAhK4MQE7wcR1TLGfZ57+IGHlYaIHT4OPFqzOoL4xWD1LAhKQgAQksHcEFNjtnbnUSCQgAQlIYA8JtGECboQnwuX/i5dOvgvTTmjsFGyJnx1ypyYBCUhAAntMQIHdHptQDUcCElh6gVfOtgseytbPfo8f7OPJp38Ks/Y6Ys7p8pl2plx6KwFIQAISkIAEll1Agd2y3wEavwQkIAEJ9FMgQUwRJr/DuRe/DrvdEoYlU2oiDWUc9rPf6pUEJCABCdyUgAK7m+LTkyUgAQn0TuCVwK52ERc2WONOYgy0wwM8+/SHMCsPdmfa+d71XB2SgAQkIAEJSOB2Cyiwu93iup4EJCABCUjgWgTSmDQ+xSdf+noG9WVKSqZxkjfXYcMhYpxcy6voMRKQgAQksGACCuwWbMLUXQlIQALXIJBDu0RgUKwzaU5RcgfJGOJghS966kO4lQfBa4fdNVDqIRKQgAQkIIE9LaDAbk9PrwYnAQlIQAKLKtBUn+DTn/5GBpMNrL+Tmot4s8kgrNPEna4sppoEJCABCew9AQV2e29ONSIJSEACWWBQ7WdSXqRxBmMsZZpStWPK4VN80dMfwK3fIygJSEACEpCABJZcQIHdkt8AGr4EJCABCcxJIOXrNmAgUpASdMfMp5ZQ/T4v/8HXzKljuqwEJCABCcxTIGCZTBybW4aUhhibaENFaQekZIgmzLN7urYEJCABCdygwCulMV95ujGm+zaHd7k9/dz/QLHvKK1ZJQUo8o/zeXcWWlPhGdzglfU0CUhAAhKQgAQWRUCB3aLMlPopAQlIQAJ7SyAHduYKpHXyborcbAu0p3np9I/A5v++t8ar0UhAAhKQwDUJ5H8TxmOrwO6atPQgCUhAAosv8EpgNx0d5089/n7KffeBdRAi5DAvQTAVziqwW/zZ1ggkIAEJSEACn19AgZ3uEAlIQAISkMAcBNoU8aYhJU8yDpPfj9cXOH32+xhf+RjlbL+dmgQkIAEJLJlANDAeFwrslmzeNVwJSEACm/EsB9ae4Yue+AkY3kssDIGEw2C7xX4ykoAEJCABCUhgrwsosNvrM6zxSUACEpBALwVSqEm2pDXg8+66eotTL7+LeufXcO0Q0/1UTQISkIAElk0gWcN47NjYtK8piem7RR4qiblsd4TGKwEJLIuAN442blAMnuKZt/w07XA/DYGSBheHXWlMNQlIQAISkIAE9raAAru9Pb8anQQkIAEJ9FUgQHSQq2CWMXDu1PdQXf77mHic5NYhTvrac/VLAhKQgAR2UeCPArtEYtidbTQ7wy4HdvkMu128uF5aAhKQgARuu8ArZ9sNbCJOV0mDBrv/QZ566oOk8vBsGV9+06D1fLd9bnRBCUhAAhKQwO0WUGB3u8V1PQlIQAISkEAW6A6QbyAmzpx9P83F/wlXbVIMjrAVDAWVnCQgAQlIYAkFXgnsNrcMMZWdQIiNArslvBc0ZAlIYDkEXgnsPDUmrXQLM6a2YrTvCZ578wfB7p+Vw9QOu+W4ITRKCUhAAhJYagEFdks9/Rq8BCQgAQnMS2CSthgx4tLJD7Kz/Y8wVY1NBwiD8zTtKkXKiZ6aBCQgAQksnYBz7Iwtm5t5TUdJIhJjTWkH2mG3dDeDBiwBCSyLQA7trBliinM00zUKDpCKLYqVN/H0sx8guAJnh8vCoXFKQAISkIAEllZAgd3STr0GLgEJSEAC8xTYAepL/5zq5Q/A5P+B4ZvYYUxIW6xaRwyDeXZP15aABCQggXkJKLCbl7yuKwEJSGCuAm10JJc30k0ZNmsUtmSHlwkHn+OLnvswpdEWu7lOkC4uAQlIQAISuA0CCuxuA7IuIQEJSEACyyfQVbxMzMrX0JJa351Z50yEZOHMz3Hqwi+xE3+ZYXGEWB/FRoMfTInhEikdXD40jVgCEpCABMAEqnrIxcv5H5ARMUasy2UxazxeZ9jpHpGABCSwRwVStBgbu53VtsvmCpoqMhoe4c5j93Ls8Z/O/wpAsF15zNZAmyqGpoA4+5maBCQgAQlIQAKLLaDAbrHnT72XgAQkIIGeCkypKJPBRk9+x92YBpMKfLpMs/U7nHvxJxm3H8cW5xi6u2iqFWyKOB9JoSKZLulTk4AEJCCBZRNQYLdsM67xSkACEpgJpAJjA23IZ1kHvB/S1okUB4xG+xnc9cW88eHvBOOI1pMIONzV576yUFCYEpCABCQgAQkssoACu0WePfVdAhKQgAR6K1CzQxkLoMzvvqltfkNd43Yu8vyL30Rd/wbOjSjtAVKbvxLGVjhviCG/8Q69HZs6JgEJSEACuyigwG4XcfXSEpCABPorkKLH+kQIFTE2FMUAY1y3yy7lCh1FxZ13/ye87g1/kyZYnMnrAitCO6DxkaG22PV3ctUzCUhAAhKQwDUKKLC7Rig9TAISkIAEJHA9ApEKmwbkqjUtE7zzML3CJ5//Jtzk97CDCmf2EZoBISScqbDFZFY+M78hD2vXczk9VgISkIAE9oqAAru9MpMahwQkIIHrEghtwpeelNoutMvlkK3Ji/9yrUtHGRJbdodHH/1hjt71H4LLRfgD0zjB25WubLKaBCQgAQlIQAKLLaDAbrHnT72XgAQkIIG+CoTZAXaNgyJ/225z5qVvZbL1MUpX0rT7u56bGLuddb6wpJRowxbGREya/b2aBCQgAQksmYACuyWbcA1XAhKQwEwgn2GXQ7qY8gK+/JV31iWMMXhfYhtDsp7gV3j49e/h8IkvpTURSy6977vdeGoSkIAEJCABCSy2gAK7xZ4/9V4CEpCABPoqECCaSLQWHyNnXvhOmiv/G8PhGhvNZcr2GJgEZtLtrDNphVCPujflrqi7N+hqEpCABCSwhAIK7JZw0jVkCUhAAjOBGGchnXWmC+piDLM/W0eIW5TxEJgpjd/HI4/9CEfufiskSwoJ43UGtu4jCUhAAhKQwKILKLBb9BlU/yUgAQlIoJ8Cqe3OrsPAyZd+hObKP2GVgmmzTfS222WX8hl3piaZze7cutQcxrkS68eEkJ+vJgEJSEACSyegwG7pplwDloAEJJAFjLGfeQ/gcjl9czWAS6lbzBd8g2kMq36VcbXFYP1BnnzT92NWToA/iFVepxtJAhKQgAQksPACCuwWfgo1AAlIQAIS6KNA3h9naTl95r/lyoWfZ9VcwrdrxOhIbhPDDsQDJOPBbZBiwHIQay1tOofJq2fVJCABCUhg+QQU2C3fnGvEEpCABHJgl4+qy7vlcinMaLvdddYW3U67lAK1iRSlIexEVoqCGDZg9DBPPPs+WHuEgRQlIAEJSEACElh4AQV2Cz+FGoAEJCABCcxHYExkhUCgSA5e2RDnYdvUrDUlm+c/zOkrP0UZLuDjYXAXSTaQ6gewZnM+3dZVJSABCUig3wIK7Po9P+qdBCQggTkJGBtp2jGjco1Ul+AC03iKYfnFPPvs+2nX7iaRS2g6cnXMmEvsh4j3OQnMywn9nHquy0pAAhKQgAQkcK0CCuyuVUqPk4AEJCABCXyWQEvIZ0W4ApvfAMf8RhgCl7DmEPHiRzl95R8ynvwrhuzHJ0OgIbFCm6CgkqcEJCABCUjgjwsosNNdIQEJSEACf4KANSvU9Talh9B6fGFJxUUm9TpH9/1FHn7u7Th3JzF6kk0kaiwDbMrb9/J7D+3B040lAQlIQAIS6LuAAru+z5D6JwEJSEAC/RTo3vhOII1oTT6tLuCI2FiQpr/DyZfeR1X9Pia9wNDdgQnrBCqSa2jDgIKmn+NSryQgAQlIYL4CCuzm66+rS0ACEuipgGFEClOsb0ihJAaLHW5Tpy3qah+H7/wynnrjD4AvurWETV4smCLDHNSlCqwCu55OrbolAQlIQAIS+IyAAjvdDBKQgAQkIIEbEEgpnwM/21nXWKgYs8IKdnqFM6feQzX+GKEdMrAN1uZVsEOinUCxQUj78G1xA1fVUyQgAQlIYM8LKLDb81OsAUpAAhK4EQGXlwim2XsLZ4ZUjSPHcm6YK19WpOYQ95z4Cu595DvAx25/Xa4B0hXCDEB+uJoEJCABCUhAAr0WUGDX6+lR5yQgAQlIoL8CLan2mLIl4rtTIWw15dKlv8PO2V/E5VKZOdRjvVvZGjlNMgXJ7KM1mxRhpb9DU88kIAEJSGB+Agrs5mevK0tAAhLosYBNEWMMTUw4b7vvQ+MwlMTUsFJGtkPFQw++i7vu/5qc6jE7xq69eo7drIS/mgQkIAEJSEAC/RVQYNffuVHPJCABCUig1wItxLxetaVb5tpazp3/IJcvvIcD6RFqxhgz6kpmdktazbhb3xriCil5nNnq9ejUOQlIQAISmJOAArs5weuyEpCABHou0A4pS0vVBmKcYosxpBIb1vLSQWI6iSvuZOI2eNPrf5xDx9/WDahuI75suvPs1CQgAQlIQAIS6LeAArt+z496JwEJSEACfRXozrBruwPfndlgcvk3eencf4aftqyX97PDWUw8SGKKMQmT1sFOiLHGhxMke6GvI1O/JCABCUhgngIK7Oapr2tLQAIS6K2AbYbYckoyI6ZNRbKXKaynjPtxzlCHimBydjegsRO++M0fxh14PTDqzrMrUEn+3k6uOiYBCUhAAhK4KqDATreCBCQgAQlI4EYEQkuyuQSNYWfzt3n59Dspq+cZuSGhPURja1p7GeKw22VnbN5ht4VPJa57jErS3Ai7niMBCUhgzwsosNvzU6wBSkACErgRgYG1jNsXsO4OjDlAZBuXFwZWDmdaWj8ktgMKl5ikLezoME8//iFGBx6lsoGBDrG7EXY9RwISkIAEJHBbBRTY3VZuXUwCEpCABBZGIDI7l842sy6HgrypLrn804btFNmXy11ufYIXTn0jNP8nQ/dWJvEyJp9f1y7MSNVRCUhAAhLok0AO7BrLpYtrRAMppdn5ROYyPs1+piYBCUhAAhJ4rUD+9yLvuKunBYPVKRvh9ziw/ld4+s3fB/4owe7gclnMXNa/e6OTK4ZATLMS//k/ahKQgAQkIAEJzFdAgd18/XV1CUhAAhLovUA1ezebitkHp4Tuw1OPJ07O8fLF9xI3fp8iXaINW+APUydHGSe9H5k6KAEJSEACPRT4EwI7a4YELiqw6+F0qUsSkIAEeiOQhngbiGwSIyS7n0lyHDny7/PEG98J/lDX1SZUFD6Xx4y0+Xw7W9KabbzJZ+GpSUACEpCABCQwTwEFdvPU17UlIAEJSKC/AimAccCE2B3QbknkspYjbDKYkDh19gfYvPLfs9YeI++/a805QjpONAGf6v6OTT2TgAQkIIH+CrwqsEvWEmNAgV1/p0s9k4AEJNAXgUQktWsMRzvU1VmcPcGEwKTxPPK6r+T+h76TaGssJZgtYJ0QEs7lBYkOY7SFuy9zqX5IQAISkMDyCiiwW96518glIAEJSODzCXRlYsZEVrqKMYn85tbhaCEM2Dn7c7y89T7cdJUyBkyqcOWAOuXgbkoRcsinJgEJSEACErhOgc8R2EVzCZ/WyXsn1CQgAQlIQAKvFQh2imlWKV1BTBe6v3b2GJM2EP1l7n74h3jonq8AKjAjmlhRmAGYXFFE7110R0lAAhKQgAT6IKDArg+zoD5IQAISkED/BEIuI5NIxnQfjcYUKVM+1yEy3voop0++k4JD0J7Hc4CYNoASM5pSVZ4i5TIzahKQgAQkIIHrFNAOu+sE08MlIAEJSCALpGhx5Q6pHmLjOsbuEEIkGY8bXOGSP8FbH38P+w/+OdqmxQ/87Ci7rnxm3Z2XqiYBCUhAAhKQwHwFFNjN119Xl4AEJCCBvgqkWcdaA22CIoHL72h3Ps4nL3wXbvwrFOmtRM5hkycaR2IbwxrJ5pKZOrS9r1OrfklAAhLos4CxiaqxXLywgkpi9nmm1DcJSEAC/RKIAWwxwUQP7UGsS4Q4JqWKslxhM21QjO7kLY//FMX6o90x3U2q8AwwObXLP1CTgAQkIAEJSGCuAgrs5sqvi0tAAhKQQG8FQq4hM6FlRKBmgCdtvcT5S3+XjSv/jHV3hGl7gcLeQ8unwOyjsIa6WsEXNSnqDIjezq06JgEJSKDHAq8EdpcurpFDKcI1AAAgAElEQVT/KdEZdj2eLHVNAhKQQI8EQhpj4jrO5QohEwwFzhfQ1lRVYGXo2Q4TRgdfz3Nv/nmSLXLCRzIt4BXX9Wgu1RUJSEACElheAQV2yzv3GrkEJCABCXw+gbzDzsCES13pS0/F2bPv58rpf8ABc5hotwntERp2uoBu9gb5MGUxoZm2GOflKwEJSEACErhuAeu4usNu9Y8Fdi6udru41SQgAQlIQAKvFbApgh1QN2NcEcAFYtPg7BrEEStNQRhtc7k1HDj6Z3j6iffng7oJLq9UbHAMhSoBCUhAAhKQwJwFFNjNeQJ0eQlIQAISmI9AnU+jCzB0+cCHq1/5M9C8myEXhEktFYZkEkN2aE7+z1w8+17wB6n9KqYdz6fjuqoEJCABCex5gWgDZ0/vI5J3PowxaUgyDS5BNCpZtudvAA1QAhKQwC4IGKbQHsG4bSp3mgfufRcn7nkHceCoDQwjhAjO5x13FloL+b2SyW+Xmm7HnpoEJCABCUhAArsroMBud3316hKQgAQk0FOBlohJFmcaoCKFAcYUxBzeuXz4ek00ZVcaZrL165x56XtYa45Q29+lYj9FXsGqJgEJSEACEtgFAQV2u4Cql5SABCSw5ALORpqpYzBYobEN2w089aZ3c+TYl1ObCd4W3fl3bWhwPmJNDui0SGTJbxsNXwISkIAEbrOAArvbDK7LSUACEpBAPwRCnOLMELozG8YQ981215kcxEUCjiIYqE7zyZNfB5NTFFhMOkDrTuLjgX4MRL2QgAQkIIE9J6DAbs9NqQYkAQlIYO4CoU2sDFcYj7cpygNU9hKNWeffe8t/iR+8heAThlwe84+a7QI7S0oJY1SSee6TqA5IQAISkMCeF1Bgt+enWAOUgAQkIIE/USA1EIsupOtqYuY3oAYCYyIOwwBfbXLu9LuYXPkNjNsgpDuJaUJRVJhmRbASkIAEJCCBXRFQYLcrrHpRCUhAAkstkKLF2PxOJwdwLXjD1JxlNHiO5978M6TBEZLd6QK6yAhS3mVnsd3Z3hPIP1OTgAQkIAEJSGBXBRTY7SqvXlwCEpCABHor8Mq5dQlSzury7rr8xtUEbBp0ZTLPn38fW6d/gX3OM00jKrNFYQ9h4yVS1KHsvZ1bdUwCEpDAggsosFvwCVT3JSABCfRQoAvs/BQX1olmm8QWTSgw3ME9x/4M9z35brAjQq4y4vKSRgM51+vOsctB3moPR6UuSUACEpCABPaWgAK7vTWfGo0EJCABCVyrQD6s7uquulwCM8aITf7qjjvYuvKLnDnzE4yaF/HhDmJZMG438C5SpKPEtH2tV9LjJCABCUhAAtcloMDuurj0YAlIQAISuAaBfCbdtLnIqCwJ9SrG1oRUM3B3UTVnufPh/5wHH3hHV3wEPyEyoK0tZZkLkjTQnWmnJgEJSEACEpDAbgoosNtNXb22BCQgAQn0ViDGFmtzVOeBpjuvwXS75iLj6W9w8eSPkqYVJryA92vUbcQOaurJBVb9G2i43NuxqWMSkIAEJLDYAgrsFnv+1HsJSEACvRRIrqsmUofzDP19tI1jMNwitqlbvDj2BU8//MPsP/4l4BpCPs8uDfNmO0JMOKcz7Ho5r+qUBCQgAQnsKQEFdntqOjUYCUhAAhK4VoGY67vksK47kyGvGq2wYUBsX+J3z3wPa5sfhfY4zg4xbofElDaMWSmPMhlPsEU+gF1NAhKQgAQkcOsFFNjdelO9ogQkIIGlFwgNbrBCaleo2wsURX7vM8C7MSl56vIy3jzHM09+D8W+R2nY6t4LpVDgcmqnJgEJSEACEpDArgsosNt1Yl1AAhKQgAR6KZBLYtoa8nl1bQV+QIo1p1/6IHbnB2nah3rZbXVKAhKQgAT2voACu70/xxqhBCQggb4JGAZEe5b14dt441PvIa7eyaSxrOZKmN1Z35509VSBV/reHSuQy5aoSUACEpCABCRwSwQU2N0SRr2IBCQgAQkspEDeXZdqoATTcPHsL3Lp0k8zCKcwcX0hh6ROS0ACEpDA4gsosFv8OdQIJCABCSycgGkhrpFMybF73saDD72TtjCYVODy33VHCXx2y4FdbgrtFm621WEJSEACEuipgAK7nk6MuiUBCUhAArsr0L3lTLkiZiIZQ739cV58/qtZi4ExYwZp3+52QK8uAQlIQAIS+BwCCux0a0hAAhKQwO0WSPncuskqvtimsqu8/uFv5fi9f4lI3kFnu/9OeYtdPlHAzM6zy39+5WcK7W73jOl6EpCABCSwFwUU2O3FWdWYJCABCUjgCwo0THCMgAqaMc+/9C0Mtz6Jt4FxGuNSrv2iJgEJSEACErj9Agrsbr+5rigBCUhg2QWaGCmcwbWOVAZqO+DNT/wUqwefpDWz/XWvDeyW3Uzjl4AEJCABCdxqAQV2t1pUrycBCUhAAoshEHNUt8PArHLy5fcwPfNPWSuPkAIku0lIs1WjahKQgAQkIIHbLaDA7naL63oSkIAEJNBGKLyjNKvU1QVSUWBX3sAXPfsBYnkQy6z8Zd5tpyYBCUhAAhKQwO4IKLDbHVe9qgQkIAEJ9F0g5CWisDX+COdf+m6GdUOTVkjlGUbxEPWs2ouaBCQgAQlI4LYLKLC77eS6oAQkIIGlFzAx4Yp1ptVlvCkhDYjlhENHv4xHH3sP+PJVRla77Zb+jhGABCQgAQnshoACu91Q1WtKQAISkED/BfIB6ZNP8IcvvJ19bkw13iL5AYHLeLsOrev/GNRDCUhAAhLYkwIK7PbktGpQEpCABHotUBqYttD6llQb1goLZo2teJlHH34nh0/8pxQ+F8ac7bBLVyuSvHKeXa8Hp85JQAISkIAEFkRAgd2CTJS6KQEJSEACt1YghYaTz78Dtn6VGKe4wVFi22DMHUztSwzD2q29oF5NAhKQgAQkcI0CCuyuEUoPk4AEJCCBWyZQxoapbYnFOilss2osNAPqeIRq5d/yzLO/zWAwoPjMTjuVxrxl+HohCUhAAhKQwFUBBXa6FSQgAQlIYE8KTIkMg6U7asFDffWgdBOmGDOkfuk7uLz5Kabt89hiC2Iu61IyWyGaD7J7dcmXPUmkQUlAAhKQQA8FjLEE03D29D4iBcmMMWlIMg02JpLVDvAeTpu6JAEJSGDPC6wM7+SJ536RZhgJtHhWcW3A+ATBg/552vP3gAYoAQlIQAK7L6DAbveNdQUJSEACEpiDQCDhcvAWPdiWOjZYO8JTsXX5o4xP/j2m9WmS3aAocgcHxODIH5TmwC6lVw5Vn0PndUkJSEACElhaAQV2Szv1GrgEJCCBngsc5tCxt/LwY++m9gFrVogtlD7Sti3+s8646/lQ1D0JSEACEpBATwUU2PV0YtQtCUhAAhK4SYHQ0liPMQ0+tRBHtLbFVyd58aV3kLZfIjHFuYBzQ2LwxJgDu6s77HLYpyYBCUhAAhK4zQIK7G4zuC4nAQlIQALXJNC0A9rBOd744A9xx71flQuUdMVMEhOK7ly7wTW9jh4kAQlIQAISkMDnFlBgp7tDAhKQgAT2pkDeXOegpqXEY1N+Nznm7Km/xeTCR3BFg6XAmIIUC0LIDwBjIphcElM1XfbmjaFRSUACEui3gAK7fs+PeicBCUhgWQVq0+LtlMId5pnHP4w9+BC1i4RYM7L5OAGdabes94bGLQEJSEACt05Agd2ts9QrSUACEpBAnwS6ipaJaAytgTJCfennefn0D+Lrw6TiItaukKIl5ozORKwL3f9GGlK70qfRqC8SkIAEJLAkAgrslmSiNUwJSEACCyYQvcfVDTGdYf/+v8wbnnwfYQjGDjApv59asAGpuxKQgAQkIIEeCiiw6+GkqEsSkIAEJHALBPKGuVzV0ucAzhK2f4czL/5VXL1BMscIXMAwIKXZmXXON2AbQmggWUxavQWd0EtIQAISkIAErk9Agd31eenREpCABCRwewSSKaHZprBr1GbMffe/nbsf/GZwhjaB1wa72zMRuooEJCABCexpAQV2e3p6NTgJSEACSywQIjhLHa5QpooXnv9u7M6/w6Q/wLqnCOkihiEp5aWgdRfYtXFKbEsMq1jbLjGehi4BCUhAAvMSUGA3L3ldVwISkIAEPp9Aih7sBOIagyIyCQ3PvuknGBx9gtau48UnAQlIQAISkMBNCyiwu2lCvYAEJCABCfRSIFU0xuMwXDr999m58I9o4x+w4h8itC+SzHoX2HXlMG2DcRUxJFLYz8AfoYlnejksdUoCEpCABPa2gAK7vT2/Gp0EJCCBhRUIkdZXkAoGaT9NfZZi/SGe++KfZeoPMVzYganjEpCABCQggf4IKLDrz1yoJxKQgAQkcB0CLS2W/5+9e4G2JLvv+v7du6rOOffVPe+3NKORRhpLlueh0duWHxjs8LBjlqNAhGxjZxksHAO2CcIODztYwgEhg42lgAw2YBYBQ1hxAuGxWEBCFgEnOBhsGXk0j55HT7+7b/e995yq2jtrn9stC1nWzJ2593ade741S5qe7nOq/vvzr7V61f3V3rtmPhEuzFO3+bfbuE1ghbIQ5ih3cOGXePr5byG2L9CEO9nqzlJNjhHasmamhwIKKKCAAsMSKC+R9LnhwvkVdrZH5Hpn/nJJnVfIcYtMM6yCrUYBBRRQYCkE5tsJ9Jep2IH+OGG0xhXOcfzYe3j4sT/JrFqjKXvZlcesCFtcJrLOhBbaBv/6WorbxEEqoIACCrxCAQO7Vwjo1xVQQAEFro9AKpdN7C5dmTPker7TeQplgcstJnkVZpv8ylP/FfX0LJN8mtTXdByjrzepU3V9CveqCiiggAIKfAEBAztvDwUUUECBIQqU7cGbnOZ71fVlG4FqxFY+RWxew4P3fzO33PuNwJTcjgkNlPcqezYZ5w24GuINcVzWpIACCiigwJAEDOyG1A1rUUABBRR46QIZUk7EWB4dS2YXyaHaze5Cou4iJ1/4E5w5+5c4lm5kXCXabo0whmm3SZOdofDSsf2kAgoooMBhCRjYHZa011FAAQUU2IvALHQ0OTKKNamNECvacJadvufY+pv5ojd9kLUbHoYAOzOYjCKkGZnRtcVQ9nI5P6uAAgoooMBSChjYLWXbHbQCCihwVAQSfY5lYt386NIOTYyENIILf59fev4DrHELdZeo0hqpOUWbx/Rxk7pbPyoIjkMBBRRQ4AgJGNgdoWY6FAUUUOAICbSh7ESQaWJF7jpibIh1x3Z/kRBqNta/iofe9sPksj1BgKpsT5BqqKALHTX1EdJwKAoooIACChyMgIHdwbh6VgUUUECBgxbIMwgjurI2ZnnBs8yy63uqUNHOnub5J95PRaCdfppxvIPcV6T6PDv9BerRMap2fNAVen4FFFBAAQX2LGBgt2cyv6CAAgoocAgCXRxBN5sviRlSTwiBqlqhSz0pXCa1Y+5//Xdy533vhypB2t1jvMy468I2NSuHUKWXUEABBRRQYLEFDOwWu39Wr4ACCiyxwA7kCX3oyVTUZUO7vmyoACdO/nGm53+IjeZLmbbPEkIih57Y3w2jC/R9Ryyz8DwUUEABBRQYmICB3cAaYjkKKKCAAnOBGFbp0iViqAkhkvIU0gqhBHFhh1FsucIGjz70p1i7+S0QEymVbcbz/H84w847SQEFFFBAgRcVMLB7USI/oIACCigwSIEyw44RXQnj6Hf3pOs7ds79LE+e/j6Oh5rpTma0Gpm254lhQsgrjOu72Zn9ApEbBzksi1JAAQUUWG4BA7vl7r+jV0ABBYYqEHMFcZuQV0k0JK6QUk+kbDXQMioz6eotYvMW3vqO/4HUHKdNNePYQt/Ml8b0UEABBRRQQIEvLGBg5x2igAIKKLCYArktr2tSdkPo0gUm+QbYPsmnnn0vsftXTNIb5zPputwTx1NSt0HNhNSfJoaN+aw7DwUUUEABBYYmYGA3tI5YjwIKKKBAEai7KWHU03fH6dMauTpDileIYW0O1LTV7qy7tQ1uvut3cd/rfg/d/BVLiD0Gdt5GCiiggAIKvAQBA7uXgORHFFBAAQUGKJBKYNcwzZAjTPpznH/iT3Llys/Qhlup5zPwPBRQQAEFFFgsAQO7xeqX1SqggAIK7AqkPGNUlr3M28yamofe/AnWbv2S3U3sUk0Ku7+MZXXMMhuv3w375nuRh7InnlPwvJcUUEABBRQwsPMeUEABBRRYTIEMHZcJrM9XV7l49m9x9uRHWAkds74n5vIap4cCCiiggAKLJWBgt1j9sloFFFBAgV2Bqm5KCkffXibUd9HceDuPvvmjML5pHtYF2vkSmiFPiCWlCy25vHmZKzIdMdZSKqCAAgoosPQCBnZLfwsIoIACCiyuQEtPnSHMXuBXHv8m6D7FqK6J3XFyWTLTQwEFFFBAgQUTMLBbsIZZrgIKKKDArkCuCKEmpZaYx3Txee57zXdx930foG16Gq6tgLIC81l2ZcHMTNcF6tqwzttIAQUUUECBImBg532ggAIKKLCQAm0PZdWUOreceeoPs3PpnzENp+dvZjbtGjmUNVc8FFBAAQUUWCwBA7vF6pfVKqCAAgrsCkz7llivMo5j8vQM4+oGpqMdHnjwoxy7453zFy13Q7oyvS6SUplVBzkHl8P0JlJAAQUUUOCqgIGdt4ICCiigwGIKlAe+DNuX/j7PP/l7WQ+vZla1zDhD09YQy/bmHgoooIACCiyWgIHdYvXLahVQQAEFdgVyeRbrYRJvhelZGgJ9lck3vY63Pfpx4Dhl14IwSkA/Xw7z2r51KSXifJ1MDwUUUEABBZZbwMBuufvv6BVQQIHFFSiB3ewZHn/qW5hML9HPpsTxBl06Q5MbymOghwIKKKCAAosmYGC3aB2zXgUUUECBuUCzRTudULNCRYB8kVCtcTlc5nWv/m941QO/G1IkJwjNdvkCOdWUhVFSNrDzLlJAAQUUUKAIGNh5HyiggAIKLKZAf5Ezz/55Ni/+OHW+EcKNtP0JVuLdpLRNCv1ijsuqFVBAAQWWWsDAbqnb7+AVUECBhRXo6GhSRaSFuEpfQdtfYpTvos5TXvOuP85N618KfVkNZUpZD7PvGqoKUthdKNNDAQUUUECBZRcwsFv2O8DxK6CAAgsqMLv4b3nqie9gvT7PjEQbZqyHW+m2L1E1N9Plyws6MstWQAEFFFhmAQO7Ze6+Y1dAAQUWVyDldep8mjr2bKcx05CoqjHr3Qqxe4Jzt38Nv+GxD0N3E8QOYlkWc0QIoSyQuTsrz0MBBRRQQIElFzCwW/IbwOEroIACQxWYAXW3TWRlt8S6Le9sEuebk2/y3L//WnLuyDmTczv/d4i7C2GGUJZa8YFvqL21LgUUUECBX1/AwM67QwEFFFDgKAqk/hL3ve6D3PXab2IWIPSZJmboM/Npdj6+HcW2OyYFFFBAgT0KGNjtEcyPK6CAAgocjkAHxHSJGNbLr0ghzTcmr1LPqdMfpz39l+eFXAvsdpO6z1oGM1eHU6hXUUABBRRQYB8FDOz2EdNTKaCAAgoMRiCmCd34Ft780PezccMj82Uw+26LplrdrdHAbjC9shAFFFBAgesnYGB3/ey9sgIKKKDAFxBIqWxrsE2Xe2JYpesiowr6Cz/Hf3z+A2x0JdIrx6+GdLnsl3DtMLDz/lJAAQUUWEABA7sFbJolK6CAAgq8qEB5pttsn+P2O76WL374h0m5IkXIqacJYwO7FxX0AwoooIACyyBgYLcMXXaMCiigwCIKpCmEMdvhHE2+iYqe0E557pnvZLr5T6nZmI+qLH+5+4vd4C7n3WUxMbBbxK5bswIKKLD0AgZ2S38LCKCAAgocSYFc9aQ20YwCr7v/g9z0qm+ku7qlQV2Su6uPdUdy8A5KAQUUUECBlyhgYPcSofyYAgoooMAhC+SOlOv5W5ddDxPg4umf4OyZD7GWbmCapvMNyueB3WcthWlgd8h98nIKKKCAAvsqYGC3r5yeTAEFFFBgIAJduMxKuJncdXTNDTz2lr9EffwuyuuWqUvUtYndQFplGQoooIAC11HAwO464ntpBRRQQIEvIJDKYpc7lKiuih1sP8PjJ95LdXmLJo5JcfszX/7MLDtn2HlLKaCAAgosuICB3YI30PIVUEABBT6vQNdvszY+zmwr0FVb3HrX1/H6L/5+iD2Jxgl23jcKKKCAAgqUBcRyzlkJBRRQQAEFBidQ/nYKkHqIecqpkx9k8/zfo+mPzTcor8Jn7Vf3+Yp3SczBtdSCFFBAAQVeXMDA7sWN/IQCCiigwOIJlB8/xtCQmBFTTZhk3nj/D7H+qseYcYzR4g3JihVQQAEFFNh3AQO7fSf1hAoooIAC+yKQITElMmbrwr/kmZMfYNJuUoVbmIazjPLKr+5XZ2C3L+SeRAEFFFDg+gsY2F3/HliBAgoooMD+C8Rc0YaezIxxdYU8W2d87A089NjH2BodZ3X/L+kZFVBAAQUUWDgBA7uFa5kFK6CAAkdDINHRt5kmNvOZdMQp5BpSNd9wvAuJkCPV7CxPPfc+Rpc+yYg1LucpO6NVVlsniB+NO8FRKKCAAgp8tkCmI4dVLl+GzcsdhBXIFSF3hJBJZe9WDwUUUEABBRZMoE8tITesrawwnW4z7WbEYxvcedtv5/77fz8pJuJ8f/IW+mb+TDg/wmVI67/63ws2bstVQAEFFFBgLwIGdnvR8rMKKKCAAvsokCjLogSqqw9i3dVz10BLnxuqDKdf+BE2z//PjNuTxLxKX20zZcKorJXpoYACCiigwFETCGUvn5V5YHf5SpmJMDGwO2o9djwKKKDAEgqk2FHlEbnrCKlmvL7KhZ2TVM3DvPPR76HeeARiS9dlQjUihPJe5xahX736gucSojlkBRRQQIGlEzCwW7qWO2AFFFBgGALzsC7szpIrP47cDe5KaFd+LxHTmLT9C3zqqfcxbmvqvE1mg1j1pHlYZ2A3jE5ahQIKKKDAvgoY2O0rpydTQAEFFBiGQIqZkDIx5fkMuno0Zic9z7Rf5Z67fiOv/5IPk/MWIazTh52rL6x01GXWXYrOsBtGG61CAQUUUOCABQzsDhjY0yuggAIKfH6BXN6crAPp6j/lCSzTE8vaJ7miyps8/+wPsHXmb7I2WmfWBXIYE/oxk3iF6XwdTQ8FFFBAAQWOmICB3RFrqMNRQAEFFCgCiYacNpmMJqRpTd/3jCYtbejoZ2u89s3fx+23/2dQRVLoyiuc5LJFQtgm5pXdWXYeCiiggAIKHHEBA7sj3mCHp4ACCgxV4FcDu/LwtjuzLidoQjOfZLdz4W/xzPMfZq1dIcSTzOIKfc5U/YRJKMtilqUzPRRQQAEFFDhiAlcDuytXwnwPu7IkZih/56WWGMv8cn9iecQ67nAUUECBpRDo0xoxXiDkKVVao65XybmnbafEpmFncjdf9va/ON+7NTWj+Sos5UmRPtJUZXUVn/+W4kZxkAoooMCSCxjYLfkN4PAVUECB6yaQmC9r0l39dyxz5vKYUP47Pcczn/oO+u4ZmlgznZ1lNDlO11+mKj+o7MtsOx/YrlvvvLACCiigwMEJGNgdnK1nVkABBRS4bgK5XyPUF8n9jJAnNM2Irq3ou8B4EriUL/Pga7+VO1/9HZTdEvrQzrdNiDlC2IGyp6uHAgoooIACR1zAwO6IN9jhKaCAAoMVmAd1U7o0ns8YCMwI/QjSRc6e/ytcfubP0YxuY4eT5P4Yo6o8tfXkqqXNU0ZpfbBDszAFFFBAAQVetoCB3cum84sKKKCAAsMVCH1Nqi8TGEOq6dI2dVyjiivM+lOsNBtcJvOet/5VWL2PHDM5lMCuLMaSITrDfLjdtTIFFFBAgf0SMLDbL0nPo4ACCiiwJ4HdJTEv0+eN+eJekR66Cqa/xC+c+Fbubqdcjs+yxZS10etJWxepWacNmW58hvH0+J6u54cVUEABBRRYCAEDu4Vok0UqoIACCuxRIM8IoWyFcIwcRnT50nzv8rpu6NPTNP2N7KQVbn/Vb+YNb/hj5Y8IcRv6ld0LVXu8nh9XQAEFFFBgAQUM7BawaZasgAIKHAWBlCF3O1T1hBxmkEeEdJnnn/kg03N/nyquHYVhOgYFFFBAAQX2JvB5ArvyU8uQO0LIpBD3dj4/rYACCiigwKIIdBVdlXnskY8wufkddGUX15ggtxDGizIK61RAAQUUUOBlCxjYvWw6v6iAAgoo8MoEyoNXpA8XqThOmWB3+fLP8sJzH2HcXiHnsk+BhwIKKKCAAksmYGC3ZA13uAoooIACRaCjY7WesLU1YvXme3n0rR8nVbshXcxXIPhCp3eKAgoooMDRFzCwO/o9doQKKKDAQAWmJMb07NCkCcwu8ORzv5vp5s+zVt1J7jcHWrdlKaCAAgoocIACBnYHiOupFVBAAQWGKtCHlrqPNHGFzXSK17z2D/Pq+383KZZ3O2c0jIZaunUpoIACCiiwbwIGdvtG6YkUUEABBfYm0LGTEnUcUZfZdad/khfO/BGatEKujhG7fm+n89MKKKCAAgocBQEDu6PQRceggAIKKLBHgWmuGIUdxlWmm47p10e8/ZG/BquvZhZhssfz+XEFFFBAAQUWUcDAbhG7Zs0KKKDAkRDo6HKkLq9Mzp7jySe/hXF7gcQp+rhG6N2j50i02UEooIACCuxNwMBub15+WgEFFFDgaAiE42SeI85WGdcrbMfT3Hb3N/PaN/y3bEVYPRqjdBQKKKCAAgp8QQEDO28QBRRQQIHrItCRqClhHZw59WGuXPi71LOKUF9kmsufueTJdWmMF1VAAQUUuL4CBnbX19+rK6CAAgpcF4EYVpm1F6mrVVbqmis7F8irN/PYo3+O8cabIFyXsryoAgoooIAChypgYHeo3F5MAQUUUOCawAwYZejP/x889fzvY8LNTKfPMR6PadspMRjYebcooIACCiyhgIHdEjbdISuggAIK9N0mTXM7XTWDaUdV/j6MifENX86jj/4AVGhbFgkAACAASURBVBsiKaCAAgoocOQFDOyOfIsdoAIKKDBMgS0Sq13k1Infx/aVf0Tf9VT1zcAF6r4hUQ2zcKtSQAEFFFDgIAUM7A5S13MroIACCgxUoA7bbPdj+iqQ+22ON8dp+4tM4808/MV/imO3v32glVuWAgoooIAC+ydgYLd/lp5JAQUUUODXCHTkHAglfOuBsAVVRduPaYDtsz/LqbM/SD99gaq5iS5dpJ7dzurkEjudgZ03lAIKKKDAEgoY2C1h0x2yAgoooMBnC+Sc5/8ZQiBWNTFGHv6Kf0hNDW1D2VkhVYkZLTVjajoof+ahgAIKKKDAggsY2C14Ay1fAQUUGKpASmn+YLV7tJAbKM9dsaNLNXV7hhPPfS/Tiz/Har1GG56i729gHI4Ruk366APXUHtrXQoooIACByhgYHeAuJ5aAQUUUGDIAiFEck7zEktoVwK78nshRm5//fdy7+3/OeVd0Jwyfb27qV154oy5h+ALn0PurbUpoIACCrw0AQO7l+bkpxRQQAEF9iiQaQllHl0J6UJHKm88zl+UnBEZceXUX+OZM3+AZuc465O72U7/mpweoGlWaKeXqQzs9ijuxxVQQAEFjoSAgd2RaKODUEABBRTYm0AJ5q4dJbT77Fl25ff70et491t/FFZupAstmYamZHuxha5xgt3euP20AgoooMBABQzsBtoYy1JAAQUWX6CFVGbJBVIsc+wyKU1ZCQ2kyzz9yfdCfooq7ZDT+jzIy7Ems0oK56nS6uITOAIFFFBAAQX2KmBgt1cxP6+AAgoocAQFrgV214bWz2a84aHv4ea7fhddtU1MK9TlhdBqCv14PvPOQwEFFFBAgUUXMLBb9A5avwIKKDBQgURHzDU5teSqYcaMqsy5y4FLp3+Gcye+i8n4jfQ8R5qtUccVcnWarl8ljbap2vFAR2ZZCiiggAIKHKCAgd0B4npqBRRQQIGhCnx2QFeWwvzso/zZSp4xXbmbh976MaqVu2gI0JfN7Dqo6/KeqIcCCiiggAILL2Bgt/AtdAAKKKDAMAW63FHnMsNuSo5hvkBmTUPceoLHP/3trKdzTPMWfQ6Mws2ULQhSPkVLIlUjqvLw5aGAAgoooMCyCRjYLVvHHa8CCiigwNU96z4b4tr+ddf2tBullk2ucPd938brHvhDEKdleh30NVTztTF1VEABBRRQYOEFDOwWvoUOQAEFFBimQAfU5f8i5LhDy4iKK1x89i9z8eQfZb15iEv5cVK4gXG1QZO2oA90ccosjhj1wxyXVSmggAIKKHCgAgZ2B8rryRVQQAEFhilQ9rD73L3rrv1eqTh3PXHc0vW38fZH/wL1Ta8lzWfVRSLzp89hDsyqFFBAAQUU2IOAgd0esPyoAgoooMBLF+hI5GlLU+3uJ9AF2N76t5x84ru4tT/D5bYnjSbM6hbyWSZtTZXuoouZabXJuOxD4KGAAgoooMCyCRjYLVvHHa8CCiigQNn5PFaQy77nu29ufu4MuxRXiekZqnwnt9/2O3n1m38v7XzfupZmvoGdM+y8kRRQQAEFFl/AwG7xe+gIFFBAgUEKzN9xLCuThCv0eW3+CPXc0+9ndv7nGI+O03VXBlm3RSmggAIKKHA9Bcpsgo4p2zsjLp5rIK6S2KapIqmrybH85eqhgAIKKKDAcgnMZ9t1GZjR1jfx8Fv+LJP1N9LU5e3QFppmuUAcrQIKKKDAkRQwsDuSbXVQCiigwDAEMi2ZQEw1/fbP8/iT72Wjv4dZepoYVoZRpFUooIACCigwIAEDuwE1w1IUUEABBQYj0IdEU95ZSS1ttcr67b+Jh978x2m79mpWZ2A3mGZZiAIKKKDAyxYwsHvZdH5RAQUUUOALCuSyDOaUxJhRt8Nzz/whrlz8GVbjq0j9KQgbAiqggAIKKKDA5whcC+x2pmMunK2dYecdooACCiigAOXZcptxnlDnxCxusZnWedc7foLJ2hdDNSXilgreKAoooIACiy9gYLf4PXQECiigwDAFephVLdDQn/8nPPP0t7Ia7qbnBZrY0PWjYdZtVQoooIACClxHgRLY9aFle6fh4rkROUxcEvM69sNLK6CAAgoMQ6BjxiitsVLNmOWLXE4Vx277TTzy8EdpQ3nq9FBAAQUUUGDxBQzsFr+HjkABBRQYpkAPqYKQtnjq8W+n3v4FSOukaosmbBnYDbNrVqWAAgoocJ0FrgV212bYXQvs6gi5H7mH3XXuj5dXQAEFFLg+Aj0VdV8zrmbkLsAIzuRLPPbwJ7jh5ncQwvWpy6sqoIACCiiwnwIGdvup6bkUUEABBT4jkFJHzDWXz/9tnn/+j7LKMVJfQWzIPEnIx9VSQAEFFFBAgc8jkGLPdDaZL4lZlpbu8xZNFQzsvFsUUEABBZZWoMordLksfQmxO04cnWFWtzRrX8pjj/15iOVPPBRQQAEFFFhsAQO7xe6f1SuggAKDFZjSMp61vPDp30U7e5JpPkld30nuMpFNApPB1m5hCiiggAIKXE+BXy+wI41Job+epXltBRRQQAEFrotAk8dM2aQLq9TdiCZeoGlGXGgDD73p+7jxnt92XeryogoooIACCuyngIHdfmp6LgUUUECBzwhsAePT/4Izz34HiYpL8Tma0Yg4vZUQW2JZL9NDAQUUUEABBX6NQK4SZUnMi+ca+jz6zAw7AztvFgUUUECBZRUoO7pusUUXbyJwhZW8Sjc9RTO+hzC+g0e/7KeXlcZxK6CAAgocIQEDuyPUTIeigAIKHKZAR0ddFiSZxfkO3wmYhfJ7NYFM1c14/KlvYrb1L1gPtxDyKUJ/J13fEMct9M4QOMx+eS0FFFBAgcUQqEKkyzOm/Srnz1TzJTFzmAI9IU/AGXaL0UirVEABBRQ4VIF73/S93HnXbyGxMl82c/6AWp45m8w2gRV8YfRQG+LFFFBAAQVeloCB3cti80sKKKCAAi0zmjSC8kPEfkyqd5+JyLuh3dYLf5sT5z5KTM+zkm4kcI4YNpiVDcKrTMwaKqCAAgoooMDnChjYeU8ooIACCiiwd4G09gjvesefhrBOW3K6qoc+Qd0wo2NEvfeT+g0FFFBAAQUOWcDA7pDBvZwCCihwVARa5i8rXn11MdKHLQKrxBLbdRd4+lPfwk73r1gJtxO7FTJlj4Ex026HFCqq3BwVCsehgAIKKKDAvgkY2O0bpSdSQAEFFFgige1c8cYHv5/b7/nNpAipvEg6f16tIZZXS+fz7jwUUEABBRQYtICB3aDbY3EKKKDAcAV2H3la6BrK6iLTfIWGMTHVnD/zU5w/9Qdp4hqjcBvdTpov4VWNAtO8QwyjsrKXhwIKKKCAAgp8joCBnbeEAgoooIACexeIVSCNXsc73v6TpKaaP26WRTBj+UVIEA3s9q7qNxRQQAEFDlvAwO6wxb2eAgoocEQEEh0x15CnEMfkksmVB6GtTR4/8X4ms39HFW+ajza1M3KoyTHT5Z66juTONTGPyK3gMBRQQAEF9lHAwG4fMT2VAgoooMDyCPSBbrzJGx/8KDfc8pX0TSBQEWeZWPcQXRJzeW4GR6qAAgosroCB3eL2zsoVUECB6yqQmRFy2cMu0acZVZjMN7G7eOrjnDvz5xn1ZbPvMTlemr/bmEMg5Rk5TaCeEnrfcLyuDfTiCiiggAKDFDCwG2RbLEoBBRRQYOAC/aynWe0YrT3Mw499jBQDs27MpOR0qYXolgwDb6HlKaCAAgqUSeE5Z6c4eCsooIACCrwsgUxLyA1TLjIOx+HKGZ567r0028/TpdH8nCHuQDhODpcgbxLzXaS0TQjhZV3TLymggAIKKHCUBQzsjnJ3HZsCCiigwIEJhDzfnmHKDm9/y48wuundlJ0Z6qrsYufLogfm7okVUEABBfZVwMBuXzk9mQIKKLBEArls5J2IMZHme9mtcO7C3+b8yQ9zrD/HdpUh14QQifk2+vwcOT7JmLfR91PcxG6J7hWHqoACCijwkgUM7F4ylR9UQAEFFFDgMwIpdtT9GPKY1eMP8cVv/Shd1TJjyiSvE31f1LtFAQUUUGABBAzsFqBJlqiAAgoMUaAnU6Xy1NPShUCdan75U2/jWNfQpimh7G3noYACCiiggAJ7EjCw2xOXH1ZAAQUUUGAuUOUxXaiJfUcMWzzyyMfgtofpqJnMN1x3lp23igIKKKDA8AUM7IbfIytUQAEFBitQ9rEjV4RccfniP+b557+TSbtCWW05hDTYui1MAQUUUECBoQoY2A21M9algAIKKDBkgfIM2uaW9WaNfhoZ3/I23vzWD9HSMOpaqN3Dbsj9szYFFFBAgV0BAzvvBAUUUECBlyeQEzthRmTEqIMnnvovyNu/QNVvUXMjxnUvj9VvKaCAAgost4CB3XL339EroIACCrw8gZgTXdiiiTW5u4kro0s8+thPcHz9IaCDUL+8E/stBRRQQAEFDlHAwO4Qsb2UAgoocKQEUmIaA+Wf9tw/4rkT38xKXCelmnEMzFJ1pIbrYBRQQAEFFDgMAQO7w1D2GgoooIACR02g7J2eww59u0kMt5JWWm6+4+t58DX/HdQuiXnU+u14FFBAgaMqYGB3VDvruBRQQIGDFuihqyB2M5568n2MLn+aWF+g7+5gVJ9l2rvkyEG3wPMroIACChw9AQO7o9dTR6SAAgoocPACqZtQV1t0aQqxoWeVOFnjXY98nDC5F3w8PfgmeAUFFFBAgVcsYGD3igk9gQIKKLCcAmXJy5hgdukf8/gT38ZNo1tp+0hOgSZMaV0UczlvDEetgAIKKPCKBAzsXhGfX1ZAAQUUWFaBtEETrtDlnlTXpK6i6zrue+17ufcN3wUhLquM41ZAAQUUWCABA7sFapalKqCAAkMS2CKxOptx9pkPcPnivyVMniC3ryWkKXVYoWdnSOVaiwIKKKCAAgshYGC3EG2ySAUUUECBgQmEWDHqAm3IzOqOSRzTb01pxzfwtvd8jFFz/8AqthwFFFBAAQV+rYCBnXeFAgoooMDLErhI5viV/8DTv/j1rK3ewdnu/6Zqekazt1JH6PL2yzqvX1JAAQUUUGCZBQzslrn7jl0BBRRQ4OUKJC5ST2+iWglc6s6zUq2zwjbn+xXueeN387pX/Zcv99R+TwEFFFBAgUMTMLA7NGovpIACCiyWQOohVh19X1GFAGkGVV0WwqQPmaoNPPHUtzGb/n+shW262XmaeC9dPEPuV6lcEnOxGm61CiiggAKDEKhCni/nNe1XOXc6khhDnBFCIPcNIXaDqNMiFFBAAQUUGJJAzvk/Kaf8vVmOcHUpzLd/5T+AaoNZhlh+r5tRx1F5vJ3/3mj34x4KKKCAAgpcVwEDu+vK78UVUECB4QqU550QOnKumT+75Bllp+4cW3IeES/+HL9y8vugO8E4tjC7TIyvoY/n6fOEuiR+HgoooIACCiiwJ4ES2PUkdroVA7s9yflhBRRQQAEFfq3AtcDuVa//fu561W+hKy+WhkiVMyEFqBIdkfJqqocCCiiggALXW8DA7np3wOsroIACgxYob/HX5B5y1ZJSQ1Xe8s8jLp74QU5d+is0CaoIIbUEXkUXLpJDoOrd1HvQrbU4BRRQQIFBCsQS14Uyw+4YZ0735Lw6n2FXjpDHENpB1m1RCiiggAIKDFmgX32Yd7/rz5DSOlQQy4S8BFQdHbWB3ZCbZ20KKKDAEgkY2C1Rsx2qAgoosGeBXH4o2NDmnlyeaHJkRGRn5xc59+nvYrv/P5nkB4Aewoycb6PNF6CZUXcre76cX1BAAQUUUGDZBa4FdrO0zpnTkNLK1cCuJ+QJBGewL/s94vgVUEABBfYucAV42yMfYuOGryqPtVxdMbO8ecrua6q+cLp3Vb+hgAIKKLDfAgZ2+y3q+RRQQIEjIlBeNoxlGcxQ0zOjZ0Kgp+kqTp3+CDsv/BViuESV72H+iBO2SXllPsOOugR260dEwmEooIACCihweAK/NrAbk0PZwy4b2B1eG7ySAgoooMAREbi2t10XLnPTHV/Lmx78CPNlYlJJ7aBMtOuDc+yOSLsdhgIKKLDwAgZ2C99CB6CAAgocjEAqm3HT7j7BxI4ZK9Rldf/LL/D0s98G288QYwV5jflDUNgu64nQhyuE2BP7ycEU5lkVUEABBRQ4wgKRGTkGrs2w6/sROewQQjCwO8J9d2gKKKCAAgcjcC2wq3PLzmjCY2/5CVaO3Q9pDDGRSnAXE9EZdgfTAM+qgAIKKLAnAQO7PXH5YQUUUGB5BObLgsyXxCyb5lTMKMthdlx89qfYPPNDpHh8vgxmSj2BZv6DxGvLdIWS9uVqebAcqQIKKKCAAvskYGC3T5CeRgEFFFBAgasCJbSbdCM2qyvcdt838uAb/iCUJadDS8oBogtierMooIACCgxDwMBuGH2wCgUUUGBwAvPALpWlLvv524ddVQK8jhP/8f2sbP0Ltps7mOVTpHyKurqLECbE3FPlMX1XAryrYd/gRmZBCiiggAIKDFfgWmDX5mOcPpVwht1we2VlCiiggAKLI7AxW+PyqOP8uOWr3/YPqEfHIe4+s6bcEMPijMVKFVBAAQWOroCB3dHtrSNTQAEFXpFAn6Eqy2GSmcUwXw5z54Wf4cwLfwbiZULfvKLz+2UFFFBAAQUU+LUCZQ+7HNaYxVOcff5u+hzmS0+HslxXTqQQZVNAAQUUUECBPQrkVNOUFWJouPO+b+RVr/9OprmhCt3879cYRns8ox9XQAEFFFBg/wUM7Pbf1DMqoIACR0QgQS4bcU+ZMWbUwsln30e/+Ul20jYjXPLyiDTaYSiggAIKDEjAwG5AzbAUBRRQQIEjI9B3mZXxiOlOz/imB3j0rT9KxzGoEvV8lL4Qc2Sa7UAUUECBBRYwsFvg5lm6AgoocLACUzKRjmYezc3O/zNOPfNd833ttnMwsDtYfM+ugAIKKLCkAgZ2S9p4h62AAgoocLACoSN0axB22KkDb/yiD3HrHV9FiomQIk5gP1h+z66AAgoo8NIEDOxempOfUkABBZZQYJuWCS2B1QzPP/0t5LP/DuIFpqMN6jYtoYlDVkABBRRQ4GAFDOwO1tezK6CAAgosp0CoWvrtNerVTXZ6OH7TV/PQl/xpqHraVNG4gMxy3hiOWgEFFBiYgIHdwBpiOQoooMBgBHKiC5ESyzVXnuWpJ34ra2nKNEVSc4zQbQ6mVAtRQAEFFFDgqAgY2B2VTjoOBRRQQIEhCYTUE6oJVNvMpi31+i285cGP0dz0ACkGF8QcUrOsRQEFFFhiAQO7JW6+Q1dAAQW+oECGLkCd4NzJD7P1wt+ljtt0YURPIOaZgAoooIACCiiwzwIGdvsM6ukUUEABBRSA+bKXNFPo1+n7c8Qmcust7+O1b/5eugi1kZ33iQIKKKDAAAQM7AbQBEtQQAEFBimQy1MNsHWSEyd+O/X2ZdpwnFSdI/YzApNBlm1RCiiggAIKLLKAgd0id8/aFVBAAQWGKhDLC6nMqMJx6jylTRcIk1fz9nf/NG1zE8384ddDAQUUUECB6ytgYHd9/b26AgooMFiBvoWqgc1zf5XzT/xF6uppZuObmaUrTNKMkDYGW7uFKaCAAgoosKgCBnaL2jnrVkABBRQYtEDfEuvjZHaoujVieJpZPeG1b/gxbrjny2gGXbzFKaCAAgosi4CB3bJ02nEqoIACnyNQFrTMuWccyu7aCcoSl3kCGVIFLVuMp6uc/JWvp+qeZqu6TBcqQrfOChfoWNFUAQUUUEABBfZZwMBun0E9nQIKKKCAAkWgD4yqSEg1bdqmmaxxrn2BteMP8Y7HfpJUVXSzmmZUVpMJkBvS1Ul3iSk1Yx0VUEABBRQ4cAEDuwMn9gIKKKDAMAU6IJJ+daX+XNbArObLYCZaUnnH8Nz/w8lnvoc6X2Kbc1DfRO57VtmiLeGehwIKKKCAAgrsq4CB3b5yejIFFFBAAQXmAjln6vICagqkvEU9Os6l7jz1yr287Y0/SH3zw7svspYn5PKv8qvyy9TNf1H+8VBAAQUUUOCgBQzsDlrY8yuggAIDFSj5XAjlSSTtTqkL4TNhXWZKldc58fR3ky7+U0YpsROuQHUHMZ+hyZE+1wMdmWUpoIACCiiwuAIGdovbOytXQAEFFBiuQB8SVWoof8+m/gp1cwPb/ZQ+jrjvjt/Oq7/4uyFsAyv0PdSxJ5TVaNIUwnh3f3cPBRRQQAEFDljAwO6AgT29AgooMFSB3GVC9TlPHQF6enKqqKef4pMn3svqbEbVd3SxIrNKjJeouppUZuN5KKCAAgoooMC+ChjY7SunJ1NAAQUUUGAuMAsdVZpQxR1yv03FTaSQmOVtVlfu45F3/2Wqap3U1cT5u6lXZ9vRQV/PF6PxUEABBRRQ4KAFDOwOWtjzK6CAAkMV6NPVNT52V8IsDyR9n6liNd/HbvOFH+fk+T/LJK2T0gtU1R203SWaZkKa1Vdn5w11cNalgAIKKKDAYgoY2C1m36xaAQUUUGDYAiWwq/MKdb1N7mbQHyPGip5NUui5980/xN23/dbyBis0u1tElO0gqvKSaxfBBWaG3WCrU0ABBY6IgIHdEWmkw1BAAQX2LFC2rCsxXVmSv4YcdgjdZL5kP1zh2V9+P7Pu08Rc8runqeJrmPXPM65vIbUlsGv3fEm/oIACCiiggAJfWMDAzjtEAQUUUECB/RfoU0sVVgn1JrEfk/oJsSrpXEvPefLxr+adj/05CA1t3qSKG/Spp4llk/d49Tl5/+vyjAoooIACCny2gIGd94MCCiiw1AItXVnHP5Yl+bcIaXU+0+785Z9l84kPkvtVQlMeYE4T812EfGn+FmJihVCSPg8FFFBAAQUU2FcBA7t95fRkCiiggAIKzAVCyoRQk8MmIW9AbiBsEcKIxGUuscFXPPajNMe/hJxn5Goyn2wXmVExUlEBBRRQQIFDETCwOxRmL6KAAgoMT6Aty19WW8Da7gNMCez6VUhn+dTJP8HG+f+NtjtOnET6vElqj1PHGYlNCOvzBx4PBRRQQAEFFNhfAQO7/fX0bAoooIACChSBJtfknJlxhirfMV9mpsysq/Mxyu9u19u84dXfyZ33vh+aEbMS1s23fL9CyGt87vbvqiqggAIKKHAQAgZ2B6HqORVQQIEFEMgJQiyz5DJ9bugDjEoGd/E5Tjz3HmhXFmAUlqiAAgoooMDREgg5z/eWneWOsy8cpyeQ0xiqi/MlvPLuTw89FFBAAQUUUGAfBdb6yOXRGu/8yr9DFxoiK+R2h6qeMOth5B52+6jtqRRQQAEFfj0BAzvvDQUUUGBJBVIPsdoN7BJlmctIneDy6U9w5uSPUOEPBJf01nDYCiiggALXUaBsJZtj/kxg15WXafJkHthVaULyr+fr2B0vrYACCihwVAXW+obzVeaND/333HDLVxJjIqY0n4mX5ktjeiiggAIKKHDwAgZ2B2/sFRRQQIFBCvR9T1WVhT6aeVhHSsR+xhNPfR1cfoHaHwgOsm8WpYACCihwtAUM7I52fx2dAgoooMAwBSZ9xSYdG3f9Bh568EOEUQfzZTSvrUzjFLthds6qFFBAgaMlYGB3tPrpaBRQQIE9ClwhlT3syouDGWaX/gmPP/MNbHAv2Vf492jpxxVQQAEFFHjlAlWIpNB/3hl2dV6ln7/n76GAAgoooIAC+ykwSoEdetq1Y3zZo3+TOL6FHHvI1dWtJAzs9tPbcymggAIKfH4BAzvvDAUUUGCJBbpc5tZF6LqyICbPP/vdXL74M6zVG/Sdi34s8a3h0BVQQAEFrpOAgd11gveyCiiggAJLLVClnhTH7DRnePA1H+b2e76BFGfEUGbZZUKoltrHwSuggAIKHI6Agd3hOHsVBRRQYIACia6NZUVManZgZ8rjj38NTdqizok+uybmAJtmSQoooIACR1zg2pKYLYmzLxzj2h52OV5wD7sj3nuHp4ACCihwHQX6lqZZpw2niOMv5W3v+jFSrogRcq4JPh5fx+Z4aQUUUGB5BAzslqfXjlQBBRT4TwVyT09FDh01mc3n/wanTv8gK6yQc3DBLe8XBRRQQAEFroPA5wZ2PZGcRhjYXYdmeEkFFFBAgaURKLPoxqGmT9tcqca8420/znj9EXLsCAZ2S3MfOFAFFFDgegsY2F3vDnh9BRRQ4HoJpEwXt+iBcVrjk5/6bUx2nmAC8/1xEi75cb1a43UVUEABBZZXIORM+Su4zLA7d+qG+Qy7a4Fd7Mfk6Cv+y3t3OHIFFFBAgYMSCNRUeZs0q+BY4sY7fy8P3P9f01c9Va7Av34Pit7zKqCAAgp8loCBnbeDAgoosLQCLds0jIF49uc58cz7CXGHxAphVkPdLq2MA1dAAQUUUOD6CZQfCm6Tw5hzZ2tmszLzvSPFTCj7znoooIACCiigwL4LlD3stmJikm8l9s/S3Hg/D7/jr7PDBqOUiGVtTA8FFFBAAQUOWMDA7oCBPb0CCigwWIGc6EKizjUXn/1RLpz5GFXVkmKgaldJocy981BAAQUUUECBwxUwsDtcb6+mgAIKKKAA833cpyESOUadzpBHN/CaN32Im297h6/LeIMooIACChyagIHdoVF7IQUUUGBgApn5G/xpeoUnnvod1FsnqOuKLmwT+xUoy354KKCAAgoooMAhCxjYHTK4l1NAAQUUUIAYZnSskvvIJG6znSMbt30DDz30QVKC6OOxd4kCCiigwCEIGNgdArKXUEABBQYp0DHfI+fy+Z/l6ZPfzLH+ZgLHSKknc4Uw383OQwEFFFBAAQUOV8DA7nC9vZoCCiiggALMA7u+X6XLLZMK+gCpuZt3vetv0McxVeUmdt4nCiiggAIHL2Bgd/DGXkEBBRQYpkCZYdfBc8/+Prau/O+MQkec3kbOq6TmJDGNhlm3VSmggAIKKHCkBQzsjnR7HZwCCiigwCAFAjuktE6KHTFnRlXFdtrhLQ//j6zc+payvKdglQAAIABJREFU8/sg67YoBRRQQIGjJWBgd7T66WgUUECBvQlceoYnTnwdIZf07hzV9GbqeBPT8bNUbb23c/lpBRRQQAEFFNgHAQO7fUD0FAoooIACCuxNIM+IeY08TsymLZMcSOk8t977e7j/TR8AVvZ2Pj+tgAIKKKDAyxAwsHsZaH5FAQUUOCoCl577BBdOf4QQAj2JOtVUcYOd6jR15wPJUemz41BAAQUUWCQBA7tF6pa1KqCAAgocDYGYEznXpCbRJRi3gTHbTNdfxZve9pdYG99xNAbqKBRQQAEFBi1gYDfo9licAgoocHACZae6E4//TlYvP8V2/EVCfoAmbs7Du83uIhNuObiLe2YFFFBAAQUU+HUEDOy8NRRQQAEFFDhsgRArctvSxp4wWmG8A8cjPJue5oFH/lfuuf1LDrskr6eAAgoosIQCBnZL2HSHrIACSySQIMeW3e2xA+RMoilb1zG69G/4lWe/B2bPsx5uI4VfInID210kNiNiqpYIyqEqoIACCigwFAEDu6F0wjoUUEABBZZHIETo+/KknIgxklNF6itWJsfZ2LiRBx7+G1BPaRkRyNS57Gk3f+AmxSmR8fJgOVIFFFBAgQMTMLA7MFpPrIACClxfgZx7Qq7IAUIoDx7lgaKfL/MRCFx57mM8e/4vMEod43QrhFOEasJO3xPqQCxf8VBAAQUUUECBQxYwsDtkcC+ngAIKKKDAXKBP7XzFmaqq50Fc1/ZU1QqjZoVH3/nT0NxEN3+vtZ2/4BpDCfYgVy2RRkUFFFBAAQVesYCB3Ssm9AQKKKDAMAUyO4Q8mReXyYSQd98A7DPEnud++X1szf4VK/EmmK2RwzaxaZjmKbnKNO3uvDwPBRRQQAEFFDhMAQO7w9T2WgoooIACCuw+NFekvBvYldl2IdTk1NN35Tm64g2P/DFuuflrSU15qp6Wd2Gp45i+h1An4vwFWQ8FFFBAAQVemYCB3Svz89sKKKDAYAUS28S88pn6+tBSlbf+epht/Uuef/JbyXnGKN5AahM5Jqgqpt0VqGvGfT3YsVmYAgoooIACR1fAwO7o9taRKaCAAgoMVSBQk3Oe/4/QXw3uqt1tJVLPsTu+gjc9+MOUR+oubBNSoGICMZVFNI3rhtpY61JAAQUWTMDAbsEaZrkKKKDASxVI82U6GshbEFeZhinjPKZsYHfq1B9jevanIW/MZ96V2XgxZrrQMmszoV4xsHup0H5OAQUUUECBfRUwsNtXTk+mgAIKKKDASxHI1TykK0dKaTe0m8+0C+Tc0Y1u5Evf/r/AaIU2bNNQM59uFzv6XFO5QM1LUfYzCiiggAIvImBg5y2igAIKHFGBLifq8p5fvwn1BmV77IaGONvi6Sd+G3F6hpzG5HCeEOLVwG6b3K8Ry4NJ7xr8R/TWcFgKKKCAAoMWMLAbdHssTgEFFFDgSAqUkK7sXVfmzZVZdtdCu1yWqCExY8Y7H/sE4xveQRc66pLm9RGqlrZvaOZ723kooIACCijwygQM7F6Zn99WQAEFBiuQKKtzlPX2W4gjdoBR2Uj7/D/n+Wd/D6GfkEJPjpeI6VZC7iBsErltHuLl8raghwIKKKCAAgocsoCB3SGDezkFFFBAAQVIeVaeoKniCHLcDe1ySwns5rPsmHHnPb+T+7/oD5NKWAeEMhEvtvS5cYad95ACCiigwL4IGNjtC6MnUUABBYYn0AF130JoSHTMYk3DjLPP/Cjt2Z9klntis00IidDeR+qmxHqHcbyZaf84hI3hDcqKFFBAAQUUOPICBnZHvsUOUAEFFFBgeAJxRiqT6XJNDM3VpTCv7mc3X4EmMR3dy5e953+aB3bl3dh6ntu1pLKSzfBGZEUKKKCAAgsoYGC3gE2zZAUUUOAlCSToItRlhl1umAUY5cs88YsPM+6O0Zff91BAAQUUUECBQQmE0JC5Qg5jzp2tadtVUmpJMRP8ceCgemUxCiiggALLI1B3HdujwEMPfZiNG34DuS6r2URyn6mqkvTVy4PhSBVQQAEFDkzAwO7AaD2xAgoocJ0FMnThamDXNnQNTC/9a848+03U093lMD0UUEABBRRQYFgCBnbD6ofVKKCAAgooUASaHNkJidvu+R088OAfIIeWnBvKYpmBsjamm9h5pyiggAIKvHIBA7tXbugZFFBAgcEKtGlKE8ZQluNv4Oln/yTxyt+DnfLmvm8ADrZxFqaAAgoosLQCBnZL23oHroACCigwYIGqrF1T9oAf3ce7v+wT82UwAyNCAFIH0efrAbfP0hRQQIGFETCwW5hWWagCCiiwd4GWKzR5DVKa/+8/fPrLOVYm1k1fgLiy9xP6DQUUUEABBRQ4UAEDuwPl9eQKKKCAAgq8LIGcakLVstVHvuo9n4DJg3SpIlZlYcw0Xx7TQwEFFFBAgVcqYGD3SgX9vgIKKDBQgd1HhrJPXUN5fkib/4ZfPPFVbPAgVXdxvjeOhwIKKKCAAgoMS8DAblj9sBoFFFBAAQWKQJ9GxOoSJbh7zWu/nTvv/3ZmJGoiMXTuYedtooACCiiwLwIGdvvC6EkUUECB4Ql0Vx8eWqY0acyl53+I0+c+TmSDUQnwcI394XXNihRQQAEFll3AwG7Z7wDHr4ACCigwRIE+jqn6CzRhQr3yRh5698fpQjN/TbZ2ScwhtsyaFFBAgYUUMLBbyLZZtAIKKPDiAmXbuhHQ5Y7Ynea5x7+V0D3DNLVMqOlzWWzfQwEFFFBAAQWGJGBgN6RuWIsCCiiggAK7Am0dGc1aRqliu1rnsXd/nLj2uvmf1bmH4Aux3isKKKCAAq9cwMDulRt6BgUUUGCQAvPALm+T8go705/juU9+G8eaKVfSMSbh8ny9fQ8FFFBAAQUUGJaAgd2w+mE1CiiggAIKFIGtOOV4f4w4mzIdTXj9Qz/A+q1fTog7NHkCvg/rjaKAAgoosA8CBnb7gOgpFFBAgUEKZNgJHZNcc/bE99Fe/Ou03Qq5XoW0Q6AeZNkWpYACCiigwFILhH4+/LLX7OZmx+UrI0KelO1oIXblD5aax8EroIACCihwPQRS7sh5lSbtMKmhufFdfNFjP8KUzJgdYOV6lOU1FVBAAQWOmICB3RFrqMNRQAEFPiOQoQuJ2E159slvZ7T9r2n7hj4GIj1kZ9h5tyiggAIKKDA4AQO7wbXEghRQQAEFFMg5QzWi6cqG8C396qt4y7t+EpoV6vIyjUtiepMooIACCuyDgIHdPiB6CgUUUGCQApkSyzG78vOceOrb2UizeUi3ky9TVYHQlw2yPRRQQAEFFFBgUAIGdoNqh8UooIACCihwTSBXPU27An3LZtPx0KM/zg03P0JMNUSdFFBAAQUUeOUCBnav3NAzKKCAAsMV6OH0qR/h/OkfZS1tUFVjtvpzVOV5op8Mt24rU0ABBRRQYFkFDOyWtfOOWwEFFFBgwAJ9SNDPqNIx6qZnJ25x613v4w1v+F7IZdnqARdvaQoooIACCyNgYLcwrbJQBRRQYG8CibIcZuTTT349YfrLxDYyrjaYpUv0dUvducb+3kT9tAIKKKCAAocgYGB3CMheQgEFFFBAgb0JdHQ0KZDTCjRb5GYEo1t551v/DvM3Yt1idm+gfloBBRRQ4PMKGNh5YyiggAJHVCDREbdO8Cuf/homYY2+nTKK63RcZho7xv34iI7cYSmggAIKKLDAAgZ2C9w8S1dAAQUUOKoCJbCbhDGpj2xzjlGzQZsv8563/0P69buoTOyOausdlwIKKHCoAgZ2h8rtxRRQQIHDE+iA7VM/xYWTPzy/aE7N/CEixU2m1THGXfmEhwIKKKCAAgoMSsDAblDtsBgFFFBAAQWKQNkffpIjiYYrbNJULXHW8IY3/SDHX/01VLhHvHeKAgoooMArFzCwe+WGnkEBBRQYpECJ404++fsZX/p/2e6fJsY7IO2Q6jPM4p2Mu+kg67YoBRRQQAEFllrAwG6p2+/gFVBAAQWGKZBjAzubVM0a/agm8yz11j3ccPfX8JqHvpfGwG6YjbMqBRRQYMEEDOwWrGGWq4ACCnxGIEMbenoSNRV1f3WX66qjLe/3bT/PJ0/8FuL0WTbCg/TT09Rxg1Rtklgh51ZMBRRQQAEFFBiagIHd0DpiPQoooIACCtDHK8Q0omlvheYUXZ7R1RNm+Ta+6j1/h74JBCpiaujSjLrO9N14vr1d6iFWIiqggAIKKPDiAgZ2L27kJxRQQIFhCmRIAUo8F68FdiFBLLvX1dRn/zm//MIHqLoLrMZ7oL0CcY0+nCGHNULKwxyXVSmggAIKKLDMAgZ2y9x9x66AAgooMFCBPu4QU0XT3gzNGboMuR6xk1b5irf8GPnGNxJyPw/tEjNiiPRdTVUnyBG3uBtoYy1LAQUUGJiAgd3AGmI5CiigwEsWKIvoR+hCSyhz7Ep6FzoIkZQjl576IU5d+ilGZJo4gb6HcJxZeIYQbqTqDexesrUfVEABBRRQ4LAEDOwOS9rrKKCAAgoo8JIF+pAIqaPON1DFTdq+Joxrtvttvug1v5/b738/fcpUVQDKajbNfGZdqFpCbgzsXrK0H1RAAQWWW8DAbrn77+gVUGCRBfo0D+dynJHyiPkKG6E8GFTkHDj5ya9jZ/aL1KwSwzY5TAh5g50S2FXHadryIOGhgAIKKKCAAoMSMLAbVDssRgEFFFBAgWsCKc+o8xqEKX03Iq7UTNMZbt74Ct702I9BAuqym3wm0ZT3a0l5SmRsYOdtpIACCijwkgQM7F4Skx9SQAEFBihwNbArIV3OzXyVjUg3X25juvM4pz71teVpgcAxEmcJNGQ2aMNZmmqD0DrDboBdtSQFFFBAgWUXMLBb9jvA8SuggAIKDFAglCUu0w41o3l1qR9RjyM76QWacBdv//KfhbAKVUdPR2Ay/1zAGXYDbKclKaCAAoMVMLAbbGssTAEFFPjCAiml+br415bb6ENPVRbG73rOnvtpLp/8I9TxRsjr9On81YeFY+TYQtwhdGOJFVBAAQUUUGBoAgZ2Q+uI9SiggAIKKAAhk3OmKm/Kljl0qSZW5Wn8wjy8+5K3f4xjx99ODj0p9GRG8xl2sUy7cw877yAFFFBAgZcoYGD3EqH8mAIKKDA0gbbsTVcCury7Pv5O2GLCKsy2efLZD1Bt/l/EOCKnhpzLp3fms+3Km4EpnCakjaENyXoUUEABBRRQwMDOe0ABBRRQQIHhCYSOXIK3HIixIuayTXxHjCXLyxy//5t4/f0foKR4KbT0NPNtK8rn5mtlzl+29VBAAQUUUOALCxjYeYcooIACCyowmy94ma6+sVezHS6yko/DzhaffPJLWZsFCNuQd5fsyFyZB3YNEzpOkDm+oCO3bAUUUEABBY6wgIHdEW6uQ1NAAQUUWFiBOIOyFUVfzWfWxdDRzTpG1er8pdidm76Edz38EQhjunj19doE9XzreAO7he27hSuggAKHLGBgd8jgXk4BBRTYP4EpO4ypS3A3n2SXaJnSXfjnnHvyg/NlODwUUEABBRRQYMEEDOwWrGGWq4ACCiigAPRpxLu/+m8xrY4zZoXUdqSmPK0n6j4yn27noYACCiigwIsIGNh5iyiggAILK9Ayy9V8H7u6ZHPVFBhz6vmP0r7wUwZ2C9tXC1dAAQUUWGoBA7ulbr+DV0ABBRRYUIE84Yve+iHWb3zn7t7yqSPFsiZOR53qspmdhwIKKKCAAi8qYGD3okR+QAEFFBioQIaurKNPTZPLkpeb833p/uPj72V155fJOQ20cMtSQAEFFFBAgV9XwMDOm0MBBRRQQIGFEwiMueneb+CBB/7Abu2hK3Pr6NmmySuUDM9DAQUUUECBFxMwsHsxIf9cAQUUGKpAhhQ62lTRxECkhSvn+fef/o3cGLZJ/XiolVuXAgoooIACCvz/7N0LtCXXXd/5795V55x7bz/19FOSLQvZeviht2zJNvgFeQIhrBlnknGYQDKBmMzKi0ASQkhghgSGhJAESEISwiQrhGQgk5hACCTAZA1r1pBgMH7Ikqy2ni11t7r7Ps45VbX3rKrbLcvGdt++uvfcc+p8ywhL7ara//3511o69/5O7f2FBAzsfDYUUEABBRRYPIFcwLHXcv/dP969TZdDRWBAkzYp4trizceKFVBAAQUORMDA7kDYHVQBBRTYA4H2BboI41RTxkiZIhvP/hRPnvzzrIQNaI7vwSDeQgEFFFBAAQVmKmBgN1NuB1NAAQUUUGAvBEKKTFYC73j7f4SwQpMnFIwgTElh6IqYe4HsPRRQQIElEDCwW4ImO0UFFOipQMoQAmMmxFAwbEqePfG/MF3/Zep4mlgf7unEnZYCCiiggAI9FjCw63FznZoCCiigQG8F6oJ65Tz33PGPGR2/kypNGLSBHZk6BsreTtyJKaCAAgrspYCB3V5qei8FFFBglgK5++xPFbfIjBhOx3z6kS9nOJkwjuvEVMyyGsdSQAEFFFBAgb0QMLDbC0XvoYACCiigwEwFQjMilxu88sY/wqtv/GNkGoo06H5mnxYJ37GbaTscTAEFFFhYAQO7hW2dhSugwNILXAjsmrhJxRrlxuM8fuJtrI6vYisGinZPOw8FFFBAAQUUWCwBA7vF6pfVKqCAAgooABR5FcKE4dX38MY7vq8ziU0JDYyHiRUXxfQ5UUABBRTYgYCB3Q6QPEUBBRSYR4F2RcwYKsgDCBWnn/tRNp74QUZhg81wDUXanMeyrUkBBRRQQAEFvphA2CRwjDpPmdYFZ54bAgNSbJfAHpFzu4mthwIKKKCAAgrMk0CgIjcFeXiEt779Q6QyUId2KcwB8cL+8/NUr7UooIACCsyngIHdfPbFqhRQQIFLCmwHdhNIJYSCxz79p4hnfoFB2GCLo5R5esl7eIICCiiggAIKzJmAgd2cNcRyFFBAAQUUuLRAzImUCpphyX13/mPK46+jpiZSEtvVccKl7+EZCiiggAIKGNj5DCiggAKLKtB96K+gbicQ+MhD7+NYdYpBqNhKAwr8Bv6itta6FVBAAQWWWOCLBHaBwRLDOHUFFFBAAQXmV6Ag0jSZNEjceOO38vLXfBVVaCgoDOzmt21WpoACCsydgIHd3LXEghRQQIGdCbQrYoVYQxNJmw/zW498BccCFCEyTWsGdjtj9CwFFFBAAQXmS8DAbr76YTUKKKCAAgrsQKCgpGka0qDi2JW/l9ve/O00MRMIxO5btuUO7uIpCiiggALLLmBgt+xPgPNXQIGFFUipJsaS9kW6s8/8E04/970U4STkVXK+iuiSmAvbWwtXQAEFFFhiAQO7JW6+U1dAAQUUWFSBmAtyzjCYkIe3cv8DP0oK22/Gdz+bh3ZPWg8FFFBAAQW+uICBnU+IAgoosKgCaUqKw255jccf/gaKya/TpMeo8xpFvhJwD7tFba11K6CAAgosscCLAruqKTn9bPvLvgEpTnBJzCV+Lpy6AgoooMBcC4TUEMKQUGywFV/OA/f9MMXaDds15wouhHdzPQmLU0ABBRQ4cAEDuwNvgQUooIACuxWoqBgwaDZ5+GPv5Uhap2az+7Mir5DbHwo8FFBAAQUUUGCxBAzsFqtfVquAAgoooACQ8pSSVYhbjDnOG9/0HRy/5gECBYR2f/mokwIKKKCAApcUMLC7JJEnKKCAAvMqUDPJmWH1PA997AGONOeheCXj0FCmZl6Lti4FFFBAAQUU+GICnyewa7+x34Sxb9j55CiggAIKKDCnAoktRvkQddhkzBXcePM3cd11XwWhNLCb055ZlgIKKDCPAgZ289gVa1JAAQV2IpCn1GHI1tN/n/EzP8xWsc5GmnA4H6YsptSNa+TvhNFzFFBAAQUUmCuBC4FdQ8W0LjjzXPvv84GB3Vw1yWIUUEABBRT4bIEpmbVUElKmHtbUR1/JA3f+FDlAiDVQSqaAAgoooMAlBQzsLknkCQoooMCcCuSq28T62RPfAaf+NVU5ZSPUrDWHKeIGTVqZ08ItSwEFFFBAAQW+oICBnQ+HAgoooIACCyfQrnEzyAVFk5mWE5rDL+PBu/8vKNolMRsIxcLNyYIVUEABBWYvYGA3e3NHVEABBfZGIGVIiU898n4GG79GLleYxJphdZQYT5Py6t6M410UUEABBRRQYHYCBnazs3YkBRRQQAEF9kgghUDRtDvWBaZxnWp4Dfe95UdYOXojKdfE6Bt2e0TtbRRQQIFeCxjY9bq9Tk4BBXotkIGtJ3noxJezOtmAcIQUJ+T6KoriFDkNej19J6eAAgoooEAvBQzsetlWJ6WAAgoo0G+BFDNFXVBQMgnP0xRXccvrv4VrXvUe6lxSxn7P39kpoIACCuyNgIHd3jh6FwUUUGD2Agmqs7/Iiae/hkF9lKI5ThM2SPkaBuXzpMYlN2bfFEdUQAEFFFDgJQoY2L1EQC9XQAEFFFDgAARCJjcFZRhQ5zPkeIyXv/r3ceMbvpEURpjXHUBPHFIBBRRYQAEDuwVsmiUroIACnUCG80/9dc48/3dITckwHaNJ50jxSmK5DrWBnU+KAgoooIACCydgYLdwLbNgBRRQQAEFMhWkETEOSOkMMV7ByrHX8+Z7v5+aQ7ggps+IAgoooMBOBAzsdqLkOQoooMA8CmR44pNfDeMTjNM6a+Ewqd6gGayS2SSm4TxWbU0KKKCAAgoo8MUEDOx8PhRQQAEFFFg4gUBFzitAJOezjOJxxkXB2x78V0yHV+JP5wvXUgtWQAEFDkTAwO5A2B1UAQUU2AOBDJ/8rddxqHo153iaK4pD5GbCtBzQpA2K7ocFDwUUUEABBRRYKAEDu4Vql8UqoIACCijQCeQpKa6RE8R8jpXiCs7UJ/nSd/wi9drLDex8TBRQQAEFdiRgYLcjJk9SQAEFZi+QqKEpie1i9+HF4ycqKgZn/isPPfGNlM1p1srjVJPzxOJqpsXTNM0KQ38kmH3THFEBBRRQQIGXKmBg91IFvV4BBRRQQIGZC9QJVkOkbjapi8OEcIqQruVNd34Xw2vuZeDP5zPviQMqoIACiyhgYLeIXbNmBRRYEoEa2pXu88XALl2Yd7vERqY5+S95+ORfYZQbVuIaTXWGEK9lGp8js0Z58fQl0XKaCiiggAIK9ELAwK4XbXQSCiiggALLJVDnzGqA1EBdjmg4TayPcePNH+SaG7+WAveYX64nwtkqoIACuxMwsNudm1cpoIACMxC4ENi1I3WhXZvANZAG3dhnTvxFnj33zxnmY4xCoMnPUoRXMQ1nCZSE1F7koYACCiiggAILJWBgt1DtslgFFFBAAQVagQYY5YrMUeqipm7OM0hDDl/9Xm6/+7tEUkABBRRQYEcCBnY7YvIkBRRQYPYCOTeEEOhelMuRGGoyU0Ja6wK8Ew/9LqrqwwzydUTGBE5DuJam2SSUJTTtjwweCiiggAIKKLBQAgZ2C9Uui1VAAQUUUKD7kZ1EkSYEXkY13KSejLsv1taj63ngnf8CQimUAgoooIAClxQwsLskkScooIACBySQaoglDRUhDyDUxO4NuxGpOsmnHnoQmFCmVxHyJhRnCekoTaoIxYjQXu+hgAIKKKCAAoslYGC3WP2yWgUUUEABBV4U2JGvZTo8Q5rC4TLyfFPwrnf/Oyiv1EkBBRRQQIFLChjYXZLIExRQQIEDEmgSFG1ENyUzJNBQtK/WNSXnNv4Tpx77Q8SwQkhXEvKEEDfIOZLTgNB9e8837A6ocw6rgAIKKKDA7gUM7HZv55UKKKCAAgocoEBMW+R8nOngLNRDDpcl56spd9//91g7fs8BVubQCiiggAKLImBgtyidsk4FFFg+gQtb0DVhTGaFnBoGoYCcePzZHyQ/80OdSZNjt3RmESpyroCSnA4RQvv3HgoooIACCiiwUAIGdgvVLotVQAEFFFCgFcgpMowV0zRgPDjDoDnE4bzGOjU33vzHeeVr/pBQCiiggAIKXFLAwO6SRJ6ggAIKHJDAhcAuhQmJEampGV54c+6hx/8ca2d/mZS2SHmLUKxBaCBvUIQ1UrMKTA+ocIdVQAEFFFBAgV0LGNjtms4LFVBAAQUUOCiBnEpGRc0kJ8bF+S6wO5QOMQmBY698H7fc/m0HVZrjKqCAAgoskICB3QI1y1IVUGC5BKr2jToCicg0wogpoRlCPMdjH3sfcbqxXCDOVgEFFFBAgSUQCDGTUyCFovtSzqmnr6QOE3IoL+xp65LXS/AYOEUFFFBAgQUTSLkmhEiM7RYVgVRnUmoYjQ6xtnaYW+79aaqUyUWgoKJIEXIBEeqQKNu/8VBAAQUUWHoBA7ulfwQEUECBeRWoc03Z7kkXIpMAwzwh5hHUJ3j0oa+hrMfzWrp1KaCAAgoooMAuBQzsdgnnZQoooIACChykQNgO6GL7BZvQ7i0faJqaohgyGAy560v/PSkMSEDoArt23/nQ/V8dakraf/ZQQAEFFFh2AQO7ZX8CnL8CCsytQGrfrcux+wDfLm4Z85QyD5me+2VOnPhmRrme29otTAEFFFBAAQV2J2Bgtzs3r1JAAQUUUOAgBUL7plxd0b4/F2MkUJJS6kK89o27+770pylGL6PuMrpm+w279of9CBVTBgwPsnzHVkABBRSYEwEDuzlphGUooIACv10gQWo/wLffv2s/x1cUecDZZ/4Rp07+TQa5/W6ehwIKKKCAAgr0ScDArk/ddC4KKKCAAssi0L5V14ZzOWeKooQQup/n239ujzfc9b9z/Mr7uh/x88XArj2nfcOOCSWjZaFyngoooIACX0TAwM7HQwEFFJhbgfbbeO0a+NDk9vN++8Zdw9OP/SXG6x+iaP/QQwEFFFBAAQV6JfDiwC4zfmEPu0ThHna96rSTUUABBRToq0Ab3rVHzqlbHjPEyCtv/CZeff37adqMrv2r/RmfGkJJYkI0sOvr4+C8FFBAgcsSMLC7LC5PVkABBWYpUFNRMriQy3UbUTcbnHj4A4TpI9BflZRMAAAgAElEQVQ0syzGsRRQQAEFFFBgBgJfKLDLoYR2v5vgv/9n0AaHUEABBRRQYFcC3f51uf3y7faKON3ymLHgipd/BTff8hegfROvDexS+7c15JImTClcEnNX3l6kgAIK9E3AwK5vHXU+CijQI4GaKSXD7V2pqUJmMHmORx9+D0WqCc32t/Y8FFBAAQUUUKA/AhcDuxxLUt564Q07A7v+9NiZKKCAAgr0T6Bd+rLdq+7i0f5ztxxm2H7Lbnj0du6654chDLp97GLThnkVOQ/IsSZS9g/FGSmggAIKXLaAgd1lk3mBAgooMCOBXDENA4btF+kDTEOi2HqKRz75ZobhWmIqZlSIwyiggAIKKKDArAS+WGCXm4IQ3cN2Vr1wHAUUUEABBXYqcHGvuouhXbcsZkhdaNfubcfKK3jbA/+CHNe6ZTG7wK7YfsMutdtf4Bdyd2rteQoooECfBQzs+txd56aAAgstkNgiptXtTajbD/R5SvXch3j65Acpq1eQwtZCz8/iFVBAAQUUUODzCLRLXuaCF79hVzGmfcMu5IFLYvrQKKCAAgoosIACdQw8+NafhJVXUUe6eO5iRNdQUTBYwFlZsgIKKKDAXgsY2O21qPdTQAEF9kigYUqRhu1W1bQf7suUOf/UD3Hq9PdSpOPAdI9G8jYKKKCAAgooMDcCBnZz0woLUUABBRRQYK8EpmQevOcfE4/cQl1AyFBcWEHTwG6vlL2PAgoosPgCBnaL30NnoIACPRXo1sDPgXbhqxRrylTy1Ke+mem5nyWGNsjzUEABBRRQQIHeCRjY9a6lTkgBBRRQQIFxnnLHG7+XY9e8i1S2S2VGuk0uAiRcEtMnRAEFFFBgW8DAzidBAQUUmFeBvF1Yym1gV1E2kUc//hWU42fIwymhccmMeW2ddSmggAIKKLBrAQO7XdN5oQIKKKCAAvMqUOWKm276Zl5x/Qe6wC7k2GZ1FwK7zyyPOa/1W5cCCiigwGwEDOxm4+woCiigwOULtK/WxURDIDOlHD/PI594J6N0iOngLGW9evn39AoFFFBAAQUUmG8BA7v57o/VKaCAAgoosAuBTMXVL/9KvuSWb4ey+2G/3f2iO1K7Z/0u7uklCiiggAL9EzCw619PnZECCvRF4MKH9zq0y2M0pHO/xuMPv5+VeJz1Yp1RM+rLTJ2HAgoooIACClwUMLDzWVBAAQUUUKB3AjFMKY68hbvu/lEo2sCu3a5+O7Rrwmf2s+vdxJ2QAgoooMBlCRjYXRaXJyuggAIzFGiXwsyJFNvADjae+Zecf/K7KMuCM2HCmktizrAZDqWAAgoooMCMBAzsZgTtMAoooIACCsxOIDBmOriWtz/4c+SiIYQMuTSwm10LHEkBBRRYCAEDu4Vok0UqoMByCtTUdezWty8pOfXE36Q5+c8oy02ezRMO55XlZHHWCiiggAIK9FnAwK7P3XVuCiiggAJLKhDzOuc4xHu+7FehqKEN7BgY2C3p8+C0FVBAgS8kYGDns6GAAgrMqUBuv3AXJoQ06j7LP/Lo72M0fYxUNeT4PCEdmdPKLUsBBRRQQAEFdi1gYLdrOi9UQAEFFFBgXgUaCghj7r7t7zJ6xX1UTBmkAcQpKY+IYV4rty4FFFBAgVkKGNjNUtuxFFBAgcsUSFSEPCA0NZ/85O9kWD1LSO238TYhr13m3TxdAQUUUEABBeZewMBu7ltkgQoooIACClyuQBvYhbzFm2796xx+1XuowpRBHkKoSHlgYHe5oJ6vgAIK9FTAwK6njXVaCijQD4GGhpjbL+Kd4mOPfCUrVU1ZbJHzloFdP1rsLBRQQAEFFPhsAQM7nwgFFFBAAQV6J3AxsPuSm76Fa17731GFikEeADUplN2+9R4KKKCAAgoY2PkMKKCAAnMqkEjkHClCTTr/ET5x4n9gbbLGYLDOJFcU7mE3p52zLAUUUEABBV6CgIHdS8DzUgUUUEABBeZUoAvnzvGKV32AG279U9ShpovpMqQQDezmtG2WpYACCsxawMBu1uKOp4ACCuxQ4IXAjprx8z/DE0/+WVYmx4mDDSZ5bGC3Q0dPU0ABBRRQYKEEDOwWql0Wq4ACCiigwI4ELgR2R658N7fd+X3UMVO2F+ZIChjY7QjRkxRQQIH+CxjY9b/HzlABBRZUoF0OM1AQc+LMyR/gzOm/y8r0im6j6imbBnYL2lfLVkABBRRQ4IsKGNj5gCiggAIKKNA7gSKPyPl5OPx67n3rv6COgZLUBXZVyAwIvZuzE1JAAQUUuHwBA7vLN/MKBRRQYCYCDbndlhoa+PQT30yz/h9YqVZpcqIutohpOJM6HEQBBRRQQAEFZihgYDdDbIdSQAEFFFBgNgJFXiXzLJPyKt7+zl+kLuKLAruGAcVsCnEUBRRQQIG5FjCwm+v2WJwCCiyzwAuB3QQefvz9DLY+zLApqVNBMzhPbFaWmce5K6CAAgoo0E8BA7t+9tVZKaCAAgostcAwr1FzknUGvOvd/y91UW4HdikyjTXD7QUyPRRQQAEFllzAwG7JHwCnr4AC8yxQdR/mD+eKh3/zRkb1lRRFu4xGzfnyWdbq4/NcvLUpoIACCiigwC4EQszkFGja3WzChNPPXMs0r9MulhXDgEy9i7t6iQIKKKCAAgocpECRpqR8hHo04Y43/j3WrrqDaagoCcSmxBfsDrI7jq2AAgrMj4CB3fz0wkoUUECBzxbINZuhZK05zcO/dRej+igxtstgNmyWp7p/9lBAAQUUUECBfgl8vsCuYoOUSwO7frXa2SiggAIKLJFAoILmMNPBJrff+n1c8fJ3UIeK2AZ2qaT9no6HAgoooIACBnY+AwoooMC8CnSBXWRl6xOceOh3UKZDEIfEDOPiLINmbV4rty4FFFBAAQUU2KXAxcAuhYLMmDMnr2aat2hyoIhDck67vLOXKaCAAgoooMBBCcScyGlIVYz5kpv/Ai979VdTFxcCu1zSbl/voYACCiiggIGdz4ACCigwrwI5MQmZ+vlf5PSJb4I8JMeSMgWquEFM7dt2HgoooIACCijQJ4EQK3Ia0AZ2hCmnn7nSwK5PDXYuCiiggAJLKdAFdrmkCg3X3fB13PC6/5m6bAO7gpjbZbCXksVJK6CAAgp8joCBnY+EAgooMK8CGapQcf6ZH2Pr6b/e/eKuDgWjHGkYdwGehwIKKKCAAgr0TCBMaTeySQwhbHHm5LVM0qZv2PWszU5HAQUUUGC5BHLOFASqANe+4n18yS3fSSqq7t/5IUWCS2Iu1wPhbBVQQIEvIGBg56OhgAIKzKtAhhQqTj72nYQz/5ppzExiZi21y2FVJHelntfOWZcCCiiggAK7F3ghsNt+w64N7NolMesEMZS7v69XKqCAAgoooMCBCeQUKUJNYsDqVbfx5rf8iIHdgXXDgRVQQIH5FTCwm9/eWJkCCiy7QAbChBOf/BOMzv8q47JmSmI1jwg54Q42y/6AOH8FFFBAgV4KXAjschvOdYHdy5ik89QpGtj1suFOSgEFFFBgGQRyKolxi6YZUBx9Offd81Mw2P4irm/YLcMT4BwVUECBnQkY2O3MybMUUECB2Qt0gd0Wn/r4H+bQ5kfZLCeMQ8OhdIiyXS7TyG72PXFEBRRQQAEF9lvAwG6/hb2/AgoooIACMxdo36wr2KSuS/KhVR687xdg1HRv3MXuZ/+Zl+SACiiggAJzKGBgN4dNsSQFFFCgE2g/tNeneeiht7JStfvVDWmoCSER8pjAilAKKKCAAgoo0DeB0HT71Ka4RWDEqecG1PWIKo+JHILQ7nfjoYACCiiggAKLJBBSJkZIrDAZTXjH/f8WBldDqCGV4B52i9ROa1VAAQX2TcDAbt9ovbECCijwEgXawG76BJ/45JexWo+IuaDuPsQ3BnYvkdbLFVBAAQUUmFsBA7u5bY2FKaCAAgoosFuBgkzOmaYu2Rhs8OC9/yfDwzcSioqQB75ht1tYr1NAAQV6JmBg17OGOh0FFOiRQLtJ3dZv8IlPfQ1rzSohhS6w237DbtJ9+95DAQUUUEABBXomYGDXs4Y6HQUUUEABBdoFdBJFjqSmYDzc5J63/BMOXfWmdlkdoJRIAQUUUECBTsDAzgdBAQUUmFeBBFtnf54nnvgga2lIzok6FBcCuxpyMa+VW5cCCiiggAIK7FbAwG63cl6ngAIKKKDA3ApkKoq8AjlSDcfcfuv3cezad5C6L+QGQnATu7ltnoUpoIACMxQwsJshtkMpoIAClyXQwNlT/5RnT373hcCuog5DA7vLQvRkBRRQQAEFFkzAwG7BGma5CiiggAIKXFogFRPKeg3q9g2787zupm/jVTf8PlIIRDewuzSgZyiggAJLImBgtySNdpoKKLCAAinzzNN/g/XT/5TV1K53fzGwC4TsG3YL2FFLVkABBRRQ4NICBnaXNvIMBRRQQAEFFkygiRsM6uOEFKlHm7ziuj/Ka276OlJol8NMhnYL1k/LVUABBfZLwMBuv2S9rwIKKPBSBRI8/vi3UJ39EKOcyYyp8gqxyOQUifmlDuD1CiiggAIKKDB3AgZ2c9cSC1JAAQUUUOClCrSBXVldyTC0gd06V73sD3DjGz7YBXaZhgK3vHipxl6vgAIK9EHAwK4PXXQOCijQT4EEj534E6Tzv8JqqmnCZwK71AQKXOO+n413VgoooIACSy1gYLfU7XfyCiiggAL9FMjlmDg5RqhrquF5jl3z1dz+5m8jxZFv2PWz5c5KAQUU2JWAgd2u2LxIAQUUmIFAgoc/+gZWmxHTGCnrDQZxjfWwwSAfI+TJDIpwCAUUUEABBRSYqYCB3Uy5HUwBBRRQQIFZCMS0wrh8jiIdYyVm1o6+mVvu+nvUscvrKNv/9lBAAQUUWHoBA7ulfwQEUECBuRWoax79+O2MXhTYlWGVjbjJKB/p9rTzUEABBRRQQIGeCRjY9ayhTkcBBRRQQAHoArviDDEPWM1DysM38eb7f6wL7NqszrzOp0QBBRRQoBUwsPM5UEABBeZVYHKKRz/5AMM6MilGDOsxMRZshYmB3bz2zLoUUEABBRR4qQIGdi9V0OsVUEABBRSYO4GYBoyLLWJOrKTD1IMj3P/Of0dVbO9fZ2A3dy2zIAUUUOBABAzsDoTdQRVQQIFLCzSbD/H4w7+bMhVdYDdoaiLN9jfwkhtSX1rQMxRQQAEFFFhAAQO7BWyaJSuggAIKKPDFBYomMi0SxDGj6jiTWPPAe36JKlYUjAzsfIAUUEABBToBAzsfBAUUUGBOBSbn/gsnP/V1xFwwKUsGdSQy7QK7MrXL3BvazWnrLEsBBRRQQIHdCxjY7d7OKxVQQAEFFJhTgVgH6kH7m9iqe8NuI23y9nf/MlXZ/mS/amA3p32zLAUUUGDWAgZ2sxZ3PAUUUGCHAuunf5qzn/5z3dmb5YhRKijShCaWxKYih3KHd/I0BRRQQAEFFFgYAQO7hWmVhSqggAIKKLBTgVgn6kG7+GVgSGQjj3ngwZ8hrR4isGZgt1NIz1NAAQV6LmBg1/MGOz0FFFhcgXPP/jjnnvhOQgjbgV0zhHwW4iqxGZPDaHEnZ+UKKKCAAgoo8PkFDOx8MhRQQAEFFOidQPeG3TAR6gGDuMk4D7jznh9n5YrrCXlECL2bshNSQAEFFNiFgIHdLtC8RAEFFJiFwPNP/33Wn/4bLwrsViGf7gK7shnTGNjNog2OoYACCiigwGwFDOxm6+1oCiiggAIKzECg3cOuGkyhWmVQnGWSV7n9jh/i6DW3GtjNwN8hFFBAgUURMLBblE5ZpwIK9FIg50z7VwjtX5/9lbrTD3+Qs1sfpkmPUMarCM0KZZxCsUFTTwj5WC9NnJQCCiiggALLLBBCJFOR2o8FeZUzp2uqaoU6FYSYlpnGuSuggAIKKLCwAinWpGnm0MohNscT6mHgvrf8bVaO30NTTCkYLuzcLFwBBRRQYO8EDOz2ztI7KaCAAnsqcOrhr2d986PUnGAYjpOadiPqKSGOadKYyJE9Hc+bKaCAAgoooMDBCxjYHXwPrEABBRRQQIG9FmgDO+rIIJbUuWFaBN74+u/iyle8m1RURAZ7PaT3U0ABBRRYQAEDuwVsmiUroED/BXKGZz/xtWxOHyWFZxlwlJSGhFQTi4amqYjBb+D1/0lwhgoooIACyyZgYLdsHXe+CiiggALLINAGdjGVhJTJMTCJ8Lrr/wyvvvH3k4qaSLkMDM5RAQUUUOASAgZ2PiIKKKDAAQnk3BBCsT16flERF1bG/PRHvpSmPgPhHEWxSmqGxFwQI+Rck7PLYh1Q6xxWAQUUUECBfRN4cWAX8hqnT1fU9SpVE10Sc9/UvbECCiiggAL7K5BJBCLxws/+k1hw/fVfzw2v+zoDu/2l9+4KKKDAQgkY2C1UuyxWAQX6JPDiwO5i9hbixRkmHvvwnV0wF2LV7W+X04CYh7S/yCNskbvNbTwUUEABBRRQoE8CBnZ96qZzUUABBRRQYFsg5ZoiF5RlwXRa0QxH3HDjH+C6G76RFFMb5UmlgAIKKKAABnY+BAoooMCBCbRvyG1/KE8NEOjenoOq+zD/5G/eAXm0XV3YJOf21brDNO3reGGTIrvG/YG1zoEVUEABBRTYJ4GLgV27XBZplTNnaqpqxTfs9snb2yqggAIKKDALgZxz93bdaFCyNZnSDFd59Y2/h9fc8GdpYkPBhdV3ZlGMYyiggAIKzK2Agd3ctsbCFFCg/wIvCuzSZ8K6hjFVPebZj91LzFfSfrDPnO3erMvp0IXA7hxFPtx/ImeogAIKKKDAkgl8ocCuTgWE9hs+HgoooIACCiiwaALtz/VlKIg0VE2mHqxwxcvfym23fA8pXvwq76LNynoVUEABBfZawMBur0W9nwIKKLBjgc8Edrl9aS60/1xR5Q3Gk3XOPPRWYn4ZOQdyOEOI7TfyjlFnyPEMRXN0xyN5ogIKKKCAAgoshsCLA7uQD3H69LR7w87AbjH6Z5UKKKCAAgp8PoE2sBsWA5pqC+KAaTFk9eit3HXXD5nW+cgooIACCrwgYGDnw6CAAgoclECiW6u+PdqVMNtV6zfZ5DBrcO7X+fSjf/CgKnNcBRRQQAEFFDhAgXb/2nYJ7JCPsL5esL6eybEkX9z09gBrc2gFFFBAAQUUuHyB3L1GV1NG2ApDVqsJx49+Ba99618kULok5uWTeoUCCijQSwEDu1621UkpoMBCCDTQFO3SVpEiJ1IomDBllSH1mV/lqRNfvxDTsEgFFFBAAQUU2FsBA7u99fRuCiiggAIKzINAu1d9ETKTYpW1esrxo+/hNff/lfY3AsQL+9vPQ53WoIACCihwcAIGdgdn78gKKLDsAoluc+l2ycuS3AV2NRXDPGDj2Z/l9FN/ZtmFnL8CCiiggAJLKWBgt5Rtd9IKKKCAAj0WaJe8btKUQQ6Mi4JDwNHDD/Ca+7+nC+sM7HrcfKemgAIKXIaAgd1lYHmqAgoosKcCGVKogZKYgQATKkap5NwzP8nZk9+5p8N5MwUUUEABBRRYDAEDu8Xok1UqoIACCiiwY4GQaVe2HpDZKjJrCdZW7+BLHvwhyu4m7UYZHgoooIACyy5gYLfsT4DzV0CBgxP4nMAuk5mEhpVcsnHyn3D66e89uNocWQEFFFBAAQUOTMDA7sDoHVgBBRRQQIF9Eci0m9iXjGJgI45ZqTNF+Vre+O6fZNB+e9dDAQUUUECB9n2OnHP7XoeHAgoooMCsBdrP6/Ezb9i169k3seiWyDj/7A/y/FM/POuKHE8BBRRQQAEF5kDAwG4OmmAJCiiggAIK7KFAylNCXmOlKFgPZxlVgRSu5u73/gdKX67bQ2lvpYACCiy2gIHdYvfP6hVQYJEFGmiKisCgWxIzMSWFIWWCM099N+vP/fNFnp21K6CAAgoooMAuBQzsdgnnZQoooIACCsypQGBMSocZBtiI5znclExY5d73/QqFL9jNadcsSwEFFJi9gIHd7M0dUQEFFNgW+Jw37KCiDgPKOvHUiW+jPv/vlFJAAQUUUECBJRQwsFvCpjtlBRRQQIFeCxSxIlWHKULNRnGGY/kwYyL3vvf/cfe6XnfeySmggAKXJ2Bgd3lenq2AAgrsncCFwK5d/WJKyRDIbWhHyblPfgubGz+zd2N5JwUUUEABBRRYGAEDu4VplYUqoIACCiiwI4F2ScwirhCqmskgcow1Npox9335f+lW3HEbux0xepICCijQewEDu9632AkqoMDcCjSQitR9m25K7AI7qLcDu0f+NBvnf25uS7cwBRRQQAEFFNg/AQO7/bP1zgoooIACChyEQBvYxTCkaDLjMnAkrbCVp9z35b9CzNHA7iCa4pgKKKDAHAoY2M1hUyxJAQWWRCBBExuKDNNQMEzb36qrQ+L5Rz7I1vlfWhIIp6mAAgoooIACLxYwsPN5UEABBRRQoF8Cud0TIwcGObIZE4fqIdPYbAd2DVC0X+X1UEABBRRYdgEDu2V/Apy/AgocnECGJmwHdlWIDFLoArsUak598usYb/y3g6vNkRVQQAEFFFDgwAQM7A6M3oEVUEABBRTYF4E2sMsJRqFkI05Zmw6oB5l739u+Ydf+LqDYl3G9qQIKKKDAYgkY2C1Wv6xWAQX6JNAFdpmCTA2UzfYyGE2sePrjX00aP9an2ToXBRRQQAEFFNihgIHdDqE8TQEFFFBAgUURCJnUZFbigPUw4VA1pB4G7nn3fyZ2G2X4ht2itNI6FVBAgf0UMLDbT13vrYACCnxRgURDoMihWwazC+yAFCc88dF3QXVOPwUUUEABBRRYQgEDuyVsulNWQAEFFOi3QBvY1YGVougCu6NpjUnRcMeX/TzDOGi/wtvv+Ts7BRRQQIEdCRjY7YjJkxRQQIH9EEjUKVJ2+9bVlHW5vSRm3OLER+7rNqP2UEABBRRQQIHlEzCwW76eO2MFFFBAgZ4LhExuCoaBLrC7IhxhPa3zxrf/PEdWDxvY9bz9Tk8BBRTYqYCB3U6lPE8BBRTYc4HPCeya7W/U5WLMid94MzEN93xEb6iAAgoooIAC8y9gYDf/PbJCBRRQQAEFLkvgQmA3IHeB3VXlEc5Oz3Pr236WK48ch9C+ZeehgAIKKLDsAgZ2y/4EOH8FFDgwgXRh5Jjat+ratTBrYihJoebJ37idnPzAfmDNcWAFFFBAAQUOSiBMCazQkAghsL5esH5+jdx+RmCdgJ8PDqo1jquAAgoooMBuBULK5BjIVBR5hZwzVRl5y5v/DoevfqN72O0W1usUUECBngkY2PWsoU5HAQUWR2A7sEvEFH9bYPfEh9/Uvmq3OJOxUgUUUEABBRTYGwEDu71x9C4KKKCAAgrMkYCB3Rw1w1IUUECBORYwsJvj5liaAgr0W2A7sKuJTUEq2s3rtt+wa0LDk7/+ln5P3tkpoIACCiigwOcXMLDzyVBAAQUUUKB3AgZ2vWupE1JAAQX2RcDAbl9YvakCCihwaYHtwK4iNmUX2EUS5EhNzTO/eTcpNZe+iWcooIACCiigQL8EDOz61U9no4ACCiigAGBg52OggAIKKLATAQO7nSh5jgIKKLAPAg2Z0L1h99sDu5MfuYemqfdhVG+pgAIKKKCAAnMtYGA31+2xOAUUUEABBXYjYGC3GzWvUUABBZZPwMBu+XrujBVQYE4Emgwh1MQ6kspI+24duaTKE5796J00dZyTSi1DAQUUUEABBWYmYGA3M2oHUkABBRRQYFYCBnazknYcBRRQYLEFDOwWu39Wr4ACCyywvSQmxBpSSRfYpaZknM5x6uNvhubwAs/O0hVQQAEFFFBgVwIGdrti8yIFFFBAAQXmWcDAbp67Y20KKKDA/AgY2M1PL6xEAQWWTODFgV1TZop297q6YKs5w6mP3UrBtUsm4nQVUEABBRRQAAM7HwIFFFBAAQV6J2Bg17uWOiEFFFBgXwQM7PaF1ZsqoIAClxZI7f51qSSHTA6he8OupqTe+K+ceegD1CFf+iaeoYACCiiggAK9EkixIaaCEDM5V0ymhzhzqqAJQ5o4psiDXs3XySiggAIKKLAMAgUl6zlwBYGNvEFZjEh5whvu+CmOXn0NBSvLwOAcFVBAAQUuIWBg5yOigAIKHJCAgd0BwTusAgoooIACcyxgYDfHzbE0BRRQQAEFdikQM2yGkmM5scWUIg7JNLzp3n/LytHjRPxCzi5pvUwBBRTolYCBXa/a6WQUUGCRBAzsFqlb1qqAAgoooMBsBAzsZuPsKAoooIACCsxSIKSGcVlwpA5Mi9RtZN++TX/vO36BPCyJlLMsx7EUUEABBeZUwMBuThtjWQoo0H8BA7v+99gZKqCAAgoocLkCBnaXK+b5CiiggAIKzL9AThOqwQprk4pmWNJUEGPB/e/9ZVKIxPmfghUqoIACCsxAwMBuBsgOoYACCnw+AQM7nwsFFFBAAQUU+FwBAzufCQUUUEABBfon0AZ29XDE6rjuArtqkiiKkre+71doQqAg9G/SzkgBBRRQ4LIFDOwum8wLFFBAgb0RMLDbG0fvooACCiigQJ8EDOz61E3nooACCiigwAWBPO3esNsO7AbU00yMGNj5gCiggAIKfJaAgZ0PhAIKKHBAAgZ2BwTvsAoooIACCsyxgIHdHDfH0hRQQAEFFNilQMwwLksOTSvqsiA1EGLi/i/7JVLZ7mHnopi7pPUyBRRQoFcCBna9aqeTUUCBRRIwsFukblmrAgoooIACsxEwsJuNs6MooIACCigwS4EusCuGHK4aqjKTUyAUcN87foE0GBjYzbIZjqWAAgrMsYCB3Rw3x9IUUKDfAunC9GKCKm4xoAQKzqw/wvojd0G+vt8Azk4BBRRQQAEFfpuAgZ0PhQIKKKCAAv0TKIik1DCIq2wUpzhSX8VmeI773/ubvlvXv3Y7IwUUUGDXAgZ2u6bzQgUUUOClCbSBXc5QZGjilPYDPJSc39sARLsAACAASURBVHqcc598Gykde2kDeLUCCiiggAIKLJyAgd3CtcyCFVBAAQUUuKRA+4ZdQ2bIyguB3VY4z33v+/8oCJe83hMUUEABBZZDwMBuOfrsLBVQYA4F2sCuaWAQIMWakNuP6YFJc4bTH32AOhVzWLUlKaCAAgoooMB+ChjY7aeu91ZAAQUUUOBgBHKKJCaM2sAunmOtOUYuA3e++z93X94NZnYH0xhHVUABBeZMwMBuzhpiOQoosDwC24FdZhBCF9iRSmIb3rHFM7/xIHWeLg+GM1VAAQUUUECBTsDAzgdBAQUUUECBHgrkovtZf5hX2Sw2Wa2OUqwc5o1f9m8oUkFsF9zxUEABBRRYegEDu6V/BARQQIGDEkgkUordznUpJnIdKdoP6bHiyV9/Gw3jgyrNcRVQQAEFFFDggAQM7A4I3mEVUEABBRTYR4HAiBTOMkxrbBYVK9M1Vg6/ilve/mMU7Wo7vmK3j/reWgEFFFgcAQO7xemVlSqgQM8E2sAOIjFtL4lJs/2GXRvYPfHf7icF37DrWcudjgIKKKCAApcUMLC7JJEnKKCAAgoosHACgVVSOMMwj9iMidXqEEeOvoHXve1vEyjdx27hOmrBCiigwP4IGNjtj6t3VUABBS4pUOeaGEpik0lFQ8hlt9V0DmOe/PV7ujjPQwEFFFBAAQWWS8DAbrn67WwVUEABBZZEIK+Q4ynKvMZmDKxNRxy78k5uvO9/IzA0sFuSx8BpKqCAApcSMLC7lJD/uwIKKLBPAtNmSlkMiXUilYlucczcBnabPPXhe2myu07vE723VUABBRRQYG4FDOzmtjUWpoACCiigwO4F0hopnuwCu60idoHdFVfdy2vu/WsGdrtX9UoFFFCgdwIGdr1rqRNSQIHFEUg0OVIAdagp65LuFbtiwuO/dSe5ctfpxemllSqggAIKKLA3AgZ2e+PoXRRQQAEFFJgngUBFwREiFQ3nmYYVDl/5dt58+/fBcJ4qtRYFFFBAgYMUMLA7SH3HVkCBJRdI1ClShs8O7FLc4sRH7qNo8pL7OH0FFFBAAQWWT8DAbvl67owVUEABBfovkNvALq0R8pQ6bJHLVY5d8y5uu+V/hUH/5+8MFVBAAQV2JmBgtzMnz1JAAQX2QSBRZyiJ1CFRptgtidmEMZ/+yDsp0uY+jOktFVBAAQUUUGCeBQzs5rk71qaAAgoooMDuBDKJmEpCqmnimDRc42Uv/z3cdPNfgKLdwd4VdnYn61UKKKBAvwQM7PrVT2ejgAKLJNCFc5mCTA3bgV23POaUpz72VTD99CLNxloVUEABBRRQYA8EDOz2ANFbKKCAAgooMIcCMRfbS2KGhmYw5FWvfD83vO6bDezmsFeWpIACChyUgIHdQck7rgIKKJAhhdR9j64mUrZfqgvtn9U899AfZrL56xopoIACCiigwJIJGNgtWcOdrgIKKKDAUgjknCnDdmDX/hZgUsCrr/t6XvO6byDF9k98w24pHgQnqYACClxCwMDOR0QBBRQ4KIGLgV3OTELB6EJg1y6PefbRb2bz3H8+qMocVwEFFFBAAQUOSMDA7oDgHVYBBRRQQIF9FGjqzKDIEBOkki0SN772T3Ldje+nKdqVd4p9HN1bK6CAAgosioCB3aJ0yjoVUKB/Au3n9O6bdDAlMuxmWFNTcu6RP83G+Z/r35ydkQIKKKCAAgp8UQEDOx8QBRRQQAEF+ieQGghFRaQh5ENMYsPNN30rL7vhK7slMg3s+tdzZ6SAAgrsRsDAbjdqXqOAAgrshUADqWgXw2wDu7IL7DIVVS4498lvYWvz3+/FKN5DAQUUUEABBRZIwMBugZplqQoooIACCuxQIIchgU1IFSEcoSnhlpu/nSte+R5SwCUxd+joaQoooEDfBQzs+t5h56eAAvMrkKEJUwJDYkO30XS3l11d89SJb6M+/zPzW7uVKaCAAgoooMC+CHS/tMsQYtXdv85w6qlXMAlnaX/Z54JZ+8LuTRVQQAEFFNhXgTInxiGxWh6hmTxPMyy57U0/xuGrX0PMq91+9h4KKKCAAgoY2PkMKKCAAgcl8OLALkEODU0oKFPi1JPfyeapf3VQlTmuAgoooIACChyQgIHdAcE7rAIKKKCAAvsoMMiRTSYMWCGmTaZFwZve8uMcvua1xDwysNtHe2+tgAIKLJKAgd0idctaFVCgXwIZUmi/PT/Y3ne6/U+MtN+8O/vMD3DumX/Yr/k6GwUUUEABBRS4pICB3SWJPEEBBRRQQIGFEyhTYBwrYoqMYmAzZe6+919SHL+GMqx1W2V4KKCAAgooYGDnM6CAAgoclMDnBHY5QBUSwwzrJ3+UM0//rYOqzHEVUEABBRRQ4IAEDOwOCN5hFVBAAQUU2EeBWAeaUU1dBY4MBmzUgQfe8dNUK4cpGBnY7aO9t1ZAAQUWScDAbpG6Za0KKNAvgW5JzArygCK3m9UEpqFud7Tj3FM/wdmT39Wv+TobBRRQQAEFFLikgIHdJYk8QQEFFFBAgYUTCFWGtUBV1azmIVtpyIPv/TlS0b5bVxrYLVxHLVgBBRTYHwEDu/1x9a4KKKDApQUuBHY5F5Q5kGKgpmJIwfmnf4bnn/nzl76HZyiggAIKKKBArwQM7HrVTiejgAIKKKBAJxCakrRaU0/GDOsB43CUd375f6COELv/eCiggAIKKAAGdj4FCiigwEEJ5EQTmu7bdEW7h10MTJiyypDJc7/EySe+6aAqc1wFFFBAAQUUOCABA7sDgndYBRRQQAEF9lEgpgGTchOahpU0Io1ezn3v/GmqmCkIBnb7aO+tFVBAgUUSMLBbpG5ZqwIK9EsgNaSY6b5PlyPtL+jGbLHGKvnsr/H4pz7Qr/k6GwUUUEABBRS4pICB3SWJPEEBBRRQQIGFE4hphc1whkEsWSuOUq6+ijfe++NMQsMgtIGd79gtXFMtWAEFFNgHAQO7fUD1lgoooMBOBFIX1bX/f/vvco6EkGg4z8bGM6w//JVAQZNDd7vQhXt1d17OmUC5k2E8RwEFFFBAAQUWSMDAboGaZakKKKCAAgrsUCCHMWV9mBAy0yIwuuIu7rrz+7oVdwjbvxPwUEABBRRQwMDOZ0ABBRQ4IIEmQ9F9MG//KskZQoDMJlvjU5z6xJcTQiS3v7l7IbCDnBPk4oCqdlgFFFBAAQUU2E8BA7v91PXeCiiggAIKHIxApqJsVrvAblwG1q56G3e++bsN7A6mHY6qgAIKzK2Agd3ctsbCFFCg7wINmZgToU3p2jfsUvsWXTvritRs8sRvPtjuTL0d1rX/Qy62wzoPBRRQQAEFFOitgIFdb1vrxBRQQAEFlligDewGaaX7wu64LLjiFb+D22791hdW2vENuyV+OJy6Agoo8CIBAzsfBwUUUOCABBKJ0C5tGS68LZfbt+cuhnY1Jz58PymPKULVhXo5DYAh0IZ420GehwIKKKCAAgr0S8DArl/9dDYKKKCAAgq0AplEkdv96wNbReRVr/kfufF1f4x244vuO7weCiiggAIKtP9OyO1GSB4KKKCAAjMXSNTEi/vQdZ/SIbVv2YXub3niI19K1ZyBuE6MBaFe6/a0a5fQyIxdFnPmHXNABRRQQAEF9l/AwG7/jR1BAQUUUECBWQu0v34tCC8Edjfd/Kd4xXVfQxO2/9xDAQUUUECBVsDAzudAAQUUOCCBFwK7C2FdW0bODTkHYog884mvYnPyJIFnicVgO7DLQ2IxpcnnCPnQAVXusAoooIACCiiwXwIGdvsl630VUEABBRQ4OIE6Z4bd+3QwiQNuv/2vcsXL3kUTGgrco/7gOuPICiigwHwJGNjNVz+sRgEFlkigoaJg0K6NcWEZjHp7oYwUujfvTj/6Bzm/eYKapyjbL9ylFQpWCHFMbk6RuWqJtJyqAgoooIACyyFgYLccfXaWCiiggALLJVDnyDBOIUXGoeDuO36QtSvvog41MZR029l7KKCAAgosvYCB3dI/AgIooMBBCVRpwiCOurQuZYixAmoyJaEZcPaxP8rzG5+gzp+mjPGFwC4Wm9T1YwRee1ClO64CCiiggAIK7JOAgd0+wXpbBRRQQAEFDlDgYmCXm8Akltx7zz9g5ehtBnYH2BOHVkABBeZRwMBuHrtiTQoooABw6skfYPzsD3X7160XWwzrVUgNIa5RppM04ZhOCiiggAIKKNAzAQO7njXU6SiggAIKKADEnLqlMFfCmK068473/hrEGpqSuphQMtJJAQUUUEAB97DzGVBAAQXmVeDU0z/C1tPf3wV2G+W4C+xC9ypeuzTmc6R8ZF5Lty4FFFBAAQUU2KWAgd0u4bxMAQUUUECBORZ4cWBXpTXe9q5fJhWJ2ERSURHb7TI8FFBAAQWWXsA37Jb+ERBAAQXmVeDscz/B+cf/8oXArmLYFBTth/kusHuelFfntXTrUkABBRRQQIFdChjY7RLOyxRQQAEFFJhjgQGZzdC+R7cF5fXc+/af2g7sUvszft3tY++hgAIKKKCAgZ3PgAIKKDCnAutn/iOnT/wJyjBkq5gwbDIxrdIUgSJtkhjOaeWWpYACCiiggAK7FTCw262c1ymggAIKKDC/Am1gt5ULijBh9dCdvOX+HyHFQEwY2M1v26xMAQUUmLmAgd3MyR1QAQUU2JnAdP03ePKRr2XIiM24xTDVlPk4dcyEvAnZwG5nkp6lgAIKKKDA4ggY2C1Or6xUAQUUUECBnQqMcmYjB4pYceXVv4ub3/KXaUJBmYGQ2l3udnorz1NAAQUU6LGAgV2Pm+vUFFBgsQXy+Ak+9dB7GaUVNostVpoNinAN4zClzA3kYrEnaPUKKKCAAgoo8NsEDOx8KBRQQAEFFOifwChHNnIiljXXv+J/4pW3/lESJWVOEAzr+tdxZ6SAAgrsTsDAbnduXqWAAgrsv0C1waMfu6cL7CZxzCCtMwjXsNkGdu0X8DwUUEABBRRQoHcCBna9a6kTUkABBRRQgItv2LWB3etu+NNcc9PvJzGgzDUE96/zEVFAAQUU2BYwsPNJUEABBeZVIDU8/NE3sVqPLgR2zzMM17HOOgWR2C6d4aGAAgoooIACvRIwsOtVO52MAgoooIACncDFN+yKQcPrb/xLHH3N7+gCuyEV5AEEoRRQQAEFFDCw8xlQQAEF5lcgN3z6kW+C9f8bQkMTJgzzYXJOVEWgaEzs5rd5VqaAAgoooMDuBFKcElgj5kRmTJNXOPVcpmnWaMM8DwUUUEABBRRYPIGSKSGvcT5W3HHvj3Lo8G2UYdrtTZ+iO9gtXketWAEFFNgfAd+w2x9X76qAAgrsgUDiyUf/LOn8z5OpPiuwm0ZcFnMPhL2FAgoooIAC8yZgYDdvHbEeBRRQQAEFXrpATFsU4Tjn45R73/Z/sLJ2I5EaUkGKAXexe+nG3kEBBRTog4CBXR+66BwUUKCnAonnHv8eNp//cXLO5FwxyCvd31dFokxFT+fttBRQQAEFFFhegTawI69SkF94w+70KWiaQ9S5IQRfs1vep8OZK6CAAgosqkBOE0bxGOdD5sEv/VeE8jgxl5Db1XQKCv/1vqittW4FFFBgTwUM7PaU05spoIACeytw/ql/xJlT39uFdNB0gV1KjYHd3jJ7NwUUUEABBeZG4HMDu8TqhSUxDezmpkkWooACCiigwOUKNBWD8ihbxWEe/LKfpKagbAM7ahpKA7vL9fR8BRRQoKcCBnY9bazTUkCBxRdoyDTP/SxPPfUnge236QZppVses33DrmhcNGPxu+wMFFBAAQUU+GyBi4FdzA2EKW1g175hV9drvmHnw6KAAgoooMCCCrRfwh0WK+SVm7j7gb9PRWaQ25/za1IoXRJzQftq2QoooMBeCxjY7bWo91NAAQX2SKDOifLcf+ORT//3xBQJDBgyJOUp07KirAd7NJK3UUABBRRQQIF5EfjcwC6HNU6fClTVioHdvDTJOhRQQAEFFLhcgVwQiobjV76H17/lrzEFhjRAIIVoYHe5np6vgAIK9FTAwK6njXVaCiiw+AI1UG6e4NFH3wVpSEhtYFdcCOymDJrR4k/SGSiggAIKKKDAZwl8ocCurlepUu0edj4vCiiggAIKLKBAYkAI57nu+m/g1Tf/caYpMoxjaLe9CAkjuwVsqiUroIAC+yBgYLcPqN5SAQUU2AuBLrCbPMunHn6A3IwIKTLIgZQrpuWUYVrZi2G8hwIKKKCAAgrMkcDnBnbEw92SmO0bdgZ2c9QoS1FAAQUUUOAyBJo0hHCSN7z+L3HVDe+nan++j5uQ1kixJtLuZ+ehgAIKKLDsAgZ2y/4EOH8FFJhfgdyujlHxid/6PRwfP8F0FFjPpzhUv4rAeXLwA/38Ns/KFFBAAQUU2J3AxcCuIJMZu4fd7hi9SgEFFFBAgbkSKMMWG2GV22/7Aa562b3dz/qkAcREu399cWHf+rkq2mIUUEABBWYuYGA3c3IHVEABBXYocCGw+9THP8DKxoepR5ENznCofmUX2CU/0O8Q0tMUUEABBRRYHAEDu8XplZUqoIACCiiwU4GYttgYrHLvHT/GoStuAhKksgvsXBBzp4qep4ACCvRfwMCu/z12hgoosKgCXWBX8/ij38rg7IeoBgXjPGYlHSOzAblY1JlZtwIKKKCAAgp8AQEDOx8NBRRQQAEFeijQVIyHq7zz/n9DWDsEDKCOUNYkSmIPp+yUFFBAAQUuX8DA7vLNvEIBBRSYjUCGFGpOPfkPmD77A4RixCRPGOQVmrBBbNfA91BAAQUUUECBXgkY2PWqnU5GAQUUUECBTiCkzGT1Kt7xwIeg2AAOQbdxvYGdj4gCCiigwGcEDOx8GhRQQIF5FUiZOmYmz/1HTj3xjcSwRp2hIFEVEwbNaF4rty4FFFBAAQUU2KWAgd0u4bxMAQUUUECBORYIlBRHXs/d9/xDcrFO4DB0q+okmhwpwhwXb2kKKKCAAjMTMLCbGbUDKaCAApcp0H4DLyaK84/w+KPvY8hR6mZIETfYLLZYaQ5f5g09XQEFFFBAAQXmXcDAbt47ZH0KKKCAAgpcvkAMA45c+25uue07tr+A2y6JmbcXwmy/mFu6Jublo3qFAgoo0EMBA7seNtUpKaBATwRSZivC6mSdhz9xK6v5SnK9CsUZNsqK1bpd995DAQUUUEABBfokYGDXp246FwUUUEABBbYFUghcd8Mf4brXfT11SJQhQbtzXRva+Xadj4kCCiigwAUBAzsfBQUUUGBeBRKMI6w08MhHb2AlHYfmCBSnusBupVqd18qtSwEFFFBAAQV2KWBgt0s4L1NAAQUUUGCOBWpqXv8l38o1N3wNTRvVhSkhB8iDLrfzUEABBRRQoBUwsPM5UEABBeZU4ML37aCCjz/yVaw1HyOOIRRHqIvzhGYwp5VblgIKKKCAAgrsVsDAbrdyXqeAAgoooMD8CqT0LPfc/YsUV11PbH/Iz+1bd+3P9DUxl75lN7+tszIFFFBgpgIGdjPldjAFFFBg5wIvBHZN5lOP/3HY+AVG0xVyKKniBjENd34zz1RAAQUUUECBhRAwsFuINlmkAgoooIAClyWQqbj3vg8Rjr5sO7Aj0OSSEGpiKtpX7i7rfp6sgAIKKNBPAQO7fvbVWSmgQA8E2sCuPWKuOXPyBzj13N9irb4WwpQqVNsf6j0UUEABBRRQoFcCBna9aqeTUUABBRRQoBMoyuPc88BPkIZHidTdn9WpJMaa2EQoXBfTR0UBBRRQwCUxfQYUUECBuRX4TGA3ZXruZ3n0sW/kaLqOHM9RhWRgN7edszAFFFBAAQV2L2Bgt3s7r1RAAQUUUGBeBUaHbuWOt/4wdRhQ5IZAps5tYNf+bB98w25eG2ddCiigwIwFfMNuxuAOp4ACCuxU4IXALk1g/HF+86Gv5li+liKeN7DbKaLnKaCAAgoosGACBnYL1jDLVUABBRRQYAcCx65+H7e85TuoQySmNp+ryZTk9su4ObqH3Q4MPUUBBRRYBgEDu2XosnNUQIGFFehCu1QTp6f4rYd/N4fqQBEmtOvfk10Sc2Eba+EKKKCAAgp8AQEDOx8NBRRQQAEF+ifwyhv+CNff/A1MgbKBWLT72A3o9q7P3ZZ2HgoooIACCmBg50OggAIKzKtAhiZUFAygnvDww7+XcvIMBZHMBuThvFZuXQoooIACCiiwSwEDu13CeZkCCiiggAJzLHDTbd/Ola/8nd3udYPU5nNTiEPqnCjxDbs5bp2lKaCAAjMVMLCbKbeDKaCAApch0AV2U4o2mEvw2ImvIaw/RMwjUn6ewMpl3MxTFVBAAQUUUGARBAzsFqFL1qiAAgoooMDlCbzxru9l5fiDVBFWmvbaCRQDpk1iWJSXdzPPVkABBRTorYCBXW9b68QUUGDhBXLdLXtZx/a/A6dPfD/5uZ8glOucK2DU+KF+4XvsBBRQQAEFFPgcgTawC6wRUibEMXUace7sgM3NSChLcr64y610CiiggAIKKDAvAsOUqOIqVXmGUB2lzBWxSTTlFnW6mge/4j/NS6nWoYACCigwxwIGdnPcHEtTQIElF2h/IZcDdcwEMpvP/DM2nvluYi44VzQGdkv+eDh9BRRQQIF+CnwmsKsJsTKw62ebnZUCCiigQM8EypyoGVEPzkJ1mCGJImXqYouiuJm73/WTPZux01FAAQUU2A8BA7v9UPWeCiigwF4ItBtP50yKbVzXEM//Kk+c+FqK6io2y8ywW0bDQwEFFFBAAQX6JPDZgV37ht0a588N2dgIvmHXp0Y7FwUUUECBXgm8ENiV64RmjRVqcoo0gylHDr+DW+/9/l7N18kooIACCuyPgIHd/rh6VwUUUOClC7QrXgVoMqRYMZic5FOPvJVi6zjNEIr2f/BQQAEFFFBAgV4JfG5g1+QVzp1d6QI7ytC9fe+hgAIKKKCAAvMl8JnAbovQlIy6FXMKpmXFdS//ANfd9sH5KthqFFBAAQXmUuD/Z+9OgG277vrOf9fae59z7n33TZosy7KRbMlCwpZlS7Is2WbOROJA5oYMELpJzBhwYsakMGAyQEJiOgGSMhACwSHBnTSQSlLdXV2dJqmiOnQqoSmwZVnz+PT0pjucc/Zea3XtcyVbNrL9nt4dzvDdKuvJ752z1399/rvqauu391oGdnPZFotSQAEFZi/X9Xnd7JiEKcM289ADf4iy9Qz1sIHkK3ZeJwoooIACCiybwEsFdhfOr7O5Wfr/7kcgLtuUnY8CCiiggAILL9BQmOaGXE2pSqTKiRIqtmPH7a//Ia54zR9a+Dk6AQUUUECB/RcwsNt/Y0dQQAEFXpZA/wJd1b9EF2FKx6CreeqR72B87t9TNUMDu5el6pcUUEABBRSYb4EUt4kcgZSJ1YTMGi8Ednm2r62B3Xx30OoUUEABBVZRoKLQ9YFdLERaqtRCHHIhJt7x5p9neOXnryKLc1ZAAQUUuEQBA7tLBPPjCiigwEEJfDKwmzChX1KjYvOpX+D0sz9ERUPJLol1UL1wHAUUUEABBQ5K4KUDuyGbm/0S2cHA7qAa4TgKKKCAAgpcgsCnB3Z17khVw1as+LL7/gOMjl7C2fyoAgoooMCqChjYrWrnnbcCCsy9QKJQ9aFc3GLKGoMSKef+E48+/hcJqd/DZjD3c7BABRRQQAEFFLg0gT6wC2WdkMuL3rAzsLs0RT+tgAIKKKDAwQr0gV2baqgidej3scuUZshmiHzpF/4nqA62HkdTQAEFFFhMAQO7xeybVSugwCoIJOgqSOwwZNg/Vg9hm//2u2/h2u0rmdbnV0HBOSqggAIKKLBSAv2zOiFmQu7o/+tevyRm/3bd5la/v+0IgnvYrtQF4WQVUEABBRZCoH/QJpX+gduOqgSqkJlWgY0r3sXtb/r+2VYXHgoooIACCnwuAQO7zyXknyuggAKHJZChixnI1KXeraLs8ODDX8/o3G/ThX6DOw8FFFBAAQUUWCYBA7tl6qZzUUABBRRYFYFYoP8ZXkqhIhBCYRLGXPuqd3PTLd9oYLcqF4LzVEABBS5TwMDuMgH9ugIKKLBvArN/4W+Bhv5f/in9v/y3nDn9Qbae+ZuQTuzb0J5YAQUUUEABBQ5HwMDucNwdVQEFFFBAgcsRiKWiVIncRern36bbLM/xhlv/IVe/+ouB5x/CvZxB/K4CCiigwNILGNgtfYudoAIKLKxAgRTGBEbEXCAE+l/Y+q88+PDvY5BeubBTs3AFFFBAAQUUeGkBAzuvDAUUUEABBRZPoF8SMzTQdg31bGnrwDY73PfWX2Zw4tWzB3E9FFBAAQUU+FwCBnafS8g/V0ABBQ5LoEAbJlQMPxnY9UviT87z0Y99OWvdzmFV5rgKKKCAAgoosE8CBnb7BOtpFVBAAQUU2EeBkBPUFW07oqq2IdeUwXHuu+/D5GFDNLDbR31PrYACCiyPgIHd8vTSmSigwLIJFOiYEsNgN7CLhY5InQqPPPhNhK1fX7YZOx8FFFBAAQVWXsDAbuUvAQEUUEABBRZRoEwhDOjSOlV1jpIr1k+8hTvu+ilylYk8v07mIs7NmhVQQAEFDkzAwO7AqB1IAQUUuESB5zetjmQokUIihUBdImef+hkuPPP3L/GEflwBBRRQQAEF5l3AwG7eO2R9CiiggAIK/F6BwJic1ylhnRLPUErhVa/809x423fSxegOdl40CiiggAIXJWBgd1FMfkgBBRQ4BIFPBHYtlIaUW1IVGADd2f/Mkw9/8yEU5ZAKKKCAAgoosJ8CBnb7qeu5FVBAAQUU2B+BGHboug1CPEqpnybnzOtv+Faued3X0YXawG5/2D2rAgoosHQCBnZL11InpIACqyLw3/+/W3lFvooqn2FCTRehZpPIFUw4T1Xc1HpVrgXnqYACCiiwPAIGdsvTS2eigAIKKLA6AimOGaXj9Dfmbf0cF5pt7r3j/2Dj5PXkFInV6lg4UwUUUECBly9g3WhHrgAAIABJREFUYPfy7fymAgoocKgCDz34tdSbv8lajuzkQKoyNTuzwG7a/1oOtTwHV0ABBRRQQIGXIWBg9zLQ/IoCCiiggAKHLNCFHdbLSUobyMPzXKhr3nnXr9EcudLA7pB74/AKKKDAIgkY2C1St6xVAQUUeJHA1ul/xtOPv5djvIrtPKVUmaYUSh7S1Q0xjfVSQAEFFFBAgQUTMLBbsIZZrgIKKKCAAkD/ht1aPkbpAt1gh7R+I/fd8zMQ1yg5EqJMCiiggAIKfG4BA7vPbeQnFFBAgfkU2Lmfj9z/pZwMV7OTtgh1oCmR1DWkZmBgN59dsyoFFFBAAQU+q4CBnReIAgoooIACiyeQY0fVDaioGYcJJ679g7zh9u8FGsgRDOwWr6lWrIACChyCgIHdIaA7pAIKKLAnAqnjgY/8Uda6x+nKNlQVTWnoukyq16jyZE+G8SQKKKCAAgoocHACBnYHZ+1ICiiggAIK7JVA/wZdniaaZsT5dodbbv0uXnXDH2OW1BnY7RWz51FAAQWWXsDAbulb7AQVUGBpBQqcevhvsn3+QxBSvwgHA9boupaujtR5aWfuxBRQQAEFFFhaAQO7pW2tE1NAAQUUWGKBTwZ2FedTzdvu/knWT9wKMUKJEJZ48k5NAQUUUGDPBAzs9ozSEymggAIHK5DpyKf/M48/8e7ZwDknRmGDlCdMmo5B1xxsQY6mgAIKKKCAApctYGB32YSeQAEFFFBAgUMRiAVSyOThlbz9nn8Jw6P9nbqB3aF0w0EVUECBxRQwsFvMvlm1AgooQMcO9fY5HnzgS2fr5Pdv1o3i2uxtu536HIO2vznwUEABBRRQQIFFEjCwW6RuWasCCiiggAK7AjlnhvWAcbfJ6ORN3HnnL0MFpSRC/w++YeelooACCihwEQIGdheB5EcUUECBeRToSkdNzQMf+6Osjx9kkkaz4K7JF9gc7jDs1uexbGtSQAEFFFBAgc8i0Ad2/cM3FZlSIqmM2N6OnDufCGH9+WWwJVRAAQUUUECBeRLIqWLYFNoUeNVrvo3rb/5K2ioQGVKX/mf7PFVrLQoooIAC8ypgYDevnbEuBRRQ4HMIJAoVgVOP/wBbz/4EMdxA6HYYVCMu1KcN7LyCFFBAAQUUWECBTw/sMmtsbQUDuwXspSUroIACCqyOQEWh6yBVcM+dP01z5S2M6Wb7zMdcIJrYrc7V4EwVUECBly9gYPfy7fymAgoocLgCBQqJsPUbfOTBP8havBUmp1hvrud8eJwm+Ybd4TbI0RVQQAEFFLh0gZcK7Po37M6e63zD7tI5/YYCCiiggAIHIhD6eK4bUh+5mnve/q+hmv0OA0bE3EGsD6QOB1FAAQUUWGwBA7vF7p/VK6DAKgv0y2qUKZD4nfu/iGF7lqbNNPU1bJfnaEqzyjrOXQEFFFBAgYUUeKnAbmenmgV2sLtXrYcCCiiggAIKzJdA6i5Qr53g2BVfxq1f8IOUCCX0P7trIru/eiiggAIKKPC5BAzsPpeQf66AAgrMq8AssNtdDP+Rx/8q0zP/grVyBRloQ6bp7xA8FFBAAQUUUGChBF4I7GLpg7l+ga11tnd237AzsFuoVlqsAgoooMAKCaRuG46sc8trf5irXvlldAFizET6+/L+Lt378xW6HJyqAgoo8LIFDOxeNp1fVEABBQ5ZoP93/gD9f9g7e/ZXOfvIe1kvQ8Zhm9Avu9FneR4KKKCAAgoosFACJQZymc6iuj6wI2zMArszZ/u36n3DbqGaabEKKKCAAisjUOXEzuAE9931i9RHT5KpCQVCyJQSCME97FbmYnCiCiigwGUIGNhdBp5fVUABBQ5V4PlAbhw6QvsMT9//F2imTzKt+ifwK2KuDrU8B1dAAQUUUECBSxcwsLt0M7+hgAIKKKDAYQs0/f7yR9/GW+7+n+mqbvZmXewi1AZ2h90bx1dAAQUWScDAbpG6Za0KKKDAiwVmq2FmLrDDUY7w1Ee+hrT9f9M2x4j9zUJyDzsvGAUUUEABBRZN4KUCu51xNXvDLuchIfav2HsooIACCiigwDwJxLLJNdf/ZW649VvZLBPWI8Q07P8GwYdp56lX1qKAAgrMs4CB3Tx3x9oUUECBzyIwWwW/QApjCiMunPoVzj3+LayVE+w0UCXXxPQCUkABBRRQYNEEcqiI7BA4Qs6JWG2zNVnj/Jk1Uqkh9HvbeSiggAIKKKDAQQrEumM6LjRDaMcjhsOKaX6S2F5NXa/xbLzAH3jrh4gbr4I4YtzBoG6J5fkHaV0R8yDb5VgKKKDAwgoY2C1s6yxcAQVWXSDnTAyRHFoyDWXrv/P4g1/NKNWMw4TqhRuDVYdy/goooIACCiyQgIHdAjXLUhVQQAEFVkcgTsntgKrJdNOapqmYpmcZhCsIobC19iq++O6fhOFxoGGSoKkmxDLcNTKwW51rxZkqoIAClyFgYHcZeH5VAQUUOEyBXKbEMiDHTCZS520e+9jXwOR3Sf16+e5hd5jtcWwFFFBAAQVeloCB3cti80sKKKCAAgrsq0B//x3KOqEaU3JFDCO6vEnTDOjSBY5d++d5wxe8Z7b8ZS5QQiSEHUJeI/RhnYHdvvbHkyuggALLImBgtyyddB4KKLCCAh2UmtnCWCFR5YrnnvpRzpz+cdbCVaTUraCJU1ZAAQUUUGCxBQzsFrt/Vq+AAgoosJwCHR0NRwllixISIR+lKy1hMKXtNrnljf+IV1zzpbNgrv/zMtu3bofIGsz2n19OF2elgAIKKLC3AgZ2e+vp2RRQQIGDEyh9ILcb2PVP7MUM083f4GOPfDUnuJqUtg+uFkdSQAEFFFBAgT0RMLDbE0ZPooACCiigwJ4K5Fio8oiSNol1IeTjs8AuVzvEeAVvve8XqJpX7I5ZZRKFSEtgtKd1eDIFFFBAgeUWMLBb7v46OwUUWGaBvLsUZo59bNc/tNcSUstHHvgf2Nh+hBxm7955KKCAAgoooMACCRjYLVCzLFUBBRRQYGUESqz6hW0gj6mrQinHSWGHaei46sSXcdtdPwxdPduyIkYoJdAvo1nF5/ewWxkpJ6qAAgoocDkCBnaXo+d3FVBAgcMUSIlcVeTZe3b9E3yJqjQ89cTfIZ/6aVLwxuAw2+PYCiiggAIKvBwBA7uXo+Z3FFBAAQUU2F+BLtbENKYqgSpkyEeZxvN09Tp3vO47OfZ5f5RS+rUvM2G2HCbk3Id3kVLSJ35vf6v07AoooIACiy5gYLfoHbR+BRRYXYH+DbsYZ4FdyBOINYWK9tyvce6Rb6LNx1fXxpkroIACCiiwoAIGdgvaOMtWQAEFFFhqgbYP4fIWQwZEEjmN6Opz5Ppq3nHnT9JtfD4xdsR+9ZtSf3LLusDsTbsYBkvt4+QUUEABBfZGwMBubxw9iwIKKHDgAv3Te5lACbt72YW8TVXWYXqB33rkXVw5OQNxxDRtEWJmUNYoJVIYk6tNSBsHXrMDKqCAAgoooMBnFzCw8wpRQAEFFFBg/gRyCAzylLYbUtYioXTU00I89nbedN+Pzbap8FBAAQUUUOByBQzsLlfQ7yuggAKHJpChRFKYUhjM3rKrGEIa8+DT30Pz7L+FakBOEEIgxmo3sCstIbaU3Bxa5Q6sgAIKKKCAAi8tYGDnlaGAAgoooMD8CewGdolMwzhuQ1cxrAo33vQ9XHXjVxLx/nr+umZFCiigwOIJGNgtXs+sWAEFFNgVKLtv1mUmEIaEwu6yGyVzbvNXOffgd1PCWepykky//EYix36X7P4zA2J5/p/1VEABBRRQQIG5ETCwm5tWWIgCCiiggAKfEEhUDOjvwWFcJkBFVR/jvns+RD5ynMiaWgoooIACCly2gIHdZRN6AgUUUOCQBPrArtTksENgjRKYrZdPgZSe4omP/FlS+g2G+fMoYZ1puECO/Y53UKUTRHYOqXCHVUABBRRQQIHPJGBg57WhgAIKKKDA/AnMArvYknMilUAYZZrmbdz1lp+AYX9vbWA3f12zIgUUUGDxBAzsFq9nVqyAAgrsCuQWQr/sxhRmb9ABYXeZzP54+qH3sLX1Yda6DSJH2Q5nSFWZbZA96K6lhPNKKqCAAgoooMCcCRjYzVlDLEcBBRRQQIH+9nu25OV56jKklJp2cJ7rXvm9vPbmr4Fqd/UbDwUUUEABBS5XwMDucgX9vgIKKHBYAmU3oCt0hLIb2BX6ZS6r2dKYW6f/Dc+c+lEG0zPUbLAZz5CrAXU6z3p3A9N49rAqd1wFFFBAAQUU+AwCBnZeGgoooIACCsyhQKmYlLMcrY6Sp4HNAbzlLT/HxhWvJ+YCcbZBhYcCCiiggAKXJWBgd1l8flkBBRQ4RIECJUwJ/UKYpX5+A7tM6ZfnCAEmT/PQI99IvfVRmrDOVjhPqgYM0imOptexFc8dYvEOrYACCiiggAIvJWBg53WhgAIKKKDA/AkUMl1JHAkjUjulOf4m7rj3H9HFhrpf5ca8bv6aZkUKKKDAAgoY2C1g0yxZAQUU6AX6h/hS2KFhuLsM5uwGoQ/sCoQJIa3z4MNfR3X+vzCMQ7bDDikOqdPDnEi3cCFuCqmAAgoooIACcyZgYDdnDbEcBRRQQAEFZqvZtJSwxjBDzNtc/Zo/x/W3fRubuWUjrBnYeZUooIACCuyJgIHdnjB6EgUUUGD+BKZ0pK3/yCP3fyNXViOm3ZQy7JimTWK+gYiB3fx1zYoUUEABBVZdoA/sqjAmpyExVmTOMumOcebZwe7+OaFf/tpDAQUUUEABBQ5SoHRTRvU1tN05toYd9731V6g2Xtk/M0vdPzzrG3YH2Q7HUkABBZZWwMBuaVvrxBRQYNUFpsBg8lEeeuA7GEweI8bENGwT4hFyWiOys+pEzl8BBRRQQIG5EzCwm7uWWJACCiiggAIEWqp0lFLtEI+9kTvv/Ht08TgxQpztLy+SAgoooIACly9gYHf5hp5BAQUUmEuBDqhzy9nHf4TTp36JjWHDzvQCdXOSLrVUtHNZt0UpoIACCiiwygIGdqvcfeeugAIKKDCvAlXMpLYiN5nXvfY9vOLGr6LL/dvwmZAjIc5r5dalgAIKKLBIAgZ2i9Qta1VAAQUuQWCaYdB/fvM/8pGHvo1jg4Z2cpYYjtKWLerdP/VQQAEFFFBAgTkSMLCbo2ZYigIKKKCAAs8LVLFl2kE3OM4X3f3PYeMqoCHTEXJtYOeVooACCiiwJwIGdnvC6EkUUECB+RNIGfqbCtodPvLAH2ctnSWU0+SugiYRu435K9qKFFBAAQUUWHEBA7sVvwCcvgIKKKDAXArE0LGdYP2Ku3nrW34SqkzOkRhna9vMZc0WpYACCiiweAIGdovXMytWQAEFLkogz5bR3yakdR55/HsYn/v3rMfz5C4SBzVl6k3FRUH6IQUUUEABBQ5QwMDuALEdSgEFFFBAgYsU6Pew2+EIr339N/Ka678aIuQuExtIBCo3sbtIST+mgAIKKPDZBAzsvD4UUECBJRZIJKpSsXPuP/Lo49/FkXKOkEakKkNKSzxzp6aAAgoooMBiChjYLWbfrFoBBRRQYLkF6pKZDq/j7ns+QGyup4oV9E/JVn1g1+8R3yw3gLNTQAEFFDgQAQO7A2F2EAUUUODgBXLO5BiJdMTU8eDHvoLB9BxVPsJ22qSp2oMvyhEVUEABBRRQ4LMKGNh5gSiggAIKKDB/AnUOhJM3c+fd/5QUxsS8Tgi7dbZhSuMe8fPXNCtSQAEFFlDAwG4Bm2bJCiigwMUIzN6uI5DymBDXOf30T7D95AcYVjtsheMMfMHuYhj9jAIKKKCAAgcqkAPE0q9rPYWyAeEsXRhy6smTpNAS+jW4PBRQQAEFFFBgTwWaEimlptRj0nSdahAYd48xCtdRSmZruMntN/5drrz2y2AI/c51/d8jLTmvUfvjeU/74ckUUECBVRUwsFvVzjtvBRRYeoFEoSqBXDqINeOz/xdnHv0hIk+wFQrD5B52S38ROEEFFFBAgYUTMLBbuJZZsAIKKKDAEghUFHJqiM2UNB1R15E2n6KpTtDlHXYGr+ZL3vr3YHgTXX+PXdeU2UOyHbEM+w3kPRRQQAEFFLhsAQO7yyb0BAoooMB8CpQMoX/Kb/aUfob2As8+9H62dv49bZwwTMP5LNyqFFBAAQUUWGEBA7sVbr5TV0ABBRQ4NIFCC3mNULWUNlNVA0q/9GWsaLtzrF/7P3HHm94N+ShdmRCrISkVmipBqQ3sDq1zDqyAAgosl4CB3XL109kooIACnyLQ33SUfvPr3BFzzfj0v+HBp76bUT2h7jbUUkABBRRQQIE5EzCwm7OGWI4CCiigwEoITMMOVT5KFVtKmhJZI8ZEKmMyFbfd/UFOnLgD+qWpQ0vu77MTxCpDjrPf9lBAAQUUUOByBQzsLlfQ7yuggAJzK5CZlm3qsEGgJeQGJo/y2x//M6zzpIHd3PbNwhRQQAEFVlnAwG6Vu+/cFVBAAQUOS2AaN6nzSaqYKWmTUEakkOhKZmP9Ft7yzn9GnjZQQ4wt9IFdv5pNf/S/GtgdVuscVwEFFFgqAQO7pWqnk1FAAQVeLNAxLVPqMCKSoV8jkwGPPPRdhO1fha6SSwEFFFBAAQXmTMDAbs4aYjkKKKCAAish0IUdBhwj5Ehgc/YG3YQxKWxw06u+hutv+yby7I06yGVKoCGEQEqJqv9N97BbievESSqggAL7LWBgt9/Cnl8BBRQ4LIEyW6GDEnL/ECApTwlxRHvm13nm8W+B1P+phwIKKKCAAgrMk4CB3Tx1w1oUUEABBVZFILPDMB4lT/vwbQxVxXY4Sxy8jnvf8CPEE7cSn3+LLqWWqtp9ALYrEEP0BbtVuVCcpwIKKLDPAgZ2+wzs6RVQQIFDE0iQYh/YQVUKqf8rBIYdPPo7b4e8dWilObACCiiggAIKvLSAgZ1XhgIKKKCAAocgUKYM4zrduIK6JdSBC/E5Rutv5t67fmG2FObs6J97rfrkriORCdS0OTJ0ScxDaJpDKqCAAssnYGC3fD11RgoooMBMoF8AM5QXrczxwgt14SwPPPsvqJ75UQZljSpu0pVrmBbI9TOM0glC15Gia3p4KSmggAIKKHDQAgZ2By3ueAoooIACCkDsMrmOxEHNdCuxNtzifLvOLbf+MNd+3pf5Bp0XiQIKKKDAgQgY2B0Is4MooIACBy/QB3bkjjhbtyPvJnil3yG748L4v3L6Y99CSKdp4hG6nMjViC6eYpTXqNNR2n4ZEA8FFFBAAQUUOFABA7sD5XYwBRRQQAEFZgJ1DkxKR6iHkLdnAV1XXc073v5zpNHVVLgHvJeKAgoooMD+CxjY7b+xIyiggAKHI9C/MceET7wo16+NyQBK/+pdxxMf+2a2d36NjXID4/wkYXCSLj9HUwLDfA3T4JKZh9M4R1VAAQUUWGUBA7tV7r5zV0ABBRQ4NIHUEuujpLxDCWP6n8dXX/OV3PKG95EjuEvdoXXGgRVQQIGVEjCwW6l2O1kFFFglgZwgVFPCLKFrdqee+zft6tk6mZMzH+bjp97NRvc6Yr+fXTNg3J2lCjDIx0m0q8TlXBVQQAEFFJgLAQO7uWiDRSiggAIKrJhAyRPq+gq6fIFMpKvGvPX2n2Ltintme8NX/U20hwIKKKCAAvssYGC3z8CeXgEFFDgsgT6wi9VsYUwoz++AHVpKKoQygHyajz7yB6i2LnCEV5DieSbpPE19hCp3pH75TA8FFFBAAQUUOFABA7sD5XYwBRRQQAEFZgIhVpS2pa6HTEomrF/LfXf/AjQ1XWmon7+llksBBRRQQIH9FDCw209dz62AAgrMiUDp37brHwiMHczenFuDBI899V42T/0rjvN55HCKNrRU8RjwHKSNOaneMhRQQAEFFFgdAQO71em1M1VAAQUUmB+BwJBSThPLVWyWM7z25vdwww1fS676e+h6tqedhwIKKKCAAvstYGC338KeXwEFFDgsgQKlXw0ztoR+g+z+LbvZKh4TYDjby649/+s8/OhfZb2N5Pg0oRrRphFVOAdl/bAqd1wFFFBAAQVWVsDAbmVb78QVUEABBQ5RoOSaup4SUmJaneTet/0sYf3VTMKUZhbYGdkdYnscWgEFFFgZAQO7lWm1E1VAgZUTKNB1UDXbu/vYlSOzAC/HFkpDCC0xVTz6sa8i7jxCjo9T11ezM4k0Vf+ZwcqROWEFFFBAAQUOW8DA7rA74PgKKKCAAqsokENNGcPaxqOMjv4hbrvjH5FjxTRsU5cBdXDLiFW8LpyzAgoocNACBnYHLe54CiigwNwI9Et7wPmnf5XnnvwrrIcR58MWJaxzNKzTpuf3v5ubei1EAQUUUECB5RcwsFv+HjtDBRRQQIH5E0hVw2g6ZVoVbrzjBzlx9R+kpqPun3oNzfwVbEUKKKCAAkspYGC3lG11UgoooMBFCBRIoSXsPMwjH/8G1vLTjNOUUh+l7lrKbNM7DwUUUEABBRQ4SAEDu4PUdiwFFFBAAQV2Bbo4YDBtqdav5M77/inT5ipCntD020n0t8beHnupKKCAAgocgICB3QEgO4QCCigwlwL9HnYBGjpOPfy3mZz9J9T5WlKd6LqWGPsN8DwUUEABBRRQ4CAFDOwOUtuxFFBAAQUU2BWYpAHDZpNXX/8/8qqbv5lphIpCVQL0i89USimggAIKKLD/AgZ2+2/sCAoooMB8CvR73M3uPTrK2f/OY4/+GU6015AGp9nJI2JJ81m3VSmggAIKKLDEAgZ2S9xcp6aAAgooMLcCbYo0x+Btb/hlOHod0wx1BZEOct3/g4cCCiiggAL7LmBgt+/EDqCAAgrMqcDzgV3LJqNpzWOPfAPVud+gHrVs5Q1qt7Cb08ZZlgIKKKDAMgsY2C1zd52bAgoooMC8CkzzDiev/WLe+AUfgHqHzBr99nWFTeowAup5Ld26FFBAAQWWSMDAboma6VQUUECBSxUoJZHClJIH7Jz5MM88/Nc42qyxUzJV6W9KPBRQQAEFFFDgIAUM7A5S27EUUEABBRTYFegDu9tu/wecvOaLqapELi2ENaB9/uW6RioFFFBAAQX2XcDAbt+JHUABBRSYT4H+BbqYE8SKCVMG3bM8/LFvpB5/lFQFYnaR/vnsnFUpoIACCiyzgIHdMnfXuSmggAIKzKvA+trruP2eDzJuhgz6iC5dgOrorNzYpd31MT0UUEABBRTYZwEDu30G9vQKKKDAvAqkAlW/TV2EacwMyDzz2PvZeuZDDAdHSWkyr6VblwIKKKCAAksrYGC3tK11YgoooIACcyzwulf/Ka6+5a8yDjCY3SZ3dCWTy4BBAczr5rh7lqaAAgosj4CB3fL00pkooIAClybQL/FBQ5emxHoACdrxb/HRB+7kKu4AniBWJxmzSaYit8ep4nlGw0S3fZQS3eTu0sD9tAIKKKCAAp9bIMdE6PfJSZlYdeScKOEYZ54rTKdr5NA/beOhgAIKKKCAApciMChH2c7PzLaia2JNNR5QDcYkXs357mHe8aX/D1VVEWMkhHApp/azCiiggAIK7JmAgd2eUXoiBRRQYLEE+g20QymUACUUSo5U+WmefPT76C78n9Ado6pqJpwiNP2SIFdAHtNUU/J0BFX/mKGHAgoooIACCuylgIHdXmp6LgUUUEABBXYF6jwg1Ym2nKNmRJXC7kMx1RpXvvILee1t758FdX1g98JR+ptmMMDzIlJAAQUUODABA7sDo3YgBRRQYM4E+nuPMoUwIIeWQk2VC93Zf8vHH/8W1trX9NvbMeUZYj2l4kq6LhP771ARgm/YzVlHLUcBBRRQYAkEDOyWoIlOQQEFFFBg7gSqVMhVQxc3CalmFGsmbaKtI/fd9eNUJ976e4K5FwI7Q7u5a6cFKaCAAksrYGC3tK11YgoooMBnF5jFbWVKZEAJ09myl1WpYPIkDzz0l2nah4hhjZS3KbTEPtjLgVggxooyW1LTQwEFFFBAAQX2UsDAbi81PZcCCiiggAK7AnXJjFOiHgXSuGJtOGDc7dAcfQN33/2PoR5KpYACCiigwKELGNgdegssQAEFFDgcgY5MTYTSb5OTCFVFKIlQ4NRT/5hzp7+PujpJXY7TdYFQtqiqQClxFuTl3L9p56GAAgoooIACeylgYLeXmp5LAQUUUECBXYE6V4w5R9WsUaYDqmrATjnH57/+u7n21X+6X0TGQwEFFFBAgUMXMLA79BZYgAIKKHA4Ah0tdWlmgR0Zct3/Y7/0ZU278xEefeDPk8ujDOJxQnuCwjax2YHckMqIWNLhFO6oCiiggAIKLLGAgd0SN9epKaCAAgocmkDsKhht06aGqr+n7Wri2lXc+/Z/SKpfSdU/y+qedYfWHwdWQAEFFNgVMLDzSlBAAQVWVGDClGEZ7KZ1JZIjJAoVhVgyZx58H6c3f4UqPMGA18425I7VBRKRnOp+F7sVlXPaCiiggAIK7J+Agd3+2XpmBRRQQIEVFugGVGs7TNr+njeS0pDXfN5X85rP/0tMQk2/IOZnCuz63w/B+98VvnqcugIKKHBgAgZ2B0btQAoooMB8CfS71tW5X96yg1LThY6Omjr06/sDp/4DjzzzAbry7xiFOyhdQ6m2yf2amaUi5P5DHgoooIACCiiwlwIGdnup6bkUUEABBRTYFYh5RBc2oaooaYequoK33f3jcOw2xtSMnof69HCu///9/2KMUiqggAIKKLDvAgZ2+07sAAoooMBiCnQJHnrojzHa/E2q+mp2JpFhfQbiM4zT9Qxc5H8xG2vVCiiggAJzLWBgN9ftsTgFFFBAgQUVKGRG6RglnGGr1Ky98ou46/YfIQcItASaBZ2ZZSuggAIKLJOAgd0yddO5KKCAAnsscO6Zn+eZJ7+T9XADuUzJuaUanCan6wlle49H83QKKKCAAgooYGDnNaCAAgoooMDeC4ScIEUGg3XO5y3ecMf7OXn1F0MYEEoihGrvB/WMCigclOVYAAAgAElEQVSggAIKXKKAgd0lgvlxBRRQYHUEOphe4P4H/izDyeMMqhHb3RZNE6jzBl3ZXB0KZ6qAAgoooMABCRjYHRC0wyiggAIKrJRAFTPT8ZR6cJz6+I3cedePQxwy7YYM6pWicLIKKKCAAnMsYGA3x82xNAUUUOBQBWZ71AVOPfVTXHj2+zkSb2KzPEHFldRpTHHT7UNtj4MroIACCiyngIHdcvbVWSmggAIKHK7AIHZMS8WFtuOOO/4GV1/zrtl+dtNpx8DE7nCb4+gKKKCAAp8QMLDzYlBAAQUUeGmBBFQdZfo4H//Yn6SZ7pCaMeQ1mrxF4YhyCiiggAIKKLDHAgZ2ewzq6RRQQAEFFOhvbfOUdrDBVrmK3/dFPwtxg1IqQoRSCsEHUr1OFFBAAQXmQMDAbg6aYAkKKKDAPApkYJrPMwrrPP7g+9i58IuM4jopbkGpiWk0j2VbkwIKKKCAAgstYGC30O2zeAUUUECBORWIqeVCWeOGW7+e193w9bMqc85EIpmOGF0Xc05bZ1kKKKDASgkY2K1Uu52sAgoocPECUzpCLjShYXzuN3ji8e9mrXuCEhp2qsKgixd/Mj+pgAIKKKCAAhclYGB3UUx+SAEFFFBAgUsSGOTMzuBG7n7734HmBuoAkQ5SDdUlncoPK6CAAgoosG8CBnb7RuuJFVBAgcUWGDNhUIaElAgx8/jHv5Vq838hcBPnqk3WZnvceSiggAIKKKDAXgoY2O2lpudSQAEFFFBgV2BQJlz56j/J9Td/K6k+RqDQlABlAnEokwIKKKCAAnMhYGA3F22wCAUUUGD+BEqGECfslEwT1mjP/QrPPfTdhNKxNciM2rX5K9qKFFBAAQUUWHABA7sFb6DlK6CAAgocisAoZdpqQBcDk+kWw1gYVkMmbaIbwDSM+KI7/wn1xq2UakpiQM5QR4j9s6jhUMp2UAUUUEABBT5FwMDOC0IBBRRQ4CUFUoYqZjKJTEXdPc1jH/s2wuS3mZYBdUjKKaCAAgoooMAeCxjY7TGop1NAAQUUWAmBQQ7s5EzonytN0FAIXUWsj7EVHuXE1V/JG2/6DhhcQxenEAb0OV1FS6RZCSMnqYACCigw/wIGdvPfIytUQAEFDkWgK5m69I8b9ltw908dRi488yGee/YHGE1O0FVbh1KXgyqggAIKKLDMAgZ2y9xd56aAAgoosF8CFTU7aUw1LMTSMEiFrs1U9RVc4GHefNdPc+LE22fDd6EjhppCoWIbSjML8DwUUEABBRQ4bAEDu8PugOMroIACcyqQSFS5ggz9L5MAw3yeRx/4E6xvPs14tm6IhwIKKKCAAgrspYCB3V5qei4FFFBAgVURCNSkaotpgToNGOaKWCUmuTBYv4W73v5BYEi/bV0OiUBFKIUQxpBqqHzLblWuFeepgAIKzLOAgd08d8faFFBAgUMU6BfDjDkyu+MZBM7HbUasc/bpH2H6xN+lxFccYnUOrYACCiigwHIKGNgtZ1+dlQIKKKDA/grknInDlp3xkEFV0eSGajBmp3S84Zb3ceK6PzIrIIWWQCCWmlL6fdszpNivjemhgAIKKKDAoQsY2B16CyxAAQUUmE+BWWDXL4nZr4dZwTS2dHQMxo/yyP1fT5PPzWfhVqWAAgoooMACCxjYLXDzLF0BBRRQ4PAEUiYMpkzGR1gfNaR2SseE+ujruefeD5I48nxAN+3jullgN9vELjxf8gu/Ht4MHFkBBRRQQIH+7e/+eRIPBRRQQAEFPlUgM1sNk7r/KVFaiBUXmHK0jDj1+D9kfPofS6aAAgoooIACeyxgYLfHoJ5OAQUUUGAlBKpUU+KUfrHLulqnbZ9lGja4+aZv41U3fvXuvuz9Fu2zf4JSqtmbdvn5oC6uhJKTVEABBRSYdwEDu3nvkPUpoIAChyTQh3WTkljrX68rO7N1/du6oQoQx4/w6Ef+8CFV5rAKKKCAAgosr4CB3fL21pkpoIACCuyfQNMNZ3vT5cEmud0gx8dpRm/grff8U1K8kqr+5Ni5THf/TxjMfsn9m3gM9684z6yAAgoooMBFChjYXSSUH1NAAQUU+FSBpx/4bnZ2foaQK9rmSkI35EiKVM0WZ9KEtbIumQIKKKCAAgpcokCpWkpuqENFyhNCyKQy4sL5mu3tSIlusnOJpH5cAQUUUGAFBIYdXBgWpiFzMm3Qjqe85tZv4Lobv65/rc5DAQUUUECBhRAwsFuINlmkAgooMH8C3dlf57Gn3s2wzYzTgFgdo8oPEUJkGo5S96/oeSiggAIKKKDAJQnkOIUy+JTALrPG+XOVgd0lSfphBRRQQIFVEmhSYquKxKahHk/J4Wru+5IfozS39AtgEoKb1K3S9eBcFVBAgUUVMLBb1M5ZtwIKKHDYAqXl2Yffx85zv0oINdUgMO1OU9IGZTim7tYOu0LHV0ABBRRQYOEE+sCuf8OuifUn3rB7IbDb2anIwdcEFq6pFqyAAgoosO8CVZ6SqxE5QeIM17/mL3HDrd9EV/q31vvh/fm5701wAAUUUECByxYwsLtsQk+ggAIKrKbAbNPu536Lhx78So4PTjIJz5I4xrRbIzanqLuN1YRx1goooIACClyGwIsDu36PnU9fEtPA7jJw/aoCCiigwPIKpJbRYMR0ksnDhnvu+1na5sZZTjcwsFvevjszBRRQYMkEDOyWrKFORwEFFDgogW1a1ruGRx/6I1Q7H6G0A8qwYpIvMOBqyDsHVYrjKKCAAgoosDQCKYyhDGdv2L0Q2L14SUwDu6VptRNRQAEFFNhDgS5NOVIfJ+XzHLv2q3j9G7+PbvZWeiaUSOWKmHuo7akUUEABBfZLwMBuv2Q9rwIKKLDkAoltqrLOhQu/zDMPfwfDyZWEwRrT8BhNuZZSxksu4PQUUEABBRTYe4GXesPuxUtiJvwvjnuv7hkVUEABBZZBoMnH2C6b3PeFPwfDm6j6fevihEkeMIz+/FyGHjsHBRRQYNkFDOyWvcPOTwEFFNgvgdLShQbSFk88/E005/8LoRyjqyZkniWU4/s1sudVQAEFFFBgaQU+W2C3vR3dw25pO+/EFFBAAQUuRyCESMkVayfu5U1v/WG63FBnoOqYhsjAPewuh9fvKqCAAgockICB3QFBO4wCCiiwdAJTmA46Omrysx9m86kfhHaHOHgFW9P7qePVSzdlJ6SAAgoooMB+C/SBHWVAHSqXxNxvbM+vgAIKKLA8AimQmk3e/JafYHDybVSlIeQEuWLcTBgxXJ65OhMFFFBAgaUVMLBb2tY6MQUUUGB/BTogpi0iR4Dn+J3738UV0y1iHPBseI6Nbm1/C/DsCiiggAIKLKFAjv2ilzUhFwodMRZSGbG1VXNhs/+9Zgln7ZQUUEABBRT47AKz8K0O5K4mM4E4oo5QOEeevpLUbPOKq76c19/2NyDWtGGTqtogJWiq/lW7fj87DwUUUEABBeZbwMBuvvtjdQoooMDcCsxuecoL5W2xefpf8vQj7+FYcxtn8mnW/A+Kc9s7C1NAAQUUmF8BA7v57Y2VKaCAAgocokAokGtCLHRdS5yFcBWlheGo4Vwa8Lbb38f61e+E0C8hvVtrKIXQ72XnoYACCiigwAIIGNgtQJMsUQEFFJhLgecfUux/6Y+YzvLw7/4pqvZJSqiBNJdlW5QCCiiggALzLGBgN8/dsTYFFFBAgcMSCBFyN6QKO+QMoZrS71uXJsepRk9RXfFHuPOO90MZksMEwpCUW5rYv5nuG3aH1TfHVUABBRS4NAEDu0vz8tMKKKCAAi8IzO55OsbE2V+DAltP/xJPP/U9HK+PsG1e57WigAIKKKDAJQsY2F0ymV9QQAEFFFgFgVKRUqGuJ9T9PuoJqrpQwhptO+Xme3+MK4/fPXsLr9++gTghUhFLDaEFV4BZhavEOSqggAILL2Bgt/AtdAIKKKDAIQnM9u/eoWVAoCIwoRlPeeyhbyC2v0bKNx5SYQ6rgAIKKKDA4goY2C1u76xcAQUUUGD/BDINuZ0wHPaLubSEfJIcN2mrKVdtfAU33/ODJCZU+QgpMHsTrw/pQqkJwTfs9q8znlkBBRRQYC8FDOz2UtNzKaCAAqskkDpylehoiKTZFt4xNVw49Uuceuq9NOH4Kmk4VwUUUEABBfZEwMBuTxg9iQIKKKDAkgkE6tnedWujhun4HFV8JdvhLCkOeMeb/gH1VXdBvxQmQ0qBftu6/h61MIY86re181BAAQUUUGDuBQzs5r5FFqiAAgrMqUDKdFV/ExSJ/f7fod+1rlBPHufJh/46afybc1q4ZSmggAIKKDC/AgZ289sbK1NAAQUUODyBEsZU6QSxamnTNiVuMI5TTl7xhbz5jX+bLlbUs1AuU0qZrQJD6AO7KZTBLMDzUEABBRRQYN4FDOzmvUPWp4ACCsyrQIEuQOjob4UoVWESEiMSm0/8PGdOfWBeK7cuBRRQQAEF5lbAwG5uW2NhCiiggAKHKJA4zVq4ifH0NMNhzWbeJg2GfMEt38UrrvrjULe0bU3T9DvYVZDj7it2s9Uw3cPuEFvn0AoooIAClyBgYHcJWH5UAQUUUODiBZ75rbewVQaM4wXqMmWjHKMugUl6km5QU6VjF38yP6mAAgoooMCKCBjYrUijnaYCCiigwCUJDKoRW91ZmnqDkM4TcmDtxBfwxrf8HNOmYXBJZ/PDCiiggAIKzKeAgd189sWqFFBAgYUX2Hn0B3n83L8ll6dY45WU9jmG9VG6nEh1S0huIrDwTXYCCiiggAJ7LmBgt+eknlABBRRQYAkEqrhG220RS0UVR0x4kNtv/SmOXfcHaCto+vUvPRRQQAEFFFhwAQO7BW+g5SuggAJzK7B9P7/74F/gWGwJkx1yvxRJMyKVGsKUkPulSjwUUEABBRRQ4MUCBnZeDwoooIACCryEQGmoS0fJAyZssnHVbdzx5p+frX7ZkamDD4R63SiggAIKLL6Agd3i99AZKKCAAvMpUOCJJ95Pd+5nGU4DmXXaOlE4SkmbVD4BOZ99syoFFFBAgUMVMLA7VH4HV0ABBRSYU4GcYFRDzCPO5id445t+hiuvfQep37HOl+vmtGuWpYACCihwqQIGdpcq5ucVUEABBS5KYAIMp49x/0fv5Wg6TlcSbbVJjNdQ0nNUZeOizuOHFFBAAQUUWCUBA7tV6rZzVUABBRS4aIGUaerEJJ3l2JXv4g1v+vuMmx2ast6/ZIfPg160pB9UQAEFFJhjAQO7OW6OpSmggAKLLDAGRqXjuSc+wNNP/RBH61vI4RQptFTNBmFSL/L0rF0BBRRQQIF9ETCw2xdWT6qAAgoosOACTYlMGDOOY976pn/FxtWvJ9Nvs7BGLAZ2C95ey1dAAQUUeF7AwM5LQQEFFFBgXwT6W6eQJ1TdJh+5/2tYz+do6NjpHqMevQKm/aZ2HgoooIACCijwYgEDO68HBRRQQAEFfq/AiIqzZYeT176LN73hB0jxAhVr0O+R3gd2bmHnZaOAAgoosAQCBnZL0ESnoIACCsyjQMpjIiNCnnL29C9y6um/xlXxNrbaTabVhP4JSQ8FFFBAAQUU+FQBAzuvCAUUUEABBV4isEuZs3XmzW/+5xy98mZin9B1LcRmltcFby+9bBRQQAEFlkDAwG4JmugUFFBAgXkU6N+wi2mLyBHgOX7n/ndxxXSLGAc8G55jo1ubx7KtSQEFFFBAgUMVyKEiskMIDSHV5JAoVWZ7a8C5swNKDIdan4MroIACCiiwHwIhrUE9IZUtqrhBzgNK2qFpBrRtItXwiqu+nNff9jcg1rRhk6raICVoqn71FhO7/eiL51RAAQUUOFgBA7uD9XY0BRRQYGUEZrdM/aOOs2OLzdP/kqcfeQ/Hmts4k0+zRrMyFk5UAQUUUECBixX4ZGAXCGlkYHexcH5OAQUUUGChBQoZ0hFCfYGuaxnUJ5m2/bKXkcFwwLk04G23v4/1q985e50uP//8SiiFEHyYZaGbb/EKKKCAAp8QMLDzYlBAAQUU2B+B5x9yfGGnupjO8vDv/imq9klKqIG0P+N6VgUUUEABBRZYwMBugZtn6QoooIACL1ug0ELeoAodqX+zbgjTaUssx4jNJtWVv58773g/lCE5TCAMSbmlif2DoL5h97Lh/aICCiigwFwJGNjNVTssRgEFFFgigdk9U0e/k13/16DA1tO/xNNPfQ/H6yNsm9ctUbOdigIKKKDAXgl8xsBue8j5s4NPvFGwV+N5HgUUUEABBeZBoPRvylVblMkJBlVDio8QwwaUk6TUcdO9P8qVx++GXNNvv0CcEPv370oNoQVXcJmHNlqDAgoooMBlChjYXSagX1dAAQUU+AwCCXK1Q8uAQEVgQjOe8thD30Bsf42Ub5ROAQUUUEABBT5NoF/iKzKdLe8VcjN7Z2C2h52BndeKAgoooMASC2QaqvoZ8s7VjAYN4/ZJmuEGO13h2hNfweve+v0kJlT5CClAFXZmIV0oNSH4ht0SXxpOTQEFFFgpAQO7lWq3k1VAAQUOUCB15CrR0RBJsy3AY2q4cOqXOPXUe2nC8QMsxqEUUEABBRRYDIHdwG6bEJqXCOxqcuh/onoooIACCiiwXAIhVuSyNQvk+mUxJ9OaPMqkcIT73vijVFe9GfqlMBlSCvTb1vU/EQtjyKN+WzsPBRRQQAEFFl7AwG7hW+gEFFBAgTkVSJmu6m+iIrEwW8IrUagnj/PkQ3+dNP7NOS3cshRQQAEFFDg8gd8T2IVEiZntnSEXzo5IhMMrzpEVUEABBRTYJ4E+cCttoKoyOVd0IdLWkVe98qu4+fV/hS5U1LNQLjNbPpOK/kdiYQplMAvwPBRQQAEFFFh0AQO7Re+g9SuggALzKlCgCxA6+lspSlWYhET/nxo3n/h5zpz6wLxWbl0KKKCAAgocmkCJgVC2PvmGXUizH6R9YHf+zMDA7tA648AKKKCAAvstULo02we9LtcyGT5OG47zjrs+SLN+C8SWtq1pmn4Huwpy3H3FbrYapnvY7XdvPL8CCiigwMEIGNgdjLOjKKCAAgp8msDHP/qHaTbPE6tnaJsrmE4/zhX1EboWtqsBTWk0U0ABBRRQYOUESqyJ7JBzouYoiZYcE9N2jTPPVi6JuXJXhBNWQAEFVkOgiUO2yiPU/V7nZZO6mnDdtV/Hq17/LewMAuvUqwHhLBVQQAEFVlrAwG6l2+/kFVBAgcMT2HzuQzzz2A+wHq5gnM9TSmbU34SFbcZxgzqnwyvOkRVQQAEFFDgkAQO7Q4J3WAUUUECBQxXIZUoTr2IyPUvTDMg03HvvT8P69YzjgNGhVufgCiiggAIKHIyAgd3BODuKAgoooMCnC5RtHnng62k2f2u2pEnHiFxaqqqmixOqVDRTQAEFFFBg5QQM7Fau5U5YAQUUUKDfQiGMqbtXEthhWj3N9a/6Dl7z+X+J/q4wRXy/zqtEAQUUUGAlBAzsVqLNTlIBBRSYP4FcYHL6P3DqiW9grVxDFwrTsEko15Pjx6jSsfkr2ooUUEABBRTYZwEDu30G9vQKKKCAAnMp0K+vUreR4bBi0jTcc9e/Jq0dp3+Oc9DvVeehgAIKKKDACggY2K1Ak52iAgooMI8C4/6dumngqUffTXvh39HEo7RVYNpV1PUmsduYx7KtSQEFFFBAgX0VMLDbV15ProACCigwpwKpKwybAdP4EDdc/0Ncd9PXMY0QaGlyA4Z2c9o5y1JAAQUU2EsBA7u91PRcCiiggAIXLZAYU5URkwv/mUce/lo2ciSFI2yV/8p69SZI7mF30Zh+UAEFFFBgaQQM7JamlU5EAQUUUOASBEKItBnC2jpvv/PDlNFxUuyItMS01u+i4KGAAgoooMDSCxjYLX2LnaACCigwpwKlYxpqajqefuT7SKf/N0IcM60eo0m3Utie08ItSwEFFFBAgf0TMLDbP1vPrIACCigwvwKjCs6mAa+7+a/w6s/7E7NCu7xDXdVQmv5VOw8FFFBAAQWWXsDAbulb7AQVUECBORVIsNUvcRI6hhf+C0/d/+1U9f1Q38JkPCFW0zkt3LIUUEABBRTYPwEDu/2z9cwKKKCAAnMskM4Qjr2Fe+7754y7SB/gkYHYv3bnephz3DlLU0ABBRTYQwEDuz3E9FQKKKCAApcicIEpR9juIicinH74exmf/RChyVzIJzkSOkrp79A+w1FcE+VStP2sAgoooMBiCBjYLUafrFIBBRRQ4NIEYr1ON9mGaoc6nKRL25R4BriSUiIX8uN8yZ3/gtHJe2efyWFttktCXbUE37C7NGw/rYACCiiwsAIGdgvbOgtXQAEFFlygtOTQ0L9HN8oT2Pk4jzz8Z6hzxThnGtrPPkEDuwW/ACxfAQUUUOClBAzsvC4UUEABBZZRoE2FuuqIYUhIA0Lcob+lm046qmHk6JVfwhtu+nYYXUepphQGlAJV6KDULom5jBeFc1JAAQUU+D0CBnZeFAoooIAChyPQMds4PAeIdJBqnnvqAzx7+tvZKG8lhQufqKvfgPyF4xNv3RnYHU7fHFUBBRRQYF8FDOz2ldeTK6CAAgockkA3u+drGdVrlHaNqp6y052lrq9hmre4/a6f5PiJO/ubQ3Jo6R/h7O8CZ/eKuZ79vocCCiiggALLLmBgt+wddn4KKKDAvAr0q12GDDmSK2ZPT8bxKe5/6Ms5Oin0t2ghBGZhXUgGdvPaR+tSQAEFFNhTAQO7PeX0ZAoooIACcyIQ6obp5DlG8SoiiVy2aUsL9XGuPPqF3HL3DwJ1H89B7P9eE2Zv2LXgkphz0kXLUEABBRTYbwEDu/0W9vwKKKCAAp9BoJ2Fdf1rdm1sSTSM6Nh+5hd55sn3UnHN7HufeLvu+dDON+y8oBRQQAEFllnAwG6Zu+vcFFBAgdUVKKxBeJZBex2leYqU+qUwr2QMvOP2nyZfcTOF/sHNCTX1LLAjQx37rRLC7v/3UEABBRRQYMkFDOyWvMFOTwEFFJhfgcnuk5IlkGPHlIq6dNTdJg/c/+cYdk89X/qL3q578b52Lok5v621MgUUUECBly1gYPey6fyiAgoooMAcC7QpMqiGxHJ2VmUKQy5029z42j/PTa97L7nuKP0qKxSgmS2G2S/IQmxncd3u73kooIACCiiw3AIGdsvdX2engAIKzK1ASomqCrRtomoaWnYY5rX+1o3TT3+Y8bN/Z1Z7KYXSL5XSHy9aGnO2Q7mHAgoooIACSyZgYLdkDXU6CiiggAIzga4UBvkYVB+Hci0dDTv1Ud5x7z+gGbyO+Inbuz6l6/9X02d3fXwXwu4SmR4KKKCAAgosu4CB3bJ32PkpoIAC8yowe1py91Ys9ndhLxy5XypzyhMf+VJK6T4R2PXBXYj9p3eXySx59zlLDwUUUEABBZZJwMBumbrpXBRQQAEFXhAIDGdLYjJdpx4O2UwdN73+3Vz3mj9JihvUfSbX75gwu82b9jd9uyuy9PFd2P0jDwUUUEABBZZdwMBu2Tvs/BRQQIEFFZic/n957MmvZdg+TV67kmmBuu2o01FKcwrSiQWdmWUroIACCijwmQVSaKkZUtikYkAq65RqzKQtPPfMUUr0gRWvHwUUUECBxRPol7vsg7dBCaRppDt2Lfe+8ychXUsVWoguebl4XbViBRRQQIG9FjCw22tRz6eAAgoosDcC0zM89cT3Mj7/vwMV1Jk0HrE+OEqbnySUI3szjmdRQAEFFFBgjgQM7OaoGZaigAIKKLBnAiVHMtuM6uPsTDpufeO3c/K63w/VcWYLqfgK3Z5ZeyIFFFBAgcUVMLBb3N5ZuQIKKLDcAqVjeuG/8eBjf5GN6QjKk5TmOlJXU/EcJbiHwXJfAM5OAQUUWE2BHBNVaXzDbjXb76wVUECBpRXo97BbDzXTNGZ0/D7uuOfHIAVoIh3RHeqWtvNOTAEFFFDgUgQM7C5Fy88qoIACChygQIYcefjR76Q++7/S5I6ydoLz24kjVSTRHmAtDqWAAgoooMDBCBjYHYyzoyiggAIKHKxACWPW40k2p5vcevuPccUr3rlbQNUxpmZ0sOU4mgIKKKCAAnMpYGA3l22xKAUUUECBPo4LdHD+MR5/9F0M8zmmeQjVgKpryCGJpIACCiigwNIJ9IFdzYBcLnzKHnbTLvDcMxuz/X88FFBAAQUUWDSBPrALuePoya/gC97yw3Sloq76tTAz4zAwsFu0hlqvAgoooMC+CBjY7QurJ1VAAQUUuFyB/tZtyiajtMGzT/w9Lpz9W9CeYDQ8TtudJ3hLd7nEfl8BBRRQYA4FPtMbdgZ2c9gsS1JAAQUUuGiBUgrTKnP37R9k/eo3kfKEKu5uXNdS0+ATKReN6QcVUEABBZZWwMBuaVvrxBRQQIFFF8iUEgkhk7ae5tEnvplq57ep01Gm9TYxV4s+QetXQAEFFFDg9wh8psCuTZHnnjlKon+kxUMBBRRQQIEFE+gqrrzhj3Hzre8hEagIlJIIoSLnjhjdo3zBOmq5CiiggAL7IGBgtw+onlIBBRRQYA8E+hUv425oV+g4f/rn2Xrq+wmTDabDo1R5ew8G8RQKKKCAAgrMl8CLA7tYajIbUE2ZJgzs5qtVVqOAAgoocAkCIUfueecv065fTUVDLFAKhP7Fuv+fvTuBtuy67zr/3fucc4f3Xo2qQZat2bIk27KswfKQhKYZmrWywtDQkJBuMpoQB0wmEhuaACtkMI4hzkQISSCLIXQHaLqBdNMsumnmLIYsIOnGjgeNNakGVb3x3nvO2bvXua8ky7Et26r36t537/fYJalK756z9+d/lqrO+53937mF6AuZXwSnX6qAAgoosKACBnYLWlinpYACChx4gabbgLxlJ0SqHCjrHT75yS+naJ+iHJ+m7j1LDKt0rVVoj0G+RlEkevFWxu1HIN964AmcgAIKKKDA8gnkboVB2qSIq+S0DuEQTfdNzVhz8dwx9/we6/QAACAASURBVHBdvlvCGSuggAIHQiCnSNWu0etvcW2yQV019IrTFKNtuvXhvTd+iLtuf4hevIXUXM/nQiLlhhi61XW77TE9FFBAAQUUWGYBA7tlrr5zV0ABBeZZoPvuZBFoQpfclZSTTeqNf8LT579zuq9dTn1S3CGFqxT5NLFrERY2CByjzZcIeXWeZ+fYFFBAAQUU+KwCBnbeGAoooIACB1GgbjfocxtlUdPES6R8K5N0hl5+HauDw9zzzh9mtXcLsErbQDHtgJlIKdkO8yAW3DEroIACCuyLgIHdvrB6UgUUUECBGxX41D4GidTFce0OJUPOPPPN7Gz+PYbtA6SwSQpnKThFCH0arpHagqLoE7rXNj0UUEABBRQ4YAIGdgesYA5XAQUUUGBXIDTT8C3kFXqxpm1KcsyMq8wbX//tnLjjd3YtVGjb3daXRdH1wuy2QAh0/+v+76GAAgoooMCyCxjYLfsd4PwVUECBORWYAFXO04e3TEvTtcZMgXrjX/Pkc9/GStomTDc8GJNSCblHihOaBGVvlTgZzenMHJYCCiiggAKfW8DAzrtDAQUUUOAgCpTFGjv5SUirDJpbqMIWo1zRO/0gjz76o5BXaFN+KazLuZ1ubxBCuZvVGdgdxLI7ZgUUUECBPRYwsNtjUE+ngAIKKLA3AuMusOt2Mkjde5cNKZakvE0v9Th79ocYXf0+Asfph9OkZosUxxCH08AuVj2KiSvs9qYSnkUBBRRQ4GYKGNjdTG2vpYACCiiwVwK5HZLKdUIc06sPUcUeW6HlzW/9YQYn3kZvN6u7Hsx1K+u6X4jTlzBzt7uBW9jtVSk8jwIKKKDAARYwsDvAxXPoCiigwCILjFOmP11Bx3QjcmLc3acuJ+rJGc5+4msYT36NlXgHIXUp3WVCcZhR25JiTb/tLzKPc1NAAQUUWFABA7sFLazTUkABBRZcIKcufOtRxhHEzLXtTe6+++u458HvYhyh3+Vz08e7dF0iwvVf61bbhbDbKtNDAQUUUECBZRYwsFvm6jt3BRRQYJ4Fuue4uLu6LlJCaqd7HuQ8IhcDRmf/Emeu/CWqtqGfj0E4Ryj67DS5+zLK5APfPJfXsSmggAIKfHYBAzvvDAUUUECBgygQYkGYJMqyT01mpzzEux7/cXprd5G6LeqmK+za6XYH5EgM5e40pyFefb2/ykGcuWNWQAEFFFBg7wQM7PbO0jMpoIACCuylQANNsU4OJRUr0HW47EK8CkYBBjvP8syZP0i9/TFW2jvJnCMWME6JWA6h7QI+DwUUUEABBQ6WgIHdwaqXo1VAAQUU+JRAmKzTr06w3mTuedO7ufWO30kMR4nTQK57ofLFZ7Rqurqueyczh5ai6HYwH0qpgAIKKKDA0gsY2C39LSCAAgoocDAFRt3j3tW/y+VPfC+rZWQnbrJdXKVsbmElHaIO3Vd4KKCAAgoocLAEDOwOVr0crQIKKLAsAt0KOnImTTufMN17LoRI7jag69bIlZE0ucawWiOVd/KOd/wMk7KijP2uccpu+xQPBRRQQAEFFHhFAQM7bxAFFFBAgQMpMGZCv9nhwif/CJPN/0Q5iGyOdxhUQ0LTkK/vf3cgJ+egFVBAAQWWVsDAbmlL78QVUECBuRZ4MZzLedrb8jMDuzYy6Ad26iu86f4Pcssdv5U67IZ1RRt2F9h5KKCAAgoooICBnfeAAgoooMDiCXQdMst2DJu/xn95+ss5zOuIKdCEDTINodv3zkMBBRRQQIEDJmBgd8AK5nAVUECBJRF4Mah7cbq/foUdzQB66wwOPcJbH/lpUhWnuxoUtBRNt8n4kkA5TQUUUEABBW5AwBV2N4DnRxVQQAEFZijQ7XnADjENOXfue9i6/DdZzUNicQvbPEmZjs5wcF5aAQUUUECBVydgYPfq3PyUAgoooMD+Crw8sOvCupcf3b/rUbBDy2OP/hjD408widNt6uh3+9elyo6Y+1sez66AAgoosCACBnYLUkinoYACCiydQBfYhYaUoRxd5WNPvZXVySlS3qQtAjH1lo7ECSuggAIKHHwBA7uDX0NnoIACCiyDwK9fcZfDFidP/S7ue9P30RQNKXTNMBO7T2XdP7uH3TLcF85RAQUUUODGBAzsbszPTyuggAIKzEogZZo4mb6zWSZYv/TnuXzh56DeIVY9YnKThFmVxusqoIACCrx6AQO7V2/nJxVQQAEF9k+g28PuxSPnxMv3sut+PQ2O885Hf4QwuI+mSGS2KSkJDKBbZUe1f4PzzAoooIACCiyIgIHdghTSaSiggALLJpDTNjmuMGkTg2ICTcsnPvGV9OsxbftfiBxbNhLnq4ACCiiwAAIGdgtQRKeggAIKLKhAF9p1YV13dIHdi/vYhRg5cdc3cs9dX89OC1UFRdokhAHkkkls6LmJ3YLeFU5LAQUUUGAvBQzs9lLTcymggAIK3DSBzISQejQhUXZve7YN25f+EWcuvodVTtC23RbnHgoooIACChwsAQO7g1UvR6uAAgoso8DLV9fFoiTGyGNf+vdpwlFywTSai3UNsYIAowCDT9/2bhnZnLMCCiiggAKfV8DA7vMS+QUKKKCAAvMo0DXDrHJL6J4AQw1tH9IW55//E2xe+geU8VZiu06/Kpk0LaNYU1YjinHFMJ1kFDfmcVqOSQEFFFBgyQVSgJSgKurd1Qus0oYtEkMun+teVHEPoCW/RZy+AgooMBOBSb7GsIy09WkmxTpVO6GX+0x6h7nvLd/LiRNfMpNxeVEFFFBAAQUWScDAbpGq6VwUUECBJRJoaChSSbj+pmabWoqYyRv/no8/8z1UnKVMJTFfpG1PkKpDNMUFqiYxCEcZp24fBQ8FFFBAAQXmS6AL7HKO08Aupe7FFAO7+aqQo1FAAQWWVKDaZrwxZHV1yGRSU4UJxMjg6G/mTY9/JzHcsqQwTlsBBRRQQIG9EzCw2ztLz6SAAgoocBMFWkYUaTBtsdIdo3aLQbEKLZw//yNsXf0AQ15LrNenqxLaco02XCXkhl7otrzr3cTReikFFFBAAQW+MIEcAykFA7svjMuvUkABBRS4WQJxQmqPk9ttVovuxcnAC2Te8cRfpXfkbiKuAL9ZpfA6CiiggAKLK2Bgt7i1dWYKKKDAQgu0bU1xfU+EREPOJcV0xg3t+CLPPvXVxPoqK+2AxJhx3CIVQ3LTULyY8i20kJNTQAEFFDiIAgZ2B7FqjlkBBRRYfIGYE3UxJDY1hyNsNBucuvebuPu+99KG3X3rPBRQQAEFFFDgxgQM7G7Mz08roIACCsxKoGH6VJiAzCaBtek7nZN0kR4n2Xz+r3Du0o8zrFt6oaCOV0jxKHWzTsVpCJuzGrnXVUABBRRQ4HMKvFJgd+V8n9qXTrx7FFBAAQVmIBCoaUOPkFvKekJcO8lj7/o7jIojlAZ2M6iIl1RAAQUUWEQBA7tFrKpzUkABBZZBIO2GdSl2gd0O1fSdzkCbGnIcUDY7fPLpbyZd+6esxlum+yvUoWaczzII90NaXwYl56iAAgoocMAEXh7YdavJYzhEG7bIYYXL53oGdgesng5XAQUUWBSBTE0sINVrTLjAQw99gOOnfxdN0UzbYdoSc1Eq7TwUUEABBWYpYGA3S32vrYACCijw6gXydLs6ckgEAkXbQOiaYkbGcUw/9dna+N+5eOZHifXTFPEQk3YTqkSRC0LrHguvHt9PKqCAAgrsl8CLgV0Zx6TUvhTYEde4fK5ikvfryp5XAQUUUECBzy0Qw4C2PkPVu4fe8Yd4y1s/RJ0yVdH9xtS9SmlTTO8fBRRQQAEFblTAwO5GBf28AgoooMBsBNpEKmBCokdJ7NK7CdCHJiYmTFhJPS4/+2fYWv9rkKrpA+Vw5bWMxr9ClV87m3F7VQUUUEABBV5B4LMFdiluk8MqXUvMceq+KeqhgAIKKKDAzRVo0yor8QV2mPDoE3+feOSeaUQXp3sU1FBUN3dAXk0BBRRQQIEFFDCwW8CiOiUFFFBAAaCtaWJFbp/kzCf/EMXmL1OUr6XNR2mLj1O0x2VSQAEFFFBg/gRCC7lHZguKHjkNCHGLnCPXLh1iuwnzN2ZHpIACCihw4AVyHen1K8btFg0jymIw/b2nW+1dkBmQGYU1Tr32K3j9/e+brqmj2CJNVimnyd2BJ3ACCiiggAIKzFzAwG7mJXAACiiggAL7IpAyKXbNMq+xcfF/4tK5H2XIKuNmm7JqyMk3QPfF3ZMqoIACCtyYgIHdjfn5aQUUUECBVyVQhopxM6LqRSaTmkiP4fAw4/EWiXG3JTgpvo53fckPQ+9uUvf+SIYYdiANDexelbofUkABBRRQ4NMFDOy8IxRQQAEFFlega5NZ1OTxDk+f/Va49qv0uEARjzPJ3b/0UEABBRRQYM4EDOzmrCAORwEFFFgOgW6PuknzAoNeRWoigVVCKBmP1xmu9HghjXjj67+D19zx+yFAt+C7W1QXqa8D+ULkctwpzlIBBRRQYD8FDOz2U9dzK6CAAgrMUCBN3/gkRdoImy/8EpfOfSOH24IUxkxSb4Zj89IKKKCAAgp8DgEDO28NBRRQQIEZCKQ8IBbrkHaoOEygT9OMILSkrinmqbfxzkc/SDtehR7TFXYFY2j7xLgNYWUGo/aSCiiggAIKLJaAgd1i1dPZKKCAAgpcF0jUxBwglYyKhl4quXz2fexc+VtUuUfDUCsFFFBAAQXmT8DAbv5q4ogUUECBJRBoU4+i3JwGdrEdTGdcVC1tGFKPVrj/XT/IiaNPkHK3pq6mCMX1FXbt9JmL6B6rS3CbOEUFFFBAgX0WMLDbZ2BPr4ACCigwG4GWEUUekMM2LSvEbt+FzbN8/JnfQ28CIbzYumU24/OqCiiggAIKfFYBAztvDAUUUECBGQhM6oKqGlF2e9VNMkUfRs01mvY27r37K7j9/vfRpDGx6JNops0wux3DCybTVXYUMxi0l1RAAQUUUGDBBAzsFqygTkcBBRRQYFcg50wI4frfuwfKChJcufizrD//kxRpLJUCCiiggALzJ2BgN381cUQKKKDAEgjUbaYsGqowgLYg9yZsjDdZGf4G3vGOPwblPVAkUm4gXN9eII+J9Hd1XGC3BHeJU1RAAQUU2G8BA7v9Fvb8CiiggAIzEUht18Ol28Oue/dzQrfRQpuhCGOe+viXUuyMZjIuL6qAAgoooMArChjYeYMooIACCsxAoCgLxuNNyrxGDCuMmivEw8e57+6v5/Tpr959tirG5NwjdFsPxG6QNeTKwG4G9fKSCiiggAKLKWBgt5h1dVYKKKCAAtfbtHRPkjl3LTB3Hygn7RbjyTZXP/IbqKpVmjyGuEbTblLEVSb5l6l4iJCyhgoooIACCtx8AQO7m2/uFRVQQAEFKHMixRVaEqm+TC8coXfsHh5+4q+yTcWKK+i8SxRQQAEFFNh3AQO7fSf2AgoooIACsxHY3Vch5whdYDd9AzSRmVC3IybP/SQXrv48/XId6kOEcIw6niXQp6RHmi7R81BAAQUUUOAmCxjY3WRwL6eAAgoo0Al0LyzGWNG2Lf3eEcZs8/ZHfwzW7qQuj3K9CaZYCiiggAIKKLCPAgZ2+4jrqRVQQAEFZinw6wK77o3Q6VuhCWhh8xyfPPMdxNG/YBAO03KKUV6nXxwiNGNS6NpoeiiggAIKKHCTBQzsbjK4l1NAAQUU6AS6oG5Y9BjtJEI/cOe9X8Ntd30zlIma2O0I7qGAAgoooIAC+yxgYLfPwJ5eAQUUUGBWAruB3fRH5lNtMa+3cmkTbFz62zx/9ts5Vq1St5FRXqVfrtCOrhBKe77MqnJeVwEFFFhqAQO7pS6/k1dAAQVmJZCKMdWkRwglqX+SJ57466SVQ9PXHWNKxDhtWeKhgAIKKKCAAvsoYGC3j7ieWgEFFFBglgLdo2V3XH+wvB7aTX8pwDjAYNJw5rlvpN7+J8RckelTpFvI6XmIw1kO3msroIACCiyrgIHdslbeeSuggAIzFcjliKLuQdnjgTf8CQ7f+uVMykTOLf1ufZ3vM860Pl5cAQUUUGA5BAzslqPOzlIBBRRYOoHuwbIL60L41JNlzrsM3S81jClTn52Nf85TZ76Vlbb7ObRhRBFXcQu7pbtlnLACCigwHwIGdvNRB0ehgAIKLJlAm2oaRpy69Xfw4EPfP33vccSIHhUxVS+9B7lkLE5XAQUUUECBmypgYHdTub2YAgoooMDNFMjXE7oQrid1L79490shQSp57vz3Ub/wv9GfTEjFZZp4nKL9LJ+5mYP3WgoooIACyylgYLecdXfWCiigwIwFQsrUvdfw2ON/lsHqQ+SuUUkeQy6IsZzx6Ly8AgoooIACyyFgYLccdXaWCiigwNIKdCvtdlfZvdgi8zpFU9AUmRQieeejnPnkH2Y4+X8pirt5IZ9jhbWlNXPiCiiggAIzFDCwmyG+l1ZAAQWWVyCmHe58/Xdw8s7fRyqH08en6bbeKUHh/nXLe2c4cwUUUECBmylgYHcztb2WAgoooMDcCHQL6NqwAwzpNbB95W9w6eKHqZuPUZVvIqYr5KKhblbJqSSUG1SpJOaCIl+gDqfnZi4ORAEFFFBggQQM7BaomE5FAQUUmB+Btt9SbB5iUKxTt4nUH9KES/TyGsU4cOXom/lNj32AWN5K6jqRxJamLehNw7ru5UdDu/mppiNRQAEFFFhUAQO7Ra2s81JAAQUUeEWBtq3JRUXLhD4lpB3OPPUtjLb/Mf30OmgntPEyuSgI4QRt2xBSokePrsVmS62wAgoooIACey9gYLf3pp5RAQUUUIBx2mC1OE5uMkU5IcVA017f77vpcc9jf5xTJ3/rdMsAimYa0eVcUkxX2TVgW0zvIgUUUEABBfZdwMBu34m9gAIKKKDAfAo005VzifFuh5e2z3j9X/Lc+fcynAQia4zSeWI5IcbDTJqSkGuKIlDkVVLenM9pOSoFFFBAgYMtYGB3sOvn6BVQQIE5FUj1mP7qCqPthhh3GJRrjMbdY1DJyWO/ifsf+ZO7YV13FGOgYrqRXei6YnafcR+7OS2tw1JAAQUUWCABA7sFKqZTUUABBRT4YgQStHHa2SWFhkmCQS65duFDXL3wNxlUA+p6TI41bagJIZLihJxrYlyhqH1g/WK0/VoFFFBAgS9QwMDuC4TyyxRQQAEFvhiBfhoyiuvUcUxMPYpxj8Ghgs32FO94/M9Rrb6B3EIouj3rEjl3nUaur8CzJeYXQ+3XKqCAAgoo8KoFDOxeNZ0fVEABBRQ4yAJtA0WxO4MUoOl2ZcgTynqbpz76zYT8z4gcI7BK024SeiNiKBjVE6qqpKhXD/L0HbsCCiigwLwKGNjNa2UclwIKKHCgBfrNIbbDVRjUUK9SMqImcM/rv4Pb7vxqiImUG2Iod1fWdUdIpJSIsfu5e9gd6BvAwSuggAIKHAgBA7sDUSYHqYACCiiw1wKphe65s001oahI1N1OdpAqNq78Qy6efR85XqAfT5Mm3T4O14gMGI37VMNAbNq9HpLnU0ABBRRQAAzsvAsUUEABBfZBoOQQDRsQMrmtSOUVYvUu3vllP0nbtb8MmxRd/0tWoXvU6Vba0QV2u11JooHdPlTFUyqggAIKKPDpAgZ23hEKKKCAAsspkLuVdYm2DcQYCHmdyGFatgmx4NqTP8Tlrb9JWWxR1beT2gvEWNA0x4j9GtrJcro5awUUUECB/RUwsNtfX8+ugAIKLKlAKAfk8QZV7pOrwHY+zFsf/VMcPvpOUlFPm14GMjQ9po1IirrrjzldbdcwoQy9JZVz2goooIACCtw8AQO7m2ftlRRQQAEF5kkg79CE4fTBtGJEyCU0BakMbAU4dO2jfPzMH4b2P7CaH6NunqHsdbuyn6IN65B9YJ2ncjoWBRRQYGEEDOwWppRORAEFFJgngR1qDuWCsqmZFInTd349d977HlLVp05bFHF1uoYu7iZ3wARSb/rPTTCwm6daOhYFFFBAgcUVMLBb3No6MwUUUECBGxBIGa5e+VtcOft99PNzFPEBtvNTVNxCkQfkXN/A2f2oAgoooIACn0MgTAh0v88EckxkxrtfmNfY2aq5urkinQIKKKCAAp8pECd0bf/JJTFUhBDIOU9bLYcI23nEkXScYpIYD47z+G/+K4zCUSJjBrl/PaQTVgEFFFBAAQVmKWBgN0t9r62AAgooMLcCLVsUI3j2wjcwvvrvGISjuyFdaMmpewDuXj31UEABBRRQYI8FDOz2GNTTKaCAAsshkHLXsj9SxN60jWUX1qVck2l3w7uY6eU+bVPy4Jvfx5Hbv4yNPGAYepTdo023vM5DAQUUUEABBWYqYGA3U34vroACCigwtwLdA2/qMdr4Nzx57htZmazR7x5ke+vs1JGy28/BQwEFFFBAgb0WMLDba1HPp4ACCiyFQEqJoigJFLthXUq7LxvSLbtLDIsB1+oLnL719/LgW34A4piahiofotu6zsBuKW4TJ6mAAgooMOcCBnZzXiCHp4ACCigwI4HuobX7AZy7+IOsn/s5jsRE5Djb8TxFe3hGA/OyCiiggAILLWBgt9DldXIKKKDAvgnkYrqSrjteDOu6Vpi7rTEbqiYwXlnlzQ9/mLXDb6VJDb2ihjw0sNu3onhiBRRQQAEFvjgBA7svzsuvVkABBRRYFoEMdYIYoWhe4BNPfwXV1hVCqolVJLX9ZZFwngoooIACN1PAwO5manstBRRQYGEEAuV0Zd1L+9aFQIgFTFfbtXQL7e64/xt5zT3fxFZuWA0lsVt8N90vNbwU9i0MiBNRQAEFFFDgAAoY2B3AojlkBRRQQIGbI5Cop/vVFbFhe+Pv8fSTH2TIBj0CbS5vziC8igIKKKDAcgkY2C1XvZ2tAgoosFcCuZjuWdetqNtdWVeSU0vbdG1DCtZueYQ3v+nPkFdP0nX6L0nE1G1clyHurszzUEABBRRQQIHZChjYzdbfqyuggAIKzKlAIhHy7pummauE5ijPnH0fzbVfYjV9ggnH5nTkDksBBRRQ4EALGNgd6PI5eAUUUGCWAm3aDey6vezIkaZuKYohvWrIHW/8E5w4+WXkkMkhEOnaYVbkNhOKAGZ2syyd11ZAAQUUUGAqYGDnjaCAAgoooMBnEejeOg25ezN1DFTQRhhd4iNP38otzRsZ5esb3KmngAIKKKDAXgoY2O2lpudSQAEFlkagW1XXtk23gx0xRnIqSG3BcHCEQ4eOcd9jPw9hhzQeEnuQ2jGh7JphDmhaKIuloXKiCiiggAIKzK2Agd3clsaBKaCAAgrMVqDby2FCZkBKUMY0De22XviH/NqF386p8DiTep3YC9SjPoN+M93fLtS3QLFBm31Fdbb18+oKKKDAARW4Hth1v/dQdG+OTHb3I8pr7GzVXN1cOaATc9gKKKCAAvspMCFQttsMBhWjncMUXKXf32Qj3sUT7/xF+v1qPy/vuRVQQAEFFFBgDwQM7PYA0VMooIACCiygQPe90e6bpPSmk4vdTg9tJI8+ynPX/hLj8/8zw8FrGI1qetWAHNah6ZO4SC+8lpbRAqI4JQUUUECBfRcwsNt3Yi+ggAIKLKJAoJy2uUwMpk8v3T837HDv/X+cU3f8rumudR4KKKCAAgooMN8CBnbzXR9Hp4ACCigwK4EWclGTKbqmMpAnlLkHOVNP/j1nPv6tFGGbySSxNjzEeLxJ4gVi6BNC1X14ViP3ugoooIACB1nAwO4gV8+xK6CAAjMT6LUFo7hD4FZCukAo1hgefZy3PPrB3RXbBnYzq40XVkABBRRQ4AsVMLD7QqX8OgUUUECB5RLoWpHF7g3VQKKkyWMq+hTTze1qRud+lKcu/hgrxWHKCGnSJ/MCZXUbYz5B0R5fLi9nq4ACCiiwNwIGdnvj6FkUUECBJRMY1A3jasA4bNBLx8hlwSOP/SyDI3d129p1i+48FFBAAQUUUGDOBQzs5rxADk8BBRRQYEYCL7XE7FrHRDI1OQdi6FrNAKNP8tQz76ee/Bu6t1l7+Rg5HyL0RozbixR5bUYD97IKKKCAAgdawMDuQJfPwSuggAKzEhgm2Ckyk3iV2B7innv+CLfd+3XdUwxVG8AGILMqjddVQAEFFFDgCxYwsPuCqfxCBRRQQIFlE+hCukA1fSF197XURMiBEBKkyM7Vf84nL3wtK+M1evSIHKHmMk05oWr7y8blfBVQQAEF9kLAwG4vFD2HAgoosHQCvQDjXDPODUeOPMwjb/3L1P1MYEiZMsSwdCZOWAEFFFBAgYMmYGB30CrmeBVQQAEFbpLAbt+YnDMhBOi2feiOLqyjpaGibODchf+R0dX/i16zRYwFkyaQejuUTXWTxullFFBAAQUWSsDAbqHK6WQUUECBmyUwCQ39PCCHAW9+ywdYPfkITSgoupcQc0X3SOOhgAIKKKCAAvMtYGA33/VxdAoooIACMxKYxnVdW0wyIddABSlA96AbE1shstqNbeMZnjr3+yhHz1FwGw3XaGOfon0x4ZvRBLysAgoooMDBFDCwO5h1c9QKKKDAjAVGxZBi9Gs8cPv7OPnge2jKikCmINO2gaIwsZtxiby8AgoooIACn1fAwO7zEvkFCiiggAIKfDaBxKjdZpDXWL/2C1w690F67fPk4iSjeI1hOyDn3Waan/XIbiLhfaWAAgoo8FkEDOy8LRRQQAEFPotA9zLhdCO6sqGdrJDymNi7As0JYqwYhQusDB/lbW/7SQiHoBqT2G3TH3ebh3gooIACCiigwJwLGNjNeYEcngIKKKDAvAokUtcyM40oWnj+3LezffUfEUKPpl2jF3deeeAGdvNaWMelgAIKzFbAwG62/l5dAQUUmFOBQE2ToAgrkCvacIkQR8R0kiIEtsoJb733Axy97UugLHafVQgUOZDD7t7cHgoooIACCigw3wIGdvNdH0engAIKKDCvAglSTDQt9LrXVXd+hSfP/gHC83+0xQAAIABJREFUTkNMq4Ri46WRh/Cp11lfWnVnYDevlXVcCiigwGwFDOxm6+/VFVBAgTkV6J4pmrRJj2Ok1EKxPl1Z19YQQp/Bbf81D7/x+3f33i5r0jSga4i5hLAJrM3pzByWAgoooIACCrwoYGDnvaCAAgoooMCrEWi7jjQNNSXUUBWwfvEnuHLxZ+ilRJNaQghMw7rQffHuYWD3arD9jAIKKLBEAgZ2S1Rsp6qAAgp84QKprRiubDPaSZQEYnmIpukeRMb0uJt73/a9HD70BtKknG6/PQkjet2zSoI4fX+w/MIv5lcqoIACCiigwEwEDOxmwu5FFVBAAQUOvEDKEBsaAk1b0i8mhKbm7NPvZ7T1C1T51HSKL62uux7aGdgd+Mo7AQUUUGB/BQzs9tfXsyuggAIHVWDaoWOTXm+FemcM4Qh119UjVjxw+3s4/oavIXMNmiPTre6Y/n7Sg9QQu7DOPewOauUdtwIKKKDAEgkY2C1RsZ2qAgoooMAeCnStZsI6cJiabdpcMMh9mqv/gU+c+0Ostt3O7t3xstV13VK8Fw9bYu5hMTyVAgoosEACBnYLVEynooACCuyhQJzQ7GQOrRxnNBlTp5a233D46Lt45C1/llQdZrqcjkjbdcwsIKTuBcKuywe8rEv/Hg7KUymggAIKKKDAXgoY2O2lpudSQAEFFFgegQw5jQixJFPQhu7N1YqYWi6e/2kml396apFzJufrQd3LWmNiYLc894ozVUABBb4YAQO7L0bLr1VAAQWWR6Ctqao1djbXWTl0hK28QVveweOPvJ+11bdThzFV6ENoSDkR6U23swvdMwldu/5u2Z2HAgoooIACCsyzgIHdPFfHsSmggAIKzK1At4Bu+sibGoglk+5JOCR63Yq6ZsLZj/wmcm5eCuy64C7E3VV3XZvMnLoPeCiggAIKKPDrBAzsvCUUUEABBT6LQJEOE9igZZ1cDNlhzGtu/+954A3vp8lQRmiaCWXZPWcUkLu9tLuwrp6GdtON7TwUUEABBRRQYK4FDOzmujwOTgEFFFDgoAqkjY/ya7/2NRwZPE9bBDZHicPlaWJap82BtBv3eSiggAIKKPBpAt1LHSlPCCF8ah/UXNC2mfF4zJWNY4opoIACCiyhwGSwQ7F5iJWiZty9NHjsDbz9sZ8kxKOkMCGG3hKqOGUFFFBAAQUWS8DAbrHq6WwUUEABBeZFoN3i8tkfYf3qj1Gko4R4nLp9lkE4DWGTNpfzMlLHoYACCigwRwKvFNhNJhMurx+do9E6FAUUUECBmyUwzonVbvXcZJXt8gUefeuPs3b8cejaYHaHDTxuVim8jgIKKKCAAvsmYGC3b7SeWAEFFFBgqQW6DSMm5/n4k1/HYPwCud0h9IbU7SX6YY0277bH9FBAAQUUUODlAi8P7F789UBFSjCZ1Fy6dlgwBRRQQIFlFGgTRRyynda59bVfyf1vev80pGsbKKoG8IXAZbwtnLMCCiigwGIJGNgtVj2djQIKKKDAPAkkGK3/U84/8x767RpNb5sUJ8SdFSi6RM9DAQUUUECBTxf49YFdtwdq1+Ys50BdNzz/wppkCiiggAJLKDAINTvtkHZ4ii994qdhcIxJE+lNO+3vQBguoYpTVkABBRRQYLEEDOwWq57ORgEFFFBgTgSanMhEqgxXnnkfW+v/gEl8lrK8hWLnODnWczJSh6GAAgooME8CXWCX+dTvEQZ281Qdx6KAAgrMTqAKNRsp85Y3/wjHX/Nl1GGHkIaUsRvTGLjeGnN2Q/TKCiiggAIKKHCDAgZ2NwjoxxVQQAEFFPhsAt03WNuQiQni+DxPPvO1pMlH6J6n++E22nZbOAUUUEABBT5D4MXArvt7d6TUvrTCrmkSF66sqKaAAgoosIQC47bm+KnfxkNv/QFyyGQmxBBpUyLEgmhLzCW8K5yyAgoooMCiCRjYLVpFnY8CCiigwHwIdB0vwxZtXqXrUrN19X/lwnMfokrXyDEQki0x56NQjkIBBRSYQ4HQ8mJgl7s9T3P3O0lhS8w5LJVDUkABBW6WQDO4nyce/dMUg9uJoSIEoK2hrJjQ0DOwu1ml8DoKKKCAAgrsm4CB3b7RemIFFFBAgaUW6AK5kJmERKJk0FzjhSd/kK3tX2AShlR5d+WEhwIKKKCAAp8hEFpinG5KNF1h1wV2OUeapnUPO28XBRRQYEkFXnvfH+H2u34vqWt9mRKxe55ogV7XELOlP31N0EMBBRRQQAEFDrKAgd1Brp5jV0ABBRSYW4EJO/TykG4bohy2aasV6ubjPPf0/8DhzeeYtCcpej3G+RP04uup60ydn+RQ//WMRusURffKrIcCCiigwLIJ/Po97Lr5BypyDq6wW7abwfkqoMBSCfQYsJEuUvYj7SRzKJ5kPH6WMHg9xcqdPP7On1oqDyergAIKKKDAMgoY2C1j1Z2zAgoooMC+C0zb0jQl003rQksTCgpG7Fz8RS6c/W56rFCnhqLaJOVDkIcUYZ22zZTxNCmv7/sYvYACCiigwPwJGNjNX00ckQIKKHAzBEKK5GJComIYV5jsnKPXP81GaHn74x+if+SJmzEMr6GAAgoooIACMxQwsJshvpdWQAEFFFhcgQYouxY1bEKxxohEL0diDWef+VbGmz9PEQ8R860ELk/3Kkr0aMNZQr6HkLcXF8eZKaCAAgp8TgEDO28OBRRQYIkFcgVtmLa7LIsxO8WE2+74g9x93zdBsKX+Et8ZTl0BBRRQYEkEDOyWpNBOUwEFFFDg5gpMA7sMudkmVCtMgNxCP0Cz9auceeb3E1JJkQeEnAhcJceaxApNHk9/3UMBBRRQYPkEDOyWr+bOWAEFFOgEUmzIkwG9kMhNhl6md+w+3vrIz1KXFRW2zPdOUUABBRRQYNEFDOwWvcLOTwEFFFBgJgKJrhtmmm4IT4w0RNpcUwWIqWLrwk/z7JUfYSVnYl0S2KKsjrPTPEeoThGb6fI8DwUUUECBJRMwsFuygjtdBRRQ4LpAG7qOHIEyVeRyxGaGxx7+y6yeeJRJqOlRaaWAAgoooIACCy5gYLfgBXZ6CiiggAKzEegCu9y2FEWeDiCTyNMIr5z+vBxnnjr/brav/S+s5iP0OUJOFZN4nlDeQWg2ZjNwr6qAAgooMFMBA7uZ8ntxBRRQYGYC3Qq7ImVCvcqkd5Hb73w3d97znTTdwrq4Q8lwZmPzwgoooIACCihwcwQM7G6Os1dRQAEFFFgygU8Fdt0TdoI2Q6xIAUaMWWn7jHf+LU+f/zZ6W+ushmNM0scI8Q2M4nmqtr9kYk5XAQUUUKATMLDzPlBAAQWWUyDERK4htRXDWx7kkcc/QBNPdM06iHkHgoHdct4ZzloBBRRQYJkEDOyWqdrOVQEFFFDgpgkkaqCYbhg/PaYJHtTlFplVGkasEFh//m9w8dyfZ5gbquIko3yJMZv08/GbNlYvpIACCigwPwIGdvNTC0eigAIK3EyB1ELZhXahx0Nv+X5WTv1X09V10/4cXbf84maOxmspoIACCiigwCwEDOxmoe41FVBAAQWWXiB3gV6qCHnER5/7SqqN/8hqfYRURuowIrTuUbH0N4kACiiwlAIGdktZdietgAJLIFDEEU3bJzUrVMMN6jQm1Icp+2PGowlDCiblGide8xW84U3fRZMjMW4R0+rum3+x69zhoYACCiiggAKLLGBgt8jVdW4KKKCAAnMr0AV2mYqYYLTxL3jqma/jZHyAnfFHSFVLSIfmduwOTAEFFFBg/wQM7PbP1jMroIACsxRIeUJRdG0tW5pJJKeSojeiCImY12jCJmX/fh5//HthcDsp9MgJirgD7dAVdrMsntdWQAEFFFDgJgkY2N0kaC+jgAIKKKDApws0tGRC3g3tLp7/C6xf+WsMc4a0QRu6N2k9FFBAAQWWTcDAbtkq7nwVUGBpBHJBYkxkREyvIedMis8T8zGKMrER4M33fTcnX/fbIULT7Wuau79sUORD4AK7pblVnKgCCiigwPIKGNgtb+2duQIKKKDALAW6XC5BW+y+LBvrLT7+5FfRa/4/huOTjOLWLEfntRVQQAEFZiRgYDcjeC+rgAIK7LdArmjzBjFF+sVRcrxG2zaQT1Hnswxe+zt47KHvpZ0UhF4khS632yEynHbENLDb7wJ5fgUUUEABBWYvYGA3+xo4AgUUUECBpRRIpDaSijRti1OmivHG/8OzZ76V4aQkhclSqjhpBRRQYNkFDOyW/Q5w/goosKgCTSooizElQ9p6g6JqyKFk1BYMB3fyxsc/yMrKXaTcPQt0GV0m0lB0SV1dgltcL+qt4bwUUEABBRR4ScDAzptBAQUUUECBGQikvEMM3R4WiUQk01KkgkvnfoIrlz7MkMEMRuUlFVBAAQVmLWBgN+sKeH0FFFBgfwRiqGjSDv2ix3h0lV7/GNvhCnXu88j9f4rjr/3dtGwT4gp1yhSxW30XKEOENrqH3f6UxbMqoIACCigwVwIGdnNVDgejgAIKKLAsAnUeUU1DuQZCOd2jouxa3Uyu8Mmz30W1/m+XhcJ5KqCAAgq8TMDAzttBAQUUWEyBWARSM57uYR3o0RSZHTY5efLLecubvgfyEEpo85hMnxib6Wt9uSkJRbAl5mLeFs5KAQUUUECBTxMwsPOGUEABBRRQYAYC04Cu7S68A0VFnUtC6EK7hp2Nf86lJ791BqPykgoooIACsxYwsJt1Bby+AgoosD8CdXuV1cEa4+0B/fIkV9r/TG/1Ht72lr/AcO2h3RV0OUMM0wG0bU3RBXXE3V8P3Rd4KKCAAgoooMAiCxjYLXJ1nZsCCiigwIEVuHj+Z9i8+CMMmy2a4ih1eZFee4rcbpDKitC1xfFQQAEFFFg4gVhASi05ZwLdyxzdf+8L2rYhJbhwZWXh5uyEFFBAgWUQKIsBo/EGq72SerLBZnWc2+7/Ft5w+1cT0wiiLfGX4T5wjgoooIACCrySgIGd94cCCiiggALzKDD5BE8/836K7acgn4F8N8QdmnSeongdpJ15HLVjUkABBRS4QYFXDuxaLlw5dINX8OMKKKCAArMQaNodepyiKNYZpTHDW97FWx7+c4SiRxG7lzOqWQzLayqggAIKKKDAHAkY2M1RMRyKAgoooIACLwl0rTGv/RJnz30bq5MamsikOERTfYReczeZbbEUUEABBRZQIMRMzml3Zrm4vsKuW3W3u/Lu/OW1BZy1U1JAAQUWX6BpJ/SpKItjXCuv8cRb/gorxx6cdrxs8oQy9BYfwRkqoIACCiigwCsKGNh5gyiggAIKKDCHAt33arsdKy6e/yCTyz9Ovz7FVjkmlZGi3iZgy5w5LJtDUkABBW5Y4NMCO7rfC3ZXXEzbZJI4d/HwDV/DEyiggAIK3HyB7r/h/QCbkx3uuO+7uOuer9n9A39MjIj+6f7ml8QrKqCAAgooMHcCBnZzVxIHpIACCiigADTtdGEFVXuNc5/4OvLoY4zDZUI4SZG2ILuHkfeJAgoosIgCnxHYhUhO3Xd0me5rd/aiK+wWse7OSQEFlkAgZHLXFvPIgzz2yM+RegUxd6vqxoxi38BuCW4Bp6iAAgoooMDnEzCw+3xC/nsFFFBAAQVmINA1Q2to6B7h26u/zLNnvwWaaxASMQwIbbfPhYcCCiigwMIJhPYVp3TmgivsFq7mTkgBBZZCIITIiILHH/vRaSvMTI+Yd8h5lTrW9NzDbinuAyepgAIKKKDAKwkY2Hl/KKCAAgooMJcCDVAyarYYhFUunv0JdjZ+itgEWhIxz+WgHZQCCiigwI0KGNjdqKCfV0ABBeZW4PSd38Dd930TKTREamAIGXKoX2qBPLeDd2AKKKCAAgoosO8CBnb7TuwFFFBAAQUUeDUCI0gDUoSUoRxd4sIz7yZPfpmt9ji9z/MN3VdzRT+jgAIKKDAHAq/w3/dudcZz522JOQdVcggKKKDAFy1QhoLHf+P/wbg4TBUgMmbS9CnLbhu7DHG3/bGHAgoooIACCiyvgIHd8tbemSuggAIKzLNAnpCpaEO3om6Lfl6l3fy3PPnMtzBImzRNoleeYMIFynwXbRrRxH/NsHiI1GySWZ3n2Tk2BRRQQIFXKXDmef/7/irp/JgCCiiwrwJFaqmrhrr7U3wRKLZKhlWgTkfZ5iO88e3/ikNrR+mVw2knjZQgXu9y//J/3tdBenIFFFBAAQUUmGsBA7u5Lo+DU0ABBRRYWoEWun3sUtH9vdvTAphssXX573Lm0vcyaE5RVFs07TYpthQcg1RDXKfId5Dy5tLSOXEFFFBgkQUM7Ba5us5NAQUOskDRRuoyUudNerlPP5W0bWZcjLjjzq/i1vveQ68cAAU5h+mPFwO7gzxvx66AAgoooIACeydgYLd3lp5JAQUUUECBvRNogQCTkCBEYp5Qtj2or/HkufdSbPwbYuyTwxa5vUgZX0OiT9uOiMUJSFt7NxbPpIACCigwNwIGdnNTCgeigAIKfLpAHpBzQ5t2ONS7hdH2C4ThgHF5K1/2jh+DwQm6Rpjd0a2oCyFMf+y+ptcd15fb6aqAAgoooIACSytgYLe0pXfiCiiggAJzLdCtlqNikifEYrq+jrIL8YDt7X/G5Wf/GG2zQS8Oye2YkEeEYsCohVCWFG2e6+k5OAUUUECBVydgYPfq3PyUAgoosN8CbRpSllvkEawODtOwzZU68eijH+LYqXdNA7mc8/THy8O67ueERKDa7yF6fgUUUEABBRSYcwEDuzkvkMNTQAEFFFhWgW1ghZY8fec2TP+XKaY/adk4+2HOvvAT9Jo1BnGNkDdIDBnH8wROU6TxssI5bwUUUGChBQzsFrq8Tk4BBQ6wQB0q+mxR1ANCHDOuIivHfhsPv/X7GIcJVdp9CS+E3cCuW1n3YoAXp70xXWF3gMvv0BVQQAEFFNgTAQO7PWH0JAoooIACCuy1QEOmITCgZTKN7IpcTdtk5q6FzuQSnzzznWxv/B2OxjfS61bjpRdoYkMubqFsbIm51xXxfAoooMA8CBjYzUMVHIMCCijwmQJt2VKME8Oyz1azRVh5PY898iGqtbtoQ0tJ+bIPfSqsC6G4HuCpqoACCiiggALLLmBgt+x3gPNXQAEFFJhPgQw51LutcXLXHrM7dgO7bs+LmGHz2v/N85e/n2J0jmE6woQLtJygKbfoNb6hO5+FdVQKKKDAjQkY2N2Yn59WQAEF9kugDTVl26cqGsbhBPc88A2cPv3fkcpE/LTVc58lrOu62XeL7jwUUEABBRRQYKkFDOyWuvxOXgEFFFBgXgVSfllTnOvb0WW2aUOizGu0AQpqrp7/ca5c/jBVEwj5JKkcM+Iyw3R8XqfmuBRQQAEFbkDAwO4G8PyoAgoosI8CTY6UqYHYcOj4b+RNj34PKR4hpt0X6brO9tPOl10rTNquf8ZuG8x8/YW87qceCiiggAIKKLDUAgZ2S11+J6+AAgoocGAF8hakVQjrfOyZryVu/CrDpiTG4+zEFyiTT/wHtrYOXAEFFHgFAQM7bw8FFFBgRgJ5kxh7NE2PHIYUZabJl4Cu3eVhVptbuMonqYcrfNnj/yfVykmaDGW3cq57Ac8GGDMqnJdVQAEFFFDg4AgY2B2cWjlSBRRQQAEFXiYwBvrTh//xxr/kk8+8m5PFXeyMnoVqHdqjaimggAIKLKCAgd0CFtUpKaDAwRBoa3JRdH3rCZTTfecSEwKRnPpUZEbFRe65509z6+2/DapjNG1DL5YQpuvrDsY8HaUCCiiggAIKzEzAwG5m9F5YAQUUUECBGxDIDZmC3H2LIMHF8x/m2gs/xUo7BM7TcssNnNyPKqCAAgrMq4CB3bxWxnEpoMDCC+Rq2s4yUpNoIJUUcUgI3aq7mu1widte81t44MEPQzWh6X49j+mFPnG3IebCEzlBBRRQQAEFFLgxAQO7G/Pz0woooIACCsxGIO3uddGW3V52ECfrfOypr6RX/yrD+iTjUM9mXF5VAQUUUGBfBQzs9pXXkyuggAKfWyAOyM2EMrbkdkLOgV51hJxbJu0W24MTfOnDH6J3+KFuER5NhG4NHtREutDOQwEFFFBAAQUUeGUBAzvvEAUUUEABBQ6iQIacoZ0++deUuWKy8c949ux7GY5LWgzsDmJZHbMCCijw+QQM7D6fkP9eAQUU2B+BHCtyM6aKgZAzOWdihFGqCSFy+t5v4d673k0O2+S4QksX2HXr6hqgNLDbn7J4VgUUUEABBRZKwMBuocrpZBRQQAEFlkUgT/fLKKdNedL1v8a25Mr5H+bSpb/IkMGyUDhPBRRQYKkEDOyWqtxOVgEF5kigpSA1Gwx6A4rUBXITatap8xqHj7yRR972YYhrNO2YWPSnf0LvFtiV0xfsbIk5R6V0KAoooIACCsytgIHd3JbGgSmggAIKKPC5BXbSiGHsQQrkkGhDQdm9xltf5Kkzf5Ji81/Lp4ACCiiwgAIGdgtYVKekgAIHQiDlAW06z6BaJbZr1GHMJOzQHz7G/fd8FUdP/zc0eYcyDklhd1VdbqDo+td3gV2wKeaBKLSDVEABBRRQYIYCBnYzxPfSCiiggAIKvFqBCdDL3bN/Pd3Ers3V9ZY7NZNrv8SFp7/l1Z7azymggAIKzLGAgd0cF8ehKaDAQgtEjjFJT9ErC3J9lBRrRmXi1C2/hzc99F00KVMWZfc+3TSgiznu9rAPLaTrG08vtJCTU0ABBRRQQIEbFTCwu1FBP6+AAgoooMAcClw+89e5eukHWeMKk+Ik47DNIJ+myFeZpHW6bzh4KKCAAgocPIHnzh8ihOl3g3e/CeyhgAIKKHBTBAIj6twntZleb0wvHKatbuVtX/LX2Y4DVm7KKLyIAgoooIACCiyygIHdIlfXuSmggAIKLK/A6GmeeeY7KcbP0IanSZPXU1Q1OZ+fhnU5d/toeCiggAIKHDSB5y6sfCqwO2iDd7wKKKDAARbI3aq5UJJpCXmFSdriS97+U+SVO2l7x+kd4Lk5dAUUUEABBRSYDwEDu/mog6NQQAEFFFBgbwVyw+Tav+PJM+/laI7sjDYoeidpi1+hqu8jhZ29vZ5nU0ABBRS4KQK2xLwpzF5EAQUU+AyBOiVWez3aMew0O9x+9x/g7ge+DYqGmoLdBvUeCiiggAIKKKDAqxcwsHv1dn5SAQUUUECB+RWY7m8Hly/9RTbOfYCV4gSb7SWqwS2w3ULRfYGHAgoooMBBEzhzcQVyIOf80kq7EOJ0Gq6ePmjVdLwKKHCQBJqwQy8NoQ3E1dfw+BM/R9M7DLH7o3VLCMVBmo5jVUABBRRQQIE5FDCwm8OiOCQFFFBAAQVuVKDreNntcx8nO5x7+mtpdv4DdXEZ2tcyyH1a6hu9hJ9XQAEFFJiBwNlLq6SUpuFcoJiGdgZ2MyiEl1RAgaUTaOOI2PZJIfDIw9/HyonfwiR2/z1u6VPhAruluyWcsAIKKKCAAnsuYGC356SeUAEFFFBAgfkQSN0+GymQtv4zH3/u6+nlTdrxhGF1mrbdno9BOgoFFFBAgS9K4NzlFVKClNrp57r9lF4K7FKAsPvrHgoooIACeyvQUlDnHW5/3e/g3gf+FClCy4RIpMg9A7u95fZsCiiggAIKLKWAgd1Slt1JK6CAAgosvEDX8TKk6TcRijTg2uW/xqWzP8RK6NHkycJP3wkqoIACiypw/sruCru2TdMpvhjYdSvucoqEuPvrHgoooIACeysQGJJ6p3ji7T9ArO6dBnZFqEkpEGO5txfzbAoooIACCiiwlAIGdktZdietgAIKKLDwAs0Eih51qGmpGIw3uPT0exhv/Sua4ggxuwJj4e8BJ6iAAgspcOGFNdq2pW2bLq4zsFvIKjspBRSYR4GQWu598Ls4/rrfTRNLyjzdvm76ktz1f5rHYTsmBRRQQAEFFDhAAgZ2B6hYDlUBBRRQQIEvXGCLnFbpuqMlRlR5QNr6T3z02W+gnz9Bv76XUPQZ8Z/ohUdo2m3adIW1wa1sb29QltNvP3gooIACCsyZwMUXVqjrhm5pR4wVOQe6pmzd0e2jlGMxZyN2OAoooMDBEMjNUaryeWIq2W4L0uo1Uvfi2/YxVovLbN76VbzzLX8ImhPQdbOorq9sDlDnlsr//h6MQjtKBRRQQAEF5ljAwG6Oi+PQFFBAAQUUeNUCuSXlYtqqBxrK7v3fcc3mlb/Ns1f+DMfSUSbpGkVR0YQdQvM6yt4Z2skqRTxEmzZe9aX9oAIKKKDA/gkY2O2frWdWQIHlFmjzNrE5RtXr2g6PoDdgwiUYneLo4CR3vv39HF55CNr+7oK6MKZ7f6Iq+7jGbrnvHWevgAIKKKDAXgkY2O2VpOdRQAEFFFBgngS6xRYR6jAm0KfILaEtIE146tz74OrPE8MqIZ0gcJUYC3Lo04anIT1IyAZ281ROx6KAAgq8KGBg572ggAIK7I9AKF9gMr6Ffjkg5Amp2YRqhZ2ww/33/Elec9d/Cznurq4ruohuTJ0aqjgE3MNuf6riWRVQQAEFFFguAQO75aq3s1VAAQUUWBaB64HdhE1iWNvdXyNBzLAz/hWef/KroRkSmVCkwxCeIofhtIVmk7sVeSvLIuU8FVBAgQMlYGB3oMrlYBVQ4AAJ5LBFE6FoTtOnJjRb7OSG1Tu+hIff9EOEdmWa1YWqC+u63K4lvLS2rjpAM3WoCiiggAIKKDCvAgZ281oZx6WAAgoooMANCKQunAvQhnr6xm8g0OYRZSgIuWLr/M/y7JUfZjWtENMmtCVlPzKquzeJ14jN7n5IHgoooIAC8yVgYDdf9XA0CiiwOAJNOyFWkdwOqGjohz7bseHhx36G8uiD9KZ9L7u/tORUkbs/b5fdzxPkErotRT0UUEABBRRQQIEbEDCwuwE8P6qAAgoooMC8CnTfQCC0hFCQmZBzhtAnU9Pmit4Inr74brav/SKreUgvH4VUMikuQbyN0F6ZZI6zAAAgAElEQVSb16k5LgUUUGCpBQzslrr8Tl4BBfZRIERo6wriDmVeYxw2eP197+U1d3wdo6JhMG17OZ72nU9tNX05rmtj0bY1RawM7PaxNp5aAQUUUECBZREwsFuWSjtPBRRQQIGlEpg26kkNMXRv+za7c88lKSTGacIwDxhv/0eeef6bqTYyw5CZNBeJ1W2MuUyVbeuzVDeMk1VAgQMjYGB3YErlQBVQ4IAJlFWPZlRTFFu06QS9ow/w6Nt+tFtG173yRpEyIWZSy8sCujR9MS6nglgcsAk7XAUUUEABBRSYOwEDu7kriQNSQAEFFFDgxgUaaiLVdM+66WYb3Y8IdRgT6DNhPN2lbuvSL/D8uR9k0PYpixXGeZNxWKeX1m58EJ5BAQUUUGDPBQzs9pzUEyqggAJTgbaJ9MsRRWgYxRUefuinWDn58PVd6sY0qU+M0z9ST4+Ux4SQCfRIbTSw8z5SQAEFFFBAgRsWMLC7YUJPoIACCiigwEEUGJPbPl3rnzPnvpvxpV9kkHZo85AwWCNPtg/ipByzAgoosPACBnYLX2InqIAC+yTQY8BO+wxldYKUVqnTFXollG1JaneoqpNMmhdoemscv+2ruO+BP0q3G3RMW/TzKriCbp8q42kVUEABBRRQ4EUBAzvvBQUUUEABBZZRIHV72gUIY5qNj/Hs2T9Kb3KF1OyQ4hEiO8uo4pwVUECBuRcwsJv7EjlABRSYU4EePcbpKiGukEMP4hZFCBSTQ9O2lolrhH4feq/nbY//MKl/bLq6rpy2qUhQdXvYeSiggAIKKKCAAvsnYGC3f7aeWQEFFFBAgfkVaHdbZKbQvTUMO1f+LmcufDfD9hQ0W6Si66HpoYACCigwbwIGdvNWEcejgAIHRSDmYtrSsm7DtJUlxSaprSjTLYTpi2wX2I5rPPbwX2DtlrdB7PaB7kK6Lrbbje48FFBAAQUUUECB/RQwsNtPXc+tgAIKKKDAvArkhpxKmghFqIlNyZkz306z/o8Z5IKJed28Vs5xKaDAkgsY2C35DeD0FVDg1Qu0gbIsaVIi05ByA6mkqoakPKJuxtx+zzdw1z3vhaqe/rvp220FNKGhNLB79fZ+UgEFFFBAAQW+IAEDuy+IyS9SQAEFFFBg0QRq2roiVZlApqSFrYt84tmvpDe5DNlNOhat4v8/e3cCbVl23/X9u/c+59773qupu7paPaoHtUZraKm7JbVETAQmDgQCxDYY2Vi2scEGITwJDMbYBmSEjQcMxhA7sRNjxwGSZXDwWsSQrEBIAiQspsS2rFaPVV3VNXRVvenee87ZO+vcVy3J1tBV1fXq3eF7ekkqdd97zv5//mf1uuv8zt7behRQYDkEDOyWo49WoYACByAwm1mXZzPnIkPaHIlVgWrMeHKB9fX38dgjP0g3XCPEIbGfVddFCDAOE0ZheACD9pIKKKCAAgoosEoCBnar1G1rVUABBRRQ4NcJ9Mv8RNo+rOsX+ck12xd+nudOfSfrzrDzXlFAAQXmUsDAbi7b4qAUUGABBGKo6ZptYpUJZQNKTak3mXbbdPkW3vrw93Hr7e+a7fM8niZGgwilAWr67Z/75TQ9FFBAAQUUUECB/RQwsNtPXc+tgAIKKKDAnAq0JVMFoERK2KLjECVPqMuQ5577M5SLvzCnI3dYCiigwGoLGNitdv+tXgEFrl+gD+yaboc6FbrpiJQSbTrDtDvO/a/6Eu5/+NuATWgO06UJJQ7p2GXI2t4WdgZ214/vNxVQQAEFFFDgqgQM7K6KyQ8poIACCiiwXAINU+puAP1MuiozoSXmAXXcgulzPPvLX7ZcBVuNAgoosCQCBnZL0kjLUECBmy6QZ3vXdYzqEe1uIA0L0/gMg/Q4jz7yfUwP3U+dZytgzv5rGnbJDBmUhpiHs73sPBRQQAEFFFBAgf0UMLDbT13PrYACCiigwIIKtJv/lo997Bs5NnqaJgV2J0c5XB0jdk9TOEZXZo8yPBRQQAEFbrLApwd2IfRPjxM57C1tnEtLDNVNHpGXU0ABBRZEoEwh3sq4Pcnh+hZKe5GmPsLdr/lm7n717yf583ZBGukwFVBAAQUUWF4BA7vl7a2VKaCAAgoocP0C7UUuPP9jXLj4w6R8jBjvpOueoQ5HSGFCV3wgfP24flMBBRS4foHPFdiFEOny1MDu+mn9pgIKLLtASXRsMiz3kNNJSjjEoaOP8wXv+LN08Shpb26dhwIKKKCAAgoocGACBnYHRu+FFVBAAQUUmGeBDO1pnnjiDzHcvUzJm1CvM23PsV6t0fb7eHgooIACCtx0gc8X2PUz7IKbLN30nnhBBRRYDIH+35Epj0ghQhyyXU15/O0/zeDoqyG0/Trxi1GIo1RAAQUUUECBpRUwsFva1lqYAgoooIAC1y/Qlb1tOqaX/ymnnvomRsButUMoiarNFJdcu35cv6mAAgq8AgEDu1eA51cVUGClBbq4zaA5yiAlLjY7PPD6b+bVD76ftoFq0L+NFlfax+IVUEABBRRQ4OAFDOwOvgeOQAEFFFBAgbkTaHJHiImqgxef/W62N3+OSThHFe4kNYUSXDJo7prmgBRQYCUEzl3cYDptIEc+fQ+7fklMZ9itxC1gkQoocJ0CJYypGdG2gdGJN/HwO36cSWioGRJzgejv2+uk9WsKKKCAAgoocIMEDOxuEKSnUUABBRRQYJkEOgqFjlQqwu45njn5AabTXyG1MEy30XU7y1SutSiggAILI3D+0qFZYFe6MAvsSomUmDGwW5gWOlAFFDgggZInhHCUndjy+GN/nbWjbyZTEZlAHjrB7oD64mUVUEABBRRQ4FMCBnbeDQoooIACCijwmQIFCLtMyxoDYHz5H3Hmub9MbM9SYkXI/T4fHgoooIACN1ugD+yapqN0/ZWjgd3NboDXU0CBhRWIbWA3HeLu1/weHnrNH6GUROhXjej/hVqSgd3CdtaBK6CAAgoosDwCBnbL00srUUABBRRQ4MYJlD6Qq5jQUELNKGc2n/rzXNr8L5lwfBbieSiggAIK3HyBC5ePXJlhZ2B38/W9ogIKLLJA3UY49hBvffR7CfU9VP0Lav0xLTB0OcxF7q1jV0ABBRRQYFkEDOyWpZPWoYACCiigwA0UmAJ16Qj928Z5G+IG5DM88dS3wvifMMr30+YLhDQkRuhyS+hqQqggb0E00ruB7fBUCiigwCcFLm6P2NnOhDKa/b1SppRUyBlSGFFwBrS3iwIKrKZATms008sMqz58S4QuE2MkxsS0bLKTT/C+d/4A8fDbKWGH0v9eLf2SmFDylJD8/bqad45VK6CAAgooMD8CBnbz0wtHooACCiigwNwI9I97U4YQ+j/1+9lVBDqmL/7vPPvCn2E43abEy8R8B224RGCHirsgDyjpP5C7O+emFgeigAIKLJOAgd0yddNaFFDgRgrkEMhlQt0HcU1FiZuzlxtiuoXd9te49/5v5oEH/wCk43RhTIgVOVfM8r3+cJLdjWyH51JAAQUUUECB6xAwsLsONL+igAIKKKDAsgtkGmKpgQ5CYprHDBhBhjNnfpitcx9hPbyFSf44kSNUaYemPUpdD2jLGUI+vOxE1qeAAgociICB3YGwe1EFFFgAgVxaYhqT8hFKGyB15ADTJnH02Gt488N/iTS8e7ZXXRcaCoHSJerU72NnYLcALXaICiiggAIKLL2Agd3St9gCFVBAAQUUuHaBwpRQBrMl1mZT7Yj029qlBN34Amef+aOMJ89BfoZBGs6WE2q7nb2lMMOthLJz7Rf1GwoooIACLytgYPeyRH5AAQVWWKBf9aFfpj2lii6v0VZbjDt415s/ysYdXzSbRdf24Vzc+31LyVSh/18DuxW+bSxdAQUUUECBuREwsJubVjgQBRRQQAEF5kggF4iFrkRCmABDSleIaZPQHYHL/wcff+GDxMmEYdikKkehmrCzW5NGRwnt5hwV41AUUECB5REwsFueXlqJAgrcWIFEpGsDKe7u7VuXa3bDLre/6ot585s/Qu7fPKNfR6IlsbdfXb9/Xf8f8tQ9mG9sOzybAgoooIACClyHgIHddaD5FQUUUEABBZZeIENXOkrKBBpCHhBDBWG2WCZ1C2fP/SAvnPsIG92drIUhbe4I1ZBxvkQ9W07TQwEFFFDgRgsY2N1oUc+ngAJLIxCnML6N4egSk6alq6AbvIbH3vq9rB19iC5MZ3syQ/87tZrt0pyubFw3W13iSoi3NB4WooACCiiggAILJ2Bgt3Atc8AKKKCAAgrcBIEMDR0h9oFdJLUZ4l4IN4nb1GzA+BLPPP9B8uVfZlDG5LZmsNGxNdllGEY3YZBeQgEFFFg9AQO71eu5FSugwNUJ9PvSheYww0HLuN2iXr+Xu+7+APfc/6U0saGehXP92pd7v2kL472QrsTZS2lX5tpd3cX8lAIKKKCAAgoosA8CBnb7gOopFVBAAQUUWHiB3JBjoiVS9Y8v+peR+w3tUqCNhV2mHC4jyuV/wyee+3KqyYS14e1sT5+mGt0F02bhCSxAAQUUmEcBA7t57IpjUkCBeRBoYwXlIlW+hS5d5Mjh38pb3vERcrXBLoWN3Ad2V47+j2GTwojS1LMMb7Y0pocCCiiggAIKKHCAAgZ2B4jvpRVQQAEFFFhYgdLShB3qfIRLp3+My+f/Nk27RTUs5HaX1L/DHPYee5TSv7Hc/yHN/l6Mka5rF7Z0B66AAgocpICB3UHqe20FFDhIgVL62XEQwl7wNvutGTL938+5I9dTBs06bduQ127lnY/9TeL6a4j9nnZ5zUTuIJvntRVQQAEFFFDgqgQM7K6KyQ8poIACCiigwKcL5JxnwVubz1K1hzj57B+n7PxvtM1hSj2mKlceolz5Uh/alRxnD1j6hyufDPFkVUABBRS4JgEDu2vi8sMKKLBEAn0w91JY15fV//9ZiBfy3kth/fKWeUJJkXvv+aPc/YbfyyQfpo6B2Gd9nzbBbolYLEUBBRRQQAEFlkjAwG6JmmkpCiiggAIK3CyB2S4fXQOpXyqzptv5d5x89v3Uu4do6h1C7h+ofGphoVlg9xveir5ZY/U6CiigwDIJGNgtUzetRQEFrkfgpZe/+hfI+qN/iSzERJgMYe08sXqYR9/zt8ipYlICIxKhdBD7H64eCiiggAIKKKDA/AoY2M1vbxyZAgoooIAC8yswW5GoI4dEV6AusHv2x3nh3PdS5aOzZYk+6xG6WXAXZjvjeSiggAIKXKuAgd21ivl5BRRYRoFPX3q9/3OIkdQmtvM2jz76V1k//l6mAQodKSeqkOHTXiZbRhNrUkABBRRQQIHFFzCwW/weWoECCiiggAI3XyBDjnn21vIw9MsMNZBbnj/1TUzO/wIp3H5lTJ8K7vb2GekDuzzbz85DAQUUUODaBQzsrt3MbyigwHII9L8l+5fC+pe/Uqr69dchh0+u4pCZcOLEf8FrH/4wk1DIpaYO/WtiL+2d7Atjy3EnWIUCCiiggALLK2Bgt7y9tTIFFFBAAQX2TyBDE7coHKIuHSG0ZIaErY/xxCd+PyP6hyd7y2CG/o3mftuQK4Fd/+eS3URk/5rjmRVQYJkFDOyWubvWpoACn0+g/ynZtg2BtLcMJhX9sph9iDfb227j1bzn3T9KqW6l6fdNpqUqA0JoKPQrPAwEVkABBRRQQAEF5lrAwG6u2+PgFFBAAQUUmF+BwnRvacscaeIO/Q4hVRN58fx/w/j8j5Fz82lLY/YPUvZm2BnYzW9PHZkCCsy/gIHd/PfIESqgwD4J9LPmckcM1ex3Zf8CWNe1pDSgrgfc+dpv5667fxvT0M5+o9bMloSAAF1oSNT7NDBPq4ACCiiggAIK3BgBA7sb4+hZFFBAAQUUWCmBKTDos7cCXWK2R8gQiO0mhMOc+dh7Zw9Uum66twQmV5bGvBLYuSTmSt0uFquAAjdQwMDuBmJ6KgUUWCiBXNpZUBdjPZtRl9u9AG843GB9/RBvfPTv06Zddtoh61WkGsNs2+QAbdr7o4cCCiiggAIKKDDPAgZ289wdx6aAAgoooMCCCmzvPsfZp7+c9a3nycNb2IpQwi7ruUDeIZfDC1qZw1ZAAQUOVsDA7mD9vboCChycQMh9WLdFSLdyqdlhlDrW05TNfDuPP/4L1OvrBzc4r6yAAgoooIACCtwAAQO7G4DoKRRQQAEFFFDgNwqM2Tr9s5x/4TtI3T10g0zTnWMQbiWx9za0hwIKKKDAtQsY2F27md9QQIHlEIglEUKhKWNKvo2YztNReO1D38rtr/4yQnKPuuXotFUooIACCiiwugIGdqvbeytXQAEFFFBg/wQK0Fzm5Klvo7v4f5M4RYl3MaWjDmuQt/fv2p5ZAQUUWGIBA7slbq6lKaDA5xWoy5AJm6RwmNg15HKIwW2v5u2P/AQ5tkQXvfQOUkABBRRQQIEFFzCwW/AGOnwFFFBAAQXmUiBDjn0u9xSnnvlK1ianmUZo4mFyF6hp5nLYDkoBBRSYdwEDu3nvkONTQIH9EkhdYZoCxG02uuOM8xpve/f3UR97y+yS7lG3X/KeVwEFFFBAAQVuloCB3c2S9joKKKCAAgqskEBup7TVgLrA9MLPcP7k95E5zzQOCeUwlUtirtDdYKkKKHAjBQzsbqSm51JAgUUSiKFl0kVitUXVbnDvq/8gd73+Q0xjS6CiXqRiHKsCCiiggAIKKPBZBAzsvC0UUEABBRRQ4IYLlLJJFw7362JStTUvPPthLm/+HVLIVOE4dO5hd8PRPaECCqyEgIHdSrTZIhVQ4LM9wIqZrmtpuwFHj9/H297yo0wHtxITBDqSkZ33jQIKKKCAAgosuICB3YI30OEroIACCigwnwL9A5WOkOpZNpemz/D00x9k2J6i5Ivksjafw3ZUCiigwJwLGNjNeYMcngIK7JtAFzKjMKDJR3nDw9/OkRP/EXm2FGa/1HoC4r5d2xMroIACCiiggAI3Q8DA7mYoew0FFFBAAQVWTaB/egJ0paNJiSpDOP8LPHfyDzLgbtrgA5VVuyWsVwEFboyAgd2NcfQsCiiweAKFDUrzNPfe+wHuet13MBlGElOGZbZRMgz8fbl4XXXECiiggAIKKPDpAgZ23g8KKKCAAgoocMMFWibEXBOJFHYIeX12jZOnv4XtC3+fjXCY3e40o/pOGjapyiHa7iKDeJzSTSgh3PAxeUIFFFBgGQS2u8Lm+SPkLkLahVxBrMlMCc4uWYYWW4MCKysQugrChDQcsrPVMVwf0ZVNSltI4TDTvMXaoXt57C1/Ew69ijZeJIZjtC0MqpVls3AFFFBAAQUUWCIBA7slaqalKKCAAgooMC8CLZlUAnSZEBNd7Pb+//av8MRz3049/Q9UaUDT1QQOk+PTrKW7mEy3SHFIzu5xNy+9dBwKKDBfAgZ289UPR6OAAjdOIOYRXb5MGEBp1yE05DKhTsfI4TI7ecrbXv8Rjt/+u2CUyTSUsjZbDLMAvu9143rhmRRQQAEFFFDgYAQM7A7G3asqoIACCiiw1AL9ipgx93ndDqlap6MhUUMLL174OS49/xcZ1MeZTH6VYXodbTlLjC0hjGjymFRGS+1jcQoooMD1ChjYXa+c31NAgXkXCKzR5stExgyq25hMtohVoQpHaPJZBq/6TTzypr8OVU0Xt+k/3+WGOgzpckdKfXTnoYACCiiggAIKLK6Agd3i9s6RK6CAAgooMNcC/SS5kBoK/Xy7NWKBGBoohQuf+B5e3PyHxHSeUT/DrjvEpDvDYHgHk+5ZBhyf69ocnAIKKHBQAgZ2ByXvdRVQYN8FSk1IE0rXUsU1ctMQh5nd6S4b9Rt48JFv59iRx2ZvhbV5b7+6EF960auBUO/7EL2AAgoooIACCiiwnwIGdvup67kVUEABBRRYVYECJUwpDGiYUDOcSYzbi4yqY8TLv8bHn/8GQnuautukDkcJ+RZ2y2XC8AJpenRV5axbAQUU+LwCBnbeIAoosKwCbSlUqSE066TQUWbLqu+w2+3wxnu+nTve9NXknCFGQoF+RQfClFgSYbYe5l6I56GAAgoooIACCiyqgIHdonbOcSuggAIKKDDXAhNg2K+ASVsmDEP/YKUmh363kSnDXLN94Rd48uSfYT1cZj3cDXnITnmeNBwQpz5wmev2OjgFFDgwAQO7A6P3wgoosM8CXejXU5+S8jFSNSUH2O06Dt/yRh5581+Btdv2RtCHdbGP5zK59L82OyJr0Gd2HgoooIACCiigwAILGNgtcPMcugIKKKCAAnMrUKbkfnZd6KjIpK7ee4gSYSvvsB5rYlPzzDPfShn/z9TtiK6bkOvJ7HvV7JVpDwUUUECB3yhgYOc9oYACyyoQQqRtOhIVsY7slouEwX286fV/nNtOfPHensip3pta12+WPPtDRS5TYhgsK4t1KaCAAgoooMAKCRjYrVCzLVUBBRRQQIGbJtAwC99aIhU1seufqewtYdQmGFPYKBAmn+DUs3+YZud/YRDewZQpOTVUrXuQ3LReeSEFFFgoAQO7hWqXg1VAgWsQCDGRmwEpbkMccrk8x9HjX8Rjb/8xaKs+myPnS8Q0gLL2yTOXfin2OCFeWYL9Gi7pRxVQQAEFFFBAgbkSMLCbq3Y4GAUUUEABBVZEoIMmjanyiMvnfoaL5/4mk/FJRsMThHIK8mECfWiXKGVvul1MHaU0tN0OKbjH3YrcKZapgAK/QWC3LWyeP8K09OvB7dKVijrUhDKdTWPul5DzUEABBRZRYDq4TB4f5ViMdOOLtIce4s3v/mvUa6+mzjuEuL6IZTlmBRRQQAEFFFDgqgUM7K6ayg8qoIACCiigwA0T6GfcRZiWCww4xHPPfjNs/TPKtCOnfr+7MTEOKTlQSiSE0E/Og9CR8xSKyx7dsF54IgUUWCgBA7uFapeDVUCBaxBo2GGYjpCamqZc5jWv/xZOPPAlZEaz/epmPx49FFBAAQUUUECBJRYwsFvi5lqaAgoooIACcytQgG4K1YA8WxrzVzn5zB8ibl9kGjZI8SIh1FD2Ztj1oV0f2PXB3Sy06wM/DwUUUGAFBQzsVrDplqzAigiE3FGFIU3/v0ffzqOPfz90G/QTikswrluR28AyFVBAAQUUWGkBA7uVbr/FK6CAAgoocEACfWAXtsjlEG2AQYHdcz/N2TMfJbQbhHSZ2UYlcGWWXf+FtBfYzQ4TuwPqnJdVQIEDFjCwO+AGeHkFFNg3gZoC7YBNMg8//sMcOfYYsf8J2O+NPDCw2zd4T6yAAgoooIACcyNgYDc3rXAgCiiggAIKrJBAybShoyUwoCLOlrnseOHUdzF+8e9BGc4w+oAuhDgL7frjpeUxDexW6F6xVAUU+HUCBnbeEAoosKwCiYqm2+TEvX+A13zBn2TKhBFD6CI5ZaJLYi5r661LAQUUUEABBa4IGNh5KyiggAIKKKDAAQi0NJT+PWrqrhDSgEwmjk/y1FNfRRxfoJR+rcz2ylKY/VpIe8tj9ktlltIcwJi9pAIKKHDwAgZ2B98DR6CAAvsjkNt1OLTOe979E0yqE6QwpprtW1zT0lKFvdUXPBRQQAEFFFBAgWUVMLBb1s5alwIKKKCAAnMs0PbhHP3SRhlyRRumEAZUGc5f+FmaM3+Lth3T5V1CbIgxfaqaK8HdHJfn0BRQQIF9EzCw2zdaT6yAAgcsUOJt3PeGD3DXXV9GZkqkX2FhtlDm7KWt2G9o7KGAAgoooIACCiyxgIHdEjfX0hRQQAEFFJhXgR1gvd+QZFr3E+eYpo6636MubxHCIV584ncwmWwzbS5CmBJj2ZtxNzvSbLadhwIKKLCKAgZ2q9h1a1ZgNQTWbn0Nb3v7z7AbYC30L3VFcr+owtD961bjDrBKBRRQQAEFFDCw8x5QQAEFFFBAgbkT2G7Oc+7Jr2G4+W/p6prtcJgqjVkvLUyGNGlvTzsPBRRQYNUEDOxWrePWq8DyCFT5MtN0K9N4iToMYDxmPa3Tcogdtnnkvb/EcDikrvplMPvDGXXL030rUUABBRRQQIGrETCwuxolP6OAAgoooIACN1Uglyk7L/w8F85/mNQcIccN2nyWOq4RmwFdcg+7m9oQL6aAAnMjYGA3N61wIAoocI0CdYnsdLtUa4eY7ow5PCzkLrJNzUMPfAW3P/C11FW/T91eUFfK3gtaIfii1jVS+3EFFFBAAQUUWFABA7sFbZzDVkABBRRQYKkF+tUv212eP/Nh8ov/ktBuQjzEhMtU5SiE3aUu3+IUUECBzyVgYOe9oYACiyoQygZtOU8KxxiEPpCbMo07hPV38e5H/xIMjn1aafGTy6Eb2C1qxx23AgoooIACClyrgIHdtYr5eQUUUEABBRTYf4ECbf8gZ/dZnn/qqxjtnqMNLdO6nj28qfL+D8ErKKCAAvMoYGA3j11xTAoocDUCuYyALQZlSIq7EA7zYt7mrQ//ALed+M3Q71s3O1wK82o8/YwCCiiggAIKLJ+Agd3y9dSKFFBAAQUUWAKBMWMGDHNkfO7vcuHURyFeYhIbIodInQ9ylqDJlqCAAtchYGB3HWh+RQEF5kJgSmBUOlKZkMuEnZA4fseX8+a3/mkmBIYhOatuLjrlIBRQQAEFFFDgoAQM7A5K3usqoIACCiigwOcR2KZlg44pw2bA2VN/isuX/w6pVMSYCF2tngIKKLCSAgZ2K9l2i1ZgKQSmFEahI3SXyNzKTjXiCx//WdLobnKcEBl+RmDXr6zQ/6c/YvSFraW4ESxCAQUUUEABBT6ngIGdN4cCCiiggAIKzJ9AvyRm3iWmNfpnNLF5kqc+8ScYTi/Sluf797Pnb8yOSAEFFLgJAgZ2NwHZSyigwL4IlDAgtNsMBi077Qnufej93Hf/10Kfx8UWQvUZ1815b5lMw7p9aYknVUABBRRQQIE5EzCwm7OGOBwFFFBAAQUUALq9Bze5wDRGEg3dC7/IqWe/lUoZDwYAACAASURBVFF1jI5GJgUUUGAlBQzsVrLtFq3AUgjksk7FhMwl1o+9nbe+5a/D2mFoI4QCKcxe1ArhU+X2gZ1h3VK03yIUUEABBRRQ4CoEDOyuAsmPKKCAAgoooMDNFWj7y7WZKvUPcLagOwR5l2ef/zDjS/+YtXwrOV0ihMKk22a9voPppH/WM6VOY7rymW9o39wKvJoCCiiwPwJTOs4/v0aO62S2Ia4TOqiqKaWDHFwybn/kPasCCrycwIAR282T1IMTwBGm3Xmq2FHnATG0BF5F027TDAtvestf5Mjtv5VJhrUIsX9ZK73cFfznCiiggAIKKKDAcgsY2C13f61OAQUUUECBhRRomFKXwd7Y+1l27DIIa7D7K/zKk1/HoXyGfoWkwm3EtMW4OcNG/QAlV3ThJCEfXsi6HbQCCijwcgJ9YHfh9AZdGH1GYJfbQok+8X45Q/+5Agrsj0CVE13chrBOmyOkLepYUTVH6LqOEBJNfYqjR7+ENz367bT5MF1oGIYaSgZfONifxnhWBRRQQAEFFFgYAQO7hWmVA1VAAQUUUGB1BDItsVSUPCXEAU0u1CnMlsp84YX/iq1zH2IUH2cyeYq6uoWWJ0jlbmJco+E8Ka+vDpaVKqDASgk0IXP++fXPCOxSGlO6YGC3UneDxSowXwIhR6oq0nSBnJtZYEcZUeXj9Etb1vVlLhX4LV/4d6C+DyKU0ECuCXECDOerIEejgAIKKKCAAgrcZAEDu5sM7uUUUEABBRRQ4OoEuq4QU0shkUuk384kskmg5swTH2Q8/rcUXqDuNqjqlp3xlFgdJ8QxoXNJuKtT9lMKKLBoAv1WT/2SmC3DT86woy1U1cTAbtGa6XgVWDKBWBIhBJquJVWRLk/pmkBdjwixYzLd5MHXfYh7Hvz6WVjXr6JAnv3AYxK2GbKxZCKWo4ACCiiggAIKXJuAgd21eflpBRRQQAEFFLgZAqV/htP/FZiGywz6N67LkGm3zaDaIF7+N/y/z34FayEw5BJlepQQGtpwiLbsMnATlJvRJa+hgAIHIPBSYNeFNbqyOdvDzsDuABrhJRVQ4DME+sBuNrMuttSpXxYzzf5MNWbaXGI0+k089t4fYTwZMRhVxBygDVD3gd2EoTPsvKsUUEABBRRQYMUFDOxW/AawfAUUUEABBeZSoGRKifQPpjP9G9f9W9gb/YqYdCEzyIXzp3+K0+e/m6PpCGF8mFDt0lXbTKdHGYTpXJbloBRQQIFXKmBg90oF/b4CCuyXQKCCPCGkjtKNCAyIo10m7SbT5ghvefgvcNurfiuECV1Zo1/tvJ9lN3tFK/T/x0MBBRRQQAEFFFhtAQO71e6/1SuggAIKKDCfAmU2YYRJ2GUtrBH75ZK6BuqafoeTmkzsIk8//YfIW/+eUb+iUu5oqmcp+V6qYmA3n411VAoo8EoFPltgFzqoqimlgxxcEviVGvt9BRS4PoEYatq8S50K092KqqrJ9Tkm7S3cc/x388A7PkSK/a+2PqiLs8l10JL6wC7Xe8tkeiiggAIKKKCAAissYGC3ws23dAUUUEABBeZWoCnkup09wqlKJPZT6/p9ThKzWXeTDBt9irf1yzzx5Fcx6E5Sp/vYbjap1neIk8NzW5oDU0ABBV6JwGfbw87A7pWI+l0FFLhRAiFEmnbMMNXkaU01gp38carwOI8/+v1Mjz1ElZm9iJXTLm1YI5MZ0UA7pJ+g56GAAgoooIACCqyygIHdKnff2hVQQAEFFFhYgQlN7mfaDTn/wk9w7vm/ykb1Aik+wHbeZJh9RXthW+vAFVDg8wrk2HH21C3kNKHNEOI6udumimuzpehKTAoqoIACByLQv2pFSnTTXdY5BPkMDO/nxINfzV0P/EEGBzIqL6qAAgoooIACCiyOgIHd4vTKkSqggAIKKKDAFYHS73cSGiiFONnl1KlvYHrpX5BSTZePkcKOVgoooMBSChjYLWVbLUqBpRAoaW8F81E8TM4vkKpjlNGDvP2xP08Z3OsEuqXoskUooIACCiigwH4KGNjtp67nVkABBRRQQIH9EWgg1w25JKocyVv/go+f/DIG4yMMq3Xasrs/1/WsCiigwAELGNgdcAO8vAIKfE6BHAJhmtioN5iWc2zmIzz8ju/i2PH3UlLtFnXeOwoooIACCiigwMsIGNh5iyiggAIKKKDA4gl0mZzibN8TukgV4PzzH+XiuZ/kcKqZdGHxanLECiigwFUIGNhdBZIfUUCBAxFousKRwSHa3YuMq47R8S/mkUf+Mk0u1KnfjNglyw+kMV5UAQUUUEABBRZGwMBuYVrlQBVQQAEFFFDgkwK5f+bT0lDR0TKiwHjCqee+genOL5LK3WIpoIACSylgYLeUbbUoBZZCIIYRoduGuMlOPMa73vVfM9h4EzlAYkxgtBR1WoQCCiiggAIKKLBfAgZ2+yXreRVQQAEFFFBg/wQKdOECgVvJNBQ66jxieuFf8MSZr+BQu7Z/1/bMCiigwAEKGNgdIL6XVkCBzyswijWXtyZw5AJ33f2Heei130ZH7Lccpor9cuX+PvMWUkABBRRQQAEFPp+AgZ33hwIKKKCAAgosnEA/wa7kMSkGchnShn6uXU1s4MzZH2R69icXriYHrIACClyNgIHd1Sj5GQUUOAiBqm1pqsM063fwm975V4jpLkoXCDW0JVMFl8Q8iL54TQUUUEABBRRYHAEDu8XplSNVQAEFFFBAgSsCLVD1W6HMlsaE3QIpwoBLMI08+8vv0UoBBRRYSgEDu6Vsq0UpsBQCa92Qy8MXeOj1P8Cdd34xlAT9tsIhk3MkmtctRZ8tQgEFFFBAAQX2T8DAbv9sPbMCCiiggAIKHJDA7uV/yTNP/WGOMqENLRPGDMsJUrxE2x0GugMamZdVQAEFXpmAgd0r8/PbCihw/QIh98tbTqhGa4x3CvVoQFc2ibmCMmIcznDb0d/Jm9/6l6CuaOIFUjhC21YMUh/cXf+1/aYCCiiggAIKKLAKAgZ2q9Bla1RAAQUUUGDVBMplTj/zPexc+EU2BhW7k0hKFSW8SAq3kPN01USsVwEFlkTAwG5JGmkZCiygQCpDCruUqiM3a4RQ6MqYyCGIW3SDE7z9td/Jxon3Qt2SKRQiiT6t81BAAQUUUEABBRR4OQEDu5cT8p8roIACCiigwAIKZKabH+PU8x+i3jlPLIEuDGnCSQbpMNkJdgvYU4esgAK9gIGd94ECChyYQKmJ1ZSuvUTiOKW0EFtKOyJU2xy796t4/eu+abZeeVt2iWmNXKZUobqyukF9YEP3wgoooIACCiigwCIIGNgtQpccowIKKKCAAgpck0DX72lXYOvC/8CFUx9mPd/FdrpAjpnUTQll45rO54cVUECBeREwsJuXTjgOBVZPoH/hqRq2tJOGFEYkImHQsT3e4tj6W3no0b/M+sbdlFKRC5Q4i+6I9EtmNhAM7FbvrrFiBRRQQAEFFLgWAQO7a9HyswoooIACCiiwEAK7baGuAlXbcP7Zb2b30j+hjWPCoCGMjxGCm6gsRCMdpAIKfIaAgZ03hQIKHJRAWwop7hCaI1QxU2KiiztMcsMb7/1T3PaGr6Rjm8QGeW+eHVAR+//TH/GgRu51FVBAAQUUUECBxRAwsFuMPjlKBRRQQAEFFLgGgf65UEvLgAKXnuETz30dpfwKKR4mtOvE4pqY18DpRxVQYI4EDOzmqBkORYEVEygJumaLupwgVVOa3DIpcOSWN/OOL/goeeNEv3Dv3tS60OxldF39qaDO96VW7I6xXAUUUEABBRS4VgEDu2sV8/MKKKCAAgoosBACpXTk0JDyiBfP/Cxblz9C2D1GW10kdb7ivRBNdJAKKPAZAgZ23hQKKHBQAiFCbiOxD+TqwqRsQX0fb3zdBzlx+39CExrql5a9DA2l/xwJFzY4qI55XQUUUEABBRRYNAEDu0XrmONVQAEFFFBAgZcX6PdJoWY3N6RUM8jnOP9r38Hu+JeYplupu8nLn8NPKKCAAnMoYGA3h01xSAqskEDkMCVfpIQB4/och4++j0ce/ht7s+oSTKeZwaCDUkMpEDeBtdnvMg8FFFBAAQUUUECBzy9gYOcdooACCiiggALLJ1BaCNVs55Sm7LLGGt3mv+bJZ76RUdmmzWcZpDfTlIauvEAV1oilIuddYoKSXbNp+W4KK1JgOQQ6ChfOHqLpIiVNIfcPwiGUMSEk/NfXcvTZKhSYR4FSCjkWBgHytGVruMEj7/5xjqy9gVgyRFcwmMe+OSYFFFBAAQUUWBwBA7vF6ZUjVUABBRRQQIGrFcizHVTI/dJNTBgQYbrN9vm/y3Nn/xyH4i20Bbpui7o6ASWRuy2qdIiWS8Q8uNor+TkFFFDgpgr0gdyFs4eZtv2/ugzsbiq+F1NgxQXybD+6bQZVzWSauefBD3D3Ax8g1hvE/keXed2K3yGWr4ACCiiggAKvVMDA7pUK+n0FFFBAAQUUmD+BXOg3TJmECYFERUPs1qA5xxMnv5G0869JpZ9Jt0md7qL0n+1eJMVbKEyIOc1fTY5IAQUU6F9E+IzAbkj/lNwZdt4eCiiw3wJd3qAOZyCOyMNX8+7Hfgbq4WwpzJZItd8D8PwKKKCAAgoooMCSCxjYLXmDLU8BBRRQQIGVFChjYMS0jIlxNCOo+il3wPb2P+bkUx9mRMewX9qp7JLTgI5M011mGO6mzL7voYACCsyfwF5gt860TVdm2O0FdrBNZOCSmPPXMkekwNIIBCoqJuyWS9z32u/m3nveT5/S9VvVTWJm5BS7pem1hSiggAIKKKDAwQgY2B2Mu1dVQAEFFFBAgX0VmEAZzpa97B9ux9Dv78RsVh0hc/qZv8D25t/jUIbStUxjSxgcZjp9glF8iJyn+zo6T66AAgpcr0BJmfNnDn0ysCvdgBD6fTd3DeyuF9XvKaDA1QmEltIE0rFX8c5H/kfaGKliRe5/S9WFEfXVncdPKaCAAgoooIACCnxWAQM7bwwFFFBAAQUUWD6BfrnL0BBKTVMaYoykfpnL/pk20E2e5hPPfAOjnV9mmO9kh00YbZDzadbKBq1LYi7fPWFFCiyJQB/YXXih38MukdMupR19MrBLoaZ76V90S1KvZSigwBwJhMLmtPD2t38nt93xuyhhSj/rrpRAF6ZU9DN+PRRQQAEFFFBAAQWuV8DA7nrl/J4CCiiggAIKzK9AP7OOKTEMoDRXxlnPArucIUe4fPYn2Tn9U8RmkyZVtNU2KWQG044u+MBpfpvryBRYcYEE51/YYNpCTlMDuxW/HSxfgZspEEuiOv5e3vHIR2mYUJc1cmmJsaLQEJxhdzPb4bUUUEABBRRQYAkFDOyWsKmWpIACCiigwKoLdP3yl7PZdO3e3k4lQtiiLS0Vx9gJLevdLhee+Fa2N3+BtPYAWzzFIN9CNa4pdbfqhNavgALzKmBgN6+dcVwKLL1AyIU3PfqjrB1/lEiGJhNTRQ5TYhnsbafpoYACCiiggAIKKHDdAgZ2103nFxVQQAEFFFBgUQVyn8ellrL1DCef+3LieGc2yy5UFxg0R+jKlbUzF7VAx62AAksrUGLg/LlI02yQQzeb3ZLCiFAKJYwpznBZ2t5bmAL7LTCJHaPuCMM8pksvsNvcTlzPxKYQmy3WH/xO3vz6/xh41d47UTXkMqUwmGV1s+00PRRQQAEFFFBAAQWuW8DA7rrp/KICCiiggAIKLKpALv3IJ8QOLpz+K1w494OMwkOUcA7K4X6Xu0UtzXEroMCSCxjYLXmDLU+BAxQYly2G5Thr9YS2GdBVHdO8SeIow3SY1z32Qxw+fA+UDeh/S/WLGNBQSOQcqZxhd4Dd89IKKKCAAgoosAwCBnbL0EVrUEABBRRQQIFrEugDu/4l8NC/Hj5+nl994n3c0t1BV15kHEdUZXpN5/PDCiigwM0SMLC7WdJeR4HVEwg0tLljUB2hbftfSi9Sp6Ncbi/zBQ99kFc99DWzlK60hVAlSulTu0wJhf6v5Azf1btprFgBBRRQQAEFbqiAgd0N5fRkCiiggAIKKLAIAv0qTilDiA3kmrOn/jzTsz/JIJ7gUtpk2FWLUIZjVECBFRQwsFvBpluyAjdJYEBiXCa0oSYyYdTvBtyuEY/czTvf+Vch3TmbWdeFCSnuzaorOZKqPrZrifj76Sa1yssooIACCiigwJIKGNgtaWMtSwEFFFBAAQU+t0Af2IU8JsQRbdliMLnI00/8TqoGdutNhu26fAoooMBcChjYzWVbHJQCSyFQTUe0dce0eoHYbXBkeIyzl8/wyCM/xLE7vwi6CKkvdXdvPUyGfVI3W7Ygl0yMrom5FDeCRSiggAIKKKDAgQkY2B0YvRdWQAEFFFBAgYMS2Hu2tENgRMM2dT7M+TM/zJnTH+VofYLsFnYH1Rqvq4ACLyNgYOctooAC+yWQ2tvo0lPEekTbL0JQKtaPvYN3PPrXaPr5czEQQv/aU0fbZaq4NhtKvzLmbEs787r9ao3nVUABBRRQQIEVETCwW5FGW6YCCiiggAIKfEqglI4QCuRq9lZ4y5Q8Pc+TT34Ft07PMZ7tyeKhgAIKzJ+Agd389cQRKbAsAiEegfZJRvEuJt0WO9zOI499D4dvfSc55Nk+dXsBXTebbZdSNdsTeO+/+iDPJTGX5V6wDgUUUEABBRQ4GAEDu4Nx96oKKKCAAgoocJACeQohQZf6tTGZpsg4d+ye/V7SyZ9gNx05yNF5bQUUUOBzChjYeXMooMB+CUziBdandzKKO0xy4dCrfjtvePt3zWbaESdATSHM/prldLP8roPQEPr/ZWO/huZ5FVBAAQUUUECBlRAwsFuJNlukAgoooIACCvw6gVwgtnREYumDu37GXYLpk/y7J7+EW7spTW5oQssgHqGb7rAxPME4/3Pq8m5y2RJUAQUUOBABA7sDYfeiCqyEwG7cYr0cIY8b4sYGb3nb97N+y2Pk0C952ZH2NrDzUEABBRRQQAEFFNgnAQO7fYL1tAoooIACCigwxwL9G+Eh0+ZIDBD7/Vj65THzJqfP/ijTs3+Dwq0QpsSwNtvHpYodJT1NKveR3eRujpvr0BRYbgEDu+Xur9UpcJACOQRSmyjxInfe/bXc97qvIde3kHP/O+ggR+a1FVBAAQUUUECB1RAwsFuNPlulAgoooIACCny6wJUt6ppcCCkQmRBKRciJrnmak0/8Pkq3Q9XPugNyt0abL1DX/RJQHSWP9FRAAQUORMDA7kDYvagCKyFQ5zWmXCQMjvPuR38KNu6h7YO6PrDrfwLtrYTpoYACCiiggAIKKLBPAgZ2+wTraRVQQAEFFFBgjgVeCuxKR+in2NHNZs0Nwqhf84lLz/xZXrj033IoHiKUhpZjTNptBvURKGehrM9xcQ5NAQWWWcDAbpm7a20KHKzAeh5xiZPce9+3cP/rvpEmQpthGFtiTv2SBAc7QK+ugAIKKKCAAgosuYCB3ZI32PIUUEABBRRQ4LMIdNBvw9KWlhIKgURX+r1ZAjFUxIv/il977o+wni8TGdOFQzRlg4oN4Bz0+955KKCAAgcgYGB3AOheUoEVEUi5o4xu453v+e9o0zFyH9RRUfVT7GiA4YpIWKYCCiiggAIKKHAwAgZ2B+PuVRVQQAEFFFDgAAW6riOl/uFTTUdHmK3xFCnsEBgQc8WzT38TYfN/JZazTFNNCccJuabqtinBN8wPsH1eWoGVFjCwW+n2W7wC+yowbWpe+6YPcOerv45JnJIoVNTkLhLTLrC2r9f35AoooIACCiigwKoLGNit+h1g/QoooIACCqygQOmXwgwtlGG/AiYh9G+N1xSa2Wy7KZF86Z9z7rnvgfbj5LTGOGTqPGSQp+R+ep6HAgoocAACBnYHgO4lFVgRgeGhL+Ttj3wzk3grqaqJuV8FM0OpaEOmCv2Gdh4KKKCAAgoooIAC+yVgYLdfsp5XAQUUUEABBeZWINMv8VSgq9mbXLcDeZ3Zik8RLsUxR7sRpz72fvLk39FVa+zk0wzjGuu50JTR3NbmwBRQYLkFDOyWu79Wp8BBCjz0pu/ittv/U9p6h8IGdb+E+Ox3Ur4yy+4gR+e1FVBAAQUUUECB5RcwsFv+HluhAgoooIACClyjQJM3qcNhNi/+T5x77k9Tt5FuNKBtA2v8f3T5gWs8ox9XQAEFboxAR+HypZrd3QE59nOEIZS6f9dgtsdUdgbMjYH2LAosocB6N2FSR3YypDhgUJp+Q1/atM5g434efc9PL2HVlqSAAgoooIACCiyOgIHd4vTKkSqggAIKKKDAzRLIZe9BePsMLzz9ESZbv0Qpr4KUqHiCkm+/WSPxOgoooMCvEzCw84ZQQIHrFRh0ibbaZdqtUYcN6F5gsL7Bhd2Ox9725zhy5++43lP7PQUUUEABBRRQQIEbIGBgdwMQPYUCCiiggAIKLJlAhjZmIpHJuZ/n9PNfRz19A2EwJZdLUAZLVrDlKKDAogjkAJcuVs6wW5SGOU4F5kkgr1PiFqGsU5cBXd6kjC4xXP9iHn7sByC6R908tcuxKKCAAgoooMDqCRjYrV7PrVgBBRRQQAEFXk5gFtj1i8vB2uQsp5/9ath+jo5m9vdjTi93Bv+5AgoosC8CBnb7wupJFVgJgSYkQgcbKRBKoc39vr0XeNcjP8Oho+8Af96sxH1gkQoooIACCigwvwIGdvPbG0emgAIKKKCAAgcl0La0VcUOhcMls3v2pzl/+htI3UOM6yl1NzyokXldBRRYcYESA5cu1uzsVO5ht+L3guUrcK0Ck9RQTdZYr7fJuWO7m3Dsjt/LW9/2UZoCtYHdtZL6eQUUUEABBRRQ4IYKGNjdUE5PpoACCiiggAJLIdA1kGqmQGbCaPcSTz71RdTjiml9ibpbX4oyLUIBBRZPwMBu8XrmiBWYF4EmjqmbNeq4zbQkxnXF44/8HKPDryHHlkg1L0N1HAoooIACCiigwEoKGNitZNstWgEFFFBAAQU+r0AuzNaMChW7/bKYGS6e+iEuv/iTtGHsDDtvHwUUODiBlLj4YmJ3t6YLeTaOUGr2dp5qyME9qA6uOV5ZgfkWyKWlLoEQ+teR1jh+33/OG177J+lKIaUODOzmu4GOTgEFFFBAAQWWXsDAbulbbIEKKKCAAgoocM0CpZ9a10FuGddDEoV6+yRPPf2FhPYIsfQPtTwUUECBAxBIiUsXq9mSmAZ2B+DvJRVYZIEuUJOJ1YjNEHnv4z9FN7ybKlXELkMy8F/k9jp2BRRQQAEFFFh8AQO7xe+hFSiggAIKKKDADRZo+3fMyw7kdZqwCeEwFYXTz/xx0qV/Rds2NIPEDpsMYstaWSdORzQh0VQNdTe5wSPydAoooMCeQA6JrS3Y2k7kPCQmKHTEfmYwkRyUUkABBT67wG7VMpxMOJQG3HbH13DXmz7IdmqogUGOzP6F4qGAAgoooIACCihwYAIGdgdG74UVUEABBRRQYF4F+kXmYtdCLOQSmMTEkEC++E959umvZ1SGtKkP6BpC2GXUP+Rq12ljy7TeYtCszWtpjksBBRZcwMBuwRvo8BU4IIFSClMCwzQllTt47JEfgaOvYRKhJuyF/tHE/4Da42UVUEABBRRQQIGZgIGdN4ICCiiggAIKKPAbBGaBXf9f4RI5HGWHCSOGVG3HU5/4Awx3/zVtGEC4hcImqZ+NV9bIYcqkOsOwuVdTBRRQYF8EDOz2hdWTKrDUAn1Y1x9DjrDFc9z36m/hvtd+PaQJbR5+auc6V8Rc6vvA4hRQQAEFFFBg/gUM7Oa/R45QAQUUUEABBW62QL9FXWrIeRfiEab99QuMgO2L/4BLz/4ppvkSVbifyJjMRSLHaNImXThL3RrY3eyWeT0FVkXAwG5VOm2dCtw4gZcCu1FZZ7ox4tFHfpqwdhvQENsacoY6ghPsbhy6Z1JAAQUUUEABBa5DwMDuOtD8igIKKKCAAgosucBsit0ESr8fVE2/p12/UlRdJqTQ8fzH3s/27j9jjXtJIdKWLUI8TgmbdP3DrzxYciDLU0CBgxIwsDsoea+rwOILtJOW17/tQ9x6z1fRhAlVSVS5gtheCeuqxS/SChRQQAEFFFBAgQUWMLBb4OY5dAUUUEABBRTYP4FcpkQGs5fOuzQhkYhl70HWpVM/zJmLf4tRk6jCgJZdYjoO5SKhG86WxvRQQAEF9kPAwG4/VD2nAqshUKq7efxdP0FeX6clUs1+2/Qz61o6MglfOFqNO8EqFVBAAQUUUGBeBQzs5rUzjksBBRRQQAEFDlSglI5Ams2sC2GTENZg9hY6lO1f48nnv41q98nZm+kTtqniUSjnqbvjNHH3QMfuxRVQYHkFDOyWt7dWpsB+CYSwtzndHQ99kPvuej8MGprZKpj1Jy85W1xgvwbgeRVQQAEFFFBAAQWuSsDA7qqY/JACCiiggAIKrJJA7iCmBqihTPvErp9mR1fGpLQOHTx96hth819SZZjmLUIaEsrzrLX3MemX0/RQQAEF9kHAwG4fUD2lAksi8NJedS+VE/rfL/Q/Y/aiuEff94uktAH9vnVXfuf0Kwnk/mMRXBBzSW4Ey1BAAQUUUECBhRUwsFvY1jlwBRRQQAEFFDgogT6OG176ZZ586rfP3k7PqU/tjpKqMTvsMuoOHdTQvK4CCiy5gIHdkjfY8hR4BQKH2sC07tgsu9SjNfJmoh527OSOL3joO7n9gd/zCs7uVxVQQAEFFFBAAQX2W8DAbr+FPb8CCiiggAIKLJ1AC1Tti5x9+k+zvfNLUCJ1uIUub5IZ9AtpLl3NFqSAAvMhYGA3H31wFArMo8CoHdAMxoybQGBAHcZQDWBwH+98+C8SDj84j8N2TAoooIACCiiggAJXBAzsvBUUUEABBRRQQIFrFJgtllky5cV/xidOfiV1dyuhCuTcMWg3aNP2NZ7RjyuggAJXJ2Bgd3VOfkqBVRSokassoQAAIABJREFUGDFuN6nSYWI3IoezdFXigQe/jbse+FK4sjTmKtpYswIKKKCAAgoosAgCBnaL0CXHqIACCiiggAJzJdCWlhgqYgNPPfE+qukFJuECw3AXo2nHbnIPu7lqmINRYIkEDOyWqJmWosANFshVRbcz4dCw3283MiljwsatvOvRn4O1wzf4ap5OAQUUUEABBRRQ4EYLGNjdaFHPp4ACCiiggAJLL9AxZlpq1nLi4unv58VLP0JuBwziOsOuZUK19AYWqIACByNgYHcw7l5VgUUQmKSGYa4Y5kzOsBtr7n/wa7jn/q8nVy3R3yeL0EbHqIACCiiggAIrLGBgt8LNt3QFFFBAAQUUuD6BzISOIVWBsPsxnnju9xHH/d51p0kMyGXt+k7stxRQQIGXETCw8xZRQIHPJdBVDakpDEogpxGTwTHe8+hPE9aPkImzvzwUUEABBRRQQAEF5lfAwG5+e+PIFFBAAQUUUGBOBTIZiJSuIYWaM6e+g/GFf0hVdpmEQF3qOR25w1JAgUUXMLBb9A46fgX2TyDETBlnqmpIro9w4r7fzQMPfgOEBvrfJmH/ru2ZFVBAAQUUUEABBV65gIHdKzf0DAoooIACCiiwYgJ7cV2m5EgIMLnwT3j+ufezUb2RF8s51jqfiK3YLWG5Ctw0AQO7m0bthRRYOIHc7bKWXkXODVthyG/+bX+bLqwT8zqhAGnhSnLACiiggAIKKKDASgkY2K1Uuy1WAQUUUEABBW6EQOnGlFTRUhFpqHLi4x//aurp/8mgXaOdPRXzUEABBW68wEuB3fZORdcN6GfU5NKSSiKEihy6G39Rz6iAAgshMA3rpHyKQbqdB179IW578EtpU6YjUuMedgvRRAepgAIKKKCAAistYGC30u23eAUUUEABBRS4HoF+ScxCoHSBmDKxZC6d/e85ffrbuSWfYNIvPeWhgAIK7IPAZwvsSr87VQ4Gdvvg7SkVWBSBUgq5S8ThhBDv5d3v/BEY3UuOYbaQN6WlCtWilOM4FVBAAQUUUECBlRQwsFvJtlu0AgoooIACCrwSgWm/JGYDVb/yZb+8VGihucSv/srv4Vi5yNQJdq+E1+8qoMDnETCw8/ZQQIHfKNCHdf0xILHJNvc/9Ee5/4Gvh9BRSk0ILW2uqKJ2CiiggAIKKKCAAvMsYGA3z91xbAoooIACCigwlwJjWkbtlbfU+z3sYsOQmlNPfRdh+2/TdutzOW4HpYACiy/wuQK7VPo9NSs62sUv0goUUOCaBF4K7NZjzc7gBO98z4/TpMMMwpDY/yuh2gXWrumcflgBBRRQQAEFFFDg5gsY2N18c6+ogAIKKKCAAgsusMMu62UNSr/0Zc1ObBhQw6X/h2dOfiV145JTC95ih6/A3Ar0gd32dmBrO31yD7t+Scw+sOun/LqH3dy2zoEpsO8CpYk8+MY/xu33fcXsZaKKmtRAqBvKLNTvlwXwUEABBRRQQAEFFJhXAQO7ee2M41JAAQUUUECBuRVoaahKDXkL0qHZfJZIQ8yJp578OtLWv5rbsTswBRRYbIGXArvtnZquq/eWvHMPu8VuqqNX4AYJ5OFrefwdP0TYuIV2Fs7thfn9Ct4wS+5u0JU8jQIKKKCAAgoooMB+CBjY7Yeq51RAAQUUUECBlRDouoaQUv+onNmcug5evPTzbD37nStRv0UqoMDNFyixujLDrjKwu/n8XlGBuRQIYW9zuhOv+xM8eMfvh7qFUpFjnv1G6f9pLB04w24u++egFFBAAQUUUECBlwQM7LwXFFBAAQUUUECBaxXon4NF6GbPxxoiNbEDQqFwnuf+/fuu9Yx+XgEFFLg6gTRga6uwtf2pwC6XllT62TSJEvPVncdPKaDAwgm8tFfdJx/ohL25cy8Fdm/9Lf+AtbgG0w2oJ7TU5NDPsCvUOfTLAXgooIACCiiggAIKzLGAgd0cN8ehKaCAAgoooMBiCjx97odoTv41TpQ1xjGyXRVoL7KWX00bz0BZX8zCHLUCChy8QOiYTEecf7F/UL9GzpmYoMtTKir6Z/IeCiiwnAKj3LJT1mgGm7R5h418AthiXGruu+treOAtf2w5C7cqBRRQQAEFFFBgRQQM7Fak0ZapgAIKKKCAAjdPYGvn/+Lsk9/E+s6YMohspS3qPKSmpSuzxTM9FFBAgesTMLC7Pje/pcASCAwYMcktbWpJoWUU1pg0Hbk+wnse+wHC4S9YgiotQQEFFFBAAQUUWF0BA7vV7b2VK6CAAgoooMB+CbQtp5/5MNPz/5DB4AQ74TyJEZFNUjlKR7NfV/a8Ciiw7AIGdsveYetT4HML5HWm5TJr9WHIDaUtTFPh7vu+lAde+00QXfPS20cBBRRQQAEFFFhkAQO7Re6eY1dAAQUUUECB+RToYHLhH3Hyha9ljbuZtBNyeZGaO0hxh664Zt18Ns5RKbAAAgZ2C9Akh6jA/giMQ6DKmWGoSV1hUlo4NOKxh3+Kav2BfhtLDwUUUEABBRRQQIEFFjCwW+DmOXQFFFBAAQUUmFOB3EK3xRNP/2dUk2eI7TGass0w3A38/+zdCbRl113f+e/e55x773uvSiqVJGuyrMGSLVvyIMmyjOUJEyDQiw4NhMa4AyQhgAMJNIkbukN6YUI6dJgSzGCa0NAJ0KHJQFi9EtLQIUkHMqxFIGBjbEmlWS5JpRpeveHee87Zu9e5rzTYllxVr+q+d4fvEaZKVfec89+f/6lVWvd39t5Pk+jNaOGWpYACMy9gYDfzLbJABaYlMC5HrISStF1ThUOMB8c59Iov5bZbf4BUgfPrpiXvdRVQQAEFFFBAgb0RMLDbG2fvooACCiiggAJLJTCC3Ofxx7+X4cm/y0q+nJbLCbGhqLdoo/vYLdXj4GAVuJgCBnYXU9NrKTBXAiM2WY0FsckkrmJzcIw33/HTHDp8DykkopHdXPXTYhVQQAEFFFBAgc8UMLDzmVBAAQUUUEABBS62QAYCbJ36jzz9+F+hbB6FeBMtR+m1JU3wHfiLTe71FFgaAQO7pWm1A1XgMwXatqXMNb1en622YnDlO7n7jX8TikjKY2JwBr9PjQIKKKCAAgooMM8CBnbz3D1rV0ABBRRQQIHZFEgwzDCINc888M2MN36LXF3DcHyUg9WAcXKTmdlsnFUpMAcCBnZz0CRLVGA6AiWrxLYhxSEbxYi77/r7rF32JpoaelUNVNO5sVdVQAEFFFBAAQUU2BMBA7s9YfYmCiiggAIKKLBMAi1bZFYpM2ys/zOeeOR7uJQhOUeaUEA2sFum58GxKnBRBQzsLiqnF1NgngRiW9MbBMb1ZeSD13Hv236aMX1KaqKb2M1TK61VAQUUUEABBRR4SQEDOx8MBRRQQAEFFFDgIgskun8iMTXE0WM8+PA3MWiPQtuSw4Ccu7fgPRRQQIFdCBjY7QLNUxRYDIEyQFMPGIXT3HXXD3DwynczpqQM3X9zgFvYLUafHYUCCiiggAIKLK+Agd3y9t6RK6CAAgoooMCUBNKZPexS032N1uPYkx/i1KmfZ8Bhcs4GdlNy97IKLIWAgd1StNlBKvByAiGv0TtwHXe+9X8nE2jLYpLTxRZwAr8PjgIKKKCAAgooMNcCBnZz3T6LV0ABBRRQQIFZFNgJ7Bpoy52X3bd+l489eh8H2zdR5C26l+A9FFBAgV0JGNjtis2TFFgEgURFWw2549Xfx2XXfglkSCXQzegPJYRFGKVjUEABBRRQQAEFllfAwG55e+/IFVBAAQUUUGBKAu3knfeG3FQUZQ1N4P7HvhjWn2WVbRK9Kd3ZyyqgwMILGNgtfIsdoAIvJ9DEHrm3xjvf+ivQOwA506RM2YV2dMtt98VTQAEFFFBAAQUUmGMBA7s5bp6lK6CAAgoooMBsCtRsU7FC3Yyoygi54tnjH+aZxz/CpbnL7ybz7jwUUECB8xcwsDt/M89QYEEENtuCW259Pzfc9C3kEAlhBKk/2bsusUlkbUFG6jAUUEABBRRQQIHlFDCwW86+O2oFFFBAAQUUmKJAYkTMfdrUEooAeQTjp3j4yLewMnqSJnRrZnoooIACuxAwsNsFmqcosBgCbXk9933ej8DgesYN9MoG8mR6HXWoqagWY6COQgEFFFBAAQUUWFIBA7slbbzDVkABBRRQQIHpCSQSbZ2pyoIUoGWTqlnj6CN/gbT+n2iju9hNT98rK7DgAgZ2C95gh6fAywtcde2XctNt30NNJBRQdu//NEA5WX27+8FDAQUUUEABBRRQYI4FDOzmuHmWroACCiiggAKzKbBFw2oqIY+BHnVoqbqQbv3j3H//FzGIl9P0VhmxTchDDuQDxDaQwohhcYJee8VsDsyqFFBg/wUM7Pa/B1agwJQEynaVOgxpwoh+lQjbgRAy5eBWTow/xn2f/3sURUGM3XKYYUpVeFkFFFBAAQUUUECB/RIwsNsvee+rgAIKKKCAAgsrsMWY1dSD3EAoGYdEGRJx+3Eee+Q7YPj7pOoQNd1ymZustOVkCc0mNNTFOlV7ycLaODAFFLhAAQO7CwT0dAVmV6BMBTUlqdimCA1lGwisMEqBy699C7fc/kOToK4L7J47ct5ZZtsAb3b7amUKKKCAAgoooMC5ChjYnauUn1NAAQUUUEABBc5RYMSYfu5BaunWrBrFloJM2W5x/JmfY+up/xXiGm28BNIGRaop0mHaIjGOp6ja1XO8kx9TQIGlEzCwW7qWO+DlEajI1GmNXG2R6iErZUnTrLCZa+675wepDr/js4K55wI7Q7vleU4cqQIKKKCAAgosroCB3eL21pEpoIACCiigwD4J1IypusDuzDEO3QYzkR6R4ebv8uyRP0+TjlHGawl5i5TXiVxFCi3juEHV9vepcm+rgAIzL2BgN/MtskAFditQ0TJOfaga0rhlUFVsDWtWr7iTu+/5MET/+2C3tp6ngAIKKKCAAgrMg4CB3Tx0yRoVUEABBRRQYK4EEolIhJ1VqhiFlm5RqzJHcrvOsSPfyubWb9PnMso4ps6nIFxFy7B7t54iV3M1XotVQIE9FDCw20Nsb6XA3gqUOTEmkUNJSIkYKrbaEW+4/a9z5Sv/VPfuj4cCCiiggAIKKKDAAgsY2C1wcx2aAgoooIACCuynQAIS5JI2ZDItkXJS0OYTP8MzJ/4eZTOkKgJ1XieEK2jzM8S05j40+9k2763ArAsY2M16h6xPgV0LlClQxzFt7lPQQh7QW7uJu+/5YZrqcsruXSD3rNu1rycqoIACCiiggAKzLmBgN+sdsj4FFFBAAQUUmD+BbmZd6AK7lpwrQuiG0JBzIIeCuPkJjjzxncTtR+iHPiM2Ia6Q81H6+RW0uTvXQwEFFHgJAQM7HwsFFlYgZkgx06SCGDYJ4VJuvukvcNVNf4ZhhAEvH9h1QV7Y+Q8ODwUUUEABBRRQQIE5FTCwm9PGWbYCCiiggAIKzLBAl7fFbt+6LrDrM/n6LNSTf08MiCnx0CPvJ5/+PXocpE6bhLJP5kFW062M83iGB2dpCiiwrwIGdvvK780VmKZAF9gRK8apJYYTxOJy3nbnT8Oh2xmGncCuOz4znOv+vftfjK6ZOc3+eG0FFFBAAQUUUGDaAgZ20xb2+goooIACCiigwGcIdHHceP23OPrwt3Npt8ddnSkGa2y3n6TItxDZ1kwBBRR4WYEUW5761CUkKnLYIuQBOXT7X0IKfmHvo6PAvAq0FPQTFJRshA2uuenruOXmb4diBG2/+w0PBRRQQAEFFFBAgQUWMLBb4OY6NAUUUEABBRSYTYEusOsNH+bhh/871uqW7eGzVGurDMdjYiyYvGHvoYACCryMgIGdj4YCiymQSZQpE8MqG8WIu978Y6wdfhMxFJM9cXem7HsooIACCiiggAIKLKqAgd2idtZxKaCAAgoooMDMCnSLZZZ5m2cf/142T/6LndUyy01SvpwcTlDk5xa9mtkhWJgCCuyjgIHdPuJ7awWmKRDHFGnAiDFrh+7hzrt/jBxrmCyvXRjYTdPeayuggAIKKKCAAjMgYGA3A02wBAUUUEABBRRYLoFJYMcmnPoD/vjRr+FAuJ6mfpKyuJw2rBNTb7lAHK0CCpyXgIHdeXH5YQXmRiCGbXI+xFbxNK+/5Ue56pV/EmKiaRrKomdgNzedtFAFFFBAAQUUUGB3AgZ2u3PzLAUUUEABBRRQYNcCCYhswbjk/oe+gn5zHOp1CC0UkdC6B9WucT1RgSUQMLBbgiY7xKUUKPKI7bZP74qruff2f0hYGUxCujxZKjsTgmtiLuWD4aAVUEABBRRQYGkEDOyWptUOVAEFFFBAAQVmRaClJeaCkOH4Mz/Dsad/koMxMhydouofJDfdHDwPBRRQ4KUFDOx8MhRYTIGqzZzKLTfe9ue5+VUfIAdIjChCnxQaIuViDtxRKaCAAgoooIACCkwEDOx8EBRQQAEFFFBAgT0WyIzJ9AgJwuh+PvHg13IwnCbVJanMzrDb4354OwXmTcDAbt46Zr0KnJvAoC3YHBzgzrd8mN6B1zCZb5+3iWGFRCLu/IqHAgoooIACCiigwIIKGNgtaGMdlgIKKKCAAgrMskBNQ0VsIcZNHvrEn4bR77BavIbtdouiW//KQwEFFHgZAQM7Hw0FFlNgjZJ82Wt5490/w7CbTxe6PW8b6nZIURwwrlvMtjsqBRRQQAEFFFDgeQEDOx8GBRRQQAEFFFBgjwUSDTGXpMlSVzA69c956oEPsBYPs12uU6TVPa7I2ymgwDwJGNjNU7esVYEXBCoybRMJRY+GIZmaouiRmkiMkVPUvPvOn6Z/6ZvJZaYNgZYRsXvNJ69N9rPzUEABBRRQQAEFFFhcAQO7xe2tI1NAAQUUUECBmRVIkOOZwK6BzQd48sj76LUlw/JJivbwzFZuYQoosP8CBnb73wMrUGBXAm2iLPu0bQsFhJgZj0eEECjLAfngbdx7x/9M6N9At99tLopJWBdpoel30+08FFBAAQUUUEABBRZYwMBugZvr0BRQQAEFFFBgNgVyzpMv57rZdS1DqiZx7NEPMtz49zTxKQO72WybVSkwMwIGdjPTCgtR4LwEUkqUVY+63qAo+kR61O0WZQWpKbnutm/jVa/8CmBtMrOO0KeYzKqroakM7M5L2w8roIACCiiggALzJ2BgN389s2IFFFBAAQUUmHeBzGRZq2by1nxJzDXNs7/BQ0e/lUGKkF0Sc95bbP0KTFPAwG6aul5bgekJtN1f/yEQ2CanSGxXoGooy8h4vMZd7/4Ig94tkwJS2PlvhLaBotiZme8mdtPrjVdWQAEFFFBAAQVmQcDAbha6YA0KKKCAAgoosFwCGdqQu51szgR22zCu+eMHvpi1ZmO5LBytAgqct4CB3XmTeYICMyFQBwgp0qvGtOMxMV9CKsbU9Lj68nfymru+D3JFShCLhsmUum46/nN717mH3Uz00SIUUEABBRRQQIFpCRjYTUvW6yqggAIKKKCAAi8nkKCNYzK9ycvyqR1R0uexhz9I2Px/yLn7ds5DAQUUeGkBAzufDAXmU6DONWVeoapq6nqbfnWY9dExGq7nXW/5LnpXvgfOzMLPuSWEYmeg3a/lDNHEbj47b9UKKKCAAgoooMC5CRjYnZuTn1JAAQUUUEABBS6eQIIUuwUxy+7deVpailwwevY3OPmp76Qxr7t41l5JgQUUMLBbwKY6pKUQSHlMkS6ljCNSHkJvjdPNOmtr93HvvT9EjiuTJTMnGV3uls/sfpbY2fv2THi3FFIOUgEFFFBAAQUUWE4BA7vl7LujVkABBRRQQIH9FEhjmtij28umzJBDTUtFf/Q0n/rke2iSX8rtZ3u8twKzLmBgN+sdsj4FXloghjGMDxHimBC3GRNIfbjm2v+WV9/4wcl+djthXbmzCmaALuSrU6IqBm5h54OlgAIKKKCAAgosuICB3YI32OEpoIACCiigwAwKdEldwWSPmu7bt8ypyRv3MObBoz/Mgad/ljEbhGqNVF9PDg8TOQTdF32x6KbkeSigwBILGNgtcfMd+lwLBGradkBZRmKbyE1mVF3Kve/4edrVyxlM5t17KKCAAgoooIACCiyrgIHdsnbecSuggAIKKKDA/glMgrqGtnuDPnQv0G8R0uqknmfX/xnbD3+QolilZUibLiOG4+QwIqSD5BgIqdvMxkMBBZZVwMBuWTvvuOddYPL3d9WQm1VSs0G/fwmHr3w3N73urzGsCgO7eW+w9SuggAIKKKCAAhcoYGB3gYCeroACCiiggAIKnK9At7xVDJmUKmKMQA11NZl1l9PjPP6JrycyJLfb5FwTYqaJTxDaG4i5Wy5zfL639PMKKLBAAgZ2C9RMh7JUAm2TKftbNKPVyXLYoQy89U0fprr87QzjmAG9pfJwsAoooIACCiiggAKfLmBg5xOhgAIKKKCAAgrsscBOYBfJuSB0U+xIO8tcTsI7ePaR7+PUxj+lajORMYmC3HuKNL6GMvTIebjHFXs7BRSYJQEDu1nqhrUocO4CbaopikDbNoRihVyucd+9vw4rkVEK9ONk5zoPBRRQQAEFFFBAgSUVMLBb0sY7bAUUUEABBRTYP4Fu77rJd3KTrC6zsy5mc2ZDu0i9/h/45ONfz8Em0qPHMI2JK5DGmR592tytqemhgALLKmBgt6ydd9zzLhCLTGoDIXZz5VuuuearueXWD0KVSMRuW1sPBRRQQAEFFFBAgSUWMLBb4uY7dAUUUEABBRTYH4E2T1a/3Dkm+9l14d1OYFe3gYoxnzzy1axsf5QqH2DYtoSVFZrmJCu5C+x8A39/OuddFZgNAQO72eiDVShwvgJdUJfGLaEYMIwN9731H1AduIUc8pkZ9+d7RT+vgAIKKKCAAgoosEgCBnaL1E3HooACCiiggAJzIbCT0SXIZ96lz3ky5a779ZoRFX2efvxHaU/+FGVTMQ4V4whFqKnahuQeN3PRZ4tUYFoCBnbTkvW6CkxXIHd/37eQi5ZLLnsnd9z1o6Qi0bSJ3uRNnnK6BXh1BRRQQAEFFFBAgZkWMLCb6fZYnAIKKKCAAgosokCiIacxRRxAijBZ4jJOfprCNtBn/Oy/4eTRbyOOt2nLS9hMQ/rlGlV9mjb0F5HFMSmgwDkKGNidI5QfU2AGBYq8QlM8xu23/RCXXPlf0/S6/w5oKEMGqhms2JIUUEABBRRQQAEF9krAwG6vpL2PAgoooIACCihwjgKTnWxy5IEHvpT+xiehPEyqW1Ziw+neKXr1wXO8kh9TQIFFE8gMyWHA8WMr1PUqTVgnxorQVIQ4JnVr7nkooMBMCgyKguE4caoMfOG7f6ebbEdVnYZ0kO0IKzNZtUUpoIACCiiggAIK7JWAgd1eSXsfBRRQQAEFFFDgHAW6+Xbdi/bPPPG9bB77CXrVa0jjk/TiGuvFpxi0h87xSn5MAQUWTcDAbtE66niWSSDULam3xSVXfxWved2HKGK3IvY2tCuMC1zwepkeBseqgAIKKKCAAgq8hICBnY+FAgoooIACCigwgwIpj8nr/5Ejj385g3AroX6aXria0+FT9NKBGazYkhRQYC8EXhzYNc0aNaecYbcX8N5DgYsgkJuWZuUkd97+S6xc+WYCFTE1EErGwcDuIhB7CQUUUEABBRRQYK4FDOzmun0Wr4ACCiiggAILK5BraEbc/8iXUm4fo58z5EvYjsfppcHCDtuBKaDAWQTCmERvsiSmgZ1PiwLzJRBiIg+u5t67f4k86BO7PesaoGxIlLig7Xz102oVUEABBRRQQIGLLWBgd7FFvZ4CCiiggAIKKHAxBDKQ4Imjf42tZ36Rg8UVjNshqcwUrV/pXQxir6HAXAqEMTn0efaZgYHdXDbQopdZoGaL6171AW6+9QOk2EAqIUMsRuTUxy0ol/npcOwKKKCAAgoooEC3PUruXtf2UEABBRRQQAEFFJgZgTP/ddbtZXf69G9y/OHvYo2SzXySoigJBnYz0yoLUWDPBc4Edt0Mu7pedUnMPW+AN1Rg9wJbY3jHe36Jcu1mcpfUtYlQFLRsU7UrUOz+2p6pgAIKKKCAAgooMP8CBnbz30NHoIACCiiggAKLJpBbum/tuv1sivYkzzz452H7IUZxCLTE1Fu0ETseBRQ4VwEDu3OV8nMKzJxAf+V27rzvI4xDRQmT/euaGCEnylzimpgz1zILUkABBRRQQAEF9lTAwG5Pub2ZAgoooIACCihwDgJdYJczwxgZ5MipR76NjeO/STtYITUnKfKBc7iIH1FAgUUUCLF+fg87Z9gtYocd0yIL3HjDV3P1a76D001krcvn8pgmBKCi7KbVu+L1IrffsSmggAIKKKCAAmcVMLA7K5EfUEABBRRQQAEF9lqghhypQzefrqA5/e946sh/xUGuYkR/r4vxfgooMEMCXWDX5oqTJ1YYbvfI5ZCUoMwr5LhFppqhai1FgeUSKMM226M1in6myAW5PU4/X8eo2GIYG97+rv+PoiiIMRImQZ2HAgoooIACCiiggAIvCBjY+TQooIACCiiggAKzJtDtYZehjpmWQDV8hCePfC29Zp1x7ja46ZbM9FBAgWUUMLBbxq475nkRiO2IXKxR55oqVBThNLk+xDBuc+nlb+L2Oz8yCeq6wO65I+edjWsN8Oaly9apgAIKKKCAAgpMT8DAbnq2XlkBBRRQQAEFFNidQLcsFjuBXSbQS/Dso3+V7dP/N6ldJYR6d9f1LAUUmHsBA7u5b6EDWGCB2AS6ifDjJk1m2PWLhibBZoI33P7fc/krv+azgrnnAjtDuwV+MByaAgoooIACCihwjgIGducI5ccUUEABBRRQQIE9E0iTCXY0sZtfV1C2MDr5azzy5AcYtFcZ2O1ZI7yRArMnYGA3ez2xIgWeEyiaPk25AXEAbUPMiVxkRryCd7/9p2D1BrEUUEABBRRQQAEFFHhZAQM7Hw4FFFBAAQUUUGDWBDIIEC5TAAAgAElEQVQ0jMkhUdAjpgDN0/zRA+/hYN3tYeeSmLPWMutRYK8EDOz2Str7KHD+AjGtksqTNO2Aqgik8Zi2zBy64ou5401/A160FOb5X90zFFBAAQUUUEABBRZdwMBu0Tvs+BRQQAEFFFBgDgUSLQ2JRMWA3A4JYcDDj/xZivXfM7Cbw45asgIXS8DA7mJJeh0FLr5AaEtCr2Z7mFhbXaEZDqnjgNvf+N0cfsWXQgT3rLv47l5RAQUUUEABBRRYFAEDu0XppONQQAEFFFBAgcURyIkmRDItVS7Y2ckucPrEr3Dq8b9Fzu5htzjNdiQKnJ+Agd35eflpBfZSIKSWFANtLqkm4VyiXHkVb7nnx2h7V1OElw/suiAvhLCX5XovBRRQQAEFFFBAgRkTMLCbsYZYjgIKKKCAAgooQMo0MRAyFN1mdgFGtPRHT/L4J/+UgZ2PiAJLLGBgt8TNd+gzLxDDmNEYBmuHGG1uUFaRS6+8h9fd8WM0ZUtJORnDZ4Zz3b93/4sumTnzPbZABRRQQAEFFFBgmgIGdtPU9doKKKCAAgoooMBuBLo97DK0cUSgD3mLHqvQjrj/ib/EgRP/AeKAMWO6L+9jKkmJyZv5uRgS2mo3d/UcBRSYAwEDuzlokiUutcA4NPSbNfppk61BzY13/AxXvOKt9M68gLPUOA5eAQUUUEABBRRQ4HMKGNj5gCiggAIKKKCAAjMnkOg2uqkZEro97NKIKvQhwVPHf5z6iY9ALCZVt6EmpG7JzJIYCxrGxLTzex4KKLB4AgZ2i9dTR7Q4AnWuqco1Qt3Q716r6V/F7ff+BP2VGylbwL+eF6fZjkQBBRRQQAEFFJiCgIHdFFC9pAIKKKCAAgoocEECeQgMSGGbxAq5zRQhE3NkOPrPHH3wm4ATlPkAOQcatimLHkVI1HUmBr8RvCB/T1ZghgUM7Ga4OZa29AJN2KYKV5Ca4/TKzIHLvpzX3vVBGlaIKeKKl0v/iAiggAIKKKCAAgp8TgEDOx8QBRRQQAEFFFBg1gTyGOhBaEiU5NxtYzcm5h6wzWMPfh3j4X+gSgeIYYWGLXLRvbifiOMVcuxm6HkooMAiChjYLWJXHdOiCORyCONLye06DBK3v/bHufS6t9HkQBl29q/zUEABBRRQQAEFFFDg5QQM7Hw2FFBAAQUUUECBWRPo9rnJkxUwiQFS6AK7neUxu19/9skf4NiJn6ffbDEoXsGILeqQKdli0F5OTT1rI7IeBRS4SAIGdhcJ0ssoMAWBVGzD9iplWbJZtnz+fb8BvZJERXR63RTEvaQCCiiggAIKKLBYAgZ2i9VPR6OAAgoooIACiyDQBXZASuwsnxW66K4m55IQCrZP/VsefeK76Y8fZlBezXauSfSIPM1aeyWjYGC3CI+BY1DgpQQM7HwuFJhdgRGbrLYHKaqD1Ks3ce+9HwEaCOVkz9mCanaLtzIFFFBAAQUUUECBfRcwsNv3FliAAgoooIACCijw6QKJRCZQ5LDzG6HZ+TGV0C13ORpy5LGvo7f5O1TxEBtdnldeRpEfZ6U+zDie+bywCiiwcAIGdgvXUge0QAKjsM5a8wpCWXD1Ld/CdTd+JbQRikSTG8rQLW3toYACCiiggAIKKKDASwsY2PlkKKCAAgoooIACMybQsE0LVKzQTbDjuT3tupl3sYa64rHH/ixx69eJ7RobqUfZv3oS2PWHFeNycpaHAgosoICB3QI21SEtjEBTbrE6vJJh2OTe9/wyDC6jaC+BopsJD9EZdgvTaweigAIKKKCAAgpMQ8DAbhqqXlMBBRRQQAEFFJiiQDcDb+uZf8XRT30nB3KiSQW5Kkl5g7JdIYUu7vNQQIFFFAgx0+Y+J0+O2drulsldnQyzCJmUanIsFnHYjkmBuRAoU0GiTz54O295+98isULVFpP9Z4dlzcDAbi76aJEKKKCAAgoooMB+CRjY7Ze891VAAQUUUEABBXYt0NCevp+HH/2zrKYhdRpB3NkXJ6QzG+Dt+tqeqIACMy0QWjKrnDxVs7kVDexmulkWt2wCuWkJRY9X3vqNXHvT15ByQZl63dQ6tkLDKuWykTheBRRQQAEFFFBAgfMQMLA7Dyw/qoACCiiggAIKzIZAA23D4w9/E2nr9yFvEKgIrJHSmBDO7H03G8VahQIKXEwBA7uLqem1FLioAjEnxkWPz/u8n4HVVxOIxLac7GG3nQMr/v18Ub29mAIKKKCAAgoosGgCBnaL1lHHo4ACCiiggAJLIJCgjZx6+iM89cyPMIhxZ2ZdXoHJ7nceCiiwsAJnArtT681khh10f+67CTzdn/1ECu5hubC9d2AzL1B0E+j6N3DPvT9LHVaouiVquz+aEVKY/OChgAIKKKCAAgoooMDLChjY+XAooIACCiiggALzKNDlcxsf5eMP/2kuiRWhGdHmCooz4d08jsmaFVDg7AIvCuy2tgtyHpBzpgjJwO7sen5CgakKNDRcff37ueXWb6cJkTJCm4YUDEzrpirvxRVQQAEFFFBAgcUQMLBbjD46CgUUUEABBRRYNoHULYuZ+cRDX8mgfpSyaSfLYVKtQOssu2V7HBzvEgmEFsIBTq3v7GFnYLdEvXeoMy+wNYa3ft5PsHr4buKZLWUT28RuJuwkVHeO3cw30QIVUEABBRRQQIF9FDCw20d8b62AAgoooIACCuxOoCHncvLd39Gj38fWiV9gtT1Ay5C6CBStXwjuztWzFJgDgTOB3frplo1NDOzmoGWWuDwCobiGe9/5SzTVCt3qmExWsG4JFMQ2TWbBeyiggAIKKKCAAgoo8HICBnY+GwoooIACCiigwNwJbJPyyuTt/Y2T/ydHH/+rHEjXkuKYUTGibKq5G5EFK6DAOQq8KLDb3Aqk1HdJzHOk82MKTFvg8ivu4dY3fphhAQNqoCBNZtXVxLZbtnraFXh9BRRQQAEFFFBAgXkWMLCb5+5ZuwIKKKCAAgospUCbocjQBojhCR74vfdyeHyY7ZUR2+WIQe0b/Ev5YDjo5RAILYkVNjcDpzcacrc3Vi4IuSGETAr++V+OB8FR7odADGPGzRqxn2mH6xwsDpGamrZoGIc+N93501x++Cr6xUFSKgihJIRuJmye/Pl0Scz96Jr3VEABBRRQQAEF5kfAwG5+emWlCiiggAIKKKDARKAlU6RAO9kgZ52j9/85qlP3U/cj22FEv50sxOWhgAKLKGBgt4hddUxzItD9tVvHRKIitkPWYo+2TbRlS8OV3PH2v8clq4eA3s7S1V1ah4HdnLTXMhVQQAEFFFBAgX0XMLDb9xZYgAIKKKCAAgoocH4CLS1FKqD70rCNDI/9MCc+9YOE8hq2GBrYnR+nn1ZgvgQM7OarX1a7UAKh7ZP6x2lGq/TKgl5qSammrqA3uJc3v/1HiKF7aaYipW4WPOAMu4V6BhyMAgoooIACCigwTQEDu2nqem0FFFBAAQUUUGAKAi01RaomK2ulGuLwP3Lk4bczSG9iq9ig3/ancFcvqYACMyFgYDcTbbCI5RQI7Qqpf4x6uEJVtvRyn5SHbMYNbrr+r3DDbX9hsuxlF9aRIXYr1BrYLefD4qgVUEABBRRQQIFdCBjY7QLNUxRQQAEFFFBAgf0VqCFXkxJSC7E9zYMP3Ut/e426d4KyWdnf8ry7AgpMT8DAbnq2XlmBswjEVJGKbZq2pOA0/Xgl47zO6TjmHXf9A/qH7pzsWdeFdWdWwyR1q1eTdsK77k0bDwUUUEABBRRQQAEFXkbAwM5HQwEFFFBAAQUUmDuBerLcVveFYJOhbOHJx7+BdOKj1P0NymYnzPNQQIEFFDCwW8CmOqR5ESiINDTkUECzwaC4nO10mnTgBt75tr9PjgeeD+qeG1NKabKX3XP72c3LWK1TAQUUUEABBRRQYO8FDOz23tw7KqCAAgoooIACFyhQk6i6Rbe6d/ZpgeHTP8epJ3+YpswUrW/wXyCwpyswuwIGdrPbGytbeIGYoQ01kRW6dS/LWLOVE1de9xXc9rq/9lkT6HLOzwd1L/75wkM5QAUUUEABBRRQQIFdCRjY7YrNkxRQQAEFFFBAgf0UqMm5IrBNCiuTt/3LU7/L0Ue+gXEuKLoNczwUUGAxBQzsFrOvjmouBELKpGKLkA5R5BWITzBihVff9t1cc81XkYvuFZqdowvouiPG8sy/v7BM5lwM1iIVUEABBRRQQAEF9lzAwG7Pyb2hAgoooIACCihwgQI1NFVNJlJNvg8sgIY/+ORruXrjVYzKYxd4A09XQIGZFTCwm9nWWNjiC5ShoG67Depa+t0LM03NsNrgXff9O4YrAwbdctUeCiiggAIKKKCAAgrsUsDAbpdwnqaAAgoooIACCuybQAtN0ZAJVKn74rB7e7/h4Ue+nv7JP6IJzb6V5o0VUGDKAgZ2Uwb28gq8vEC3h12dGsqiP1kSM1ITDlzP3ff8Q8ZVoMfObDoPBRRQQAEFFFBAAQV2I2Bgtxs1z1FAAQUUUEABBfZTIEOahHKR2K2+FSOEhpPP/B+c+tT3EPMV+1md91ZAgWkKGNhNU9drK/A5BUKK1HmTfnWY1GyRig2uueb93Pi6/4lxhJ5+CiiggAIKKKCAAgpcgICB3QXgeaoCCiiggAIKKLA/AokmJ2IoiQkmW9aFRD79cY488m567TX7U5Z3VUCB6QsY2E3f2Dso8DICOUVyGFJxkJS3GJanuOv1P8HBq76QJuL8Op8cBRRQQAEFFFBAgQsSMLC7ID5PVkABBRRQQAEF9kPgswO7NrQUw5oHHvp8+uON/SjKeyqgwF4IGNjthbL3UOAlBbpJ7b2YaEYlVA11NeCd9/wiYeV6AzufGQUUUEABBRRQQIELFjCwu2BCL6CAAgoooIACCuyxQO52rGtemGEXoSZTNYEnHv3LpNO/tccFeTsFFNgzAQO7PaP2Rgp8pkCKDX0G1MOW3GupLr2Tt9z9k6RQdKtUd//noYACCiiggAIKKKDArgUM7HZN54kKKKCAAgoooMA+CWSYzKijgNz9X0sbCsoMp5/+B5w8+rf3qTBvq4ACUxcwsJs6sTdQ4OUEmmJErz5AyJlRrHnlTd/Aja/+AG0883eydAoooIACCiiggAIKXICAgd0F4HmqAgoooIACCiiwLwIJUkyEHOj+yaGmpqLHiPbk7/LkI9+8L2V5UwUU2AMBA7s9QPYWCry0QFNuUWxfwmpVsJ62uePNf4PLrvxiUqyJ3Us0zrHz0VFAAQUUUEABBRS4AAEDuwvA81QFFFBAAQUUUGAWBT750Xez1pyil4dshcsZV39MP19NmQLj3M3LS7NYtjUpoMA5CuQY2NiA0+srJAbEoiakBnJ/Ehx4KKDAdARCyoSixzhvsxov4fb3/lP6HIQQJ3+zuiTmdNy9qgIKKKCAAgoosCwCBnbL0mnHqYACCiiggAJLI/D4A3+OvPXb9HNkGC5jXDxBP19CbFuaUBDz0lA4UAUWUuCFwK5PYnUS2NHWBAYGdgvZcQc1KwIxJ3LoUaeGw2vX8tp3/EOK3CN3/4RgYDcrjbIOBRRQQAEFFFBgTgUM7Oa0cZatgAIKKKCAAgq8nMCpoz/O8Wf+JoN0CU28lCHrrIUV2nqLVBbE1C3b5aGAAvMq8OmBXZ/QzbBrk4HdvDbUuudGIIaGtu3R5oLrrngNN7zlZ4ndMtXd/LoYDezmppMWqoACCiiggAIKzKaAgd1s9sWqFFBAAQUUUECBXQuk9d/mwUe/krX6MtpqlWE7Zq0oJ4FdrkpC66Jdu8b1RAVmQaCA05uwcWqFNvcgjondUn3OsJuF7ljDAgsEhqS0SqLPKy9/Lde/5SNnArvmTGDn368L3H6HpoACCiiggAIKTF3AwG7qxN5AAQUUUEABBRTYY4HhUR488mX0Ruvksk+dMisGdnvcBG+nwHQEcs6EMrCxFTh9cvB8YBdyQ2SFFNrp3NirKqAA5A1COESTIlcevJmb3/bzlJ1LnMyxwzl2PiQKKKCAAgoooIACFyJgYHchep6rgAIKKKCAAgrMokBd88hDX0fY/n2IFeN2m7ViQEotddGnaJtZrNqaFFDgHAReHNh1M+yaVE1m2BnYnQOeH1HgAgVy2qIoLqXJsFpczh2f/48oczkJ7FoCBeEC7+DpCiiggAIKKKCAAsssYGC3zN137AoooIACCiiwmAIZnn70rzPa+Me0uU+TjrPKKiEEhnmFMo8Xc9yOSoElEMg0hKJkcztOZtgZ2C1B0x3izAjkNCLGNepcU6VV7vmTv05M3bK0mTZHCvO6memVhSiggAIKKKCAAvMoYGA3j12zZgUUUEABBRRQ4HMJZDjx5I+zffp/o24rmvwkK+kQMUa22gNUbOmngAJzKvDiwG79VEXbDpxhN6e9tOz5EwipJceChjGxLnnbl/6/xKYPZUlyQcz5a6gVK6CAAgoooIACMyZgYDdjDbEcBRRQQAEFFFDgQgVybgkbJ/njI6/nULyRUXuaXG5ShVeSxk9BXLnQW3i+Agrsk0ARIk0eM2pXOXGsINEnhxF0C/LlAbiH3T51xtsug0DMBW0Y0uaSfii46wt/myIHupUwu13s3MNuGZ4Cx6iAAgoooIACCkxPwMBuerZeWQEFFFBAAQUU2CeBBMPTPPDgF7CSIm27RSpPU+SrCO1JcujvU13eVgEFLlTAwO5CBT1fgd0LGNjt3s4zFVBAAQUUUEABBc4uYGB3diM/oYACCiiggAIKzJXA5C3/puaJh7+Bdut+IjWZDcgHIYwhF3M1HotVQIEXBAzsfBoU2D8BA7v9s/fOCiiggAIKKKDAMggY2C1Dlx2jAgoooIACCiyVwCSwS5mnn/h+Nk/8Gn1G5FzT5IJQBkIbl8rDwSqwSAIGdovUTccybwIGdvPWMetVQAEFFFBAAQXmS8DAbr76ZbUKKKCAAgoooMBZBVpqilyx/swvc/ToD3KAITHDKNdQrRCb9qzX8AMKKDCbAgZ2s9kXq1oOAQO75eizo1RAAQUUUEABBfZLwMBuv+S9rwIKKKCAAgooMCWBJo8p6VFv/GeOPPLNHGg3qYgMGdEUB6jaZkp39rIKKDBtAQO7aQt7fQVeXsDAzqdDAQUUUEABBRRQYJoCBnbT1PXaCiiggAIKKKDAPgjU1FS5gvoYnzjyZRwYnWJAn2E4zTAcoJecYbcPbfGWClwUAQO7i8LoRRTYlYCB3a7YPEkBBRRQQAEFFFDgHAUM7M4Ryo8poIACCiiggALzItDQECmJueYT97+HA9snJoHdKG6wwQorKc/LUKxTAQU+Q8DAzkdCgf0TMLDbP3vvrIACCiiggAIKLIOAgd0ydNkxKqCAAgoooMBSCYyBXjeJLox56Invpn/8t8ntNnWvoEjrkFeXysPBKrBIAgZ2i9RNxzJvAgZ289Yx61VAAQUUUEABBeZLwMBuvvpltQoooIACCiigwFkFxiR6bYTY8OTRHyE984vEtmVcVRRpC3LvrNfwAwooMJsCBnaz2RerWg4BA7vl6LOjVEABBRRQQAEF9kvAwG6/5L2vAgoooIACCigwJYExNb1UQYBTJ/4J64//j1REhnFAmRI5pynd2csqoMC0BQzspi3s9RV4eQEDO58OBRRQQAEFFFBAgWkKGNhNU9drK6CAAgoooIAC+yDQMKJM/UlgN978Q5488hX0AoxYo58iLfU+VOUtFVDgYggY2F0MRa+hwO4EDOx25+ZZCiiggAIKKKCAAucmYGB3bk5+SgEFFFBAAQUUmBuB5wM7II+e4ZEHvoTIMVoOMcgFTe52ufNQQIF5FDCwm8euWfOiCBjYLUonHYcCCiiggAIKKDCbAgZ2s9kXq1JAAQUUUEABBXYt0FBTnlkSk/GIJ468j7b+fRpWWGFgYLdrWU9UYP8FDOz2vwdWsLwCBnbL23tHroACCiiggAIK7IWAgd1eKHsPBRRQQAEFFFBgDwVqaqpckQLEJnHs0W9nY/Ofk/KAASWte9jtYTe8lQIXV8DA7uJ6ejUFzkfAwO58tPysAgoooIACCiigwPkKGNidr5ifV0ABBRRQQAEFZlxgTEMvlzuBXYaNxz7EidO/TN0m+jmSKGZ8BJangAIvJ2Bg57OhwP4JGNjtn713VkABBRRQQAEFlkHAwG4ZuuwYFVBAAQUUUGCpBBI1MZ2ZYRdg89ivcuKJv00ZnmFYlhR1uVQeDlaBRRLoArs6DRm1a5w4VkBcJYchOTeQ+oSYFmm4jkWBmRIwsJupdliMAgoooIACCiiwcAIGdgvXUgekgAIKKKCAAssu0AV2IVWEAAQYr/8bjj78P1Dlk2wXmartLzuR41dgbgU+M7DLYQBxbGA3tx218HkSMLCbp25ZqwIKKKCAAgooMH8CBnbz1zMrVkABBRRQQAEFPqdAkxtKyklY1821ieMHOPLJ99NvtxizRcmqggooMKcCLok5p42z7IUQMLBbiDY6CAUUUEABBRRQYGYFDOxmtjUWpoACCiiggAIK7E5gnBM9IoREmyNFOM2DH/8yeuPTNGxQ0tvdhT1LAQX2XcDAbt9bYAFLLGBgt8TNd+gKKKCAAgoooMAeCBjY7QGyt1BAAQUUUEABBfZSoCZTkSFl6lxQxcRDD76PausIKW8Qutl3HgooMJcCzwV243SA488EEn1yGAEtIQ8gtHM5LotWYB4EDOzmoUvWqIACCiiggAIKzK+Agd389s7KFVBAAQUUUECBlxQYk+jl7rcidYKqgMcf/S7y+m8S220ShXIKKDCnAl1g11Izatc4cSzS5h6JbULIBnZz2lPLnh8BA7v56ZWVKqCAAgoooIAC8yhgYDePXbNmBRRQQAEFFFDgcwiMaejlCCnSBIgRjh/9CbaP/QxlU9OEqJ8CCsypwHOB3XMz7F4c2EVWyDRzOjLLVmD2BQzsZr9HVqiAAgoooIACCsyzgIHdPHfP2hVQQAEFFFBAgZcQGFPTSxFyQTOZTJfYPPYrnHzq+6nGDW10SUwfHAXmVcDAbl47Z92LIGBgtwhddAwKKKCAAgoooMDsChjYzW5vrEwBBRRQQAEFFNiVQEumyIFR2KafVsghs7X5UU4e+W+6xTInQZ6HAgrMp0C3IGYOa4zj0zz7qetocyDnTIiJmBPJGbTz2VirnguBMtc0rE7+Go1pi3u/8HeBGgjkVOIfv7loo0UqoIACCiiggAIzK2BgN7OtsTAFFFBAAQUUUGB3Ammye133FWJNlSpyaBkPH+bY/V9Myiu7u6hnKaDATAgY2M1EGyxiSQUCNTmv0oZEmca89Yv+E4G2y+sglzs/eiiggAIKKKCAAgoosEsBA7tdwnmaAgoooIACCigwswIZMi1tKCgTtLGG+iRPfvzdkxl2MbczW7qFKaDA5xYwsPMJUWD/BGJoSKlPk1t6oeDuL/jXdMvUEru/eA3s9q8z3lkBBRRQQAEFFFgMAQO7xeijo1BAAQUUUEABBV4QyNDmISEOiCmRuqXyUssTH3v75EtGAzsfFgXmV8DAbn57Z+XzL7Azw24w+bt0rTrEGz7/1yhzNQnsEnEyu91DAQUUUEABBRRQQIHdChjY7VbO8xRQQAEFFFBAgVkVmAR2W4S4+qLAruTJj/8JRukYZXKG3ay2zroUOJuAgd3ZhPx9BaYokMeEsEqdE4dXr+e2d/wCMXWBHTy3HPUU7+6lFVBAAQUUUEABBRZcwMBuwRvs8BRQQAEFFFBgCQVy98XhCEKfmDgzwy5y7JNfw6nmY/TM65bwoXDIiyJgYLconXQccynQ1oSyzyhnrj34em5+208SU9/Abi6badEKKKCAAgoooMDsCRjYzV5PrEgBBRRQQAEFFLgwgQyERPdPTCVNTJQpcvzBb+bk+N9TNd0HPBRQYB4FDOzmsWvWvDACXWBXDRilxPWX3skNb/1RYtuHontRxkUxF6bPDkQBBRRQQAEFFNgnAQO7fYL3tgoooIACCiigwLQEcoYQoGVMkXo0EcoW1h/6Kxwb/0uqOkzr1l5XAQWmLGBgN2VgL6/A5xBoU00sB4zblusvu5cb7/kBYrMCpYGdD44CCiiggAIKKKDAhQsY2F24oVdQQAEFFFBAAQVmSyBDExoyJRUNpBJiw1OP/QjtiZ+jzeVs1Ws1CihwzgIGdudM5QcVuOgCBZnUVlAmVg/fwxve8HdJ1SbQI3a/Xlz0W3pBBRRQQAEFFFBAgSUSMLBbomY7VAUUUEABBRRYEoEWmuKzA7tnn/xJhsc/Qmr9RnFJngSHuYACBnYL2FSHNDcCk8AuFeSYWLv8Pt5wxw+TemcCu1RN9rLzUEABBRRQQAEFFFBgtwIGdruV8zwFFFBAAQUUUGBWBRpoykQmUpEgx8medsef+jm2n/k7pHZWC7cuBRQ4m4CB3dmE/H0FpidQEEkJ6tBy+Mr38vrX/y1SfxuoJnvGGthNz94rK6CAAgoooIACyyBgYLcMXXaMCiiggAIKKLBcAhlS6PbT6bbV6f5/JOeW08/8CsePfi9FrpbLw9EqsEACBnYL1EyHMncCLw7srrz2y3jta7+HVNVAMLCbu25asAIKKKCAAgooMHsCBnaz1xMrUkABBRRQQAEFLkzgJQO7zNaJf8Ezj3+ngd2F6Xq2AvsqYGC3r/zeXAFiLiYz7K571fu48dZvJ8Vm8mJMnMxmF0gBBRRQQAEFFFBAgd0LGNjt3s4zFVBAAQUUUECB2RTIiab74jBCkVtCyJO5ds36b/PYI99C2U2681BAgbkUMLCby7ZZ9III5JwpQ8GYxI03fyPX3fyNNCF1cZ2rYS5Ijx2GAgoooIACCiiwnwIGdvup770VUEABBRRQQIFpCOSGJu/spfNcYJcoYeu/8PADX0vVhXkeCigwlwIGdnPZNoteEIEusIuxoE4tt9z6rVx949fRnJlVVy7IGB2GAgoooIACCiigwP4JGNjtn713VkABBRRQQAEFpiOQG1pKcnkX1kwAACAASURBVNgJ7HJI5FwRtj7Gkfu/in7wa8XpwHtVBaYvYGA3fWPvoMDLCTwX2I2aMa95zXdw9Q1fwziWxNDNY/dQQAEFFFBAAQUUUODCBAzsLszPsxVQQAEFFFBAgZkTSCRSipTdSpjFJuQ1yHBy/Iesf+I9BK6duZotSAEFzk3AwO7cnPyUAtMQaOMmvfFVjMJxXn3Hhzh8zRfSL3rkJhBKN7CbhrnXVEABBRRQQAEFlknAwG6Zuu1YFVBAAQUUUGApBD49sNuGvDIJ7Nbr+1n/4y8gc+lSODhIBRZRwMBuEbvqmOZFoAkbDJpraMp1XvPG/4VDr3g3sZtb13YvyMzLKKxTAQUUUEABBRRQYFYFDOxmtTPWpYACCiiggAIK7FKgC+xyjhQJUlETczUJ7LbTk5z4oy+i7dbK9FBAgbkUMLCby7ZZ9IIINGGbQXM5bbXF7Xd+mNXDdxO7DWPbBIX7wy5Imx2GAgoooIACCiiwbwIGdvtG740VUEABBRRQQIHpCDwf2GVIsSHmchLYjfM6z37s82nyeDo39qoKKDB1AQO7qRN7AwVeVqANNf3mIHVxmjve8vOsXnYHBQFSZrKRnYcCCiiggAIKKKCAAhcgYGB3AXieqoACCiiggAIKzKJAA937/sRuhl1MhBy7rxNJueHoH91H227NYtnWpIAC5yBgYHcOSH5EgSkJNEVmUPfZDuvcc++vEi65npKColsTM7gm5pTYvawCCiiggAIKKLA0AgZ2S9NqB6qAAgoooIACyyLwfGCXG1IoCTkTusguwBN/eDcpOcNuWZ4Fx7l4AgZ2i9dTRzQ/AnWAlbZgVAy5775/RbNy6c4LMjSkyeKYLos5P920UgUUUEABBRRQYPYEDOxmrydWpIACCiiggAIKXJBAF9h1R0lNotu/bkwMPRLwxB+8HrKzAC4I2JMV2EcBA7t9xPfWSy9Qh4KVNjGuhrz9nf+JpqqeD+xawmSunYcCCiiggAIKKKCAArsVMLDbrZznKaCAAgoooIACMyrw2YHdiBiqydv/j/+XWwkMZrRyy1JAgbMJGNidTcjfV2B6Ak0s6bUNdTfD7l2/T1NByFAEZ9hNT90rK6CAAgoooIACyyNgYLc8vXakCiiggAIKKLAsAi3UQBVrmlBQtnGyHGYbT/PY77+XIgyXRcJxKrCAAgWEbXLoc/zZkvF4hdwtfxu7pW9djm8BG+6QZkggpoqWDereFbzrvt8g9bpXYWpIfeqcqYpux1gPBRRQQAEFFFBAAQV2J2Bgtzs3z1JAAQUUUEABBWZXIEE3y66Mzc6PbTkJ7HIc8ugffhExnZjd2q1MAQXOImBg5yOiwH4JFLkPYUheeyVvfds/polQpC0Cq6TY7WXnoYACCiiggAIKKKDA7gUM7HZv55kKKKCAAgoooMBsCuQusEuUoaUhPB/YERs+9fE/RTN+dDbrtioFFDgHAQO7c0DyIwpMRaCbYRfimOrS1/Pme36OJhjYTQXaiyqggAIKKKCAAksqYGC3pI132AoooIACCiiwwAIZ2tBSkD9thl339v8zn3wf4+2PLvDgHZoCiy5gYLfoHXZ8MyyQC0hD1g7fxxvu/jGaAsrJkpiVS2LOcNssTQEFFFBAAQUUmBcBA7t56ZR1KqCAAgoooIAC5yqQW9rurf9JYBcpU7enTpgs13XiwW9ia+Pfn+uV/JwCCsycgIHdzLXEgpZLoE0cvvpLeM0bPvRCYJe7wK6lisVyWThaBRRQQAEFFFBAgYsqYGB3UTm9mAIKKKCAAgooMAMCuSWFMNlLZwz0cqaL77qlu04e+Va2T//bGSjSEhRQYHcCBna7c/MsBS6OQEHkmhv+DK+89QPUIVOlMYT+zs+7DWM9FFBAAQUUUEABBRTYpYCB3S7hPE0BBRRQQAEFFJhZgQzdpLqYYByhRwLiZHnMk0f+Etun//XMlm5hCihwNgEDu7MJ+fsKTEsgk4j0uOnV38Qrbvo6xiSq0BByjzq0VDjDblr2XlcBBRRQQAEFFFgGAQO7ZeiyY1RAAQUUUECB5RL4rMCui+omu+xw8sFvY7jxb5bLw9EqsFACBnYL1U4HM1cCKTeQSm5+9V/m6lu+llHI9Gkhl4yo6YdqrsZjsQoooIACCiiggAKzJWBgN1v9sBoFFFBAAQUUUOCCBVK3c11dkqpuXl0NbUUqdubYPf3QtzJa/50LvocXUECB/RIwsNsvee+rQNW2tL2S617/N7nuqvfSTV1vKihrSNVk11iRFFBAAQUUUEABBRTYtYCB3a7pPFEBBRRQQAEFFJhNgUlg15TdJIBPD+xyzdMPfwejdfewm83OWZUC5yJgYHcuSn5GgWkI9FJgFFtuuevHufLyt0ATaUooW0hFt1xmt3ushwIKKKCAAgoooIACuxMwsNudm2cpoIACCiiggAIzK5C6PXba+PysOtpy8nNSw7FHv5vRqX85s7VbmAIKnE3AwO5sQv6+AtMSKFPBiCFveMcvc8nazaQUSRHKlCY/GthNS97rKqCAAgoooIACyyFgYLccfXaUCiiggAIKKLBUAonum8MUu7f9u5+Xk5+HHDjx2PexeeIfLZWGg1VgsQQM7Barn45mngSqXLKVx7ztC36dqjxESok2lFQ0pFA6v26emmmtCiiggAIKKKDADAoY2M1gUyxJAQUUUEABBRS4YIFJZtcFdt3MukgTd/bWOf3E32H92M9e8OW9gAIK7JeAgd1+yXtfBQpKGire9oX/gsCATE2dKnp0M+ycX+cTooACCiiggAIKKHBhAgZ2F+bn2QoooIACCiigwGwKnNlPJxMoUqCJIyJ9tj/1sxx/+u/MZs1WpYAC5yBgYHcOSH5EgakIxAxxcC1vedf/BZRAwziV9CbvxriH3VTQvagCCiiggAIKKLBEAgZ2S9Rsh6qAAgoooIACSyRwZobdC4HdNpEVto/+Isef+oElgnCoCiyagIHdonXU8cyXwIGDb+T2e3+qex0GQsM4l/TaLr9rzoR48zUeq1VAAQUUUEABBRSYHQEDu9nphZUooIACCiiggAIXT+BMYAeRmGAUt4h5lfFTv8zxp77/4t3HKymgwB4LGNjtMbi3U+B5gZQbrjh8H6++84cIsSJ2gR3Qa0ooa6BSSwEFFFBAAQUUUECBXQsY2O2azhMVUEABBRRQQIHZFGhoiE1JLIBQk4CYK0gjjh37BbaPuiTmbHbOqhQ4FwEDu3NR8jMKTEOgWxJz7dov5/Y7vhtyd4eaFBJt7lMFZ9hNw9xrKqCAAgoooIACyyRgYLdM3XasCiiggAIKKLAUAp8d2AViLiGPOf7sL7P55N9eCgcHqcBiChjYLWZfHdU8CBRELr3+fbzmtr9kYDcPDbNGBRRQQAEFFFBgzgQM7OasYZargAIKKKCAAgqcTWAS2LUlMXaf7N7+PxPY0XDqxK+y/tiHznYJf18BBWZWwMBuZltjYQsvEGLBNTf9RV518/t3AruQSLSktqIsJvPZF97AASqggAIKKKCAAgpMT8DAbnq2XlkBBRRQQAEFFNgXgS6wK1JJCEDOpNgCJTE3bK7/Jscf/uC+1OVNFVDgYggY2F0MRa+hwG4EusDu5td9iMuv/RNnorkusEvkVFJ0G8Ya2O2G1XMUUEABBRRQQAEFzggY2PkoKKCAAgoooIACCyaQaAjPB3aQYiITKHJma+N3ePbIBxZsxA5HgWUSMLBbpm471tkSSKHkzXf9NIPDtxNyJoQ82Se2C+piThCcYTdbHbMaBRRQQAEFFFBgvgQM7OarX1argAIKKKCAAgqcVaAL7CZ71u1MsKOdBHaZKheMNv4zTx/5+rNeww8ooMCsChjYzWpnrGvxBbrA7m1v/1XS6hXElIghkrrZ7F1kZ2C3+A+AI1RAAQUUUEABBaYsYGA3ZWAvr4ACCiiggAIK7LXAiwO7bo+dJkLLmH7uMdz8KM88+L69Lsn7KaDARRMwsLtolF5IgfMUaIuK+971WzRlSUwNMZR0i053S1DHyZ5253lBP66AAgoooIACCiigwIsEDOx8HBRQQAEFFFBAgQUTaKkpcrUzqhcHdqlitPVJnn7wqxZsxA5HgWUSMLBbpm471tkSSGWPt7/r39IUfHZglzJEE7vZ6pjVKKCAAgoooIAC8yVgYDdf/bJaBRRQQAEFFFDgPAV2dtfJtKSUaNvE0T++hZivIudADicIMRPzpTQZcjxB0V5ynvfw4woosFcCIQzIHCeFPhvra2xs7OyZlbo/x/TINHtVivdRYOkE4mVv5613/eBkOl0i0qRIGWtiW3UJnnvYLd0T4YAVUEABBRRQQIGLK2Bgd3E9vZoCCiiggAIKKDATArnbvG6yTNfOj5BIOdH9+pN/dBsxH578PHOKECI5rdF20/HCOkU+MBNjsAgFFPhsAQM7nwoF9keg+ztz8Iov4s43fq+B3f60wLsqoIACCiiggAILL2Bgt/AtdoAKKKCAAgoosGwCz4V1O4FdtzzXziy77scuonviD98Aub/zS2GLnCPkA2cCu60XltNcNjjHq8AcCLxUYNf9OW9DN9/HGXZz0EJLnEOB5/5ePfSq9/O61/7FyUy67k9c925MCDUxVTv717ki5hx215IVUEABBRRQQIHZETCwm51eWIkCCiiggAIKKDAlgecCu53LP/IHd5FzQ4j1JNDLqSLm3mSmHWGbnPzGcUqN8LIKXASBHoST5Djg9KnVyZKYBnYXgdVLKPA5BJ4L7K697bu44fovPxPMRdoMRajJudrJ6vzr0+dIAQUUUEABBRRQ4AIEDOwuAM9TFVBAAQUUUECB+RLYCe4e+9h7aZsTO8tfFiuktkfMBbGbaJcbcv70gG++xmi1Ciy6wAuB3cb6ATY2dhKCboZdyN0sn3bRARyfAvsm8Oq7PsyVh+8Guhdcniuj2zey7DaLNbDbt854YwUUUEABBRRQYDEEDOwWo4+OQgEFFFBAAQUU+JwCL+xpF3j6E3+arfFDpPAMFZeQUo+QGmLR0rY1MfTUVECBmRUwsJvZ1ljYwgu84b5/wtrKtTvhXNwZbqYmUC382B2gAgoooIACCiigwPQFDOymb+wdFFBAAQUUUECBPRXowrmdveteOF4c2D374DeysfVxGh6lFw6R2hUiY0Ic0qYhkYN7Wq83U0CB8xEwsDsfLT+rwMUQmCwZDbzlvb81eakl5PD8nnUpjye/1k1OP/Oxi3FLr6GAAgoooIACCiiwhAIGdkvYdIesgAIKKKCAAostkFKaBHYvDu1eHOIdf/BbObX9B7Tp/2fvToBku+77vv/OXbp7tvfw8B7wsIMACBAEAQJcsBESSVEwqchylCpLspbIVqqUcmLZscpll53YcVyO7WyK5VLseKPtxFbKUmiVZVEi7SozFCMxZFSKlFgLSREgQIEg8Ba8fWZ6ufec1P/0nHkXjZm3zJue3r636r2Z6em+95zPuXO76v76f87XVGRH5eqOiqwv5euqq55cODzfQPQOgZkWILCb6eGj8VMtkD7ckhqZ3kdTYPf08/+X4nOCvccOn+VlgV2h4DMCu6keXRqHAAIIIIAAAghMvwCB3fSPES1EAAEEEEAAAQT2VeDUqz+hwRv/SM4VuuA21a4PKQu1XN5W4U+qosJuX73ZGQL7KrC1Rl1wbV28WOnSulX7dBRXnsyqGCSwIYDA3gQsjGu7QhtVV1nrsFw4pVY/V2gFtQ59l9791F/f2455FQIIIIAAAggggAAC1yBAYHcNSDwFAQQQQAABBBCYJ4HTr/8d9U/+7a3AbqCO7yiL6/G0lIWT8oEpMedpvOnLnAkQ2M3ZgNKdaRMoQ6Z+PVBorSnTObUHUj/3OnL7D+mhR//ctDWX9iCAAAIIIIAAAgjMkQCB3RwNJl1BAAEEEEAAAQSuReDsyf9NG6/9VTnX0aW8HwO7wjtVLlOu0wR214LIcxCYlACB3aTkOe6CCOR1kHdeg2JJpbpqV14bzuveB/+M7rzvP1wQBbqJAAIIIIAAAgggMAkBArtJqHNMBBBAAAEEEEBgggIXznxa57/x48rV0UZmgZ1V1uWqsqBCl1T7zgRbx6ERQOCKAgR2nCAIjE3A1qpzgyBXePVDqSKvVFYDrSvXY+/9H3TTLR8a27HZMQIIIIAAAggggAACBHacAwgggAACCCCAwIIJdC/8Pzrx9R9U4VvazCt1Qq48LKuvvnLXVfDlgonQXQRmSIDAboYGi6bOmkDIcuV9L9eq1a9byl2l3NfquiU99ew/Vnvt7bPWJdqLAAIIIIAAAgggMEMCBHYzNFg0FQEEEEAAAQQQ2A8B331FL7/w7WpXy+oWtZZ8Jac1bWpdLVcT2O0HMvtAYFwCBHbjkmW/CCgFdlnRUy8sx/VdC/XU6xzVM0//rIrOYZQQQAABBBBAAAEEEBibAIHd2GjZMQIIIIAAAgggMKUC1Xm99JWn1Rp01M9rtcKminCzLumS2lmm4N2UNpxmIYCACOw4CRAYm4B3TmWVy+UbqrUs76Xc9aXD9+qp939Cysd2aHaMAAIIIIAAAggggIAI7DgJEEAAAQQQQACBhRMY6MXfeUydHQK7Vp5L9cKB0GEEZkeAwG52xoqWzpxACuyUX1Bwh+V9rtxtqjz2Dj3x+D+VspnrEg1GAAEEEEAAAQQQmCEBArsZGiyaigACCCCAAAII7ItALb38+z+s+sIvaEUPyCvXwHn5fF2Zz5R5Sgj2xZmdIDAOAQK7caiyTwSGAuGSglaUZ0ty3sn7gfpFpXsf+mO6567/lMCO8wQBBBBAAAEEEEBgrAIEdmPlZecIIIAAAggggMAUCtTSK6/+SfXOf0Jr4a4Y2PVVE9hN4VDRJATeIkBgx0mBwNgEnAYKKqWQKwuZgmp1s57e+a6/oFtv/V5b0I4NAQQQQAABBBBAAIGxCRDYjY2WHSOAAAIIIIAAAlMq4KWTJ/6aLp7+R1rWYQWfbVXYdamwm9Iho1kIbAsQ2HEyIDA2gTy0VWddDeqgIpPykMXA7skn/4k6a0/IMSXm2OzZMQIIIIAAAggggIBYw46TAAEEEEAAAQQQWDgBL507/b/q9Mn/Vsu+Fbs/kJPLBgohMCXmwp0QdHimBAjsZmq4aOxsCWR+WaHYGAZ2+UAudFSVpZ77wC/Il4dZwm62hpPWIoAAAggggAACMydAhd3MDRkNRgABBBBAAAEEblCglroXflmvvPrj6tS15GrVIVOWZXKhilOBsSGAwJQKENhN6cDQrLkQqDpyra7q4JRnm6r7HZWH7tWTT/+sbHlXCuzmYpTpBAIIIIAAAgggMLUCBHZTOzQ0DAEEEEAAAQQQGI9A5aV84wV99es/qKVqU0FdebWVZaVc6BHYjYedvSKwPwIEdvvjyF4Q2EHA1YVCMVBwhYK7pKq3pFtu/Yje+fjf0KCw1e0cbggggAACCCCAAAIIjE2AwG5stOwYAQQQQAABBBCYTgEvKetd0Asvfpda9Tm5sC6vZTlXSL4rp2I6G06rEEAgVsTaFlxbFy9WurTeitP22d+1MquQJVDgNEFgrwK5gqoghayMgZ3vH9aDD/5Huu3eH1GvrNUWFeh7teV1CCCAAAIIIIAAAlcXILC7uhHPQAABBBBAAAEE5kqgklR4rxdfeF6t/hnJXxwGdmpLYZ3Abq5Gm87MnQCB3dwNKR2aHoE8G6jXl/JyRcFtyPmb9cRjf15Lx79dfefVYlLM6RksWoIAAggggAACCMyhAIHdHA4qXUIAAQQQQAABBK4kUKlS4Z1OvfJfqzrzi1J2TutuTVm2rtU6V48KO04gBKZWIMty+dBXHUp1u6XOXwgKtu5W4aw2aGrbTcMQmAWBWrladVCZO3XDeZ1zhT723BflljryrlLG++MsDCNtRAABBBBAAAEEZlaAwG5mh46GI4AAAggggAACexOo5FX4oPOv/wNdPPmTKrJcG1lHkgV2LfVYo2dvsLwKgQMQSIGd1fpsbhYEdgdgziEWR6AKQUu2Ul2oNSj72iiO6tue/bRCnitkBHaLcybQUwQQQAABBBBAYDICBHaTceeoCCCAAAIIIIDAxARqBcV1es78H/r9V79bS3pQ/Uzyvq9O3VblqNKZ2OBwYASuIuBcpqCBUmB34aLkq1Iuz+XVl2PKPs4hBPYsYIHdsmvLV135tlNx5Em99/G/HZeGDM4r4+9rz7a8EAEEEEAAAQQQQODqAgR2VzfiGQgggAACCCCAwFwJ1EHKnaSNr+mFFx/Vsn9Yg2KguvZarlc0yDbnqr90BoF5EnBZUAg+BnZpSswU2NWhq8wV89Rd+oLAgQtkIZfqgQZFpnve/kd199v+hCg8P/Bh4IAIIIAAAggggMBCChDYLeSw02kEEEAAAQQQWGSB4KWQSVl/Uy997duUdzcV8q7qUKgTVlVrY5F56DsCUy1wObDLtdktdfGik6/aUpaJwG6qh47GzYKAC1IV5JxTTy098eRf06HDH5LPRW3dLIwfbUQAAQQQQAABBGZcgMBuxgeQ5iOAAAIIIIAAAtctYPcjnVTU0mtf/xMaXPg/VbtLyrJllX5FtbrXvUtegAACByOQArvgihjYXbhgU2IS2B2MPkeZdwFn00P3a+V5rn5+WB/4wD9UKO+RFa5m8955+ocAAggggAACCCAwcQECu4kPAQ1AAAEEEEAAAQQOWCAFdkG6dPLjOnfyJ1TVG8qKNWW+iNPtsSGAwHQK7BrY2Sx+vs+UmNM5bLRqVgRckKutCt2pWLtb73/vT0tlW95JWRBTY87KONJOBBBAAAEEEEBgRgUI7GZ04Gg2AggggAACCCCwZ4Hg1XeZbKWrcPYz+uZrP6a6v6G8XJXzXsGXe941L0QAgTELWJqgWsG1t6fErActicBuzPDsfhEEgrxKV2rgK63d/i49+vA/lr0lBgXlwRHYLcJJQB8RQAABBBBAAIEJChDYTRCfQyOAAAIIIIAAApMQqNRTUbXjmjzOXdCL/+/7dCwc1zl9U1WnrXbfojw2BBCYSgG3IafDqjVQv8p19nRLUqnadeVE2D6VY0ajZkYgaEmZ/W3VXg8/8id1y10/qE111c46VNjNzCjSUAQQQAABBBBAYHYFCOxmd+xoOQIIIIAAAgggsCeBSgMVdSmfScGt6/Wv/lG1139XG07qly21B0yJuSdYXoTAQQgQ2B2EMsdYUIEQgoIvNMi7+sCTf1/l4fer7yoVKpTVlZTzgZYFPTXoNgIIIIAAAgggcCACBHYHwsxBEEAAAQQQQACB6RHw8spCFtfkCb6nzVP/s86+9meU5e9Vz3mVdlOSDQEEplOAwG46x4VWzYWAD33JrSi0Mj337KcUyhVVLiiXI7CbixGmEwgggAACCCCAwHQLENhN9/jQOgQQQAABBBBAYN8F6hCXu4pb7YPyzS/ohRef01L2pLqq1fL9fT8mO0QAgX0SILDbJ0h2g8BbBZwGCkWh9uH36D2P/j2pJdl7pnytPHeSMtgQQAABBBBAAAEEEBibAIHd2GjZMQIIIIAAAgggMJ0ClZeKzEshUxWkoj6lF3/vD6kz6Gozc2oHKuymc+RoFQKSCOw4DRAYm0DhndaLN3T//X9Fd9/5g/K2RKTldVVfRbH1w9iOzo4RQAABBBBAAAEEFl2AwG7RzwD6jwACCCCAAAILJ+BtibqsUqYiVg5kCjrx8l9Qdf4X1M9aKgNr2C3cSUGHZ0eAwG52xoqWzpxAXhc6797QB575l1o+/LC8vUdaYZ0qhVDIxe/ZEEAAAQQQQAABBBAYjwCB3Xhc2SsCCCCAAAIIIDDVAlXoq1BLtatlq/P40/9aJ1/9ExpkKyrI66Z67GjcggsQ2C34CUD3xynQqlvaXDqk577lZ1Tlq3ECzEzDN8VB7VTGaTHZEEAAAQQQQAABBBAYjwCB3Xhc2SsCCCCAAAIIIDDFAl5d9dUJHQ3cQLVKdTZf0Tdf+JD6bkl5zRo9Uzx4NG3RBQjsFv0MoP9jFOiEllq3vFePvOe/U1elCmXK1ZezD7jY+q/kdWPUZ9cIIIAAAggggAACBHacAwgggAACCCCAwIIJdFWpFWplaktO6gap46STX//TCm/87+q1vJyr5ep7lIVDqt1JeXdKZTimuvZSxjo+C3bK0N1pEiCwm6bRoC0zJlC4XFXVVchzucKp3+/KuUJl2dKgd1Z5tqz7H/4rOnbPx+TVVmsgKa8ll2vTSUsz1l+aiwACCCCAAAIIIDBbAgR2szVetBYBBBBAAAEEELhhgUpeRQiSguQydZWpE6Tu6Z/RqVf/rFx2VHI9+bqtzMI5t6kQBvH74DMF1ri74TFgBwjsWYDAbs90vBABZ4vSFU51XUkhU55ZBGfva3159ZRlh/T4E39L5bFHFORU1vkQLffaVEZgxymEAAIIIIAAAgggMFYBArux8rJzBBBAAAEEEEBg+gRsNZ4sLslT2X1K9RRUqlTWPamXXvo+tQYDBfVjSBe0rizLpbAs76phaFf1pq9TtAiBRREgsFuUkaafYxDIXKk69OSrrnK3olZxVFXVU+XPq9UqVaw8oSfe9xPyrSUNtK52WJGqWiqd+spEffkYBoVdIoAAAggggAACCGwLENhxMiCAAAIIIIAAAosmYMV1FtjZWjzZQJWcXCjirF+vn/irGpz+hFwWlLkVVf6UFHLJHValS8rcYeV+Y9HE6C8C0yNAYDc9Y0FLZk8g66gerCvP+iq1ItVrCtmm6nBOcqu64/4/pbsf+AH5TOprQ52wLNV9qWjZR1xUzF6PaTECCCCAAAIIIIDADAkQ2M3QYNFUBBBAAAEEEEBgXwTibJhBCk6168llZZz6K/dOG5u/pte+9kPKdFad7O2qB2dUqasyv0U9d051fZM66u9LM9gJAgjsQYDAbg9ovASBoUDlc5WZrVm3rqpbK/gl5WVXfW2qdPfp3U/9XbXX7pV3XsGmzLQPtmhDISzbb0EI3AAAIABJREFUW6YVpbMhgAACCCCAAAIIIDA2AQK7sdGyYwQQQAABBBBAYFoFbO2eIPlStWrl8Y5kptr3lDunb3z1R7Te+xdado9Jtd3QPKmiPK4qu6BqcFilBtPaMdqFwPwLENjN/xjTw7EJVCFToZay7EJ8fyvKI9qoXlGlw7rvrj+iex/58/KhLzknhVLOPs7iuvL1kmx2aDYEEEAAAQQQQAABBMYpQGA3Tl32jQACCCCAAAIITKWATeyVSWFYKxBcXy60VPuBXF7Kn/p5vXDyv1JZDdTJlqTqpPLiDtXuYqxOyKxCjw0BBCYjQGA3GXeOOh8CRSXfW1KmDRVZLleu6UL/lDor79Izj/8l1WvvilNGZ1lPWWjHz7a4rJKvC2V5XAF2PhzoBQIIIIAAAggggMBUChDYTeWw0CgEEEAAAQQQQGB8An5rJR4fvAplCuGSnFbjmnaVq1QMuvq9r32PwuZXtVYcGQZ2ukuVu6iQDRR8Ob7GsWcEELiyAIEdZwgCexYI7qJUH1OrkHq9TdW+Ja21dOstz+sd7/gv1M17KtRWpoEyOflQxPfG+EEVxyp2e4bnhQgggAACCCCAAALXJEBgd01MPAkBBBBAAAEEEFgcgXXr6qmPa+MbP6kq1OqWpUIYqKW2XObl68WxoKcITKOAczadrVNVXdLZU8fk3UDeWdVsLjn+QKdxzGjTdAhkIVcVBgqupbZbkg+vKZQP6KlnPq7e0lF1qKCbjoGiFQgggAACCCCAwIIKENgt6MDTbQQQQAABBBBAYDeBvqTWxpf02ov/uUJ4SaFwGgwyOV8pL7yCtzXv2BBAYFICBHaTkue4sy6QZy1V4Q25qqOyXNKlwQW979G/qdU7P6K+y9Sa9Q7SfgQQQAABBBBAAIGZFiCwm+nho/EIIIAAAggggMCYBEKl8699QqdP/yXd1L5FFzfOKHdHlbkz8tzSHBM6u0XgGgSc1dZZhV2hqj6vsyePU2F3DWw8BQETqEImV5/Ravu4NsIJrR3+w3r0PX894vhMyvg8CicKAggggAACCCCAwAQFCOwmiM+hEUAAAQQQQACBqRSoJZ9LodrQy1/7Y+r0f1UhrMppRTYfpp/KRtMoBBZEoBHY1f6Czpy4lcBuQYaebt64QO281G1pZTmo5w7r6Wf+rqr2vbLC8dINYhjOhgACCCCAAAIIIIDApAQI7CYlz3ERQAABBBBAAIFpFagq9Ysitq46+2m98vvfqdX8nar9JRXhmGoNprXltAuB+RfYDuycar8eK+wqt6lgQQNr2M3/+NPDGxKoWxsqeneoW53VY4/+l7r5nu9UX5ky9TR812vf0P55MQIIIIAAAggggAACNyJAYHcjerwWAQQQQAABBBCYR4FQqXKZamVqa1Pf/Pp/po1zn1FbK8pdUB2YM2weh50+zYjADoFdnXXlQ0FgNyNDSDMnJ9APZ+TDUd1zz/fp/of/E3UHbWWtTLlC/Cdlk2scR0YAAQQQQAABBBBYeAECu4U/BQBAAAEEEEAAAQRGBWzSy0x1kHIn+Y3/Ty+9/Be15E+p9heHoQAbAghMRCCoUuZa8i5TVV/S2ZO3qM76qm1tLsKGiYwJB50hgVBq+cgH9O4n/7K82vIqVFe12nku2XSZ/A3N0GDSVAQQQAABBBBAYP4ECOzmb0zpEQIIIIAAAgggcEMCvVCrHUO5SlVWqPDShW/+j7pw9u/Jh5vlwsYN7Z8XI4DA3gWagV3tN3TmxFECu71z8soFE1hbfpve9eTflvJj6uVWVVerqAspr6RYYccadgt2StBdBBBAAAEEEEBgqgQI7KZqOGgMAggggAACCCAweYG6ruVyqzQoldl6dVUpDdZ18uxf1mun/xfd5ZbU1XFt1B0VWVdtVXI+U50PtOnW1alXJ98JWoDAvAq4Ola5hqyQD5t64/WbNVBXwRVyoZTs92wILKhAoWVV4aS8dyrcUYVioMHgkjqdO1T5dT369CfVbrdVFq0tIabAXNBThW4jgAACCCCAAAJTKUBgN5XDQqMQQAABBBBAAIHJCQQN5KtSrrA2eDnflQvL0vrv6Gtn/qKWzn1GdXhYai9rsz6h3A3UtjqFvlS2blFVX5hc4zkyAvMuQGA37yNM//YoEEKQrVG33Lo1Fsz5gaQ8V7/oqZ8f0off93c0WLpHZWFvbsOgLmytyeoca7PukZ2XIYAAAggggAACCOyjAIHdPmKyKwQQQAABBBBAYC4EglT1pazds7udqgdBZV7G2cIuXfw3Ov3yX1ZRlBrU35CKjmqrwqsrrekehf4bGpSscTcX5wGdmE4BArvpHBdaNVEBC+tsqzKnvPbqhI5c2FTV8uoVx/W+J/6Wlg49tLVOXWpqpvQ6AruJDh8HRwABBBBAAAEEENgSILDjVEAAAQQQQAABBBB4s0CQvJfqfFNWc5CHpfhVrisNOjr7xj/T6bP/k/Lui+oUN6tyLQWtKfOnlPX78uVNiCKAwLgECOzGJct+Z1ggBW95fUR56VW7b6rOClW6Q0+99yfUPvSIvLO6Opvu2Tamwpzh4abpCCCAAAIIIIDA3AoQ2M3t0NIxBBBAAAEEEEBgjwJWqOAq1XUh5X0FObm6VC2vIs/ktKFTr/199c78Q5X9rrLiqDaz0xpYVUN+s0JV7fHAvAwBBK4qQGB3VSKesLgCa+6QzvReUr1yk/KlB/XUY39D7aW3afipk+FGVd3inh/0HAEEEEAAAQQQmHYBArtpHyHahwACCCCAAAIIHLBAXQ+U57kUMnln1QibklbilJhyPVVqq+W9zr/6Ezp7+uPKdEkuX1LIj6kKtcraptJkQwCBsQgQ2I2FlZ3Oh0A9eEVu6QGFpUf01Pv/hlxxc+xYYW9l9n7m3joNpgV4KcTLMirv5uNMoBcIIIAAAggggMBsChDYzea40WoEEEAAAQQQQGBsAjYdZmbVCG4Q17DzPlOWDb+vgpf3Xi3Xkvrr+v3X/4r66/9WK7pFXf8lBX9cpQjsxjY47BgBAjvOAQTeIuDcMGjr65DuuOM79MDDPyYvp37IVGaZXPDK7DmNSru0E3tPs42wjhMLAQQQQAABBBBAYNICBHaTHgGOjwACCCCAAAIITJtAGBbTBfWUxXV+SskmxAxueEPT1rdTTyErVdQXdfr1n9K5M/+Nlvzdcq5UHXa4IzptfaQ9CMyqAIHdrI4c7d4HgVQJl3bl3PD9JgV2977rz+m2498t1VuVcuWF+B7mtSSpUqZCIdjzLzfGAjvCun0YHHaBAAIIIIAAAgggcMMCBHY3TMgOEEAAAQQQQACBxRIYrlDnVXundixXWNfJ1z+uN07/E7Wzs1quNlXnb1Mv68ZpyNrVMcl11csvadMta7leXywweovAfgoQ2O2nJvuaMoGs7qnIl2VBnA89heAVXFshVKpDV92sVNstqRzkyp1TrU1dCJd05Pi/p0ce/FF11h6esh7RHAQQQAABBBBAAAEErl2AwO7arXgmAggggAACCCCAgKSBHyjPSgXVyqxSIeRStaH1s5/QN8/+pPLu76jM36c6vKFMPRU6Eicqq/JaPR/U8R0cEUBgrwIEdnuV43UzIJC5ZQ3qMwpWDRdW5Wz9VFfJ5V3luZP8QINBpTJfUT+ckS9v1tvf9qd1+71/WCG7JKebZqCXNBEBBBBAAAEEEEAAgZ0FCOw4MxBAAAEEEEAAAQSuU2CgupZcZlNl2np3XvKZFC7q0tnP68IbP61u7zfVCpvKXFsDnVOWdeRCIflawW7AsiGAwN4ECOz25sarZkKgjmunpi2XC20p2HuNl1dfHX9JWbGsbnZJqzd9WG+/909p+cg7FLKBapUqZqKXNBIBBBBAAAEEEEAAgZ0FCOw4MxBAAAEEEEAAAQSuT8DyOb+prGjLh0xVLeVuWHVn69v5C5/X1179s+rUJ9TKjmrTn5JzxyTfVTuU6mfDSTXZEEBgDwIEdntA4yWzIuB1XpkOy4UVBfXltS65vqRcCrk6xSF1/Yruf9t/rNvu+w9ky6z2Q1dF1pEPlQpHZDcrY007EUAAAQQQQAABBN4qQGDHWYEAAggggAACCCBwfQK13Tv1knryKlWHQs6WslMlp6C8KnX6xF/XhbP/QK16oNrdKoUlFaFW6TbUi+vesSGAwJ4ECOz2xMaLZkNgSUvyda5KXQWtKxT9uIad7MMhGujYrd+nh9/+R6TO22Oldyi9Mm0qs0Cv7sRcjw0BBBBAAAEEEEAAgVkVILCb1ZGj3QgggAACCCCAwIQEQlXLZbmUDRTUU9CypFoDbUhaUtu3pMFLevmVP6ne+qe0UrxPfjBQOzukvv6dFO6ZUMs5LAJzIEBgNweDSBd2E1iql9T356WslGutqOvfUOWk2458l+47/n1q3/mIJGfF3PIKVmAnhaCsKqXgpBa2CCCAAAIIIIAAAgjMrgCB3eyOHS1HAAEEEEAAAQQmI2B3Sm3JOnXlYrVcrtpb2Z2UZ20N/EClSp099zM6c/rj6vRPKKuc6qytfnZSZX1oMu3mqAjMgwCB3TyMIn3YRSALXnKH1dUl1Xmlm29+Xvff8cNau/kRqehp4LM4/XIIkg+1imwQ17hz3j5EErM8NgQQQAABBBBAAAEEZlaAwG5mh46GI4AAAggggAACkxGotC6nVqxoiFNh2k3SsPXPBfnMxZupuR/o9Gt/UxtvfFydsKaNsKm6dbNa1YXJNJyjIjAPAgR28zCK9GEXgcpdks9WdOSmZ3TvXd+nQ8eelVymgatjVV2pXKGuled5XDPVAjrvvLxq1crUZk5Mzi0EEEAAAQQQQACBGRYgsJvhwaPpCCCAAAIIIIDANArUda0sk1zIFaoTOvXGT+vi+Z9Xu3taHUkbealaQcFtKGQ9ZaGjrF6V85XyrCsflqaxW7QJgekQaAR2NiXt6ddu0sDW+3KF5Au5zFIMNgTGIxA0iFXVTpmciniQ2tkVvS+5WsXgiJwLCpl9msPL2/eWrLmBalUqq8PD58ory4Zr0/lQSdklZcWm3C0/qntvf1LHj75fqpeGoZytS5cNJ17OVY6nY+wVAQQQQAABBBBAAIEpECCwm4JBoAkIIIAAAggggMB8CVRSKBRUx9BOVV9nTv59vXH2p5SHTZX+DmWuLa8NBW0oc0vKsiOqQ1d9fVMtvzpfHPQGgf0UILDbT032dZ0Ccf3SEGLI5remQnbOyblM9lXZBQ0fbsWfnQ8KtQV8S8rzjlR+XXVVqvZt1XlQHQottR/WPcc/pjvueE5au1mydVFDW6EOkqvk8uE8l17FcM06NgQQQAABBBBAAAEE5lSAwG5OB5ZuIYAAAggggAACExPwdpPVxWkybaZMZ2sMVX1tnP9lfePcT6mz+Q3Jb6rwUh5WLdZTFTbli0xqLSvvWQUHGwII7ChwhcDOhTJWObEhMC6BYPMdb9XYDY9hAV6pzM49n6tfnNw6dKY8OBWuVGYl196rqrpScVi9cEoqSx2++UndfvwP6djR56Ty5vgcq7jbXocut/K6gdVjK1j1qKyCdFw9Y78IIIAAAggggAACCExegMBu8mNACxBAAAEEEEAAgTkT8FKdxfuulduMc5mVvi05r/X1f6czJ/57VdULcoOX1fFHlfklDfyGQt5XyFds3jM2BBDYRcBlFl44hayQD5s6/doRVa4Xp8QksOO0GbdA7Qexcs5q3YYVdSFOZ2xbUKVCd6iqL6jOunFqZGVt+SpTNcz5pKXjuu/2j+rO2/+g1L47PuQLm04zixV0he0qrY1qv3SSTbPsXK44y+aw2I4NAQQQQAABBBBAAIG5FCCwm8thpVMIIIAAAggggMAkBS5KWlEVKmWuJSu4C7aOke+pDB256pJOn/uEzpz7aeW9l7Wsm5TbzVrfVwiZKje8+cuGAAJvFWgGdqNr2BHYccaMW8CpKxda8j6PwXHc3EDK7Lrd17Jb1qAqVGe5fOnUrb1CcUx3HH9K99z9fi2vfEwKFtBtKqitoE6c5tLbOnWqlMVPbGSxOjt4C+m2SurioazijhK7cY8x+0cAAQQQQAABBBCYnACB3eTsOTICCCCAAAIIIDCXAsFu6G5NkxbDOqvAiLdf421ZuZBZsZ1UndDrp/+pzpz75yrrF9UOt8rVSzZP5ly60CkE9kVga0pM5RaGW4XdTbHCziunwm5fgNnJFQVCX5mKYajmCvlY9jYM03xWy/Uky/GK9h06cvQp3XPHR7V087slFaptPbut9ehS7JbJgj675uexMrtWUJb5WK1n02/mWWt7/7WvlGcdBggBBBBAAAEEEEAAgbkVILCb26GlYwgggAACCCCAwIQEglT7Oq5bZFOmVVWlohiGcCHYOkROXj05l8WAoe5/VafOfEIXz/9bqTqnTs0adhMaOQ47CwKNwM7CcQvsBurGwE62zldmaTgbAuMRaLu2qtCN51ytSt4+iJGtKctuitVyd97+h3T7bU9o+fDDUr0k74NcaVXWTv1YPNdTy8Vyulh9bcvWtXILAO39oZYL+VYR3fB9wHsnZ9O9xlzQwr3hc9kQQAABBBBAAAEEEJhHAQK7eRxV+oQAAggggAACCExQoA6KN1edBnJ2RzZNaRacZDdj7Z5rKVW2xp16KtRWYRlD90s6e+7TunTqn0yw9RwagekWsMojW0HMKuxsCsLTrx9WP2wS2E33sM1N67LKKYRKde7Uat+iQ4ce0S1HP6AjN79f6twtX1YKVkkdF5uzf82ArVIWilhQZ28H9j5hl34ffAz0YiW2z+J6p7mrtyq1s2EBXpoQkxkx5+ZcoiMIIIAAAggggAACbxUgsOOsQAABBBBAAAEEEJgugeqs1i98QSfO/ittbHxRrXBJK25NpUq5qqdL9jWzadOCcruT62qFMJALXYXQVzc/rDy4OAFn5nM5n8XvC0sJndPF/LScK5W7tkKwm89BLlg1R89eIIXbokdm1R7O1lIaKLMbytqq/LPQkQ2BSQnECruWfLYpp7beOF2qqtoahK4yrQzXE2ObmMDwOrE1PalsbU5ripdzQZnN+uj7yrJcVTVQUZRxzba6ruP3dV2pLodTQMYPO4TL6ZRdp2wr4/Wntj3Lh2Glsm0hWEiWq8qsGm04TWVmU1Buvc4es6rnXrqOJSE7n+z1Fpi5TJ3+cA3RON2lcg1cGae4dC6P4Vr76HO65chDuu3Yk1peeYcUhr+v7QMa6qrQ2sTsOTACCCCAAAIIIIAAArMuQGA36yNI+xFAAAEEEEAAgXkTGPSltG5R/Yo2zn1Ob5z/jLq935QPX9NNumsYWNjN6VDHdbzidIDZqvJsSVn9koIr483nKnfDm8nBxbWR6uB10+Cw5Prxprf9i4GdK5RlrVi5tOnPbovm2rp5LrsJfvnG+LyR058ZEiCwm+rBqn03Xk9yl9ZaGwZsVjUWVKuo7VozDOzyvBWvP76W8tymNPUaWAlyXOTTtlq5s6BuGKrJBdWW+oVCwVvlWh7DOfvggsvsAwdBdT08rgV4w6DNyYetUC4ELQ28XJ4r35qGsgoDeV/H66M9dzNrx3DRFS21yqNaXX5QR296QsePPKFs9d6tNUatT8NKuVhEbcXT8fJoE2RSAjfVJyiNQwABBBBAAAEEEJhqAQK7qR4eGocAAggggAACCCyegNV3BG1Kvq/SrUrebmRXCv0XtVG9qIuv/x0N6jfUr9+IFXVlfkhZVsr7gSrfVa6b45RttuVuq7Il3ljuxxvTNiVbrDZxra1KlDzerA5+WG3X2l5vz26vV/HGd9pixV3j58UbHXo8cQECu4kPwZUa4INNWToM0tJmj9k1ya4vpevEwM6q6bKtbMurigFavD5l+bBaLthX24cFdOXWrjINXH845WRm1zi7ntkF0wK8VpxyuMzPx/3EGM/Z1KnlsPLOCvZCUDu7GJ9X+1yDulAdLJg7pM7yYXXaa1q55SNaWTmum1buVb50x+VjpxkuLftLXbNzMQaKNm3lsJrQ8kQ2BBBAAAEEEEAAAQQQ2JsAgd3e3HgVAggggAACCCCAwJgEhlHbcLOb0fGett0g3lrHKH4N5zXY+Iourf+a1jf+b/V6X1LWPyvnc620CtV1UFX1441puwFuU2DaZjfC69JWSvLyfkNVnOTNdl8oZC1lrlRncE5y9pvh2ktWrWfVJE4deZfJ+WYLx4TAbhHYTYDAbqrPjRTqx8o5C+9icLcV+tv0vflKbL/3PgZozSkr7ftMVv073KxSb/g1G67nFovshr/PbEpfK6GLV0j7YMIwRWvb4qAxyqtihZ13tWpXy1uFX/DqFce1tHyrDh+6TzcdelCry/druXO3Wq3bYmVzXQ+UW+qWD/czXGOuivuwCYLlB8Oqvu022fMsVNxKHy/nlFM9TjQOAQQQQAABBBBAAIFpFCCwm8ZRoU0IIIAAAggggMACC9gNY1svKd6kjjd/hze7g90Q9tLA7g2HgfI6qIjlHF7qn5I2X9Jm9xs6vf7PVNUDhbqrzG4+q1Khvpyt9+S9uuWGFDpyYUlOy1vSXsGtD6egqw7Fr1bBYje7h8f2cdpNa8NwJSc2BCYkQGA3IfhrO2wK4Kw+d3gNs7Xh0qcNMtV+c/iYrKLOrl42PaVNxzusrGupjCFerPrdqhQOwUI3O36tPPQVXK7cpg2OVW1etWy6zWFoN8heV5kfVlHcoU7rbq0s36u1lbfppkN3q7N0k7T8+HZHYqC3fQW0a5zUsbU8YwiYy/u4EqhCFmQfcxg+e/hYjOfihye2/uW2/qclikyJeW1nCs9CAAEEEEAAAQQQQOCtAgR2nBUIIIAAAggggAAC0yXgbS0mC+Lsxm+t4Adxyjfn7Aa1VGX9OJ2lfW8VeHHWODeQ3QK311T2unpT/f4rGvReULX5ZfW7v6te70XVvW/K5UF5sPWXcmVhWLVi60RZCGg3yH12TLIqF1vnLgZ2ts6dTfmWy3lbG28wXV60ZrEECOymerzr2qa1zLZzqxjg2UVq61rTqe0aEuJz+nUvXmNc4bYq7vzw2tZYg27YWZvecli6tuEuxUrgolhWuziqdvt2HVq+S6urd2q5c0R1+33qdJZUtpclZ9c3C96G63haLXEZg7U4P2bcZ1zjLtbODav9iji95VYIN5q92fV3WE8Xtzdlc7aYne13qzJvqgeJxiGAAAIIIIAAAgggMKUCBHZTOjA0CwEEEEAAAQQQWFwBC8QaU6zFO8P239ZUlL7YmiLTbjG7eC88zgy39YzOcBK3t/ClG9LZxd9Sb3BCG73f00bvyxoMvqqqPiHV/XjDOisOK6grF7pyFhbGqTkLFbKKvLa8vzxl3eKOET2fmACB3cTor+XAVvFmYZyt7RanvLRLUSjjOptWFVfVp5TZFLtlocGgH69dRd5Rvx5ea+rskop8WWV5XMvt27W8dIeW27ep3T6mslhRq/2I2q0VZa3DUtG+3KRYDGxT/qbKZPuogU29GbbW7Bw+dWuJzuEPbus62ViX01uYOPzlm7u7FfLZtJl2nFgDGCxgtGfbc4fTd7IhgAACCCCAAAIIIIDA3gUI7PZuxysRQAABBBBAAAEExiDgYzBXxMxtOMOa1czZzexCIdh0cZWyLN0c3grn4s3kuNhTrMZrbrGwpHH7ubLpMV2pPFa92G9qqTonDc4qVJfUXf9NVfUF9asT6g9eVT14Tb4+I6eLChrIheEaVGwITESAwG4i7Ndz0LiOXawOtrAuV1EsaalzWO32sjbzO1TmHXWWjinTqjqd41pdvkXScqyuWzry0OVDbRXn2WUtfQTBaohts8hs6+qlYNV7W+VuLVvjLlbj2fVtOH3ldsWcbErhWvlWNXJc/c4PK5VTPmdX2lQ5Z8eyDzrYtXf7epme26i+G7Zt+P/WZJnXw8VzEUAAAQQQQAABBBBAYEuAwI5TAQEEEEAAAQQQQGDqBGxauTxPE69dbp5Vr8SbwlbBYlFb43lWzWLTu6XNnjtcP8ppMBjo1Vdf1SuvvKIXXnhhWPliIV+cei6tLzV1DDQIgbcIZMHO6+H5369rnTlzRqfOnIk/51khH4brLrLtLNC8Ruz0jNHrSHq+y4bXlnTtid9vXW+a++ysBOW5Tblr151adRXiFJa2+Xprtt8ZHxwzOnLkiB555BE9+uhjuu348WH/gq3IN7zmxp9TteHItTp1v3n93u2aP+NUNB8BBBBAAAEEEEAAgesSILC7Li6ejAACCCCAAAIIIHBQAhayWWhnN8ibN35HbwSnn+2rPXdjY0MnT56MwZwFdJubmyrLMu5rNOCz1xDYHdSIcpz9EMhtItitwK4KQefOndOZ8+eG4bRyFeXowmP7cdRr30dVbU1de+0vOdBn7vRBgGYDdgvs0nPShwaaIV3z+zp0VRQW2GXxehOCi0FqXCuutuq12f6AgPXJtnRttp/TdbXVaumRhx/Wo+96VA888MCwz97H5ybX0Wt58/qdPmBxoCcEB0MAAQQQQAABBBBAYIoECOymaDBoCgIIIIAAAggggMBQoHlTN93o7ff7shvCzc1CPdsskLtw4YJ++7d/W1/60pfiY6mKzkI8+2c/p6q75j4I7DjrZkmgiMVLwwomi04uXryocxcvxJ8tsPNhsoHZ1SrYJm19vX/v19qf9Lz+oKciL7fDKjueBVYpvLrW/U3aabfjWxhpAV3zWpqu0dZPP6ji79bW1vTss8/qve99r5aWlrY/GGH9t1DXXmPX7dFr8az7TOu40S4EEEAAAQQQQACB2RAgsJuNcaKVCCCAAAIIIIDAwgg0g7YU3KUKDgvo7Iax3dS1KS5ffPHFWEHX6/d09szZWF2Xbo6nqetSUGeA9ljzhnC6eb/TYwsDTkdnSqDMnOKSjcFWSZMuXbq0HdgF7ySXVjubqW4dWGOvFghdb6D3loaH4fXJueEHBGxLVXWj1XsH1ul9PJD1KfUjXU+bj1kI1+v1tq+zq6uruummm9TpdOI0mm9vug0QAAAgAElEQVS/7369853vjC2y4M6u5+nrPjaTXSGAAAIIIIAAAgggMJMCBHYzOWw0GgEEEEAAAQQQmH+BZliXwjd7zKa6fOmll/SNb3wjrk1nVXfN36dKliSUbsBbkGc3h61Sr7mN3sC/4Rv28z809HCCAlZh1wzs1tfXY2AXg27vlA9L8Ca2zfPfz06B22h/ndoxrLNt+LutANVdDromNjj7cODRDzeMBnjWZ7sm23U2XZftOm1BngVz7aKMQeZTTz2lp59+OoZ4adupinofmswuEEAAAQQQQAABBBCYGQECu5kZKhqKAAIIIIAAAggshkCqpkuBnd0Atukuv/CFL8SQLt+6EZ7WO7LnpXWz7EbxIFW1OPemqTCH60m9eRq2dPN5nkOGxThrFqeXtoadTX4ZK0edm7oKu6tVsE16pK73b330+Wl63V37EYqtX21V17mtAHVOAjvrXJoS0yxSxbNdh+1fun632+0Y2tljaRrNND1xeo59tdDuOz72HdEsKCjfmu510ucJx0cAAQQQQAABBBBAYBICBHaTUOeYCCCAAAIIIIAAAlcUSBUZdrP31KlT+uwvf1Yb6xvxZvBKpxMDPLv5a9OspWDPKujiDeKtG+Rpak0LEFKlhx00TVNn3xPYcSLOmkAK7OK57Nyb1rBTyDScKJNtN4FrDRR3e17z+rHbMd5y7QlZfGqs0MuG1XezutmHI+xa25xyuBlq2uPpQxQW1KWf7au9tuka17zzXu95z3v0nd/5nSryQkMpNgQQQAABBBBAAAEEFlOAwG4xx51eI4AAAggggAACUy2Qpp47ceKEPvOZz8SAzqrn4o3huo7fp2oOuxGcKj7itGt2U3wrtLPnNAO7ncI6g0g3nOdhjampHlgad8MCwxkvh1VbFs3Z38bZC+fjz87qT1nD7oaNd9rB1YK+y78fVpoNt601My1IjdNjXl7PbiyNPICdpspmO1Sqqos9zS5Hbek6mqbLtGBudEvXZnvcfv/ud79bH/3oR7Xc7hxALzgEAggggAACCCCAAALTKUBgN53jQqsQQAABBBBAAIG5F0hVdOnGb/OG78svv6wvf/nLssCuuebc1W6azz0aHVx4gWaFnQV2Fy9ejGvY2UZgt/Cnx0wAjH5AIoWA9vWDz32Lnn32WdmUms11TJuhX3NKzVSl1wwSZwKBRiKAAAIIIIAAAgggsIMAgR2nBQIIIIAAAggggMCBCnS73Xgzthm+pYqMb37zm/qN3/iNWDVkQYQ9nqZVa97kPdAGczAEpkiAwG6KBoOmXLfATmsINsM250N8f7DQ7qmnnorTHltAlyqlR9c4TQ2wx+1DH3yo47qHhBcggAACCCCAAAIITJEAgd0UDQZNQQABBBBAAAEEFkkgTRtnN3DPnTunL3zhCzp58uT2VJdmYdUTqYKiOYXaIjnRVwSaAgR2nA+zLNAM7HYK1+r+IE55bJt9ffrpp/Xcc8/JpjtOYZ39Lu3HKrXT81NF3iz70HYEEEAAAQQQQACBxRYgsFvs8af3CCCAAAIIIIDARASaN16/8pWv6HOf+1y86drr9banQmtW1DXXotupQmMineCgCExAgMBuAugcct8Ettfy21pnNO24eV239wKbCtk+rLG+saF3PPSQvvd7v1cryyu2cN6b1suz19tzU2i3bw1lRwgggAACCCCAAAIITECAwG4C6BwSAQQQQAABBBBYdIE0BeZXv/rVGNbZz/bPbtBWVbXNk6Y42+0m76I70v/FEyCwW7wxn6ceXymwS+8L9gENey9IP3d7PT1w//36/u//fq1ZaLe12XuFTZmcntf8IMg8mdEXBBBAAAEEEEAAgcURILBbnLGmpwgggAACCCCAwFQIpJusL774oj772c/Gm622ZpFVSaTQbnTaNPvZbuLaVwvx2BBYVAECu0Ud+fno906BXfN6n6a1TNNlWiBn017az7fddpt+6Pt/QGtra/GDHfY729IHPnhvmI9zhF4ggAACCCCAAAKLLEBgt8ijT98RQAABBBBAAIEJCfze7/1eXLOu2+3GsM5uvtq/TqcTg7nmTdjUxHQDlykxJzRoHHYqBAjspmIYaMQeBa52/bYQzirl7HlpfToL4jY2N9VutfS2u++JlXZLS0vbLaDCbo+DwcsQQAABBBBAAAEEpk6AwG7qhoQGIYAAAggggAAC8y1gYd3nP//57fXq7OashXFpnbrRCovRioyr3fCdbz16t+gCBHaLfgbMdv+vdP1OH8qwamv7IIcFdWktO/ve3itUe73tbW/T93zP98RKu/R+wXSYs31e0HoEEEAAAQQQQACBoQCBHWcCAggggAACCCCAwL4KpBuoaadWOWc3W+3fV77yFf3Kr/zKvh6PnSGwSAIEdos02vR1JwF7T7nnnnvi9JgrKyvb02Om955UcZe+oogAAggggAACCCCAwKwIENjNykjRTgQQQAABBBBAYMYERoO73/qt39Kv//qvD6sk2BBAYE8CBHZ7YuNFcyJg7x9lWcbpMu+87Xb9yI/8iFqt1o5rmzar7lIFd6rimxMOuoEAAggggAACCCAwZwIEdnM2oHQHAQQQQAABBBCYBoE0zWW6Ofq1r31Nv/zLv7w97eU0tJE2IDCLAgR2szhqtHm/BJrTJ9t6dzetHdIf/+N/XHmex/cX+2pbep5VdttmVXn2OwK7/RoJ9oMAAggggAACCCAwDgECu3Gosk8EEEAAAQQQQGCBBZqVdXaT9MSJE/qlX/qlWBVhU5TZ79kQQGBvAgR2e3PjVfMhkNays7DOquzsfeXIocP60R/9UXU6ne33mBTcscbdfIw7vUAAAQQQQAABBBZFgMBuUUaafiKAAAIIIIAAAgcokKYi6/f7+tf/5l/r1W+8Gm+m2s/pRuoBNodDITA3AgR2czOUdGQPAvahD/sgiAV2qYrOpsQ8duRm/fAP/3Bc0665pefu4VC8BAEEEEAAAQQQQACBAxcgsDtwcg6IAAIIIIAAAgjMt0CqaLCvL7/8sj772c/GdevspqpVRDAl2XyPP70brwCB3Xh92ft0C/TrWu2tsM7eVyy4s6/27+6779b3f+/36dChQ7GS26rxmoHd6Lqq091TWocAAggggAACCCCwiAIEdos46vQZAQQQQAABBBAYo0Ca9vLipYv65C98MoZ0vV4vTl3GhgACNyZAYHdjfrx6tgVCnqkaVGrleazYtsDONqvctp+f/7aP6MMf/nCcGtM+HJK+2nMI7GZ77Gk9AggggAACCCCwCAIEdoswyvQRAQQQQAABBBA4YIHTp0/rU5/6lDY3N+ONVKt0aFbeHXBzOBwCcyNAYDc3Q0lH9iBgFXZlq9SgP1CZZfH9JU2Tad+vLi3rx37sx7S0tPSmvRPW7QGblyCAAAIIIIAAAggcuACB3YGTc0AEEEAAAQQQQGD2BXZaF8huiNpm4dw//5l/rosXLm5PV2aP283U9JzZF6AHCExGIAV29nc28D5WFZ04fSo2ximX3PDvkA2BWRSw8C2ey85tT5+cHmtWzdlz0s+jz/3Qhz6kD33wQwp1vb1mavM9q3mMqxk1K/Su9lx+jwACCCCAAAIIIIDAjQoQ2N2oIK9HAAEEEEAAAQQWUMDWC7IALm3Nn7/85S/ri1/8YpwK00KF5o1VC+xYw24BTxi6vG8CBHb7RsmOpljAgrJmUJeamt5Tmu8jaRpm+2rvS+12Wz/+4z+upVY7vt+ksG40fGseI+1/pxCw+bvm73fi2+nDLOk90H7H1NBTfNLRNAQQQAABBBBAYAoECOymYBBoAgIIIIAAAgggMC8CdkPyX/78v9S5s+diWJdubqbpyNIN2HnpL/1A4KAFCOwOWpzjTUKg+V6RKuhS+Jbak0K75u/td/YBkm/7tm/Th7/1g7Gq26pQLShL02fu5UMj1h7br72vNSv6Uhi30z6vp5JvEsYcEwEEEEAAAQQQQGD6BAjspm9MaBECCCCAAAIIIDATAs2bkSmQs+q6z33uc3EqzLRunf3Onms3TNP3M9FBGonAFAoQ2E3hoNCkfRfYqbrODpICsxSUNavkLDSzym57/+l0Ovozf/rHY7VdCtPSc3cL7JrPs3DONgv5Rqv5Rn+2/abKv9Que69rVqGn977mY/uOxg4RQAABBBBAAAEEZl6AwG7mh5AOIIAAAggggAACBy8wOiWmVTC0Wi194l98IlbXNSsZ0tSYFthZBR4bAgjsXYDAbu92vHL6BXarSmsGeBaOpeAuhXBpfVR770mh3XPPPKvnn3/+LZXepmDvWfZvc3NTFy9e1IULF7SxsaFerxdfb7+r6upN03LasdqtdgwBl5eXtbq6qrW1NR06dCh+byFh+vBKCu5Gw7zpHwFaiAACCCCAAAIIIDBJAQK7SepzbAQQQAABBBBAYAYFRtcBSl340pe+pM9//vNvqqyzEM9ufKYqBQvsmpUIM9h9mozARAUI7CbKz8HHLDA6FWbzcDH8CooVb82gzn6295hY1e0UAzd77zm8uqYf+IEf0KVLl+L70Pnz59Xtbarb7cagzt6P7LXN8K9ZGW7HHq3osw+rjFbo2XOsqs/acNvx23XHHXfo1ltv3W6n7Se1eS/TcY6ZnN0jgAACCCCAAAIITJEAgd0UDQZNQQABBBBAAAEEZkFgtLouTfVl1XUb6xvb016maTDtpqjdzEyVdrPQR9qIwLQKENhN68jQrv0QaIZxaX/NNer8YPihDwvH7J+9t1jF29LSUpx2uWi3tteryySVRanN7masfhtWeIftZqZKvbQ+XXONuhSypSengNCCwPR9czrO9PwQFN8DW2Urhnb33nvvdng3+t65H17sAwEEEEAAAQQQQGC+BAjs5ms86Q0CCCCAAAIIIHDgAnbT8sUXX9Sv/uqvxunE0s1Uu2lpN1rtJqXd5LSKBrupyrSYBz5EHHCOBAjs5mgw6cpbBNL7RnofsfcOC+Tsn4Vzy+2OirKIoVyq1k7TYdrOgnNxnzE0K4r41TZ7H7LXW2Bn71nN16Qqu/S6FBDG/VkCt8NXe6z5vPScPC+2K/csULTj2DSa9913nx588ME3rWvH8COAAAIIIIAAAgggMCpAYMc5gQACCCCAAAIIILAngeZaPZ/4mZ/VxsZ6vFEZMqtrYEMAgXEIENiNQ3V69jlaYTa6pltzSuLm9Iqp2itzFkpdeWtOO9l85jVN1+j8W0KstI8UfI1WnjWPkWsYqKXnWvBm1W8pkLMPdWT55Skmm6HcLKwHN2qbTNPXB9/+YAzu0pquwxBxGDCmAPBK3zOl9NXObn6PAAIIIIAAAgjMtgCB3WyPH61HAAEEEEAAAQQmItC8afzlL39Zv/aFL8QKBrvhWG1VJEykYRwUgTkXILCb7wFuhjUpwBmt8jKBFIo1q7yaYd9OwZH9PlWWjQZJ6ef0+52Oace1qrHmNrofm7IyhXEWRlkwZWGcVcrZay2cy4vhVJZp3bdmf9L7yOjacek51xQqTuEpktpd5MOA7u1vf7seeuihaGXTRZtT2kbXid0OY/kwzBSOLE1CAAEEEEAAAQT2V4DAbn892RsCCCCAAAIIIDD3As0bylZR9/P/6ud1/o0z8caj3ZAdbE1BNvcQdBCBCQgQ2E0A/QAPORrWpKAqfW2u55aaZdfktJZoCrqaQVozfBsN3NL0kKOh0GgQ19xHaqMdy0I3C+Psn32/trwS3wfKVvmmQC61r/nadIxmG1JwdaUqvQMcjn0/VJqas9/v6+YjN+uJJ57Q0aNHt8cvjY89zwxSBd6+N4QdIoAAAggggAACCEylAIHdVA4LjUIAAQQQQAABBGZD4LXXXtMnP/lJtfJ8e10gpsScjbGjlbMpQGA3m+N2ra3ebUpMe/1Oa6ulxy08s38p6EkBX/O4zaq89PhoMJeF4fSMab+pQs4q49L0lTGka7feso7c1cJG26cFUqkdo1WCqe+jbd8pfLxWz2l7XlmU2uxuxiAuhaAPPfiQHn744Whj4zdaXZj6b78bDVynrX+0BwEEEEAAAQQQQODGBAjsbsyPVyOAAAIIIIAAAgsrYDcPv/jFL+p3f/d31S6K7RvF3g3XKGJDAIH9FyCw23/Tadrj6Jp1o21rVjjb73aqRNtpmsy0n2YgaN9bcGRhXArk2sWwMs4CuVg1lxcKCtsVYM2pM3ebdnOnx9Paa1aVbdtoUDjal51+P03jdL1tSSZWWbe2uqaqruKarxbA2ddbjt2ixx9/XIcOHdq2ScdIFYiEdderzvMRQAABBBBAAIHZEyCwm70xo8UIIIAAAggggMBEBVIVxebmZpwOc2N9Q877eOPYKjD6dT3R9nFwBOZZgMBunkd3WN3WDNxSkJWmlLTQJq0R1wzr0msKl8V92AcqbLPwzdaQS4FcWjuu3WnHx5tTMNrr7Bo+Ov1lM4ALYdi+5tSbV6qYa7bfvncue1P/mlV19vvU/+Fzhx/+aLZnVtewS30wN/s+VdLZeKQpTa367n3ve59uv/322G8L9yw0TQaz2vf5/ouldwgggAACCCCAwP4KENjtryd7QwABBBBAAAEEFkbgzJkz+rmf+7nh2nVbN1rt5iNr2C3MKUBHJyBAYDcB9AkcshmSNdetS0Fc+r0FbhbqLC0txQDOprRMU1d2ljrba6ClEM+emyq20tSX1r0UwNn+m9Vto5VulqGlgKk5dWYzwGuuqZf2nabsDOFyVeBOfRylHq3Wm8BQ7NshU1CXxiCFdmk87P0zz3K9613v0n333bd93FGnfWsQO0IAAQQQQAABBBCYOgECu6kbEhqEAAIIIIAAAghMv4DdkH399df1qU99Kja2U5bq9XrxRi9TYk7/+NHC2RUgsJvdsbuWlluwlQIve36qkLOQJ60nZ99bOGdfm1VosfLNJrC0VKxRmdaszEoV0qPr4e02teZOgVkzQEzHSa/Pw+W19prTb25X4eX28Y63bs2pQHebarPZp2uxnMbnpPFNbbOxvhxmDivvbJzf8dA79OCDD8bxTWPGGnbTOKK0CQEEEEAAAQQQ2F8BArv99WRvCCCAAAIIIIDAwgi8/PLL+sxnPhNvMKZp1WJg5/3CGNBRBA5aYN4Du1ThNRooJefRaRLt8WYgZfW+KRzaqQJsdPrG9PpUIXYtFV2j4VZzisjaD2JTR0Mye8xel9ZyS/uwn1NFXJy6smwNQ7rOMJCz721LIR7rmB30X9xkjmfjbaHdww8/vP3+ulNLmkFnCv8m02KOigACCCCAAAIIILAfAgR2+6HIPhBAAAEEEEAAgQUSsBuEVVXps5/9rL7+9a9v35i2m87dbveKNxcXiImuIjAWgXkP7BLa6DSAo+uY7VYhlqqRUtVSCsrSGnD2czNga4Zh9pyrBWLN/afqp+YUkBayja4hZ+vHpTXkcrnhmnJLnRjINY9n+7Nra2rj6Jpl6dhjObHY6dQI2DhbUOvk9M53vlMPPPBAbJudG80179J6hs3Qbmo6QUMQQAABBBBAAAEE9iRAYLcnNl6EAAIIIIAAAggsroDdHLxw4YJ+9md/dnvdo3SD0abFvNoN78WVo+cI3LjAvAd2acrAZgVaU22nqRubAZddf1I416ywGw34mpXAb6qQq+t4uJ3CMnvcAhOrAkxryaU15CyEs9/ZBxeaFXPNCrk43WGex303p4u0/aYKP/u6U4Vgeg0VzDf+NzTNe0ihrZ1D9n5qoe4zTz+jY8eObZ83o+em9WcwGMTzjg0BBBBAAAEEEEBgtgUI7GZ7/Gg9AggggAACCCAwEYGTJ0/q537u5+LNxOb6OunT/xNpFAdFYAEE5j2wsyG0a4oFU6OVcKPTVTYrzlKIkYK0ZkCX9pmCsdHTpDlNZisvtivk0hSWFoSk6SlTpVyqkouVUFvrjKUKvZ3WYLNjpjY2p/VsBpP2eGp/8/mpvek4C3CaL2wX0znXrKYri1Lf+q3fqsOHD79pCuomEtNhLuwpQ8cRQAABBBBAYM4ECOzmbEDpDgIIIIAAAgggcBACr732mj796U/HG+vNG+x2Y7t5w/kg2sIxEFgkgXkP7JoVdDtNe5kea1YZpYq6VOmbrknN61M6R1IFX6pUswq5VBVn4ZutIWc/Ly0tbU9b2Vx3Lq2xlwK10RAu7bcZ2jW/tyAmTdfZ3G/zHN6tuo8pMef/L70Z+tq5aeeLnQ9rq2t67rnn4tSqKZzbrQp1/pXoIQIIIIAAAgggML8CBHbzO7b0DAEEEEAAAQQQGJtACuzs5rXd5E7VAOnm4tgOzI4RWHCBeQ/sRod3NHSzMK25ZlwKzranlAzanhLTfmePp6kq7fvV1dX4s1XMtdqt+P1O0/g2g8NmUGbPbVbkNcO4YZg47MFbHx/+Issuv350Xb2dAsrUv/R1tHpvwf8c5q77dk6kaVft/XR1ZVUXL12M5+tdd96l97///bHP9t6bzluq6+buNKBDCCCAAAIIILDAAgR2Czz4dB0BBBBAAAEEENirwOuvv65PfvKTWzegs3iD3G6k9/v9eIOcDQEExiOwCIHd6JSRw6AriwGFrdXVDNPsMQs4UvC23O5sB3I2bWXZKuPr0nVptEJudJRGr1+j1W6jH0oYrfjz/vIaeDtNfWlFybtVCTbbslPgx5SY4/mbmqa92hinINfORTtfLayz8862p558SnfeeeebmmzPSeftTuvbTVP/aAsCCCCAAAIIIIDAlQUI7DhDEEAAAQQQQAABBK5bwAK7X/qlX4qvsxuJ6ZP+3FC+bkpegMB1Ccx7YNesFkrBXHPaSgvhLJyLa8h1OvGDAvb7dO3JtyrcmsFFsyJut2o6G4SdqteaoZs9Z6dApFkFeLXApFB+xfH2O3zeodl+PhBxXX8uM/nktI5dM7xLleztVlvPP//8doiXqvF2Oq9nsvM0GgEEEEAAAQQQWHABArsFPwHoPgIIIIAAAgggsBcBC+x+8Rd/cfsmebrByHRte9HkNQhcu0CKeyy4GXivXq+nk2+c3t6BGwmERv8mm4HPbn+vV/o7TtNDjgZiKczy4fIabfbcVC1kz7dj22NpbS77au238M2+jxVx2fCrhXFp2koL5WyzfV0tELt2SZ6JwOwJ2JSrDzxwvx555yPKsmK7A0yLOXtjSYsRQAABBBBAAIGdBAjsOC8QQAABBBBAAAEErluAwO66yXgBAvsiUDgXQy8Lv6oQ3hLY7XSQ0ekV7TmjodzozykYawZkaSrHZsVXCtHS75qhWtpnc9rKdlFuV8atrK7EdlhAZ5sFczblZQoV0+vTzwR2+3IKsZMZFrDAzv5ePvjBb1Wnvbz9t5LWkZ3hrtF0BBBAAAEEEEAAAZvRI/AxaE4EBBBAAAEEEEAAgesUILC7TjCejsA+CWQhvCmws4ArVdilKfSu9VCjYdxokNec6nF0n81AL60vZ1/TNJWpQi5NWZnWkfNVFae0tK3IC1V1Favm0tpyab+pMs+eZ/tthnbX2j+eh8C8CaQ1Eq3K7vF3vydWnTJN6ryNMv1BAAEEEEAAgUUWILBb5NGn7wgggAACCCCAwB4FCOz2CMfLELhBgXJrWkkLtmxKzH6/HwO7VPV2tSkjR9dkGw3psjBsYKqYszAgfW+Pr66uxukr43SVrVasiitbZQzh7LmjVXDNz4c2K+fseenY6fErtZ31MW/wxOHlcyEQgo9/a1ZR97GPfsf2dLLpb+lqf/9zgUAnEEAAAQQQQACBORYgsJvjwaVrCCCAAAIIIIDAuAQI7MYly34RuLJAqrCLVWlSnEIyVdil9eVG97DbpCopiGve5L9p7VAM3iyIs0DOpt9rtYfBXFw3bzCIAd6V1sLbKRS0NjUfTwFc+prWu0vVd+n5zek3m/vgPEFgEQXyPIthnW333/eAHn/88W0Gqu0W8YygzwgggAACCCAwbwIEdvM2ovQHAQQQQAABBBA4AAECuwNA5hAI7CBgFXapis0q7FJgl4KtwmVXdDt8+HCskLNgrBnI2c/2eKp8u9JOmsFbCglT+DcY9LensGxOb5mmuHQui9WAdiz7ase16TAtAEyhXWpDMxRsrp/HiYHAogrYGnYW2FmQnrlcH/vYx7b/ltLalotqQ78RQAABBBBAAIF5ECCwm4dRpA8IIIAAAggggMABCxDYHTA4h0NgS6BorPdWhRBv3jenxEwVcimMs7Xk2p12rJDLs1y1t7q84ZZCvubPKThrPtbEt6Btp9dfnkLTxdBvdA06e92wmk7b627ZdJ5per9UWZem1UxBYLONo23jpEBg0QTquop/y/Z3XxSlHn/347r33ntZy27RTgT6iwACCCCAAAJzK0BgN7dDS8cQQAABBBBAAIHxCRDYjc+WPSNwJYHVpaUYfLXbHZWddgy8Lqxf2p6yMtTD6fJsS1Nhjk6JObrOVfPn3abPTPu0arg0JeZopZ09Z3StuebPsbIuDCvpLHSw6sD01fphjw9CHb/a61I4eLk6z21Pq8lZgsBiCgz/NuzvMM8LHb/1uJ555pmtny+H6YtpQ68RQAABBBBAAIHZFyCwm/0xpAcIIIAAAggggMCBCxDYHTg5B7xGgdEwavRlo1M+Np8fQ6LGC0bDqzTl3JVCLW9z1jXCsmtpdnN/S0tLyovGlJWtdpy6Mk1Z6ZxVqoXtG/TWH7t5f+bsGYXgZVNOsiGAwHwK2N97qka1v3u7dnz3v//d29NiXu36N58q9AoBBBBAAAEEEJgfAQK7+RlLeoIAAggggAACCByYAIHdgVFzoBGBnarBdgrQdrpxnSrDmpVno9NC2hpxV9pShZk9Jx0jTQdpj/Xry1NONn+f9mnhm03tWLbKuA5Vq2zFr1Zp1lyzrdmGN/cle1NgZ+236fEI7PhTQWD+BZrXulSJ+i3PfYtuueUWpsWc/+GnhwgggAACCCCwAAIEdgswyHQRAQQQQAABBBDYbwECu/0WZX/XKpBuWKeQbDQUa1bQjd7cTscYrap706He43YAACAASURBVLG3AredwjZ7XjNUa4Z96VhFux2rXYqyeFMglyrkdgvlUhvS73er4gvBpoW8XGFHYHetZw7PQ2D2Bez6YAF9Ws/RrjX3ve0+PfbYY7PfOXqAAAIIIIAAAgggIAI7TgIEEEAAAQQQQACB6xYgsLtuMl4wRoFmuJXWPbPD7RR6XW2Ntt3Wc9sO5IoiBnJWIWfVcu1We7tCzh5vHn+nNuwWFqbHU+C4W9uzrNg1sJOC1f2NUZpdI4DAJAUsqLMqX/sAgAV3ZVFqeXlZH/nIRybZLI6NAAIIIIAAAgggsE8CBHb7BMluEEAAAQQQQACBRRIgsFuk0Z6uvu5WgZYCrhR4NaepbFbLXS2ws/1fKZCzG+W7Ve7Z47sFhuk1qTImqTan57THrhY4SrtPiUlgN13nKq1BYL8F0vXNptDt9/vb69l91x/8rrd8WGC/j83+EEAAAQQQQAABBMYvQGA3fmOOgAACCCCAAAIIzJ0Agd3cDenMd6gZiDU7MxrQpSo4C95a7VaskrN15NKUlZ1OJ758dJ27tM/mlJY7VctZ1YttO61v19xv8znN9lr1zE6vv1yBZ/sO2+tVNafEJLCb+dOYDiBwRQEL7OxaYNerwWCwPTXmH3j+D2h1dRU9BBBAAAEEEEAAgRkXILCb8QGk+QgggAACCCCAwCQECOwmoc4xdwq5mqFZCsTiGnJFoXanvR3IWUWKhW3tdns7TNtJtBnw7VSllwK13UbjahV0o2vj7bZW3mjl3eXjDSvs7MZ9Opa16Y0zb1jMyJSY/JkgMMcCdr2wv327xjXX0Hzm6Wd02223zXHP6RoCCCCAAAIIILAYAgR2izHO9BIBBBBAAAEEENhXAQK7feVkZ9cpkAI5q5CzAK5ZIbe0tHSde3vz00cDwBQCpmftFBBeywHT60Yr/q42Refovp3LCeyuBZznIDCHAhbS21SYaepeC+vt2vLYo4/pgQceuOKHEeaQgy4hgAACCCCAAAJzJ0BgN3dDSocQQAABBBBAAIHxCxDYjd94tyNYwNOs/ErPS8GP/S5VXqTnNR9Lr7fX7VidtsuBdwucRvdRBavyurztFIBdTc9uRu82ZeXy8vLVXr6Qvz956uRC9ptOI7BIAs3K2uY1/IH7H9Bjjz22SBT0FQEEEEAAAQQQmEsBAru5HFY6hQACCCCAAAIIjFeAwG68vlfaezM422naRJv60W7qNkO7tL9mWJceS2Fe+rlw7k2HH60AawZwOx0/ZNn263f6fZrOzdq5vYZcq6WyGE5ZubKy8pYgcadjTm4EpvPIBHbTOS60CoH9Fhj9UIZdU++68y499dRT+30o9ocAAggggAACCCBwwAIEdgcMzuEQQAABBBBAAIF5ECCwm9wojgZszSo6+34wGGw3zn62EMy20dc11z9q9mY0sNupp1eaxtEq7OyYKZAbnbLSArm0Xev0kHup0pvcCE3myAR2k3HnqAgcpEC6jts1Nk2HaYHdzUdu1oc+9CGmxDzIweBYCCCAAAIIIIDAGAQI7MaAyi4RQAABBBBAAIF5FyCwm9wI7zY1ZTMEa4Z49rjd0E1Vd7b+206B206h2E6P2U3i5hpyrVZL9q/Ii/h4WkOuOW1n83t7fdpGn3Mtqte75tu17HMenkNgNw+jSB8QuLJA+qCFXWvTtdiu7UudJX30ox/d/oAGjggggAACCCCAAAKzKUBgN5vjRqsRQAABBBBAAIGJChDYTY5/tzXommvYWet2m0Zyp8AvPWZf+/3+diCXquTsa5qycnV1NXZ+tLIvPWY3j21rBmvN71PF36jgaPub+7iW109uRKbjyAR20zEOtAKBcQukaYXTenbp63d87DtkFc1sCCCAAAIIIIAAArMrQGA3u2NHyxFAAAEEEEAAgYkJENhNjP5NB94plLNALFVhpPAsTY1pv7MpM+1rURTxn60jZ4GcfZ+5TGtra28J4+z56VipUm+nQM2Oa5Ufze1q01mOVszZ/puvaYaJzWNOxwhMTysI7KZnLGgJAuMSaE5tnL5P1/nnv/15HTp0aFyHZr8IIIAAAggggAACByBAYHcAyBwCAQQQQAABBBCYNwECu8mNaDOQa1alpWCrqqoYmqVpK8tWGaesjKFcXiitIZdCvNFArHlDOO2/+XX0+SaxWzVfUtptGsurTcO5U5Xe1QLAyY3MZI9MYDdZf46OwEEIpOufTYdp13S73qftg9/6QR09evQgmsExEEAAAQQQQAABBMYkQGA3Jlh2iwACCCCAAAIIzLMAgd3kRjdNiWk3bi2UszCu3WlvryPX6XS2A7sU7llrR0Oz0eBrpykpd+rltQRmN7LO3E7tuFogOLnRmJ4jE9hNz1jQEgTGJZCu/1Ypbdd6C+zShy+efeZZ3XLLLeM6NPtFAAEEEEAAAQQQOAABArsDQOYQCCCAAAIIIPD/s/eezZJc55XuPt61AdAgYQhHgjAUCBpIhGAJkRQ5EcOZiSvd+cagRP1DiSFRiuDHuR8kUSTRGhIgPKgG0A5tj/c31q5e1e/ZJ8uc7jpVWVVPRhyUycxtnr2zsrFXrveFwKgRGKRgF3O4matDQOqzQjv6s/Os+Tjn+mknYCmgo8+P4pFzr5Wus3Jsq9oXBaed/f0DjrSyLfFY1SkXhQQ55SaSQ25xcbG5QKv9ZbtGba7Rn8ME7ILUq8PhXb12tRnuFGYQgMBoEtD9xQ9i6PqX0873ADns7rvvvtHsOL2CAAQgAAEIQAACY0IAwW5MBppuQgACEIAABCAAgV4SGKRgV/ajSpTTombM3xaPqRLUomg2sbeXF0Bj3jaXpzIlCMbtUA62iYks+Ll+HRvDT2qB1e2RQ06CnPLIySk3NTmVXRMOZ5nzyk1O5uosItpR4TIs8N2Nq62Xc4OyjpdAuWDveXbt2rW0tb3VnC/H2wpKhwAEBkGg6vq3gE9IzEGMCHVCAAIQgAAEIACB3hJAsOstT0qDAAQgAAEIQAACY0FgkIJdK4HK31vgKkU1CRv6kxgWHXkW1CyAzUxONgW3eJz3RyHQ58a67KBTO2IeOeeVW1pcaoas1HelIBdDXrpPbrv2ScRrFc5yLCbfmHfSC/Z2i+pV8+Hq1atpe2f70NwYc1x0HwIjR8DOWt07fP3rd+H1115P999//8j1lw5BAAIQgAAEIACBcSKAYDdOo01fIQABCEAAAhCAQI8I1FGwKwW6GBbTbjmHEIuON52nRU8537z4qe/iObFshyOzo00CmkNWzkzP5NCVFussyFnsi+4IlVnlirOgqLaUoT1jOW4TzroeTeohKcaCbhTuNC/ksJNgxwYBCIw+gfL612ccdqM/7vQQAhCAAAQgAIHRJ4BgN/pjTA8hAAEIQAACEIBAzwkMUrBzZ+wy6+S4iy45vY8OOwt0pYAXz5Eg55CV+f3MbHa5KYSlwlm6PAt++hzDVbosC3Blu9WfGLIzhrzs+cBR4NATQLAb+iGkAxC4awKlYKd7yBtvvJHuOX3PXZdNARCAAAQgAAEIQAACgyOAYDc49tQMAQhAAAIQgAAEhpZAHQS7CC8KbDH3nI+JLrTokNMip8Q355HT+/m5Rg45fafPeq/Ndeg7l1eG1vRxsW1lrjnnsHM7ne8uhuws8/LF8mJuPH1fhscc2klFw7si0CokJg67rvBxEARGgoAfPvH9ZHpqOv3gBz9ICwsLI9E/OgEBCEAAAhCAAATGlQCC3biOPP2GAAQgAAEIQAACd0FgkIJddNRZOLNDLgpm3ifBTWEqFbZSrjhtWtzUd/rsnHAxBGU7ISw64KKwVpVXLgqF3q/2WJyz+Cbxzn/+zu1xW1rl0IvDaPfVXQwtpw4BgaocVgh2QzBwNBECd0kgOmx1L9H9KN/jZufSj370o2ZO1LushtMhAAEIQAACEIAABAZEAMFuQOCpFgIQgAAEIAABCAwzgUEKdpGbhAu74WZmG+Epc6jKW7nk9D466uxKcBnRKefvovBWFW6zytEWhbndtJ+LKvPN2Y03lSaaXagKjxlFyLKdZd/j/qrzhnmO0fbWBDRvvHDvsK4IdswYCIw+gfhQhu5tFuwWFxbTD3/4w9EHQA8hAAEIQAACEIDAiBNAsBvxAaZ7EIAABCAAAQiMNwGLRK1CLMb9FpnaEbModPHixfT3f//3OWykBTEtHGqbvRVCMoZujGEhd/Ybgpa3UjSLDjQdY0FOeeTkhtPCZAxZaYecjo3C2XiPPL0fZQJlWEyFxVteXk6bW5uj3G36BoGxJ6B7qe61MfSz3j/6yKPp29/+9tjzAQAEIAABCEAAAhAYdgIIdsM+grQfAhCAAAQgAAEIHIGARDQt7h11K0M7SrD7+c9/nl1kfuLfbretra3mYqLrcp62GM7LZUpwkxNOISv1Pv9NTaf5+flDISsdSrLMCxdzyZHT7aijy/HDSCCGxUSwG8YRpM0QuDMC8SEZ33df+PYL6dFHH72zAjkLAhCAAAQgAAEIQKA2BBDsajMUNAQCEIAABCAAAQj0lkDprvPnKNhV5Twrxa9SANPT/RLsfvnLX2axzsKbQ/PJ/SYBQX8OQSlBTg45OfL0fmqyEboyv5+aagp/3eRgiyKgiJWuOgS73s4jSqsngVKwu3nzZtra3qpnY2kVBCDQEwK6z87OzKbdvcb9VZ91X/3LH/xlfsiF+19PMFMIBCAAAQhAAAIQGBgBBLuBoadiCEAAAhCAAAQgcLwEWuU0K91y3bQiCnMSzM6fP58Fu/X19bxoqIVCLRpOz0ynubm5Aznk5JjTZnecQ3lpYbHKgefjY6jMuAipcqpEOhYquxlJjhl2AmX+Ol1DEscR7IZ9ZGk/BLonoGte4aE3NjfSyRMn0w9+8IN8MvfB7hlyJAQgAAEIQAACEKgjAQS7Oo4KbYIABCAAAQhAAAJ3QcBONy/cRbFNxbYLiekn9mN+HJ2zvb2dFOpS7rrr16+ntbW19Mc//jGLc84nVzrtvHgY8+f5vcU7i28W7/SquvzZ7Wgl3hlTp/13gZNTIVArAlWCna4jC3bkcazVcNEYCPSUgK5/iXW65iXYra2vpa8++dX0rW99q6f1UBgEIAABCEAAAhCAwGAIINgNhju1QgACEIAABCAAgb4RKMNMarEvutvUEH23sbGRtne209rqWhbn5J7Tn95rcVCbRUCJdJubm2lhYSGLeBb6XK5FwlIsdKdjDjoLED5WDruY8y46BaN7oHQSIFT0bUpRUQ0IOCSmQ9Ai2NVgUGgCBI6ZgO+XvifroZaXX3o5PfDAA8dcM8VDAAIQgAAEIAABCPSDAIJdPyhTBwQgAAEIQAACEOgzgVbhMCXMSYCTOKcF/uXl5fxeopsXAO3Qiy67KKBpv0QCbQqDKeHOAlzp3msXfrNV7jkLiq0EubJvPi46CvuMm+og0HcCpWCna1k57Hwd971BVAgBCBw7geiwlRv9i1/4Ynr55ZfzvbibHLDH3kAqgAAEIAABCEAAAhC4KwIIdneFj5MhAAEIQAACEIBA/QlIjNNi/pUrVxph82455uIT+tHlJtEtOuQshMXccxLVdIyEO5VvAU/f7ab9DKUql05eUNzbb5lnR/vtsFMZVYJfbGs8htw99Z+LtLA3BHRd6Hq0eB5DYiLY9YYxpUCgrgR83et34Jmnn0lf+9rXEOvqOli0CwIQgAAEIAABCByRAILdEYFxOAQgAAEIQAACEOgXgVYuubJ+CWYSubz5KXvlmbt48WIW6iTS4UDr18hRDwT6R8BOO13vK6srLcXw/rWImiAAgeMiIKHeLnS9/o8f/498//fDM/HfAsfVBsqFAAQgAAEIQAACEDg+Agh2x8eWkiEAAQhAAAIQgMAdEdAinB1rKsDCXXx13qrobLMgd/ny5XTp0qV09erVXL+O0RP5pXvtjhrHSRCAQK0IINjVajhoDASOlYDu5wpjPTs7m778xJfTc889l922OMyPFTuFQwACEIAABCAAgb4RQLDrG2oqggAEIAABCEAAAt0RiIKdQ1OWueHiMQ5JKZHuk08+yYt5dtl5Ic+CHYt63Y0BR0FgWAgg2A3LSNFOCPSWwH/70X9L8/PzWawrH/TpbU2UBgEIQAACEIAABCDQLwIIdv0iTT0QgAAEIAABCEDgiASq8repCItxXqBTfroPP/wwrays5Bq2t7fTwsJCfure+epmZmbyop72leLfEZvF4RCAQI0IINjVaDBoCgT6QED/Bnj4oYfTn//5nx/690AfqqcKCEAAAhCAAAQgAIFjJIBgd4xwKRoCEIAABCAAAQjcKQE54qKwJnHOm8Nh6phPP/00nTt3Lh8bc9fo+Oiq06K+/6IQeKft4zwIQKAeBBDs6jEOtAIC/SKgfwN8/3vfT0tLS03BTnWX/27oV3uoBwIQgAAEIAABCECgdwQQ7HrHkpIgAAEIQAACEIBAzwjEhTeLdTGv3fUb19PHH32c5K5z2Eu9KjymNwl4+tP5ctppYV+fVTYbBCAwGgQQ7EZjHOkFBLohIJf8N57/RnrmmWeah/shHEJed0OQYyAAAQhAAAIQgEC9CSDY1Xt8aB0EIAABCEAAAmNKwGEv1f2Ym0aLdefPn0+fffZZDm8pAc7OOYt1duZFh52+U5k8gT+mE4pujywBBLuRHVo6BoFDBE6fOp3eeOONfP+fm5vL93X/xYd6QAcBCEAAAhCAAAQgMJwEEOyGc9xoNQQgAAEIQAACI04gCnbu6traWhbqLly4kLQwp4V6HRcdeK3CXcZwmITEHPHJQ/fGigCC3VgNN50dcwIvv/Ry+uIXv5jv/9riQzhV/24Yc1x0HwIQgAAEIAABCAwdAQS7oRsyGgwBCEAAAhCAwLAT0AKbBTT3JS60+X08Tk/Tv/fee+nKlStZrGODAATGk4CFer+awvr6erq5fLO5kD+edOg1BIafgO79cs9vbGyk+fn5HOpan59+6un07LPPDn8H6QEEIAABCEAAAhCAQEsCCHZMDghAAAIQgAAEINBnAlVPwcccNPGJeQl1+vy73/0uL95JrCMHXZ8HjOogMAQE9PsgwY4NAhAYXgKlc04O+rnZuXTq1Kn0+uuvD2/HaDkEIAABCEAAAhCAQFcEEOy6wsRBEIAABCAAAQhA4HgJRMGuzF/361//Om1ubuYGKBedF/SOt0WUDgEIDAsB/SbYYTcsbaadEIDAYQJ6IMcueol1MzMzaWF+IX33u99Ns7OzIIMABCAAAQhAAAIQGHECCHYjPsB0DwIQgAAEIACB4SWgxbq33norLS8v51x1Wrjb2trKoh0bBCAAAROQYGeHHTkqmRcQGF4Czkmp61hhMKenprOz7uTJkwfy1Q1vD2k5BCAAAQhAAAIQgEA7Agh2zA8IQAACEIAABCBQQwIKhfn222+nGzdu5KfqtXin7/ReQh4bBCAwngSiGxfBbjznAL0eXQJy1+leL+FOoTBfffXVtLS0lF13uOtHd9zpGQQgAAEIQAACEGj+v90+j2AyGyAAAQhAAAIQgEBfCcR/fpULcA6H+f7776fz5883F+kk0uGs6+swURkEhoYADruhGSoaCoG2BOSin5+fTzPTM+mll15K9957bz4+5rYFIQQgAAEIQAACEIDA6BLAYTe6Y0vPIAABCEAAAhCoMYEql4wW5PT9hQsX0qeffpoX6CTUaTFefzxnVeMBpWkQ6DMB/yZY9CckZp8HgOogcAwEJNTp4Rw56xQGU5uvcf17wPntjqFqioQABCAAAQhAAAIQqAEBBLsaDAJNgAAEIAABCEAAAhLjLND96le/ygt0+qwcNg6BqfcKlYXTjvkCAQgg2DEHIDB6BE6eOJlefvnlnLNWf9rkunNobMJijt6Y0yMIQAACEIAABCAQCSDYMR8gAAEIQAACEIDAAAns7OxkAc4i3G9/+9u0vr4+wBZRNQQgUGcCDptbvuq35MrVK+S5qvPg0baxIGBRTddoGQLbn3XP94M5eihnfm4+h7+UWKcNYW4spgqdhAAEIAABCEAAAocIINgxKSAAAQhAAAIQgMCACXjh/dy5c+mzzz5rOuoG3CyqhwAEakjAvxdumj8j2NVwsGjSWBLQtahNrrjJicm0u7fbzEFnZ6zc8nLN6/pVGMxnnnkmPfXUU02BD8FuLKcOnYYABCAAAQhAAAIJwY5JAAEIQAACEIAABAZAQOEuY2jLtbW19H//7/9NWuhjoW4AA0KVEBgSAlrg12+HnToIdkMycDRzLAjILafr07nm9Nn3e30X89Btbm6mhx58KD333HPp9OnThLseixlCJyEAAQhAAAIQgEB7Agh2zBAIQAACEIAABCAwAAIOlWXR7oMPPkjnz59nwW4AY0GVEBg2AnbpqN1RsLt67eqwdYX2QmCkCMzOzKad3Z2cb1abRDoL7Bbz9Cr33def+3p64oknmg/plO7ZkQJDZyAAAQhAAAIQgAAEuiKAYNcVJg6CAAQgAAEIQAACvSfgp+5XVlbS22+/nba2tg44Z3pfIyVCAAKjQADBbhRGkT6MIgGJcbo+/VfmqpOA99Unv5qeffbZpgtPHOSuV4hMNghAAAIQgAAEIACB8SaAYDfe40/vIQABCEAAAhAYMAE9Uf/RRx+lixcv5ifyWbAb8IBQPQSGgEAp2EkU0IK/HHYOlTkE3aCJEBg5AhLk9PCNrlHdz3Vf17V5z+l70oMPPpiefvrptLCwkL/TZvedQ2iOHBA6BAEIQAACEIAABCBwJAIIdkfCxcEQgAAEIAABCECgNwQc+urGjRvpvffeS8pl440cdr1hTCkQGEUCzmEnh66FOwS7URxp+jSMBCTWzc/P56bLbXfvPfemL3/5y+mBBx5Ic3NzOZ9dzG8XhTpcdsM44rQZAhCAAAQgAAEI9JYAgl1veVIaBCAAAQhAAAIQ6IqAXTDnzp1L+tNT+CdOnMjCHYJdVwg5CAJjScBif3yVYCdxQA47CQJsEIDAYAjMTM9kwU4C3SOPPpKdddqqrlvf6y2+c+8fzJhRKwQgAAEIQAACEKgTAQS7Oo0GbYEABCAAAQhAYGwIWLB788030/r6el5kV/gs578ZGxB0FAIQOBIBLerrd0LOHOfB9O/JpcuXjlQWB0Og1wQsPklEtlBlscp1RWFK+7xf30/t7x84rzxna6+RI8654VyWy+mmP3am+vpx+MqNjY00PT3TrD+WFUPN+nx9p/v2yRMn05kzZ9KpU6fSww8/nK9Nt6+b9nAMBCAAAQhAAAIQgAAEmv/u3SfJAbMBAhCAAAQgAAEI9J2A/gl24+aN9O477+ZcNl7403uesu/7cFAhBIaGAILd0AzVWDY0im8CEIU0zd0oknl/dIVOTk5UcvN90TnfXO7h5YzG+e3uo6pP583MzORXOdz13uEq9SpRXJsEufm5+eya0zGnT59Oi4uL6eTJk2lpaSnNzs5mcc5bKVi6j53aNJaThU5DAAIQgAAEIAABCBwigMOOSQEBCEAAAhCAAAQGROD9999P58+fb+az0VP5CHYDGgyqhcCQEECwG5KBGtNmlkJZKdhZYKsS1Brf3XbYRbHL5UTnnhHrPP/dMujlXaUrTt9JUFuYX0ibW5tZaLOAKJecBDk55STCSYzTn4Q63ZtjvkiXo1fX67aUbsJW7RjT6UG3IQABCEAAAhCAAAQ6EECwY4pAAAIQgAAEIACBARDQIuFvfvObtLa21nzK33mocNgNYECoEgJDQgDBbkgGakybWYa7LDHEcJJRvHOYS7ndogBnUczCV+ngi99b1HNIysmJybS7t5sddPrb2d7JIt1LL72Uc8bOzc01nXMOMRvrc9tbiZDRWTemw023IQABCEAAAhCAAAR6TADBrsdAKQ4CEIAABCAAAQh0IqBFReXKkWCnTQuFzl1X9XR+p/LYDwEIjA8BBLvxGetR6WkUvMqQlmUfqx5YieEvo0jm7/UAjMNcbm5spq2trXyPVX5YCXUOb6myn/zqk+l//7//Oz8o41CYsQ1HvQeXufMQ8UZl1tIPCEAAAhCAAAQgMBgCCHaD4U6tEIAABCAAAQiMMQEt8F2+fDm9++67OT+OPsccPjjsxnhy0HUIdCCAYMcUqTOBMgyl72dRXLODTuKWHXcW3PQAi7Z4fBTsbiwvZwFOYpuEOf1ZlCvDb1bdS7/y+BPpb//2b3MdKsfOOr2XiOftcG68RvhLn9NuDNqF/azz2NE2CEAAAhCAAAQgAIHBE0CwG/wY0AIIQAACEIAABMaQwHvvvZcuXbqUBTu767RgiVg3hpOBLkPgCAQQ7I4Ai0MHQqAMdemHUvSqe562KIjp3qf7oF5XllfyaynIKb+rjpmcaTzkEv9iCM3SgVcCeOLRx9LPfvazfL7vt773drr/xnNi/arD4mPsW1UozU51DGTAqBQCEIAABCAAAQhAoDYEEOxqMxQ0BAIQgAAEIACBcSLw5ptv5vx1WuTTQqQWMaPLbpxY0FcIQKB7Agh23bPiyMET0Hx1yEoJbutrjTCVm5uN0JU5t9zOTv7LLrvJiWajy3x1LsuiV3TvNYWy/cm2nX7yiSfS3/ztT9P+vhxzKe3tSWxrnLK7u5+mphr1l05BF9rq+7LSMrSmBT5CZg5+TtICCEAAAhCAAAQgUGcCCHZ1Hh3aBgEIQAACEIDASBLQouS//du/NR0CWnRUWC4tXLKYN5JDTqcg0DMCUaRwOEEVrt+V69evp53dnZ7VRUG9J1CKUBZymmEipSC12XZv6VndOLWiuNQqxKOrKsWv1k04KGiVTrPl1dXshHO4SglzFuU0Rwd9j1NIzL/5m7850D23K7avU1jL0m2nArsZk97PKEqEAAQgAAEIQAACEBglAgh2ozSa9AUCEIAABCAAgaEgoIXM//iP/8ht9aKfnXaDXswcCoA0EgJjTKCdYHfjxo20vbM9xnTq3/UqwS6KZvv71YJdDN/Yvpe3HWpVIlKVKy3mfnPISt+fCdjHrgAAIABJREFU4j69X11pCHIOWRmdcjFkpc+Pba2DoKWQmMphdydtsaBXuufqP+toIQQgAAEIQAACEIDAsBBAsBuWkaKdEIAABCAAAQiMDIGVlZV09uzZAwuGMcxdlRNiZDpPRyAAgZ4Q0O+EBH6LBxITJNhtbW/1pHwKOV4CdkeWIRZbCXZuTVWOtoP3jIOCnc47iji1fHO5rSAXyypDU6qunRaCo9t/lLYcxwhEh53FSAmNMzMz+VrqlM+uqv1R1OShm+MYNcqEAAQgAAEIQAAC40MAwW58xpqeQgACEIAABCBQEwJXr15Nb731Vg6DWYYs8wJ8TZpKMyAAgZoSQLCr6cB0aJbEoVLoqhK+Wj244VynDqFZnhvLrxLJoiAnd5z/5JjTuTGHXJXYFwWrqpCbblcroXDQD6R8+bHHs8PO21Fzy8Vcs7GvwzkbaTUEIAABCEAAAhCAQN0IINjVbURoDwQgAAEIQAACI0/gwoUL6YMPPmi6Y+LC4aDdByMPnw5CYEQIWLCLYfrksNvc2hyRHo5mN/SghrYy1KS/K3td3hPs4LLwVZazsb7RdMhJjNvY2MiinAU5l99KNNxN+weaUNbfSXCzYBjLL12EgxzZxx95NP3sZz874DqsymEX21in9g+SHXVDAAIQgAAEIAABCBw/AQS742dMDRCAAAQgAAEIQOAAgU8//TR9/PHHB1wWDsMFKghAAALdEHAozOi0Q7DrhtxgjykFr9Kx1umhjZW1tQOC3CGH3P5+Swefeh4dYiYR21SG3IyCoI634NiKYitB0eV0Ov+4R+fJJ76cfvrTnx6oJuakM4tWoS/jiT6WMJjHPWqUDwEIQAACEIAABMaHAILd+Iw1PYUABCAAAQhAoCYEzp07l/TnzbmM9DkuHNakuTQDAhCoEYGY+8zvJRiQw65Gg9RFU/xbXwp2EuB2d3azI07uuOiQ29nZSXuHU9S1rS068XRgJ8Gsyk0W3XJy0MWtneOuKtRnF2iO9RALdlX32ui080M0urbcj0757Y614RQOAQhAAAIQgAAEIDAWBBDsxmKY6SQEIAABCEAAAnUiILHuk08+aYZE0wKqFwK1GMrT+nUaLdoCgXoRKMWDGBpTDrut7a16NZjWHCAgIU7C2+ZGI3/c1tZWM49cO0GuHPeWWPcnD+w6akjLTg6//dQQ7KqOiw+f6Jh2bsJBTYsnHn0s57CLPFdXV9P6+nryq0OJajy0WbRTf6anp9P8/HxaXFxMS0tLaXFpMS0tLqWZmZlBdYl6IQABCEAAAhCAAARGiACC3QgNJl2BAAQgAAEIQGA4CHz++efp/fffPxCaLIa1G45e0EoIQGAQBNoJdtevX0/bO9uDaFbXdZaOsvLEqf2DOdTK/Tu3cqyVgpE/lyJRp5xrKr+qTa0ccKUopc/R9bi1s5sFOQtx8VXfd9OermHewYHRcad2+wERPTTi+5CKbZm3LQiCVeEjI4uqUJt32v/m+BaCYZUo6L6oH3ogZnZ2Nv9JbHv0S19Kj3zpkUzu0uVL2cloh2o3D8uUfdZDNir3ntP3pPvuuy898MAD6dSpU1nU02bXXtVQlaE4O4mldzDcnAIBCEAAAhCAAAQgMGQEEOyGbMBoLgQgAAEIQAACw0/g2rVr6e233z7QEUJhDv+40gMI9INAFOyi0DAsITGdQ81Cl1/FTu93dxuuplZbJ8fYxMTRHGZlyEgxdb612DYfp/ZnQW7ztjPOTjl9v723e+D8MidcP+ZIJ34xL10pdMawj6UYqXJLwarqfPXZfz5H5bYTr9xmCWCuN+bDswgnJ5vLssCo7yTISZw7ecvtNjc3l+bm57KYpvJ8vspfmF9Ie/uNcbTDXd+77Hb8fM1Z7FS5DhOqulzmfffelx5//PH04IMP5rZ5K+/1vh6OIhoOeg5RPwQgAAEIQAACEIDA8RFAsDs+tpQMAQhAAAIQgAAEKgmsrKykN998s7koGUPa8YQ9kwYCEOgkuGh/zLc1rDnsSrFM/ZqaOii4RaFD70uBqCwjCnZVv6etnGM+VoKLBbnojtP7LMhtb1e6z5rlTjUEv9jWVu6/Qcx0C5IWimI7I+tWTjgJXBb8Spbqp/dbVHOZFuEsyLXqu4Q2HSPWDhEtwUvfW5jTaxbkbn0X8/LtFzn2ynrU/xx6dG8vi3n6Uz12ynXjAHSoTLXD155FO32emZ5Ju3u72WW5uLCYHn300fToY4+m06dON8XD0s3XjZg5iPlCnRCAAAQgAAEIQAAC/SWAYNdf3tQGAQhAAAIQgAAE8iLev//7vyPYMRcgAIE7IuCwg3YOWRBSDrvNrc07KrNfJ1WFn4x1dxJM7ACz0BSdevouClFVfbIjantrO21sbOQ/O+SyULTfCA0Z2xEFKgk8caty/MXzS0Exikv9Yt6Jb+yD55bOqQp5KbGqlYNOx5cOvbKPcxKzdnebjrcscM3M5D8LaHqvkJLzC/P5+yhuua1RBLU4qFeJeLHtVeJpHBM73sprqdXYmE9VOEuNrQVfvVfb1Vfd8xcWFtK999ybnn322XTmzJkDxVsslBhMLrxBXBXUCQEIQAACEIAABOpDAMGuPmNBSyAAAQhAAAIQGBMCWlT81a9+lRf24uJjXIgeExR0EwIQuAMCrQS7mzdvpo3NjTsosb+ndBLlytaUglK5vxTXskhyK2TlIUFup33Iza0QkrMqNGOntkchpxSXopDUX+K3aysFz5Kd90skqwqJKVEthqSMgpcddmXISp0jISrnk5tqvJcgt7C4kMNFxtCXVXnkogBaOvgcmjKLiBOTef7H79xz99NONh1vZ53KtNOu07i4v26nxUedZ3fdfmoIvg7D6fboVff9B774QHruuedyrjuLdZ3qZT8EIAABCEAAAhCAwHgQQLAbj3GmlxCAAAQgAAEI1IzA2bNnk0JjepHPi6RxsbdmTaY5EIBADQiUglB0NEmwW99Yr0ErWzeh/I2rcqi168D2LXeW3EgxZKU+S/xYW1s7cHpZficHnsSk0mGnAuN3rVyCVS6tMvRklSDVzwGLAltVaMsyR1wUqLLwtN9wMfpci11NQW52NotfzZCVsw3nXJUzrkr8rHLEmU9j335TSIwuO583NTV9QCyL/fX91uEr4/nlPGk3JrGNsQyd4zCe4qJ9UdCLAqiOffaZZ9PXvva13F4Jebjr+nklUBcEIAABCEAAAhCoJwEEu3qOC62CAAQgAAEIQGDECbz77rvp8uXLeaFOi3RabPYT/kdZOBxxTHQPAhAoCLQT7JaXl9Pa+kHBqm4AOznUJHQ4jODmxuahkJWrG+tN8adT32LoQx/bzq1nwa2dOGfBrRRqVH4UpUoxyWJNJ8GwU596ud/9jI40i3F+VX8tyun9wmwjl1wOWTk/n2bnbjvk1LaSj9tbjsVR73O3eTbEQm3Vc2ki7zNvvcbjnV9O39lFKLFMn+3ea8dY5+/t7+U5WiV+6j7uHHnm4ba4XTpXdSkUq3LcPf/88+mxxx7r5dBSFgQgAAEIQAACEIDAkBJAsBvSgaPZEIAABCAAAQgMN4GPPvoonT9/PjsVFBJMC3d6jWEyh7uHtB4CEDgOAsMu2FkU00MKEuScP84OuRsry01s3Yg6h0Sb/cmmYNMt/1hGKcRFV1TprIoOteZxafdQKMnS5dVtu47juNjX2660Rr41iUhyxkl0agpys7P5+6YAtr/XtlllyM2j9iEKbJ3OLcdK/ZlOU4eEvCiYbexsNZ1spfDXTVhMiW0WOOP89FxQ/1WOQ25GIdDn+jwdo+PF98tPfDm77Qad47ATc/ZDAAIQgAAEIAABCBwvAQS74+VL6RCAAAQgAAEIQOAQAS3gXbhwIX3wwQcH8uZ48a6bRWqwQgACw0mgdPy4F9Gd5e9KQSELErccPHq1SOBwegqzu7rWCLVblhvdVNpXig3l8frcyaFWOQKTDYdcDFkpUc6CnEMB13X0yhCWpSNvb7d9y6ucd+V4tHIZRjG2ajzydxO3HWZV4+z5pbIsntkhpzmzODefRSEJdBLn5JDT+5wDbnKyhWutrqM1fO2Kom+8xmZnZvN4fO9732s6/6LTc9ChVIePNC2GAAQgAAEIQAACw0kAwW44x41WQwACEIAABCAw5ASuXr2a3n777bxw6qfuvXiHYDfkg0vzIdCGQOmQK69359eKC/sO3Wd3mkPquSx9lhjTEOxWm0Ke9/t8NSvmH4vOL7uQ4u9R1ocmGiEG/d7OoVYOuZurDcGwSmzU93UXHqJoFfvg953a30qMq5oS5dhXiaglx3I8otCr9xLkJMAtLCw0Q1Zqbuheo7bbxR1dZx6vKsGQi/l4CHjcdD3aZadwm9pefe3VdPLEyaZw5+u209w7npZSKgQgAAEIQAACEIBAPwkg2PWTNnVBAAIQgAAEIACBWwTW1tbS2bNn8yct1nmRmAVTpggExo+A3VDqeVVIvNJp498Mv1qwu3nzZtrY3GgKdibZ6iEAC3mu3+H89JodcptbB0JW6nvVoa1KmMrtnLwt8A3jSJYOO/WhGzei+1o6qMrz43FVgmAcM49PFGyXlpaaDjmFUc4uudmGS05zZ3tzs+mW8zhFkbZVjrlhHKthb7PdkBbpNTa67k6dPJVeffXVtLi42Myrp2Mltkp8ZYMABCAAAQhAAAIQGF0CCHajO7b0DAIQgAAEIACBGhPQAt2bb76ZNjY2ciu10OpFVRx2NR44mgaBuyRQOuzK4qoEHwsverW4r98JO+30qu+Xl5ezw05bM+fYxEQW1+zkkbjjkJX5dWs7i3L6Ldra2kqrG+v5/CgSVoXmqwqX2eqBg1H6TWvloCv72ErQnNjbbwqAcYx8/unTp/NYSpjRWGUxbnamGbbSgmIrN54FuThmOtain8Whqmk8SuN0l5fpsZ0e50UZPlX7LNhPTU6l115/LZ0+dfqAYHxsDaNgCEAAAhCAAAQgAIFaEECwq8Uw0AgIQAACEIAABMaRwB/+8If0+eef58U4C3bjyIE+Q2CcCNhVY1GsKsRhdESZjcWdKNhogV/OKrlytH91dTWtb6xncU7CjBw5cslJiNOfPkuYs2DnHGdRONirMMjFNlYJRt040Epxoq5j3imkZRy/2IfyvDJUZVOQO3Ey/95HQS7mkYsOv1h+KaaVzKtCdkbm5f4qwbWuYzJq7SpFuzhOzmWreTA3O5def/31dOLEiQNC/ajxoD8QgAAEIAABCEAAArcJINgxGyAAAQhAAAIQgECfCdiFcuHChfT+++83nQ+dFor73EyqgwAE+kjAi/bOIaeF++iWsognoUfH6M8i3PUb17NTTqF2r9643hTs7LKKr344wOW5nip31Z2IOlUOr+j2qgr52UfMR64q/i5nB1RqH/LTDjkJqc2QlXONkJWRzZEbcuuE3d2dSoeey9vfP1iyBcY4B3REFBTj5zttF+d1R6BKRLUYH+ea8tltbW9lYfd7f/G9pFCojFN3jDkKAhCAAAQgAAEIDDMBBLthHj3aDgEIQAACEIDA0BLQwpycLr/97W/zwqlFPDtehrZjNBwCEGhLILraLODohChq+bNFOQlzm1ubDYfcesMh5zCXen/lypW8T067qdmZ5j4v8Me8Za1CKkYBr10HStGpFLTaOcGGYWpU5bCL7T652MghZzFufn4+zc038sgpjOHO7s6BbpaiZznmJZNOYSknQ47Acs40xnuy5fiXdcW2VTn0hmG8hrGNDmtbXosaA13Pmku6nv1vA4XF/P73v09ozGEcbNoMAQhAAAIQgAAEjkgAwe6IwDgcAhCAAAQgAAEI9IKABbp//dd/zYtwWpxzKKxOC7a9qJ8yIACBwRDw9e2wlRLZcsjK7VshK9c3skNOvwn6829FdNzZhaeydOzly5ebx+6lhmDjrXRYRYdbVWi+Tk7fdqEfVefe/kHBSt/Fc6JgNZgRaF+rnExqo/PHZUFubi475DK7vd22BXi8In+9jw7Kcl/8XIbEbHU/aDUO02nq0Ph7DHIew8nb+Q2rOtJp/Os4ZsPUJuedjNdldN3NzszmsLZy1mm+6TdA77/4hS+mF198EdFumAabtkIAAhCAAAQgAIE7IIBgdwfQOAUCEIAABCAAAQj0goAWRs+dO5f//MR9q/xIvaiPMiBQJwIWBspcX9WuoYnmQnUpaLRyeHUrfJfHla6XMvdaeXwpcETBRu8tyNkht7623swvp8X76Ljr5vqfkigWXLkq48aNGzl/3f7kbU53OtZuv4QCiVTx1aH72pa9P9nc3Ur8KQW8KvHCIlN8zQVP7OW5UDUuFjDjGHk++ZwTC4tZCIkhK+WQawpydwqO8yDQIwJ+iEdCnf5toFC3J5ZOpK9+9avpmWeeybXod0VzNv7e6Lek7oJ4jxBRDAQgAAEIQAACEBhZAgh2Izu0dAwCEIAABCAAgToT8MLa8vJyeuutt5o5p7paEK9zx2gbBDoQKEWpMmRgvAaiKBOFPB/j11hGu5CNZdNKsU/7W+VY87ESyFSH+xEFOb1XyMrokIsCoM5R+e5LlcOtFCTLNlcJdjdv3kwrKys9EezMLwp1Eg5iiL52Q1zVp1JA0/lVYl4rd5qOLwU6t6GcFwuzc9mR5JCVcsc5ZKXz/8Xyyr50K/RyoUPgOAg4JKbD3mrO6ndFvwsL8wvZZfeFL3whV2233nG0gzIhAAEIQAACEIAABAZDAMFuMNypFQIQgAAEIACBMScQF9r+8Ic/pEuXLjXz1vCE/JhPjjHpfiunmgUt51QzjijERYGudOhVCV5VjiyVW+Xys+NN+yy8xZCVm5ubaXdntxmy0vXFkJU+N5avNugYCV9RMOrk2CunQynYqf4o2N3t9HF/9KqxiK+txKz4fSdxLo5Xu/CLVc5F9U2uIokYWYibm0sOWan3+n5/d/dA2MByjC3IVom1d8uO8yFwtwR0vWkeO2Su5qv+JNrp79FHHk0vv/zygTmOs+5uqXM+BCAAAQhAAAIQqA8BBLv6jAUtgQAEIAABCEBgjAhEJ8nVq1fTf/7nf6YTJ07kXFZsEBgXAlUCUMzPFvd3m9srCt6le0+f7ZDzcfqs605C3M7uTn4vUW17q7FArv3a7Kqzsy7nA9vby/ui46+q/dFR18pFWwpLreZAKdjpPAt2exN3P3PMxcJlFDDd13a1tBLhmmO52wjbZ45lyErn7rJDToKc/mZmGznkfK7aEN11cRzcvqq2lCFPy77gsLv7OUQJd07AYV09n/1vBQvN+n154dsvpMcee6xZSXT93nnNnAkBCEAAAhCAAAQgUAcCCHZ1GAXaAAEIQAACEIDAWBHwApxeJQxoIU6CnfLUsEFg1AlEoUZ9rXK5VYkoVU60KPb4HF1T0e0WBbntnUZoOR2zubGZxblSkHPox1bCWhT83CaLd3p1XqnYN7etKoTnUcc7CnbOfSnBTuF1eyHYRR7i6zqikFe2OQpjVYJpPH56YvKAQ64ZunK+4ZCLIUmrxDMLiFXcPLeOypTjIVAnAnbgT09N54cI4m+O3iuf3RtvvJFd+b5GCI9ZpxGkLRCAAAQgAAEIQODOCSDY3Tk7zoQABCAAAQhAAAJ3RCC66xzK6sqVK+n3v/99XqzG4XFHWDlpiAlEcSyGwqwKW6jvHCZOXbYgt7GxkSTI7W/vZmfc5uZGU5Bz7jiJSdoXwzKqjFiPw9FVueJ03s7+fiZdFe5S+517quqYOESl+8sMus1hF8Pg9VKwc7vF2EKBX7VvKlXb+CIPnWshbmFhIYeunJ2bzeMmQdP8S4dcORb6XP4eTtyqPjodI9dYdim6Nuq7fXRVKM92YTqH+BKj6UNCwPM6PtgQRTk7TJ9+6un0J3/yJ0PSK5oJAQhAAAIQgAAEINAtAQS7bklxHAQgAAEIQAACEOgxgVK4e/vtt9ONGzd6XAvFQaBeBDzvo1gSxTG7uixeS5jKOeRuharc2t7KotvG+kYOY2lHmMMlpls5zEoR0EKgBDltZbhMU3JIy2Z5t461i27i1vllGVHoiSEy29UVRyYKTe1GTA47Bek0Jx1rwW437d+14O+xECdxjq/aJ4dcFOScS05C3NT0VFpcXKzkG3mXYmcpsrn/VYJtSg3FLboVI28LpvH3NYofMzOzzfbFeedxIodovX4vxrE1moPOYaf3Me9idvFOz6T9tJ9+/N9/nI/zb9o4sqLPEIAABCAAAQhAYNQIINiN2ojSHwhAAAIQgAAEhoKAFoq10BbDv127di394Q9/OOD2GYrO0EgIHIFAdLd5UVrCkPPFySXnkJU5r9zOTr4mdJ4XskuHnMUWvU5PTFTmNmsX0tECkF9LIUffN3PeFY48d71KgIxYqpyzMYSj6+wkGLUS7CTaSbDrdH43Q6UyJLzpVbk14+fF+flcRHTHRTFucrJ9Ir0onkWusbxOLuPSoRcFwJmJyQNtK0N07lQA6FRfN8w4BgK9IKDfQbtQ/btnEdoPMTjs74vfeTE99NBD+frUdwh3vRgByoAABCAAAQhAAAKDJYBgN1j+1A4BCEAAAhCAAASyQ0gLcXIQXb58Of3xj3+8LQ7ccgv5KXq7f8A2vAQc8rAM19dtj6I44XMOiCeTE033UdxvkWXyVkjAqvrbhQP0vlIQqnJOOWyb6tScjYLcxuZGI4zlZsMpZ0EuOqK6ZdGv46JAaEdfJ36lgGf+EtzaCY6leFSOyf4t900UrZS/Tu5c/Y7s7O8dwhLLUEhLh6acn5/P4SpzyMrZ2UMOuSoXIuJWv2Yd9UCgioDCujYeYJifW0g/+tGPDrlN4QYBCEAAAhCAAAQgMLwEEOyGd+xoOQQgAAEIQAACQ0zAOaG06BZzUSkP17vvvptWVlaS3p88eTILeRJAtEjnvFJD3PWxb3onYaoqlJ/FnhyScHo6z4WY603zwyJZdIf5fRSIosMp7u9WQLRoHAUjO+X0urK60hTpJMrp+JiXzXPZ7S/DI7YTDfsxeUrXm9m7brlfSsbxmFKMKwUuCXZxi/3V+yqHXDxm75aD0O3MzFdWmoKdfyecQ86inAU55ZQr64zt8fiU/e4He+qAAAQ6EbidQ3N2Zi699NJL6cyZM00Rr9PZ7IcABCAAAQhAAAIQqDcBBLt6jw+tgwAEIAABCEBgRAnYVVe10C+nzNmzZw+ExfICexT3RhTNyHcrCl3ddLYUfORKc16jKNI5x1oUY0qhzgKxxblSdLMQFR1y+k4uOP1p3uYwlbs7+dUuObvO1J8oJEVXnsuMLtE6urVKwbQU4GJf3d/42k4M03EK2Rmve8+BbufF9t5eHn8JcLNzs9kdpzmxvraexdylE0ttp1WVIHrAgTfVkBQHLZx2c21wDATGj0DDXaffY+VjfPyxx9M3v/lNBLvxmwj0GAIQgAAEIACBESWAYDeiA0u3IAABCEAAAhCoN4FSeIuOO7X8008/zaExc4i7Wzm8tEC/vr6ehTy24SXQSZgpHWjqaSmwufcW2EoaOr503EVHXnTTqQzNPzvhLMjJ4bm5sdnMLed2tCLvflmQi6KfzomhQMsyYujFOop4kXccj6pxaDe+5l4lhkV+YqfrXH8S5fL76ZlmTjk78TzO+l24uXwz77eg2Elwa+UEjG7I4b3KaDkERpVAw4UrkX5qajotLiymH/7wh1mw60X+ylGlRr8gAAEIQAACEIDAsBBAsBuWkaKdEIAABCAAAQiMDAEviFctrsV97733Xrp06VLT6eKwhyyoj8xUONCRUkBpJcbppFYuuiphzM47v0rckUNOC75RkPO80msUCEsBzfstXLk9bq9cXuV3Ve1156v6XacR7kZAjMdUhdSMrCTA2yFpQU5ifBTkWolpUQx0PXrVmN64eSNj69TeqpCX7canTmNBWyAw7gT29/eaobEnJxsP9PzlD/4yh89GsBv32UH/IQABCEAAAhAYBQIIdqMwivQBAhCAAAQgAIGhJRDFEYscDluoRfS33nor56byPi3wI9gN7XA3x7GdsKIFWM0BuSujI0vzwc7M8nuHq9R+OeN293bzQq7yH25vbTfDWWr/XMiBZ5JVjrwoGEYBb/eWYBj3202n48qQke6ry4hOPwtFpeNvkCMcBbeyHeZkV2IMIWoGDlkq4TIKctNT002HXGTi87zYXl7frZxybqfO05hLsGu0Z68DvkZIzlJk9ElRkB3kOFA3BCBQRaARErMRurfhtPvWN7+VvvKVryDYMWEgAAEIQAACEIDACBBAsBuBQaQLEIAABCAAAQgML4EoWFT1QuEJ33///bSystIMWyghh214CZQ50iz6lA41L8r6ezvkVldXs0NOYlzMIefjLMRYGLMY1gxRubvbFAKjSBPbYWEqikgub29i4oCgqDKiiy+Kd2UfVIdErBgCU+d3Ct/Yz9G2A610OJqjw9fqOpQo1wxZOTOTpian0tLS0gGHYuRR9jVyKH8LoogZ30uI1WZhX+Xrd+L6jeuZ49TUZBNXFdf9/c40q1x6nX6rOpfKERCAwN0SUArM26J647f4vnvvS6+++iqC3d3C5XwIQAACEIAABCBQAwIIdjUYBJoAAQhAAAIQgMB4ESjz1VnwKF1GXjRXuLsPPvggXb9+PQsEOOxGY77E8IYWvCSKrK2tZXF2a3srCzHRIaeex5CGVSSmtaLbhQhWhkF0e0qRTWV1ctjF/aUYV7axylXXTXv7NepeDLcgNzM7k3LIyluC3MLCQjOkpY6JomYUY2N7S7eimfo1MivFsirRLboVVb/EWzns1PapDorc7q354fZ1U18cnyoxr19jQz0QGHcCk5MT2VXXuA+kNDszm/bTfvrxf/8xgt24Tw76DwEIQAACEIDASBBAsBuJYaQTEIAABCAAAQiMEoGqRX+Jdp9++mk6d+5cmpubawooctvoeOcNk9BzO1xWI6yiNn3vckdtwb1bwcFzpMopFMuodiUdtiVFgSsKMHofwz66Xn8nQU6Rg2Z+AAAgAElEQVTjtr2z3XTJOaRlK8Gnn/O7qg1RcIqCYSkyt2p/PE6Coo6LjErBr53jrp37K7O/VX4rZrH9eq9rZ25+LotyClt54sSJfA05Z6QFuTq5AD3fzFGfL39+uWP+un7OI+qCAASOh0AW5oPTXr9Xf/HGX6RTp04dT4WUCgEIQAACEIAABCDQNwIIdn1DTUUQgAAEIAABCEDg7ggoLKby2X344YdZZJAIp1ct1smJpQU8uYAs2qm2KIxYnHBIvbtrzfGdXRUa0AKF+xRfy5aUzrFyfxRgqkISen+rOsTZApZfo/iksbBDTk4Iha3MueS2G7nkJAyVLrRS+Do+ukcvObbNZ0ehqBux7YCDbG+vUgwzw7gQXSWSWZArXWsOPWkHqtrla0JhK8VdISvn5+fz97p2okPO5fn6if1qN9+OTrS3Z7jdCHa95UppEKgrAQt28V752quvpTNnztS1ybQLAhCAAAQgAAEIQKBLAgh2XYLiMAhAAAIQgAAEINBvAlVOMH13/vz57LaTMGRRQWKFxCC9VoXcVNtjCMZ+9+Uo9ZWOpijMtBPj3L9Wjiifezv/z+1WdeM69PnLy8vZHeY8chblxL8qXGkzd1xFmMqq/gzaydVqnsTvq1yNdnHKAVoKmlH8ssOulegnjtG9WNa1vbfXdMBJdNOfwlbqVayXFpfyqwW50j0Zr484V6JgeFTX5lHmd6+PRbDrNVHKg0C9CUQns+8Xf/rCn6ZHHnmEsJj1HjpaBwEIQAACEIAABDoSQLDriIgDIAABCEAAAhCAwGAIROFG72OuLIlGH330UVpdXc3fSzSyW6h0b0XnkcSK6GAaTM/a1xodUvHIMgRlWYr320HYLmSlzy1Z6bOcjO0EuU7iXrvwmnEcW1Goq2BXttdCURSN9d75laJQGXP0ebG5dLCpfO2zg9HCqkNWSgicmW7kk1PZOs5/0QWo9+W4xrY7JGbp0Gvlchz0eHS6Rt0+OezYIACB8SGg3yzfL595+pn0ta99jbC44zP89BQCEIAABCAAgRElgGA3ogNLtyAAAQhAAAIQGG4Crdx1pRjxxz/+MX322Wc5FKbOUehFh1wsHUwWRDoJTnUiV9XWKkEmCjRVIRXjfuWQ0yKncshld9zWVg5baYdcq5CYVWNSxarTcRJNvXUSIQc5FmXbShGsHAfvL0OGqg/OB2dRLIYQzQ65mZmksJV6PzvTeM0C3cxMU6gWN4eCi+Kayo+CYBy/Kqee+cd9dRfl4jyI3OP3ly5fGuR0oW4IQKBPBCzU6bfWgt3DDz2cXnzxxT61gGogAAEIQAACEIAABI6LAILdcZGlXAhAAAIQgAAEIHCXBGLYq6qinGtLLrtz586lmzdv5nCYDo1px53FDC3y2V10l0071tO7FU+imBffi0cW5CTGbTfyx0mQ02d9r5CMVZvrLUNmlsKVQjK220oxScdGV1k8t8rhV0dBNbrRJKZpczurxiu672IeOb1fmF9o5paTIFcKrFWCX7vxKsfHIS/t8LNwbcFPdcb2u+xWrry6jYcFu/L3QQ67qnCvx3qxUjgEINBXAnZp++EFX/OnTp5K3/ve9/raFiqDAAQgAAEIQAACEOg9AQS73jOlRAhAAAIQgAAEINAzAqUY4sW6uFhvt9Lly5fThQsXskAlcUrHSFzRAr9EvBhusGcNPIaCqnLQRQ4bGxtZmGwlyMU8clUOtsn9/UOtbiXKRKGq6Zy7JVipkCqxqhRNonhVVlzlAKvKg3cMmFsWGYW46Bb0uDhXneegBDa5OucX5vPr1ORUwyk3O5v/LPB5nsa5W8W9KoddFEGjYBX5uyyL0haq1dHo8PN4xLGN5bdzSHYS0fsxTrH/qs9tl8MOwa4fI0AdEBgcAf8bQL/D+m31/ULhgn/84x8PrmHUDAEIQAACEIAABCDQEwIIdj3BSCEQgAAEIAABCECgdwTKPHOlSGAHnYUIvcZjLl68mD7//PN0/fr1AyJdFPt619rel7S5uXlAkNPn6JCrEsliK0oXYemcKh12pWhUJdjEY7ZuhbSsEpssprQSgKrEpjqIQK1GUe21Q25mtuGGm5tthKosQ1ZaAIshKV1u7GNVf6N4Vp4fx1vv9yZuu/viGDSF0b2GIOsxKJ2A7QS5yKGqbJfb+1nffYntBLtO10b3tXAkBCBQRwJ+8EYPrOh32A9QqK1//Vd/Xccm0yYIQAACEIAABCAAgSMQQLA7AiwOhQAEIAABCEAAAsNCQIt6Cg0p4U5/cqVJCNET+VroK7cobsT8YmV4x7hYqH0qz6E5JSTqcyfRQG1pF7Jy0A6z6NAqBRr3vxQBY5+rwo5GJ50Ewyw87e01WUX+7cou21M1jrcz5DX2luOh9kX3WQxZqfGbn5s/ELLSLs1hmfuj3s5WgqNCYna69kadDf2DwKgT8AMP+g33b7nDCn/39e+me++9d9QR0D8IQAACEIAABCAw0gQQ7EZ6eOkcBCAAAQhAAALjTkCLexLoJN5duXIlu+6qBDuLR3pVGMMoGkX3k3j6mBiSy64fLSCur6+3DVlZOqbKMRq06OBFULerdFo57KC+j24wt9v7nUPNzMxYITkdojGG//T+WF8ZClJlOYde5FS6/WLeQoesnJ1rhKfMYSqnptP8fCOEpQU5n2MBNvYvzocqZ+G4X2d16L9CYrJBAAKjTaCdYPf6a6+n++67b7QB0DsIQAACEIAABCAw4gQQ7EZ8gOkeBCAAAQhAAALjSaAUbExB38vhpr+bN2+m5eXlpJCTznGn46Jgo88Waywy6bOEHuXLy4LgznYub3NjM+fPK0MalgKPyq/a6iIEWXx0Gy2atXO+HXDQ3corpH5GEc78SodddExVORpL8XTilovRC7cqV6HRpmemszNuYWEh55HTGOl7fRfDKFaFrIzjYbdG2d/xvJKGp9cIdsMzVrQUAndDQL/nfjBEv9N2dcthh2B3N2Q5FwIQgAAEIAABCAyeAILd4MeAFkAAAhCAAAQgAIFjJ2BxJ1YUv5NgJ7FN7ru8EDg5kSYnJpuHO/ylxR859X75y1+mlZWV5jESh7TFUI9VIpccXeUWxbpBh8SMbSvzn2lfdMVVuQG9kKpjo5DncsU6hsAs6xBjlWFh04Jc6ZCTIBcdcg6z6XotEEaxzou7OqaVa66KfxQSB+2APPaLpeYVlIKym0tIzJoPHM2DQI8IlIKd7yFy2J05c6ZHtVAMBCAAAQhAAAIQgMAgCCDYDYI6dUIAAhCAAAQgAIE+EIihG6uqqxLxLOREEckCjp1XOubixYvp5z//eRZ9JNTZlRfFqlhnK0GuLq66dsNRClTmVuadc+jQUqQrRUvxsgPSZUnEzG646dvOuLnZuTQ3N3cgZGUU3Nxmh66MTkCLdx67KN7JUelzHLazU8jLTvv7MJ2p4haBdoKdr19gQQACo0vAgp3DN/s3QQ47BLvRHXd6BgEIQAACEIDAeBBAsBuPcaaXEIAABCAAAQhAIItrVQ6rUkwrQyaW5wmlwmH+wz/8QxaTdLyceWU4xygoVYl3ZajHGHqzTsMVQ1aqXepzKYhF0Sw6DHW8+Ejs1J/e2ylnQS6GrdTxpcMtctX7MmSpz2nmyJucPODgs4jjcVR9br+/0zHl+MV5UR5Xp/EZt7Yg2I3biNNfCBwkgGDHjIAABCAAAQhAAAKjSwDBbnTHlp5BAAIQgAAEIDCmBEqBKbqseoFE5Uuw+8d//McsQjl0o8NlVoVUjC4174+C0DA47exSU3+j4GVBzuLlwuJCFvVmZ2azQ64U5KrGoJswkz6mlWBY5qqzUOdXM27lvCydgFXhPHsxfyij9wQ0VgqJqa1OIWV731NKhMB4E/BDN7rO7bBzDjtCYo733KD3EIAABCAAAQiMBgEEu9EYR3oBAQhAAAIQgAAEDhAoRbvokCoddKWgE8WjVkKaBLtf/OIX2ZUld51FJIlZVeXHxnUS57oRr/ox3NHJZFFOr/ML87m/dsgpj5xDSx61XTH0aDkOrcra2d9r66CbShP51Ci4RaZe3HV9rqcqlCfOuqOOaP+OdzhVjzWCXf/YUxMEBkXA130p3Okzgt2gRoV6IQABCEAAAhCAQO8IINj1jiUlQQACEIAABCAAgbEgoCf7Jdj98z//c+5vXECMQlErGFNdUooiUzsRsRQA9yYaglUUm2KVUSSLYTglwsmlJkFOr3LISYyTQ877HIqsyy5wGAR6TqBqoV6VXLt2LW3vbPe8PgqEAATqQ2BnZyfNz82nnd2d/FCGHe76Xfir/+evOj4wU5+e0BIIQAACEIAABCAAgSoCCHbMCwhAAAIQgAAEIACBIxO4dOlS+qd/+qccfs8CgoU7LShqa+Wkm5mcbFufc7S5jFahGcsQjv68s79/wF1m95udf4tLi5WCnENaxvaX4p77emRgnACBHhFAsOsRSIqBwBAS8H3WDnDdg52X9H/9z/81hD2iyRCAAAQgAAEIQAACkQCCHfMBAhCAAAQgAAEIQODIBD777LMs2FkkkyPNubP0vgxrecAht9cI6eitfF+GifRxLsOCno7TnwU5n7dw8kT+TouYM9MzB1xy+n5rayvv95+deBYfXa7qjW2rS6jOIw8WJ4wUAQS7kRpOOgOBIxHQfcthqH3PkuNO97sf/vCHRyqLgyEAAQhAAAIQgAAE6kcAwa5+Y0KLIAABCEAAAhCAQO0JOIddFN0kpGkBsVWOPB8rQU9bq5CXZf690mF36vSpXIcccQpbqYVKha60Q06LmaW7L7rx7jTHXishsfaDRQNHigCC3UgNJ52BwJEIOAymc5Hq90D3wAe++EB68cUXj1QWB0MAAhCAAAQgAAEI1I8Agl39xoQWQQACEIAABCAAgVoT0AKhHHa/+MUvmsJYdNiVIS3Vmehac86dKMTF9wpZGQW5Mo9cJ6db6dgrQ2faAWh3gmF3Cr1Z60GhcWNDAMFubIaajkLgEAFd/7qH6T6q+6RCOOv1G89/Iz355JMQgwAEIAABCEAAAhAYcgIIdkM+gDQfAhCAAAQgAAEIDILAxYsXmznsoqsuCnOtHHRLJ5Zuh6ycmUlzs3NNh1xVOM2j9M/5farOKYU7C4ml486Covf7FYfdUUaCY4+LAILdcZGlXAjUn4Bz1lmo0/1K9803vvtGuueee+rfAVoIAQhAAAIQgAAEINCWAIIdEwQCEIAABCAAAQhA4EgEtEAowe5f/uVf8nnOXWdha2FhIU1NTzVCVc7MZjHOLjnnm3OFzh8XxT0LaJ2cdFWNLs+pypWn76rKVj+8GBrLLttYhts8EjwOhsBdEkCwu0uAnA6BISZgh13Mubq0uJS+//3vZ+GODQIQgAAEIAABCEBguAkg2A33+NF6CEAAAhCAAAQg0HcCKysr6caNG+n//H//Jy0tLWVRbm5uLi8WKo/cnQht6kSVEFZVVpWLrl3OOgPyMc79Y6GxdAXq+6rwmGVuvb6Dp0II3Mr9qDlsZ6vn5bVr19L2zjaMIACBESage5Oufd1vla9VD8bcd+996bXXXhvhXtM1CEAAAhCAAAQgMD4EEOzGZ6zpKQQgAAEIQAACI0gghqNU9yw2deMCs2BVhoRcX19PW1tbaWNjI21ubjbf+3M3ZY8garoEgdoQsEvUbju5XtfW1tLK6koON8sGAQiMJoGJiZQfitHf9PRMvud/+1vfTo899thodpheQQACEIAABCAAgTEjgGA3ZgNOdyEAAQhAAAIQGH4CXqyLC/NasNcifrlY38oVJiFufWM9ra+t54V+iXQS5PTEvp/gj4Kev1M9ctGxQQACgycQw2Ourq6m1bXVSqfq4FtKCyAAgV4Q2N9vhG5u3Icn8j37r//qr5v3bcJi9oIyZUAAAhCAAAQgAIHBEUCwGxx7aoYABCAAAQhAAAJ3TWBnZyeXYRFNn/W+dM9JoLt+/XpaXl5OV69ezfvL3HNRCIyhKB0y0t/dacjLu+4sBUAAAk0Cvg4dHtMOOxywTBIIjDKBhruukW91Nt1/5v70yiuvNEPkjnLP6RsEIAABCEAAAhAYBwIIduMwyvQRAhCAAAQgAIGRI9DKORe/lxvu5s2b6fLlyznnnN1zFubisV7kL/PD+dgIkJB7Ized6NAQEfA1WiXYyWHHBgEIjDKB/ZC/bja99upr6dSpU5UO+1GmQN8gAAEIQAACEIDAqBJAsBvVkaVfEIAABCAAAQiMNIHSARc7q9CWV65cSRcuXMjhLhUiS38S8OS0W1xcbObAieeVDrrorPN7HR+deSMNmc5BoIYEqgQ7feeQmDVsMk2CAAR6RGBvrxGWWvfh++49k7773e/mksuHbXpUHcVAAAIQgAAEIAABCPSZAIJdn4FTHQQgAAEIQAACELhbAnFhLi7ey02nsJeffPJJzmUnkU0infPbzc7OppmZmbyw7y0KcXbZxZB6pRtP5+Gwu9sR5HwI3DmBcmG+DIl55yVzJgQgUH8CjXCYuq+/+spr6eGHH242Wd+Rw67+I0gLIQABCEAAAhCAQDsCCHbMDwhAAAIQgAAEIDBkBLRYp0V7i3JbW1vp888/z446iXYS5bRZjNOrc9408t409keXXlVeuqqwmzzFP2STheaOPAELdjjsRn6o6SAE0tTUZA5vfebMmfTd19/I93nfl3V/54EaJgkEIAABCEAAAhAYbgIIdsM9frQeAhCAAAQgAIExJqDFOeWnO3/+fFpZWckkFCqrFN+qxLgSWxTivADo70rH3Rgjp+sQqAUBX6NqDIJdLYaERkCgLwQmJxvO+ddffz2HxPRvAO66vuCnEghAAAIQgAAEIHDsBBDsjh0xFUAAAhCAAAQgAIE7J2CxTeKcFun99Lzy1J07dy676vS9wmDpGL/eeY2cCQEIDCOB9fX1dHP5Zv49YIMABIaTgO/50SknR52c8f53wMMPPZxeeOGFZi47i/YW74az57QaAhCAAAQgAAEIQEAEEOyYBxCAAAQgAAEIQKCGBLRAp0U4C3Bx8U5uunfeeSeHvzxx4kR21CkspnPWyWXHBgEIjBcBBLvxGm96O5oELL7pnr6wsJB2dnayMOdctNr/F2/8RTp58mTe59DYCPWjOR/oFQQgAAEIQAAC40cAwW78xpweQwACEIAABCAwBAQcjrLMGffZZ59lZ50X79QVL9pJ3NPx3YTAHAIENBECEDgCAQS7I8DiUAjUlIAEOIt0Eu3srNP9Xff95/7kufT000/n1jsMJuEwazqYNAsCEIAABCAAAQjcAQEEuzuAxikQgAAEIAABCEDgOAlEkc4CnBbx3nvvvXT9+vW0traWlpaWklx4+pubm8vN0SKfFvf0ygYBCIwXAYXJVUhMNghAYHgJSHybm51Lu3u7OQSm3HW6p+v9Y48+lr7zne/kzxLwcNUN7zjTcghAAAIQgAAEINCKAIIdcwMCEIAABCAAAQjUjEAU6dQ0LdS9//776dq1a02BbnNzs7mY5yfv7axjEa9mA0pzINAHAgh2fYBMFRA4ZgLlAzsS7PTd4sJiev311/MDOtFRp38fRFfeMTeP4iEAAQhAAAIQgAAEjpkAgt0xA6Z4CEAAAhCAAAQgcFQCXoCzAPfxxx8nhcLUZz9tr/ezs7P5CXuJd9ocOuuo9XE8BCAw3AT0O6CQmMsry4TEHe6hpPUQSDPTM2lldSWLc7rXS5D7wfd/0MxZK0R+MMf/TvBx4IMABCAAAQhAAAIQGG4CCHbDPX60HgIQgAAEIACBESXgJ+gVBvPzzz/PvXTISzvwvECnxTyJfPqT206vbBCAwPgQ0OK9HXbksByfcaeno0dA93DlrtPDObq363p+4dsvpC996UtN8U7/PvADPCIQH/LBYT96c4IeQQACEIAABCAwXgQQ7MZrvOktBCAAAQhAAAJDROCDDz5IFy5cyC12vhrlrNNCnhblJOBZ2NN+LeDpsxb52CAAgdEn4PB5CHajP9b0cDwI6B6ue7wfwPnWN7+VHnvssea9vgyZiUA3HvOCXkIAAhCAAAQgMD4EEOzGZ6zpKQQgAAEIQAACNSIQF92q8tH88Y9/TOfPn8+LdnFBTiKdxDk2CEBgvAnYYWtHncT8a9evjTcUeg+BmhOwg06vzj+rJjsPnUJbK8y1wmF+4/lvpMcffzz3SNe39rFBAAIQgAAEIAABCIw2AQS70R5fegcBCEAAAhCAQI0JRNFOzZQYpyfrFQJTYt2NGzcOuOUk3JUCXo27R9MgAIFjJIBgd4xwKRoCx0Qghq90+GqJdbq/2ym7sLCQ7KyzII+T7pgGhGIhAAEIQAACEIBAzQgg2NVsQGgOBCAAAQhAAALjQ8C56JynRj3XU/RvvfVWWl1dbYbE8oJdPG58KNFTCECgigCCHfMCAsNHwNetW24hTk57CXgnlk6k559/Pj300EMH3PU6vnzIZ/h6T4shAAEIQAACEIAABDoRQLDrRIj9EIAABCAAAQhAoMcE4qKbXXUOi/nee++lS5cuNcU6iXTapw3BrscDQXEQGGICCHZDPHg0fWwJ2CkfhTsJdXLXz8/Npxf//MV08sTJLNY5H63/nYBgN7bTho5DAAIQgAAEIDBGBBDsxmiw6SoEIAABCEAAAvUgEBfdYrira9euZXedn7i3QBfDYLJgV48xpBUQGDQBBLtBjwD1Q+DoBHQ/Vy46iXC+hvX+4YceTn/6p3+ac9c5h51KdwjNo9fEGRCAAAQgAAEIQAACw0gAwW4YR402QwACEIAABCAw9ARi7hqLcGfPnk0rKytpamoqL+T5T521iIdgN/RDTwcg0BMCCHY9wUghEOgrAd/X5ajTvwPmZufSU089lZ588sl8n7fbXo2K7/WZ+39fh4rKIAABCEAAAhCAwEAIINgNBDuVQgACEIAABCAw7gS0UOcwWHq9ePFiUjhMPV2vz4h14z5D6D8E2hNAsGOGQGD4CMzOzKat7a18n//Sw19KX/va19KpU6eaoa/1wI62ra2tNDs7m99buMNtN3zjTYshAAEIQAACEIDAUQkg2B2VGMdDAAIQgAAEIACBHhCwIKewl9vb2+k3v/lNc8HOT9F7Qd45b7RYZ/ddD5pAERCAwBATQLAb4sGj6WNLQELcA198ID3zzDPpwQcfPMAh3vt139dniXVy4+GuG9spQ8chAAEIQAACEBgzAgh2YzbgdBcCEIAABCAAgcETkECnHDbatAj3X//1X+ncuXNJ4h0bBCAAgXYELOBLvHd+S4fYvfz5ZeBBYKwJ+JqIYaQtduk7XTe6B2vTPVd/EsUsjJXwnGfW309ONoS0qq1Rz2QzN53KVn46lS233ML8Qnr++efTvffem930MYftWA8anYcABCAAAQhAAAIQaBJAsGMyQAACEIAABCAAgT4TcFgrLdbpaft33303LS8v97kVVAcBCAwjAQS7YRw12twvAlGcK4U1Xzt+OMYONol4yiW3s7uTBTZtFvwOt/u2WFcKblkQnJzO5UikUz3zc/PpzJkz6bHHHksPPPBAvudLrNNmp32sq3W9/SJIPRCAAAQgAAEIQAACgySAYDdI+tQNAQhAAAIQgMDYEvCionLXffjhh9kpo8W9Vk/ujy0oOg4BCBwggGDHhIBAewJR9CpFMeeDi446vdc5EtPm5+c74JWLbqIpuDnnrL7T3+7uXnbQnzp5Koe8fOihh9Lp06fz8WUOOnLSMZMhAAEIQAACEIAABEoCCHbMCQhAAAIQgAAEIDAAAl40/N3vfpdu3LiRF/K0yOfQdgNoElVCAAJDQADBbggGiSYOjIDvoaVrzZ+1XznhFBZT7+WA0yZXXHxoxg/PWPBzh3xMzEM7OzObFhYWsnPuiSeeSCdPnkynTp1qMojCXCyXMNgDmyZUDAEIQAACEIAABGpLAMGutkNDwyAAAQhAAAIQGGUCWrRbX19PZ8+ePRAWS4uKuOxGeeTpGwTujgCC3d3x4+zRJqDwllEUU2/jZwt201PTaWNzI8PQwzIS8HxuuxCVS4tLaXFxMQty+ltaWsquPIl1EgIVUlOv3mJOvVZiXbznExJztOcnvYMABCAAAQhAAAKdCCDYdSLEfghAAAIQgAAEINBjAg6H+V//9V/pk08+yaVroVDhuLTQh2DXY+AUB4ERIoBgN0KDSVd6TqB0xJUCWLzXyuEWXe069p7T92QBTyKcxLgTJ06kpRNL2Ymn73W+txhuM4bJjO91TOmk878BVE6ZB6/nQCgQAhCAAAQgAAEIQGCoCCDYDdVw0VgIQAACEIAABEaBgBfo3nzzzeyyi4t7o9A/+gABCBwfAQS742NLycNPwC51i2LOLWdxTQLdQw8+lB+OkRgnl9zs7GzzVQTaudzaPVDjuju55ErBrtPxwz8q9AACEIAABCAAAQhAoFsCCHbdkuI4CEAAAhCAAAQg0EMCm5ub6Te/+U0On6VQWhLuFGZrY2PjwBP8PaySoiAAgREggGA3AoNIF46NgO6p+tvc2Ey6z8q5rlf96XvlmPvJT36S77MOX+mcsmU4Szey25CVUYiLHSxddK0EO7VV4iEbBCAAAQhAAAIQgMD4EkCwG9+xp+cQgAAEIAABCAyQwGeffZYUEtPhuLSApwVELRzytP0AB4aqITBkBPQbolB9EhsuXb7E78eQjV+/mzu1v9+2yt2Jo7WoleOs1X2s6vgyZ1xVqEm1St/v7O03BLlCjLMgF0NcVvXkK48/kX7605/m6wSn29HGmqMhAAEIQAACEIAABI6fAILd8TOmBghAAAIQgAAEIHCIwEcffZQuXryYFwy1wOiwXX4PMghAAALdENBvhsL7SexHsOuG2GgfU+UGi4LY/v7eIQDxnKp8awdPaCh6pcjmY6JgFsv1+7L8sjE6X4Lc1uZtZ5zFuSzU7WwfyPt2sG+H88WV5SPYjfb8p3cQgAAEIAABCEBg2Akg2A37CNJ+CEAAAhCAAASGksDvf//7dDXTG0YAACAASURBVPPmzdx2LVB6ERPBbiiHk0ZDYGAELNjpVYId23gTsHNMFOxU83u9Tk1NNgFViW7xnHje7bCOt89vR7qVoLe9vZ3F5e2t7WaoSgly/l5hIUsX3oG8dNNTB6otBbtOo49g14kQ+yEAAQhAAAIQgAAEBkkAwW6Q9KkbAhCAAAQgAIGxJKCF9V//+tfZReDFUYXD1PetcuCMJSg6DQEItCTg34oo2H1+5fNmmF3QQUAEytCUZcjIVvv9vd3fLqtTyEnNSwlydsgpL6sdclmo29ttCnK+/7Vy+FWF1fSxrV51L223IdhxXUAAAhCAAAQgAAEI1JkAgl2dR4e2QQACEIAABCAwkgTkIPjVr351YCFVDjsEu5EcbjoFgZ4TiOEFJYJIpNB3V65eyWIJ2/gS6CZHnOlUOfCUDzGKYaUwJhEtC3JbW2lzYzOVgpy+b7dJsNPWShD0/PX+qhCf5fnxcydBEcFufK8Neg4BCEAAAhCAAASGgQCC3TCMEm2EAAQgAAEIQGCkCKyurqbf/OY3Oe+Uw2FGt0yVq2CkANAZCEDgjgno98GihIT+KNhdu3Ytbe9s33HZnDg6BFrdR6oEvdjr3VsOOYWolDPOfw5Zub6+3jJ/ncrpJBjrvuetFAP1fekyLwW7qv3xu073TwS70Znj9AQCEIAABCAAAQiMIgEEu1EcVfoEAQhAAAIQgECtCVy/fj0ph50X2+Vo0GKoXDJa7HQ+u1p3gsZBAAIDIVAl2Pk3Q78tW9vtHU4DaTSVDoRAlSDm+47uOQ5bKVecBbnltdWu29qqfBdQlcdOoaCrtugarcpL5++c57XM1RdDd7brAIJd18PLgRCAAAQgAAEIQAACAyCAYDcA6FQJAQhAAAIQgMB4E7hy5Up65513sktBi5dzc3PZxSDhTp8R7MZ7ftB7CLQj0E6wu3HjRtrc2gTgGBNwyEoLcjl05eZmvrfogRAJcq3yv1VhO5TjLkRcrXKzVYWyVLlRkGs3PHbLWZA75LBLuwccfq1CZraqA8FujC8Oug4BCEAAAhCAAASGgACC3RAMEk2EAAQgAAEIQGC0CJw7dy598skneQFTf3LW2TWAw260xpreQOC4COi3Q+J+DKcrwW7cHXal88r8LSRNp8n8VSvRandiLwtCYlslGuncmH/NZZWhJqtcYj63VVjK2PZSDGueM9lwYkuAc7hKO+R0H7l58+ZxTbmelOtwrq1CV06kqWY9kVO73HxVTr5WjL/yxGPpJz/5yaHx7dahF+dOVR+iA9AdiSFs43wpH84pw332BDiFQAACEIAABCAAAQgMFQEEu6EaLhoLAQhAAAIQgMAoEJBgpz9vVaG9RqGf9AECEDg+Agh21WzLfGaHHGJ7e/lECzoWarJAlyZSmmg8SCGRxX86Rg9W6G9nZ/eA2Ofzo7PMD2NEt5iPk9AWBUH3wucox5sEuRiyUsKcQ1beXF1pdrwqJGUrIez4ZmJvS1bfS0E09skiV+y72cWWlBz8+fFHHk1/93d/lw/VWMScemIsp7vLK9tR1dM4j8qx7MYt7/52c2xvSVMaBCAAAQhAAAIQgEAdCSDY1XFUaBMEIAABCEAAAiNN4NNPP00ff/zxgUVJP5U/0h2ncxCAQM8IINh1j1K/rxZWJLpVud9ui2ytHXYN5g0HWDvHl1sWXXoW/yQI6X0pyMklJ/FmZaUhyLVyiO1NdN/vOh5Z5bA7isjo89W3KmddKZyapXk++cSX089+9rMmYx3v++/GxkZaW1vLY7O+vp4djFFQ03guLCzkMNZ61V8U/DyHovgWBT29V3nlHPQ4eV8dx402QQACEIAABCAAAQj0hwCCXX84UwsEIAABCEAAAhBoErhw4UL64IMPmuHsvINwWEwSCECgWwIIdtWkyt/RUpwrHVHR4WwRqHSuxXCJMeRhFIcsCkqQs0Muv25tZ+FHYpBEuY3trSzGaZ/PiU48hzmtco11MzeOIn51U16vjykd5So/ipNVYlfc36l/E3v7ucnRHRfH7ytf+Up67bXX8nhYoLt69Wra3tluOuvcpir3pNqncbOQNz83n+699950//33p1OnTqXTp0+n+fn5JrY4H3Ve2b9O/ek1f8qDAAQgAAEIQAACEKg3AQS7eo8PrYMABCAAAQhAYAQJaHHwrbfeyk/Zx4XIuAA/gt2mSxCAQA8JINhVw6wShEoBJ4asLMNWlqW2EvRi2EoJcXbIyZnlfWU+s1zv5ERTGCqFOtWlcy0Yle22G8xtHEaxx/0rBTX3qSrEZJUjstWldM/JU1kUk3A6Ozvb+JubzU443XNV/8L8Qtrc2mzmsdN3+tOxVQ4+tckOSZXtP7XBoqvDnE5OTGbR7uGHH04PPvhgWlxcbB7je77H3eKsc9cSFrOHP5AUBQEIQAACEIAABIaUAILdkA4czYYABCAAAQhAYHgJKOTZ2bNnD4XzcjisVqHQhrfHtBwCEOg1AQS7aqKlwFYeZZeTBRaLY82wmZOTzRx2Ft7kxJJLLjvkNjYO5LeL4TZVlkQZizseI4fGtMBT5kaLAmIpwpWOwZjDLToB/V7113mr6l9s72TDINdyO3nyZFtBrpOIOTMzncNempO4ScxTPjt95xyCGvsorDmMpQW9KOKpsR7jvT2FTW248NSWB774QPrqV7+avvCFLxy450e3ncc/OgHrPIa0DQIQgAAEIAABCEDg+Agg2B0fW0qGAAQgAAEIQAAClQS06Psf//EfeV9cENSCIU/YM2kgAIFuCCDYVVOqClnp31r/3log0W+uQlY6XKU+r21uZLeV3tsNFmuyIFiKLLcFm718eOkKK8NfRhEvCm/lPSDuK8sthT/3s5v5M+hjyn65PScXl7JwZoec8sXJ+TYzO5O/b3ePrBLrygdgdnd38n1X+ecc2tJON7UhOgDLUKjlmHv/wToaOfHcVt3v9fm+e+/Ljrunnnoq98dbGSZz0ONC/RCAAAQgAAEIQAACgyWAYDdY/tQOAQhAAAIQgMAYEtAC3b/92781w6Jp0U+Le9vb2wh2Yzgf6DIE7oQAgl01NYs2FmO2NhvhKuWQkwi3utEIWan3+rPA5zCHFmXspDokEO1PHqi4FIRahW8sxZ0qJ3UMednSbTXREATjFsvq5DC7k7nWy3MkwOl+J9FK75XvTa8S6PT91ETrvmlPO96d9pdsPPZ+9TUVyynHrZUo6HkzOdkIdV3lolQ9cvA9+8yz6cknn2y6MVUfD+v0cpZRFgQgAAEIQAACEBheAgh2wzt2tBwCEIAABCAAgSEloEW7//zP/0yrq6vN0FnuisNxDWnXaDYEINAHAhZ2ojNIIoFC/S2vLGexIIZOdJN8XpWodNshdjuHWhQdbgsSjZCRFk7KstoJD1UOJYsjFsg6CU67+7fdaypPDzo4ZKXei4FzklmQUx11CTdYxS32OeZQq5pKkxPT+etSuKoSAN3vWI7ngEUl190cm8nbYpPriQKURS07DeO46bu56YbwFgW5+YX5piDXaXz7cPkMtApdH5qXJ0+cTM8991zOdVdu5l3mQHTY7IF2gMohAAEIQAACEIAABI6VAILdseKlcAhAAAIQgAAEIFBN4Pe//326ceNGXkSOocGc/whuEIAABFoRaCfYra2v5dNKp5hFvFZCjeva378d0rEU4xzqL7arDO2oHF5Vm3/n9Bun9zH3m9tWCooW5DY3NrNDLgtymxtZ8JBrzuEGfX7MS+b+V7md6jKzYhvdJj204fGramcZslHHlMLq7bFsjEU7B14pZKr86CorBUYJcmW4Sjnk5ubnsnssCoB14Vy3dmjuz87Mpu2d7fTIlx5JX//613OITm2a5+JZNYa48Oo2krQHAhCAAAQgAAEI9J4Agl3vmVIiBCAAAQhAAAIQ6Ejg/fffT5cuXWoKdlUL8B0L4QAIQGAsCXQj2FmoiQJdKcRYNPP3DfEtNcW0TuJehG/xaWqqITiVm4Uc5+q0O1CfJcjJJRcdcnof88g1HYBFyET30/W1E6d0zKAdXqWTsAyd2NFhN9lwOJb9jcJaleCm48Uw1h+dki5PISqjQ85OOb3mvGzBrVg6LUu2Va6/QfMf9A+GxToJ6xLmxGN+bj677R566KEDzthSMB93doMeO+qHAAQgAAEIQAAC/SCAYNcPytQBAQhAAAIQgAAECgLnzp1L+vNWOksABgEIQKAVgXaC3crqyqH8WSrH4okcVBa/ynCIZehDCz/xuOgKjgKCxT+XUQpyziG3udMQ4vRZDjm91yYxKNZTOvDclnahM0uBMfKrCkU5iBnWKnSl2hLZdtu2QyLZzu3xVRlRlHWevuiQk2iURblbDrlS4I33KLevnDflfaw8x31ze7rt2ygeJ3YSp08sncjX5MbmRu7mwvxCeuKJJ9Kzzz6brwVtuj40NmwQgAAEIAABCEAAAuNDAMFufMaankIAAhCAAAQgUCMCly9fTu+9915zET3moqpRM2kKBCBQQwLtBLvVtdXc4lIYKkNSxm5F0ceijN1TpSBUCmYSAOWGk0vOrjgLchbpVJZFwp39vUNti23xsRaX3BfVqz+FXawKJVkVLtB9rotYVzWV2rnSunGolcdMpYkcstJCnB1yEuT0fSnWljno1Ea3KYqwbnvpCCwdjVF0LPmrjHEP66hrQ4663b3dnGvRTKanptPm1mZ69JFH0ze/+c3mWOmacqjRKKjX8GeJJkEAAhCAAAQgAAEI9IAAgl0PIFIEBCAAAQhAAAIQOAoBLbotLy+nt956Ky9AOy+UXgl5dRSSHAuB8STQTrBTqD39xkQhpswzV4ZCPPA5h8WcaAorEhXk9FlfX8+v2iTE6bOcQhIgfLxenQMtCj8epSjclSMXxZ34Prr89L6sT+XE/saHH6JQV5ff1lZCqnnMTDbcVZFZ+VkCjoU4hbDU3+xcI2SlRDkzi1w8HpFJlSCoHIY+P9ZbOhyrrryGWFcddjSKgON51d7udRQty7C0GpN7Tt+TXnnllaa7rhRFx50f/YcABCAAAQhAAAKjTADBbpRHl75BAAIQgAAEIFBbAnpq/uzZs9mR4hB1XsxuFzKtth2iYRCAQN8IdOOwc2Oq3FJ2r7kcCXF2yG1sbzUFOglz0QVkQc7ij4VAC0N2wLUD4fJKp5Y/W8woBTx/jvuj48iCkst3G0sOfRukLiqqEhEn9vabwptccv7LOeSmp9Li4mIuuXSvtXMTlqzj+W7m7fvO/gHBrsqd2O4eFdLrVTopx91hJ97O4+g5GoVuXUMSXU+fOp1eeumlLNqZmfbBr4sLi0MgAAEIQAACEIDAEBNAsBviwaPpEIAABCAAAQgMN4Hf/va3zRxODiNGaMzhHlNaD4F+EGgn2DmHXXRESZDbWN9ohqzMnzc28u+PBK4owOxN3O5BFJTswpOLKzryDoV0jAVUwCgFt/KQKjdRdNnt7m0fciKXjjwLIbHsKuGpH2NV1T874aIg53CVp0+ezKdExrF/k5NhgCo64PGods81xDiXHZ2R/q7kVI7H1H6j0iiWxmbsTrRv3yCY16lOO+rLuRmFOLtIv3D/F9ILL7yQRVry2dVpFGkLBCAAAQhAAAIQOD4CCHbHx5aSIQABCEAAAhCAQFsCH374YTp//nwOXbewsJAX0LXxBD0TBwJ3TsChZVs5sUqhITq3qkI6HnJ6TU4cChl4QFC5JWhUhRXs5J61y7YUXaKYMjc9nTZvhaG0cKfXz698nrZ2dtLFixezg0fuXS3y6310nQ3696WKQWTlPlXlVstjlw4LhvH8KDhF0UszquRaNUZ7+zuHJl8UJQ8JlNFSpjN39w455OSSkiAnoe7EyRN3Prk5c+QJ6Pr03Nd1e/+Z+9N3vvOdLNr5t8tOOx/nB32qHJsjD4wOQgACEIAABCAAgREjgGA3YgNKdyAAAQhAAAIQqD8BL7pdvXo1vfPOO023g763e6X+vaCFEKgnAV9fUZyJIk4rQc+9UX4w55Xysa2cSNGpZEEoOpji/ipxKIpIeq/jS6HKeS61eK/3a8sraWNnK7/f2d5p5pG7cOFCWt/eSku3FvbdB/fL9XcSDY97VM3H/W3Vnuiqq2IT8/Kpr+bj70vxIjoO2/WxyqEW27i/s5t/p2MOOTnlcsjKqam0dGKpWXyVgDJo/sc9vpR/dwTiAwR+/8iXHkl/9md/1nTD6jfK1wQi3d3x5mwIQAACEIAABCBQNwIIdnUbEdoDAQhAAAIQgMDIE/DT8XLA/O53v0vKEyUnjBbh4mL2yIOggxA4BgJVDqjSddVKPFNzdF1K9JH4UpWjrQwRqHOiuBRFvij+WECLLjq7yeSC05+O0e/B9k7DHee8ctEhNzs1lbb39pp1WuC7dOlS2tptuOlcb/l6DLiPXGQrfrGg6IyL42l2FitKd6SOjf2PzsRYfunIiyKv65AjLuaPs0Pu5NJtQc5lVjnwDoh8wYWHwHLkKTNWJ+g3R78F+veA5pDn89ef+3p66qmnKll4/o4VKDoLAQhAAAIQgAAERpQAgt2IDizdggAEIAABCECg/gS0yPbRRx/lsJhxYZ8F3fqPHS2sL4FS4ClbWjq8ouhSdW4pvFjsiWKenXFRGIzXtBbd7QCTILezu5OFOeeVs+jWjqrLm9zfTzsKDTnRCM3puhUKU4Kd3TcuK4pWdvHWYfRKrlF8K9vXTuQrRbnSmVeO7+7WdmYkR5z+yvcLiwvN3+PSrWeBVWW2cwbG9lcJyHXgTxvqScAhMS3C6cEBPUSg11dfeTXdf//9WdDTcYTCrOcY0ioIQAACEIAABCBwNwQQ7O6GHudCAAIQgAAEIACBuyCgRfrl5eV09uzZND8/nxfheFL+LoByKgRaEGjngGrlhIpCj967jBiyUt87ZKVf19fXsyCnRfbokPN5pSusbLIderHOKEpNT0ykvVtiXQzzqJCYO/t7zZCarSZD3R8IsKPIgoT64f5H96L7V4qk4i4RTo44547zq75fWlhoOihdtpi4viieuuxuxTmX1+5CrDt/fkQGS0DzX/NVgn4Mfak5eO8996ZXXnklOz/jvxXs2h9sy6kdAhCAAAQgAAEIQKAXBBDsekGRMiAAAQhAAAIQgMARCHihza+//vWvs1jnp+ZbLQ4foQoOhcDYEijdWNHpZjea4FigiUKcF76je81h6RyycmNjI+3u7ebrVWErt7e283s76OZuhbKLwo8FoaoQmWpLdIXJPWfhJ4pRTbfX3l4W7GI/Vddnn32WBTu7bjwBSsfZoH9fLL7FCRpDd85MTjVdgx6v6Gr076QcR3bH6YGHxcXFhmtubvYAz8jB7qXSnejf4kY7Gvw9LuWF1Em829trnF8lEntcx/bipONdEYhOTs1x/eZIpNPvzTNPP5Oef/755m+EjtVvj64HhLuu8HIQBCAAAQhAAAIQqDUBBLtaDw+NgwAEIAABCEBgFAmULjqFxPz444+bT8wPekF9FJnTp/EiULquLPzoVaJOGUbR+7Xgvbq6mgW5ModceV06J10ZIjPdyiEXBZuYv85ijgU4fT7g0gtuLx1T7pfDLt1anLcQqPP1O7InvalNuMY6zIIq11oUFfd3Gjn4LMhJqJAgp7/slJudae6zOOnxjEJHFEfN3PtLl1v8vL+/18RU9VvcyiHnY6emGrnHPA7lXFO/2CDQisD01HTa2m7ktJUQNzM9kz9ry9fE1HT6sz/7s/TAAw8cKCL+5kEXAhCAAAQgAAEIQGB4CSDYDe/Y0XIIQAACEIAABIaYgEU7Lchp0flf//Vfc2/8eYi7RtMhUCsCFmkkaun6Uqi5HK5ya/NQyEod00lQsdzSSVhv5fSzyGQRT7C6cdg1j9nbS/uTk1nkUx12jX366adNwS6WqfdRQLIIOKhBcpujQ06inMQ4fbcwN5dfFdLSomZkJUEt5u8qhVP33f0ux6l0IJpDK8GjFOgmbznoWvHbubWjlSjYad4Malyotx4EogNV14F+ryRWx4cKvvTwl9KLL76YrwM5TiXu6TdN1wwbBCAAAQhAAAIQgMBwE0CwG+7xo/UQgAAEIAABCAwxAS3ASUDQYpvyT7377rt5YU4Lb3aYOB+TFuYUFksLciz4DvGg16Dpd+vEKJ1LURAquxdDHVpIKUNFxnMc3s3HVuEqXVU+xsLN2tpaXsTe3tnOLrmtza1myMrS3TqI4YiCUatruXQImnF2CE5Npd0gwlmQlMNuN+2nvd3b4RhL0ajdb8dBl9lth1g5Fnv7O81wj1Vus4m9/bxf/XQeuRyqcnY2/9YtnVjK+/TeglwUKQYxJtQJgWEhMDnZCIH59eeeS0899UwzHKba79CYw9IX2gkBCEAAAhCAAAQgcJgAgh2zAgIQgAAEIAABCAyAgJ+Kd86Z9fX19Ic//CGtrKw0RTk7UbQIZ2FPT9zrPRsE7pRAK+eXhZkoqMU6ylCGUYyz+8vHl8fGz61CCupcHWeHWwwlGM+XIKdrQIKcBO0szm013nvBuqqtVULjnTK8m/PcthgSM3JTO+2m8ZiYb+ajhflbYTSjw06ivwS7TluVaBfHpJOgOJUacTf9UIFEOTnk9CoR7vQ9p5uCXTPvXsi55xx0g3b6deLEfgjUk8B+/n04c+ZM+u7rbzTz1iHW1XO0aBUEIAABCEAAAhA4KgEEu6MS43gIQAACEIAABCBwlwRauXwuX76c3nnnnbzorcVwhcLSe20SUbQgrsXudoLHXTaN08eAgIWS6Gpq5XCqCusXhZZSGPNctaATX4021q/vyjKWl5fzfN/Z3ckinFxyEuQ09/W9BS2XV5WrzPtKcTLWN6ihjtd/bHuVqy72QwvyOmZmcjKHxDRb8dS+zz77LO3s3w7p2cpNVwplJX8LtqUgJ1FOv0f3nDqVnXESVvVX9sH9i/XEHH3+fWslAA9qXKgXAsNAYG+vEUZb1/xrr77ezGXnh4CGoQ+0EQIQgAAEIAABCECgNQEEO2YHBCAAAQhAAAIQGBABu+u8wK1XuewuXbqUQ2NqAS46jtRMctwNaLBGqNpWISnL8JVVXXb4xXY42oVW1HyWQy4Lcjs7aWt761DYyk5hHCvDME40XF+txPDY3lZCVr+GuEqkU91V/XZ/HGIyHyPhTqLdfsNp4zCiCom5N5HyYn50J5b9mrxlwvNvi0JV6vdGf3ovYW5qupFDzmErdax+e/zgQBTbSp7txqcUV6NQzIMI/ZqB1DPMBCTYOWfdQw8+nF555ZVmd/xvimHuH22HAAQgAAEIQAAC404AwW7cZwD9hwAEIAABCEBgIASisBAX2W7evJneeuut7CzS4rk2OYwcEs8uu4E0mkpHjkArcaV0P8XPnUIZKqyr5rRDVsY8clGkNsxS8CkdeDouHlOKcrEPei8h0Fs3ImS/B7XKtRjbEB1uVcKYQmKmqfzfvFmwU0hMCXbO5WeRLwpyOXzl9EyanpnOvy/6PDkxmfb29/J5fiCgdCb690f1lSF5va8UaqNoGAXHKtdjOcb9HhPqg8DwEGgo7g1hPqUffP8H6cSJE/k7XHbDM4q0FAIQgAAEIAABCLQigGDH3IAABCAAAQhAAAJ9JmDBIQp1Mf+MnDIffvhhFim0qB4FO3LY9XmwRrC6Tg6zToLS6upqFm1Kh5xEZs3p6Vtut4gu1qlzo5AWxSC93yzCvpaCXCthyPU5B14UgaLwVRcnl/sdhS072NT20o3m/omvctjZgSu3jYS3GzdupJn5uTQ71fg8Nz+X3XIW5HS82GtfZBPr+v/ZuxOo2c66zvf/mt/3TAlDSEvMQBIMJBAEUW9i0yFiRCFMrSJqhNjYwm2uE2vpXcDtq96WhQrebtf1dgBBtHXRoOuKFxUHHMilgUAQCGYg83BySM48vUPNddfvqfOv85x9dr31TjXsXd/Ketdbb9WuvZ/n8+xTlbV/9X8evx+PiR7zKS377139tikw8Gq+eMrLSqX/RYNk6Ovt98fjoC8Z7uXwnx1dQmBbBPTv7/QauD17/vOeb5dffvm6qou3pQHsBAEEEEAAAQQQQGCsAgR2Y+Vl5wgggAACCCCAwNkCHs7FIV38zXhdvH7wwQdt//794cUeQMRTGeKKwGYF0tagiwOWer1+RiCntRSbjWa4SOzrqK117DiwSwsHR61hF1ePpR1HwWAyUNJ2/ljalJ/x9tP+d6S2pLl4G93Yg339+w9Vcov9KStLvYKVa/2pK33aSm375P4nrWtmlVIp7D+utIsr3JIVcmnG8ev1vIdz/YCuO9h/cr27frVff53B2DwZmCZDOz//ktWTmz3HeR0CeRXwwK6/jmTZdu/abdddd13qe2JeDegXAggggAACCCCQZwECuzyPLn1DAAEEEEAAgZkXUAiiC9u6KO9VJroQp5Dkvvvus6NHj4a1pRRS6EK7LthPO3CYeVQauKaAzi2vkGs0G4M15PwcW28F3rDt0irs4gYNC6t8m1ZXsdPwmwd+XoGWDOg8EJvFqjr1Su33ijT97YGcKuJULVet9Keq9EAuDjhD1W2pZN0QjPXXlPN+Hjx00AqlkhV66X5xSLaWr4dmycDN35/K1l8vMO0Wgr5iMTw17PyI19jTdslKwlmpgORtBIHZFDg9JWa3219b8hU/+ApbXFykym42B4xWIYAAAggggAACGxIgsNsQFxsjgAACCCCAAALjF/AL5seOH7OHHnzIVlZWwkVtXcxX2KIL/MkKI7+YHl8AH39Ls3mEYVMNDuvNWgHCsGn/4n0lX7/VKqI4kEqbVtCDN/1WIOcVcusN5MY9qvE0isnzVTY6zz2ISlrp72Tg4/twi2Kvd9Z0jGnVXnE/h1V8pVkoLEt7rT/m7fcgUe1V0F6tVQeBnP4NK5TzCrmNhVQKxE6Hch7+HTp8yEql/rpW3BBAIJ8C/lmvYL/Zaob/H3jB1S+wSy65JJ8dplcIIIAAAggggMCcCRDYzdmA010EEEAAAQQQZrkhwAAAIABJREFUyI6ALsQrrPvGN74RqqAUuOzcuXOwpp2e9/XAFBLopr/jKQ+z09vJtTSu/PGgJP6drGBMVgrp+Xj7tOkZ1+pNMjCMw1bdj9dg036Sx/fgTeeELtjq73C/0Qzjn7wlXz+qgm7cI+EVZn6cOKyKLfS8tnXfUL3V7YYfr0qNq+z8ucqpCq+0aRmHhaVxG9wwOcZqjx5TBWCyHXEgpzbr32Ot2l9DTvf1uvg1g3AxUY22vjCXwG7c5yj7R2BWBcI6oeXyYFpatfOSiy+xF77whbPaZNqFAAIIIIAAAgggsAEBArsNYLEpAggggAACCCAwKQG/cK/wQGuK3X333WENMf14iOHBXBzc+dSak2pnFo/jFWpqe1qFXDLw3GiFXTKAio/jXmlBoT+nijiNaQjiWs1+GNdsWrvVX0POA8W0KQ71WBzaxW3ZWBXX+EY29tdR4kDOj5oM7uJQVOe4V+DF67T5vjywS+7L9znMxD1V9RZX+PXXiiqFi+RaM2ph1w4rFfvrymlbr3gdTBl5KjwfJpgW2G5M++zATsfWlJjFoqr/hk9ZubHjsDUCCMyagN6b9GWAeqMe3nv0fr9n9x674YYbZq2ptAcBBBBAAAEEEEBgEwIEdptA4yUIIIAAAggggMC4BTx48en1FNqp0k4VdwoKFNx5dd2oiqxxtzXL+08LsUZVoI0KvuIKPA+R3Eiv9bHzyjiftrLV7K9TmFYlFxsPm4bTH0+eD8nxGdW/SY5nMrzSsZNrtiXb4+d9WgWde3t45n2NQ24P/DQOPlY+PWWpXBpUxcUVcnGb/Ph6zPebPJ7akRY6DrONA8nR43M6sIsr9zQlZn+2TgK7SZ7DHAuBSQro/aFSroTAzv//QO8Dr3zFK8P/G3BDAAEEEEAAAQQQyLYAgV22x4/WI4AAAggggEAOBdKmxVO4oMqrvXv32sGDBwdVPV5t5ZV1ybAohzzb3qVkQBJX2CWnq4wDpWEN8akbwxpyjUZYRy5MaXoqkNP9YVVeeny9gV3aPpLVax4cbTvaNu4wbcpO9cPDMO+Dj0UcnqX1L1ll6tNnesBWW6iFyriF2kII53Q/XhfPX59sl3vHa/DF69R5e318/XhOtVYQF4ewowLhQkEVhu2zpgpVhR2B3TaemOwKgRkVSL4X6n3o+pdeb095ylNmtMU0CwEEEEAAAQQQQGC9AgR265ViOwQQQAABBBBAYIIC8ZSYHl4oyFEI9OCDD9ry8nIIgXw6Pj0evnlfqZy15tkEm52JQ3ngEjc2DlPi+8nwxAM1jYVCVF9HzgM5XThtrKyEXcfTXg4LYdKq5ZKBVDKU6hYKZwR+yfamTcmZ3McsDZS339vtFYLxtJRxgOcXq/15XzMuTFl5qkJOj6kKxaet7E9nWRq4pQWxPmZxBV1cARi/Jq26z5/3f4Nx+33fa03HmXQYNkYe2On5OGg8cPAAgd0sndi0BYExCHiVtr9P+nvRC65+gV188cVjOCK7RAABBBBAAAEEEJikAIHdJLU5FgIIIIAAAgggsA4BD+sUAnkYkXyZKu327dsXAjyFEbrpddreq37Wcai53ySt6smnGYynrAxryGka0nZ/TcHkLd6Pr6GWFgrpsVFTVnpgpGMkgyH93ep2zwqe4rBn2Os9LJrV88Mr0uTs57P/W/B/B7LbsXNHMKxWqmesIxev6egBn4+TVz0OCzfjIM2nmYvXC/RxGFbdF1fF+v1kSOvHdv840N3IP0QCu41osS0C+RPwz3r/jNH74WWXXmZXXXVV/jpLjxBAAAEEEEAAgTkTILCbswGnuwgggAACCCCQDQFd1I+nZvRWx48fO37MHt/7uB07diwEGNreq+6y0cvptNLDm7hCTuGcfuS7vLS8ZsOGBTH+otKpO8Oq6pKBWVoVXxw0Je+3e71BkBc31EOlZAi51lSM0xmB/lHj6Tt17vo5PGzKyrjazV+fbH8cnPlzo8YruY+0CjttEwew8fHjfiT7lVY1l1yjb72Vdaf7058SU7c4pKTCbppnM8dGYDIC/qUP/xzR+5W+ZHDRhRfZC1/4wsk0gqMggAACCCCAAAIIjE2AwG5stOwYAQQQQAABBBAYv4Au1mlNu8cffzxMk6np+PSYhx+6uKdgyi/yxdP1JYMJXQAcFhSeDgsKYRtdIPTX67f2q+P443GgofsedsTVR8npBr0qKg6Y0sKnYUFYrK02DgI5rR/XPh3ILZ1cGv/AbNMR0qqwRgVwxV7vjKOPmo7TxyetyWmv1ZScfvPwU3/7Gm5p46f96NzQNmkVcvGUlbNaAbhNQzq23Siw44YAAvkWiD9D9dnrX3bYtXOXXX/99fnuPL1DAAEEEEAAAQTmQIDAbg4GmS4igAACCCCAQL4EktP66W+FdQcOHAjhnd98DS2FJQrwPMRKTuuXnHZxVGDiU0bqOHGg5NV9OlZaNZIfR/tPVkvFVUbDpgz01/i0n4MpKxsNa7ZOTVnZ6aRWyI0KuWbpDIlDMm/3qPafMaVjFKil9Sttysx4LOPXxMf3+51oqk5/nYetGhtVyCmAi6es9EBOz+v48et0Pw500ypLZ2l8ZrUtBHazOjK0C4HtE9B7rQd1/j6q98+dO3baDTfcsH0HYk8IIIAAAggggAACUxEgsJsKOwdFAAEEEEAAAQQ2L9BoNKxWq4UdeLilkEMX7VZXV+2hhx6ylZWVsNaar/0VV0J5FV0c3Hm4p30qXFkrINLzOo6vxabfPi2gh2nJwM4vLCanD/THYw3tTxckvUJO/VUg51NWnjh+Imweh1TD7qf1Y1T4tfmR2Z5XJgPZYX1Nqz7UtqMq7JKBrbfa9xcHph7ExaFudcdiGHudB5VyZbCOnIdyGiev+vDx9vMvrg5J9mvWx2V7Rnd8eyGwG58te0ZgVgT03urvsV7VrL8XFxZDYKdqd24IIIAAAggggAAC2RUgsMvu2NFyBBBAAAEEEEAgCHgIEnMo5FK13f79+0P1nQIWr7IbxhZXwPl+k9t6tZ6HhgrVkmuneQWdP+778BBPwY5epx9fO05TVvpjvoZcWnWXHosDxWQF2qjQR8/PegVX3L71VtjF4+VBavxY7BJXM2qb5LSbu/fsHgS9ySo5D2Tj1yWPk6yejM+htaYzXet1/FMfLUBgN9qILRDIuoBX2MVfotBnZ7Vatetfer3t2rUr612k/QgggAACCCCAwFwLENjN9fDTeQQQQAABBBDIqoBXxMXhTDwFpkIZf25paSlMl3nkyBFT0ObrzMXVeV6hFwdayfDLA5W4Qk8XCv1vv5Co/esxVcl5IOcVcnpsdWU1hIzeXg/y0vqUVjmXNmVn2jSSyXAobv8sj/t6QsdkyBb/HU95mRbI7dy1c2ggNyrUTbrFIZu3WxeOfSyT1Xpp7qP6O8tjNUttI7CbpdGgLQiMRyCuUvb3ev8iy0v+9UvsKU95yngOzF4RQAABBBBAAAEEJiJAYDcRZg6CAAIIIIAAAghsn4CvX6OwxIMRnxoreZS4mkrbKrA7fPhwmNJSQZ5+Jyvi0qq64kBIzyuUOXHiRAgFvTKu0WyE/bVW64NALg7lvG3JEG6tqiu9JhnotHu9M7qZfH1yysdkf0Ydb/tGanN7GhY0DhvbpJEHcpoazSvkNF4+ZeVWA7LYNxmUehAbj3V8bup5X8NO28TnFRV2mztf/FUEdlvz49UIZEFAn6k+DbVPjelTF1/zP11j5513Xha6QRsRQAABBBBAAAEEhggQ2HFqIIAAAggggAACORJQGKKLeR6cJKdHTAYsuvini371Rj1UvnkFnpPE3+b31y4uLtqxY8fss5/9bAhfms3mYFpMva5cKISXx2FhPH2XjhdPl5mcotEDxOSwDCrkEvtPbhcHUmmVaGkVerN0CqS1X+2L/Uvl/hpyCuJq1Vr47YFcMvhKBpbD1rBzg7RqxdjHKyK9TT6W/viwQE/u+kmuseSvS54HszQmWWgLgV0WRok2IrA1gWSFnVdF63332muuJbDbGi+vRgABBBBAAAEEpi5AYDf1IaABCCCAAAIIIIDAxgWGhVw+LeWwijsdyS/4+VHTAqJh02H6a7Q23ic+8YkQvviUmIOpMk9VwMVBjl4XT8EZPxdP5Tmq+k3Pt7rdNcGS+9hqRdnGR2drr9ixY4cVS8VBIOdVch7IxXtP80qOr7Yf5ppmM8zL9xFPn5rc97DqTL3Wn4sD2bRwcNQ5sDXd/L6awC6/Y0vPEHAB/4z3z1CvctffmhLzaU97GlgIIIAAAggggAACGRYgsMvw4NF0BBBAAAEEEEBgWgJPPvmk/eVf/mUIguLKqu0Ix9aqkFN/Rx2jGAWGm/GJw6W013dSHhxVlRa/ZGFhIawhV6lWzqiQU/i5VtC6mb7wmnwK+Dkan6tHjx61VruVzw7TKwQQCAJepazK9ni9UD133b+5jjXsOE8QQAABBBBAAIGMCxDYZXwAaT4CCCCAAAIIIDANgXEGdmnh16iqr9igUiyGP9OqvfSYTxMa7zO+n1YBFk/hmVbhF7e5VqudEch5hZwCOZ+uVO2LX0NV2TTO4uwek8Auu2NHyxHYqoBX2Xl1nX+maUrMZzzjGVvdPa9HAAEEEEAAAQQQmKIAgd0U8Tk0AggggAACCCCQVYFxBnZuMizQGhbE+etKEWoctPn+tO5efEuGZb4Gm7aJ12vz41YWFkLwVq7015CLAzm9Nl430PcRHy/ef9r4j6ogzOo5Q7u3T4DAbvss2RMCWRKIp71Wu9vtdpg+WY+zhl2WRpK2IoAAAggggAAC6QIEdpwZCCCAAAIIIIAAAhsWGGdg5wHasAq4tAq5UcFXvK9hgZlvo/3rJ56yUlVzXiGXDOSSx05O6en98d++lt9GqgY3PEC8INcCOpd8zUg/j5gSM9dDTucQGAjo375COv8s0RP6XPve67/Xdu3ahRQCCCCAAAIIIIBAhgUI7DI8eDQdAQQQQAABBBCYlsAkArthffMKubTqubT155LBWBzIKYirVWuWDOSGhYV6fKsVcskKvmmNIcfNpoCfgwR22Rw/Wo3AVgTiL5aE4K5UtkazEaq9b3zljWdMtbyV4/BaBBBAAAEEEEAAgekIENhNx52jIoAAAggggAACmRYYZ2DnFySHrevmgdewUM2npVQFQm2hFi5kKpTT3wrrFhYWzljfzqe9jC+E+uCkTcsZT6k5ah26tCo6r4qIK+/i8DGumsj0SULjxyKgc8qDaZ3rVNiNhZmdIjCTAv7v36ts9bm2srJi555zrr385S+fyTbTKAQQQAABBBBAAIH1CxDYrd+KLRFAAAEEEEAAAQROCYwzsEsGdWnBnYIKTVFZrVUH68jpbz2uarlk4BbvIxmYadu054cNtkK/eB29eJ07vSZZgTesP8m1+EYFlZx8CEhgrcCu3WkPzk20EEAgfwLJKnL93Wq17IJnXmDXXHNN/jpMjxBAAAEEEEAAgTkTILCbswGnuwgggAACCCCAwHYIjDuwSwZylXIlBHR6fMeOHZvqwnoCsbRwcNhac8NCwVEVcuvd36Y6yYtyLzAssDt27Ji12i0Cu9yfAXRwngX0GehV3rrvU+M++/Jn25VXXjnPNPQdAQQQQAABBBDIhQCBXS6GkU4ggAACCCCAAAKnBXQBL55iMS2o8qqweDvtIX5cf8ff5vcwSxcLDx06ZJ/85CfDQXXRsN1uh0q3eLrItDHxfeg1msorrpDzKSs3G8hxDiAwLwLxOnb+b+rEiRO2sroyco3FeTGinwjkUaDdboXPzv7ncz+w0/vB917/vbZnzx7+/edx0OkTAggggAACCMyVAIHdXA03nUUAAQQQQACBeRWIq7rWqiIbtm6ch3ke4qnC7lOf+lQI6vw1mirSAzvd90BOU1RWK9XBGnKLi4tnTEHp+/SxGVWBNq9jSL8R8H8rXlXj4bweJ7Dj/EBgHgT6a1j2/+3317DUZ+0N33dDWJ+VGwIIIIAAAggggEC2BQjssj1+tB4BBBBAAAEEEBgqEIdnvlGy+i4OyZJhnU+9Fx9Aj2kf+/btsy9+6YshoFO1nEK4WrV21pSVyfAtbZ8eQjCUCCAwWsAv1vt0eFTYjTZjCwTyIlAo9Cvf9dnrgd3Tn/Z0e8lLXpKXLtIPBBBAAAEEEEBgrgUI7OZ6+Ok8AggggAACCORRoNXqT5kVB3BekZPW37RpMLV9vV63ZrMZfnS/0WiY9q3femx1dTWsJ+choKrtktNvehvSpugcZk+FXR7PSvq0XQLDAruTJ0+GKTHXqpLdrjawHwQQmI5Ar9cNX4zpf/mlv57d1c+/2i6//PJTjxWm0zCOigACCCCAAAIIILAtAgR228LIThBAAAEEEEAAgdkTSFu7zlup5xS++Y/Ct5WVlRDM6bdCOP3opouDuvljp6fjKoRgUAGettHjmgozrapumI5vG7/Gjzd7orQIgekLENhNfwxoAQLTEuh2+1Xt/feB/nSY1/2b68L6dcMq2KfVVo6LAAIIIIAAAgggsHEBAruNm/EKBBBAAAEEEEBgpgXisE0X8/ymUE7h2pEjR0J13PLycvhbN10AjIMyr7rTc16x49NhViqVEN759qqs82/8++8YaNS0mHEVnl5Hhd1Mn140bsoCawV2q/XVKbeOwyOAwHgFeuEzUp+17XbH/tX5/8quvfZaKmvHi87eEUAAAQQQQACBiQkQ2E2MmgMhgAACCCCAAAKTEdAUWap0001TVx47dswOHz5sJ06cCH/HVXBeFadtFcL5mnRxS5NT7PXXzjk97Va8v2FTb8bbx4Fc2n2m9JvMecJRsikwLLBbWloKU2JyQwCB/AoUiwXTl2T0ZZxez+zF3/Fiu+CCC/LbYXqGAAIIIIAAAgjMmQCB3ZwNON1FAAEEEEAAgfkQOHb8mB3YfyCEdZr2UjcPwrwKLq6ii5+P7yenrNQ+9JguFnrAp8DOQ7yNTMkVB3PDAr35GC16icD6BQjs1m/FlgjkTUDflVFgV61WrVKu2stf/vJBxd1GPn/z5kJ/EEAAAQQQQACBvAgQ2OVlJOkHAggggAACCORGIL7olrYOXby2XHLb48eP22OPPRamulQ1XVr4RgVbbk4VOoLAqbWsumHtyaXlJabG45xAIMMC+kKNPrv1pRj/gkx/+sv+1NN6TF+Q0fOXX3a5XXnlleFLOZqqmsAuwwNP0xFAAAEEEEAAgVMCBHacCggggAACCCCAwAwKxNNaqnnDpprUc7pYp+ku9+/fHyrqdOFOj+k1urjna82xNtwMDjRNQmCLAl5xR2C3RUhejsAMCOhzW5/h/tmu3x7UlYol63Q74bN9obZgL33pS21xcTFsq8f0Ge/TYc9AV2gCAggggAACCCCAwCYECOw2gcZLEEAAAQQQQACBSQj4lJVx4KaLcj4FpX7X63V7/PHH7dChQ4MLdmqbh3N+oS9+bBJt5xgIIDAZAQK7yThzFAQmIaAv69SqNWt32uEz3deI9f8f8C/kXHXlVXbFFVcMmpT8ks8k2soxEEAAAQQQQAABBLZfgMBu+03ZIwIIIIAAAgggsCUBn9ZKF+v0o6mvdIsvyOlxhXT79u0LU+Hpor3/aDvdhq0Lx5SYWxoeXozATAkQ2M3UcNAYBLYk4F+28c9+/fvWdJj+71y/n/bUp9m1114bwjx9KWetCvwtNYYXI4AAAggggAACCExcgMBu4uQcEAEEEEAAAQQQWFsgbd06hXBeLafpLh988EE7cuRIeEzP+Tfxfc8eyvm38pMBHmOAAAL5ECCwy8c40gsEXMADOH2+6/Ne/8arlap1e92wyXd/13fb+eefH+7HlfgEd5xDCCCAAAIIIIBA9gUI7LI/hvQAAQQQQAABBHIoEF9407frvcpOId3DDz8cArpGoxHCOk2R5d+y14U9r9ATi7bTLZ4a0x/LIRtdQmDuBAjs5m7I6XCOBfRZ7Z/5+nzX57k+43Vfjz/3Oc+1q6666iyBtC/65JiJriGAAAIIIIAAArkVILDL7dDSMQQQQAABBBDIg4BfsNPUV0ePHg1hXbPZDBfufDqs+L5CPD0eV9jpvq+DR1iXh7OCPiBwWoDAjrMBgfwI6LNan/Ee0unLOvo3rs92TYV5zTXX2MLCQuiwqu+0HTcEEEAAAQQQQACB/AgQ2OVnLOkJAggggAACCOREIG1aqyeffNIeffTRcCFPF/T0bXqvmvMQzoM5nz7Tp8ryx7VdvA5eTrjoBgJzLUBgN9fDT+dzJqDPbX0JZ3Fh0Trd/nq0CutqtZpd92+us3PPPTc8FlfSe0UeU2Lm7GSgOwgggAACCCAwlwIEdnM57HQaAQQQQAABBKYtEAdnPpWV2uSVcfGFN4V1Dz30UAjbqtVq+M0NAQTmW8BDe3//ULXN0WNH5xuF3iMw4wL+Ga/PcZ/qWp/35VLZ2p324P8B9O9Zn/f6ko7CuquuvMouvfTSGe8dzUMAAQQQQAABBBDYqgCB3VYFeT0CCCCAAAIIILBFgfib8sld7d+/3x555JFQTacLeHyDfovYvByBnAgQ2OVkIOnGXAnoc9yr57w63j/X/cs4Ps2lHlfAd+G3Xmjf8R3fMVdOdBYBBBBAAAEEEJhXAQK7eR15+o0AAggggAACMyGQDODivw8fPmz33XdfCOoU2Pm37X09upnoAI1AAIGpCBDYTYWdgyKwZQGtM6tpLnVTOOdVd/rbq+0azUaowLv4oovt+c9/fliblhsCCCCAAAIIIIBA/gUI7PI/xvQQAQQQQAABBGZMIA7l4uo6X3NOgdyJEyfs3nvvDRf14gvzuoDn38qfsW7RHAQQmKAAgd0EsTkUAtso4J/h+jxXWKc16PwxBXj6ko5+X/DMC+xFL3rRYBuFdnG4t41NYlcIIIAAAggggAACMyJAYDcjA0EzEEAAAQQQQGB+BDyki4O7+P7Kyordc889g7BOF/V0QU8X6wjr5uc8oacIrCVAYMf5gUA2BfQ57tNeao063fxvfUlHn/WXXXqZXX311eE5D+nWmj47mxK0GgEEEEAAAQQQQCApQGDHOYEAAggggAACCExJQOvV+DRXfiFOj2kazGPHjoWQbmFhwer1utVqtRDW6Zv3TI01pQHjsAjMkACB3QwNBk1BYJ0CCt/0Wa7PcX2e69+xPt8LVrB2p23VStWe+cxn2vOe97wwJWayCp8Ku3VCsxkCCCCAAAIIIJBRAQK7jA4czUYAAQQQQACB7Ask16/ThbknnnjCHnroobBenV/M0319694fYw277I89PUBgqwIEdlsV5PUITF5An/sK3Ty4U2Wd/i3rizmLi4v27Mufbc95znNMX97RNvHnffL/GSbfeo6IAAIIIIAAAgggMG4BArtxC7N/BBBAAAEEEEAgIeAX3ZLTW/lUmKqs0zRZulDn02D6OjcK7XQhjxsCCMy3AIHdfI8/vc+ugD7b9f8B+jdcKVes2Wrazh077QUveIGdf/75IaiL///A17TLbo9pOQIIIIAAAggggMB6BQjs1ivFdggggAACCCCAwDYL+JSYfmHuK1/5SqiqI5DbZmh2h0COBOKgzqt0PNA/fOTwYL2rHHWZriAwUwLxtJT695icttK/aKPPcoVz+tE2uuk5X5NWv3W79FmX2hVXXBEq7LghgAACCCCAAAIIzLcAgd18jz+9RwABBBBAAIEpCsQX+Q4fPmwPPvhgCOxYo2aKg8KhEZhxAQK7GR8gmjdXAh7E+ed2vDatIPS4Hosr673Cbs/uPXb55ZfbRRddxNq0c3XW0FkEEEAAAQQQQGC4AIEdZwcCCCCAAAIIIDAFgXgtGn3L/s4777TV1dVwYY816qYwIBwSgYwIrBXYHTl6JCO9oJkIZFfAq+o8kIt/6zlV0XlIp/vlUnkwzWW706+qu/yyy0NVndaw0/8DlMvl7ILQcgQQQAABBBBAAIFtEyCw2zZKdoQAAggggAACCKxfIL5Ad/DgQbv33nsJ6tbPx5YIzLVAvMaVh/96T9GUmNwQQGB8Al5JF1fW+b9HHVX/HnXzCnqvsPMg75KLLwlVdbt37x5U3Wl7QrvxjRl7RgABBBBAAAEEsiRAYJel0aKtCCCAAAIIIJAbAZ82S7/vvvtuO3nyZLjA52vf5KajdAQBBLZdIA4IvOJOF/xVYedBwrYflB0igMCgUi6m8Io7/wzXc/o36mFdpVwJ014qqNuxY8fgpR7uUVXPiYUAAggggAACCCDgAgR2nAsIIIAAAggggMAUBY4dOxamw6xWq6xfN8Vx4NAIZEmAwC5Lo0Vb8ySgL9l4GBevN6v7Ct7iqTCf9tSn2cUXX2zPeMYzrFarhTBdIZ2+mJO8+XTYrGGbp7OFviCAAAIIIIAAAhsXILDbuBmvQAABBBBAAAEEtkVAF+juv/9+O3z4cLjQ59/S54LdtvCyEwRyK0Bgl9uhpWMzLhBXw3k4p3+PvlbdU5/6VLvwwgvtvPPOC4/5c8lu+ZSZM95dmocAAggggAACCCAwYQECuwmDczgEEEAAAQQQQMDXnGo0GvblL385VNfV6/XwW9PaEdhxjiCAwFoCaYGdwgNNienT7CGIAALbL6B/X9VK1RYXF8P0llqL7pxzzrFzzz3Xdu3aNZgy06eqVQuSlXXx+nf+RR2mxdz+sWKPCCCAAAIIIIBAFgUI7LI4arQZAQQQQAABBDIt4BfUn3jiCXvsscfCBfZyuRymxNQ38lmDKtPDS+MRGKuAwjoP/fXbwzv9PnjoIO8fY9Vn5y6Q/JzyL5qUrRg28efj3yG4KvZSp5T04Eqv9SknY+1kBXr8xZb4GF6tHrch3l+xWAqftdpOa8ut1lfD56/+1uO6VSoVW1xYHIRyO3fuDOGcprVUMKfPaW3Pl2v494AAAggggAACCCCw3QIEdtstyv4QQAABBBBAAIF1COhC+3333Remw/SLiUyJuQ44NkFgzgUI7Ob8BJhy9+PqMA+s4uCmF56zAAAgAElEQVRKn23JME/hVgi49F/RQuDs00l6QOfbdDrd0MN4H/GacXqdP+/TSsbPe5V6MlDzz1e9fqG2YJ1ux84959xQIbewsBACOQVze/bsCW1NrjPnFXC+hl1cERebTHl4ODwCCCCAAAIIIIBAxgUI7DI+gDQfAQQQQAABBLIp0Gw27atf/eqgqi5ZMZPNXtFqBBAYtwCB3biF2f9GBDwI89+qVhtW/dbfpl8Vmqyi89eXSuWzqvOS+0u+Pm6DV6kruNPnbKPeCFNO677Ctosvudhe/apXh6o6D/42UimXtvZcMlzciB/bIoAAAggggAACCCAQCxDYcT4ggAACCCCAAAJTEDh+/Ljdcccd4Zv8unDoVQkbuXA4hWZzSAQQmLIAgd2UB2DOD58MrPwzK56WMq3yLrlum4dl+h2Hd3EFm+/HPx99+mjtS9splIsDOf29XF8drBnna8fFQ3bJhRfZT/3UT4WHtL1PoekVeckKParn5vyEp/sIIIAAAggggMCEBQjsJgzO4RBAAAEEEEAAAQns3bvXHn300XCx0KfWUgWA1sjxKb+QQgABBJICBHacE9MU8DUT48DNQzf99gAsOTVm2rp0ybDP9+NTZoYquUbTGo1GqEbX36urq4MpNfVZmZyis1voT6c5bErNyy55lv3ET/xE+Jz1Kjvvi46bnAqTwG6aZxvHRgABBBBAAAEE5k+AwG7+xpweI4AAAggggMCUBXQB8K677rLl5eVw4dEvUhLYTXlgODwCGRAgsMvAIOW4iWkhW9xdr8CL15CLp6zsf+L1QzWFZvrc05SV+vFAzivj9PmYFvzF+/Mg0I/nFXr+uerH8tc866KLBxV2ekzHVEjnQWPadJ7JyndCvByf4HQNAQQQQAABBBCYsgCB3ZQHgMMjgAACCCCAwPwJ6GLf7bffHi5YxlNyzZ8EPUYAgY0KENhtVIztt1PAwyqvDPeKOw/E4mksQyB3qkJOVXI+ZaVX0On5+EsraqcHZ3GVnIdx+u1TVsYhmod6ySAtLWhThd2b3vSmcFztz397sDcsnHPDuMIwbVumtd7Os419IYAAAggggAAC8ydAYDd/Y06PEUAAAQQQQGDKArqo+PnPfz58q1/TfGlaLl2E1HSYuqiZnJJrys3l8AggMEMCBHYzNBhz2JS4wk6fW/oM0zpyqpTzQM7Xl9PfCsT0Gg/dPKCLp6wU4yDo6hWDavx8fN+DwmGvTwaIvm+vxLv4wgvs5ptvHoycVwTGv89oTzTG8fp98X1vrx7z9s3hqUGXEUAAAQQQQAABBLZBgMBuGxDZBQIIIIAAAgggsBGB48eP29133x0ubiqsi6sGNrIftkUAgfkV8HDAgwMFIXpvabaa84sygZ4ngyIPdzwQSluD9Myqq96arUybbjFZbbbWDjwg85AsDpO0H30hJN5fsj+9Qj8w0037CoFcoxF+QiC3vBymsvRQLq6Qy0J12aUXX2I/+ZM/GQLCtQK4CZxKHAIBBBBAAAEEEEAAgbMECOw4KRBAAAEEEEAAgQkLHDt+zL5xzzcG02F6xUwWLnZOmIrDIYDAEAECu9k4NTzwSpuOMa5GOz1lZL+azH/UC38uLayLt+t/Vqwd+PmUkr7+m/YfHy+eUlLb6G9NW+kVcidX+oGcHtePB5DelzjwS06DmYXPMAK72fh3QysQQAABBBBAAAEE0gUI7DgzEEAAAQQQQACBCQscPnzY7r///sHaPX7BVhdCvVphwk3icAggkDEBArvpDlja+mXJCra4eu108NY7K6DzUC3+HVfBxY+bFVI7Hq8d59NPah8K3eqrdavX66FaTj9hbblmP6TTfa80C9M5lorh73hduHhKy7iCMC2gm/XQjsBuuv9uODoCCCCAAAIIIIDA2gIEdpwhCCCAAAIIIIDAhAWeeOIJe/jhh8NR44oKXSzVxdBZv+A5YS4OhwACKQIEdtM/LeL3an8v9/dwD838fT4O4Px1yff6Ye/9cfAXh2seyCl40zpyCuNWGvUQ0mkKSz3uXwJRe/QTB3HJzx8dP67AS6sQjPsVj0BadeD0R+jsFhDYzeKo0CYEEEAAAQQQQAABFyCw41xAAAEEEEAAAQQmLPDYY4/Zo48+OlhLSIf3CgZdLA1VDtwQQACBNQQI7KZzevjaZ8mpML01ae/f8bSW2i5tDTkPxxT4ebimbcOUlacCOQ/ifF05n8bSzwXto2PpU2bGFXi6r4pub2tcURc/liacFlJmJaxTfwjspvPvhqMigAACCCCAAAIIrE+AwG59TmyFAAIIIIAAAghsm8DevXvtkUceCRdM41u42HrqYu22HYwdIYBALgUI7GZnWNMq45Lr0nlrO73eGYGc3vM1XaUq4hTE6XX6rcf0o5DOxzpZhZ02LWdaYBgHhOVy+YwpL5OfQclqPj2frAhMhpXJQHJ2RubslhDYzfLo0DYEEEAAAQQQQAABAjvOAQQQQAABBBBAYMIC+/fvtwcffPCMo/oFWU1XxpSYEx4QDodABgUI7KYzaHE1WdqUkT4u/oUMBXKhIq7e6K8n12qGv1dXV0NIp8d0U9Cm16hqLl4zTs+lVcD542spDAsS9Zpha/B5+BaHcGkVgcl9ZOVzi8BuOv9uOCoCCCCAAAIIIIDA+gQI7NbnxFYIIIAAAggggMC2CRw9etTuu+++UE3nt/ji+7YdiB0hgEBuBQjspje0cVDngVy71Q7v6aqK8ykr4wo5D8DiKSvTppdUcJeszosDvO7pj42RAGlTVcYVdGnBnRW6Z3wuDTtIWuCXur+RrZzsBgR2k/XmaAgggAACCCCAAAIbEyCw25gXWyOAAAIIIIAAAlsWWFpasjvuuCNUVKi6olarhaoK1q7bMi07QCD3AvFaZB7u6DFV5x4/ftyareZYDbwKOF7rTCFQHGKlVWd56FTs9gOhuGorDnpavX6Vcdo0i8mwab0djadwjKciTttfp3d6TVHtXyGc3qcVwum33r/9b19DLv7yBe/j6x2V6WxHYDcdd46KAAIIIIAAAgggsD4BArv1ObEVAggggAACCCCwbQKquvjyl78cpj/Thd9qtTqYFi0r04ptGwY7QgCBTQkkK+z0twK7RrOxqf2t90UeziWng9TrPTj0cE6PxdVi/RAu/Ui+v2SF2dmhWn8Hw94r13oP1b70nuvTT2o/CiAVxjUbzX4gt7pyViCnbbwdlUoldQ04Dxg3Gyqu15/ttiZAYLc1P16NAAIIIIAAAgggMF4BArvx+rJ3BBBAAAEEEEDgLAFVY9x2223horHue8WHLgr7xWrYEEAAgbUEphXYDVv7zEM0r8BLbnf6717oVlz15n97n7zfaevFmfUDu7RgzANDvY/GlYgK4vTTafenrNR9rR+nH1XJxRVypWolhHge0nlA6ftUuOf7Tv7mjJ19AQK72R8jWogAAggggAACCMyzAIHdPI8+fUcAAQQQQACBqQl88YtfHFwU9soMArupDQcHRiAzAh4gebjl7xvqwIkTJ2y1vjrWvqStuxYfUM+nrcHmVXceeMVTXiar9ZJTYnp4pt+6eYWcB3RxhVyz05++UsGcB3L+em+bB35xGKcvTuj51dXVsP+4SjDePp5SM37c+5x8fqyDwc43LEBgt2EyXoAAAggggAACCCAwQQECuwlicygEEEAAAQQQQMAFvva1r9nKykq4sE1gx3mBAALrFYjXi4sryvT6SQR2ae2MQ7x4SksPtOLXpE1Zefa0mafnzfRqN//dqDdCIKdgTaGcKuQ8yNO+G+1WOFwy9Isr+jyMi6vwVGWn/WhN0Xh9vbiSLw78ho3XWlNyrneM2W58AgR247NlzwgggAACCCCAAAJbFyCw27ohe0AAAQQQQAABBDYscN9999mhQ4cGgd2Gd8ALEEBgLgXWCuxOnjxpK6srY3VJBljJ6rh4SkyvVNNrPHArl8uhfR6KxVNPhnX4Tp4MU1SGqrlmM/zovh7z/cRTUSYDMlW4+XbJKTXjqr54XTq1J/7ihLfPH08+n2YQO4x1ANj5lgQI7LbEx4sRQAABBBBAAAEExixAYDdmYHaPAAIIIIAAAggkBXSxd9++ffbYY4+FC8u6qM10mJwnCCCwXoE4pIoDskkEdskwy6vOPACrVCpnVah5WKfQbXlpObzfJQO5sMZcp2PFSvmMMM/DMg//Rk3JqX14BZ1eo1tcpRevb5e2rzgM9PGIA0AFjmnr56137NhuugIEdtP15+gIIIAAAggggAACawsQ2HGGIIAAAggggAACExbQBeXDhw/b/fffHy786gKwLl7rt198n3CTOBwCCGRIYNqBXUzl03LqvUvvbasrq6bwTevH6UfvbV4hF0K94unpLuMpgbVP35ffTw5JCAe7/dcPC82SU3L6vuIKuvi1ccVi2HGhv05eso++H/Ux3mfcFv8CRoZOpblrKoHd3A05HUYAAQQQQAABBDIlQGCXqeGisQgggAACCCCQBwFd1F1aWrK77rorTPemKdz0o4vcPp1bHvpJHxBAYOMCySkek+GS79Grxzxw0vuH1nRbWj45OGi8r3i9trXWWSsWS+GLA8nj+hSWSysrIZjzQM6nrfQ14LxdG+85r0Bg/AIEduM35ggIIIAAAggggAACmxcgsNu8Ha9EAAEEEEAAAQQ2JaAL37rY/dWvfvWMKTG9OoPp1jbFyosQmAmBeN00b9CoaRy1nb8urrL1qrB4mkY9r5tPRen3PURbWl4Kz/v+PGjzv5NryCW3XTq5FAI5D+J8DTn91uPlWnUwZaXvO20ayZkYDBqBQEKAwI5TAgEEEEAAAQQQQGCWBQjsZnl0aBsCCCCAAAII5FZAF92/8pWvhKo6XezWlHG+7hKBXW6HnY7NgUBc+eZhmAdbye4nK908oIu3i4M3PZ4W/umYYTrK1VVbXlleU/nE8RNnrCGnLw94KOfrv/kOkoGh2tLunT1lZLz9HAwxXcywAIFdhgePpiOAAAIIIIAAAnMgQGA3B4NMFxFAAAEEEEBgNgW0ht2BAwcGa9gxHeZsjhOtQmAjAnEFXFpAt9Z0lHrO10gbdcy4qs1D/5WVFTt48GDYh74E4NNW+lpyejxeQy4+hu8vntIybTrOtJAx3g9fOBg1cjw/TQECu2nqc2wEEEAAAQQQQACBUQIEdqOEeB4BBBBAAAEEEBiDgC5qHz161O68806rVCqh4kUXyuPp8MZwWHaJAAITFEgL5+KpLJPVc/pbwf1aAZiq6BS8qTq32WqGdevqq3U7ceKEHT9+fBD4Jaep9L871jtLIG6nB47DmOJAblj/JkjMoRDYkACB3Ya42BgBBBBAAAEEEEBgwgIEdhMG53AIIIAAAggggIAEwtRy7XaYFtMrary6Jq5wQQsBBLIlMKrCbFSFmqrk4kAurCXXaIaKOYVp8bpx/l6hx5eXl/uBXUogF7cpWUE3bI27ZLCYrMCLp/mM7/P+la3zdd5aS2A3byNOfxFAAAEEEEAAgWwJENhla7xoLQIIIIAAAgjkQEAXt/1iuKbFPHTo0KBXXmmXg27SBQTmUmDYlJKOkayQC2vINZohwB82HWYycEtW4up1J0+eDIFdsVJe031YhZwHcv68v0fFAaF2nAwk43X34pBvLgefTs+8AIHdzA8RDUQAAQQQQAABBOZagMBuroefziOAAAIIIIDANAR0cV3T3umiu9abeuihhwYXwQnspjEiHBOB7RPQFJX6d6yKOE1ZmayQGzXlZDI4S2uZ70PhoIdkgwq7XmHNziQr/JIBXM86YZ9pAV7adJ5+MH/NqArD7ZNmTwhsXIDAbuNmvAIBBBBAAAEEEEBgcgIEdpOz5kgIIIAAAggggMBZArrIfu+995qqbtLWg4IMgawJJKus4gBH9zc6ZWLy9aOmlPQK1o26+X7jQC25Dpz2qQBOobsHcuF3s2mtZmvNKrmNtmfY9lrhTu1SO7uFQgj/VZ2nCrulpSXrrp3XbVcz2A8CmRQgsMvksNFoBBBAAAEEEEBgbgQI7OZmqOkoAggggAACCMySgC7yVyqV0CRV2O3bty9ceOeGQNYF4ikV1Zc4YPOgyfuYVo0Vvz4OzNZTeRYfz/eTXGutXD49ZWS8jbdJQZgHcpqust6oW6PeGAR18VSRo6rVxjGWHtip7R0zArtxILPP3AoQ2OV2aOkYAggggAACCCCQCwECu1wMI51AAAEEEEAAgawJxFNfqsrujjvuCF1Q9dGoKfOy1lfaO18CacHasHXTkoHesMBtmGBa4BbvY1iF3GDKymbTGs1+GKcKOT2uarW1bnEAGO8/GVSOa9STgZ3eMxQwqrruxIkT1itSYjcue/abfQECu+yPIT1AAAEEEEAAAQTyLEBgl+fRpW8IIIAAAgggMJMCPmVffIFfVXaPP/64LSwsjAwMZrJTNAqBFIG0wGyrgXRyystkBZ8Ct8GUlacCOVXKKZDT4/qJb8kqufj5tGlqR03JudX+jTqRyoVCWPNS7Wif+q1j+hp2BHajBHl+ngUI7OZ59Ok7AggggAACCCAw+wIEdrM/RrQQAQQQQAABBHIo4BV2quypVqthPawvfvGLG17fK4c0dCnjAmnTXMZd0tSvycq4uGpt1Bp32tYr5BTExRVyCtv0byoZ4vnxQ8gVVdAN226tIdAx1hPkjWsYk4GdH2dlZcWOHj1Khd244NlvLgQI7HIxjHQCAQQQQAABBBDIrQCBXW6Hlo4hgAACCCCAQFYEvFrm4Ycftr1791q8xlZW+kA7EYhDMd0fFtwNmx7TQzAFYj41pcI3D+QUtHU7XasvL4dDpa1vlxyFtCkzfa3I5Np2vm23sPaUknp9vI5dvJ+4XeM6IzQlpo4ZpsI0C1a6r8DuyJEjBHbjgme/uRAgsMvFMNIJBBBAAAEEEEAgtwIEdrkdWjqGAAIIIIAAArMqMJjOrt0O4Zxf8Fcgcc8994Sp7bghkAeBOJzz+75Oo6pKFcg1W83+GnKtVj+Qq9cHXU8L/VRhplsycPPHPJAb5qeAK62yzh/TNJN+S6uk8wq75Fp9+ls/454Sc1hgJ7dDhw4R2OXhHw59GJsAgd3YaNkxAggggAACCCCAwDYIENhtAyK7QAABBBBAAAEENiqgcE5hnV/c92kADxw4YA888MBGd8f2CMyUQFwh56Gcry23srxyRltHTaEZb6xtPbBLC9O0bTIwG7bdMLA4sNM2ydd74O6P+/E8sNtIfzYzaArsdEwFk6qwU4Co+wrsDh8+bN21CwQ3c0heg0BuBAjscjOUdAQBBBBAAAEEEMilAIFdLoeVTiGAAAIIIIBAlgXuu+++cOFd63Pt2LEjrLmlC/QK+HR/1BpfWe57Htru0yWqL2nhTTx+aWu5+ZSoyakWPTyKK9Xcy9d10++0KR/9tckKsFFrsaVNKen70LkYwjhVx7Vb/Qq5bteWTi7lYRhntg8K7Pwc0/SdPkYaB1XYEdjN7NDRsBkQILCbgUGgCQgggAACCCCAAAJDBQjsODkQQAABBBBAAIEZE1Do8bWvfS0EdropCFGIU61Ww2MbrRiase7NVXPidda846qI0s2DFm2jEM8rtPz5YVDJQDB5jLjCLO34vt9hlWBxIOfTVsaB3MkTJ89q2riryubqpBnRWQI7zgYENi9AYLd5O16JAAIIIIAAAgggMH4BArvxG3MEBBBAAAEEEEBgwwInT560b3zjG4OALkx/dyroIbDbMOdUX+CVcv7bK+jiRg2rptM2yfH2wC4OyeJgztdo8wBQ+4j372vIqUIuDuS8kvP4seODpqVV2MVrxKUFdYR34z3dCOzG68ve8y1AYJfv8aV3CCCAAAIIIIBA1gUI7LI+grQfAQQQQAABBHIn4OvbHTlyJIR2PhWmHq9UKqnTLOYOIcMd8jXOvAsepiWDrLS10ZIBXdr0mnFlXryPOBBMW0NO4ZxCX19DLhkk+n7jKTmToaKHf8OGR/tgytbxnrwEduP1Ze/5FiCwy/f40jsEEEAAAQQQQCDrAgR2WR9B2o8AAggggAACuRVQ6HLs2LEQ2sVrk8VTHua28xnu2LA17Dxc8wq3ZFWdV8TFgZwzxNsqUNM5oPBtsI5cqxmq5TyQ8+213UYr3pLHj0PBeA28tMo/tZfzc7wnL4HdeH3Ze74FCOzyPb70DgEEEEAAAQQQyLoAgV3WR5D2I4AAAggggEAuBRS8+NSDBw4csAceeCBMjejTHeay0znpVBzYJbuk5zS2vm6dV6MpJPNwLQ7kBlNWtlrW7rTDNqsnl0II56FdWuVe8rG0NfKSQZy3td3rhbvJ6TCHVeAlt2PK1vGeyAR24/Vl7/kWILDL9/jSOwQQQAABBBBAIOsCBHZZH0HajwACCCCAAAK5E0iuTaa/Dx06ZPfff3+YbpAKptke8uQacmlrznkgpvCu2WyGn0azESrmNGXlsOkq9XilWDxjTTrtS+eFh3LaZ9rac66mIDh+Prltt1AYAMdr4+lBDxx9g7TnOT/He34S2I3Xl73nW4DALt/jS+8QQAABBBBAAIGsCxDYZX0EaT8CCCCAAAII5E4gXgNN4YdXYR0+fNjuvffe3PU3bx3yEMsr4FQl12g0rNlqhkCuUW+E0FX39ePj7aGbB17D1rwr9nohOEvePOTzqTU9YNPvtQK85L460Y6TbUhbo26jU27mbbwn3R8Cu0mLc7w8CRDY5Wk06QsCCCCAAAIIIJA/AQK7/I0pPUIAAQQQQACBHArEUyB++ctfDiFevK5ZHPooBIrXQ/OQxQMhPT+JW9paaPGUkN4G3y6uEBs2rWKy+nA9/UjuK20fcaAVB17x/tOCKQ/e4kBudWV1sL6cqt2SFXcEXOsZNbYZJkBgx7mBwHCB+P1V9zXFsN6fa7Va+Mx88QtfZN///d9vlUolvE+r4lhfqtDf3BBAAAEEEEAAAQQQmLYAgd20R4DjI4AAAggggAACKQLJsEub+Bpneu6hhx6y/fv3h2BOFxw9hPPQS9vHQZVe4+HRuC9MJtdwS6vu8jXc1M54+sfk406Ttt7aWlVj/rrkxVs97msDJtnTqslkJltd0NVPp9uxlZUV67T7j+vHK+I86PMpJ+NA1cfD1yHkpEdgswIEdpuV43XzIKD3Y4V0eu/23x7M6ffPve1/sfPOO2/wvu1ffmHtzXk4O+gjAggggAACCCAw+wIEdrM/RrQQAQQQQAABBOZMYK0qMq+k05pnCuyeeOKJECT5tJm66Oh/J9dO0zYKk3TRchK3YZVt3lavGvQ+eVjn7Ysr3ZKhXrL9yW2TgV281pr2H09bqdAtrCPXagaber2eGsh5haL2HbfdwzgPSz08Ta7vlmzTJMaAY+RPgMAuf2NKj8YjEFfO6f35kksusTf+xE3hYP65o/vx1NPjaQl7RQABBBBAAAEEEEBgfQIEdutzYisEEEAAAQQQQGBmBOKLi8ePH7d9+/bZyZMnw0VHTf21sLAwqMbzkCmusBtWYTaODqZVLXhgFlcDxoGcVzx4RaEHeck13vyia/K39h+Ha/pbgZxs2p12+B0eazRDuOkVcrHVWtV7o9o/akpNKjnGcabNzz4J7OZnrOnpxgX8Cx/VajV8+UJTYfr7/HOe8xz7iTf8WNipf3EkWSG98SPyCgQQQAABBBBAAAEEtk+AwG77LNkTAggggAACCCAwFQFVdB06dChU3IVQqt0O1QN+UdLDMJ8+c9wVdsnKvuT0nh7IxVhxyOWBWLJqzgM8Dyz9gmscyLXa/QBOBo16IwR13t94jTwdOy1YG1bdGE9vGVcIJvvg+13PdJ1TOVk4aOYFCOwyP4R0YIwCeu+Np7mMvwxyxRVXDAI7NSH+8kVccTfG5rFrBBBAAAEEEEAAAQTWFCCw4wRBAAEEEEAAAQQyIJAMvbyKLK7WUhXB4cOH7fHHHx+srebhmVcR+Ppqk+5yHI7Fa/HF7YhDRt9ej/kach6+dZr99eQajfogkPMwUhdq9VxyOso4iNMafmpD3I4zAsNTjYpf49V32k72cSC33qkv/Rg+FpMeA46XDwECu3yMI70Yj4B/oUKfA/q8029V2en+G97wBrvskmcNDhyHdPqc0Zp33BBAAAEEEEAAAQQQmKYAgd009Tk2AggggAACCCCQIpD2Tf84sIufT9tWgZAq7p588klbXl4ehEs6lAd444SP16Tz48RVDl4B4RVv+rsfwDXCb60lF343+tNYekA2mBqz1xtUx8Vr0XkA5xddh1W5xVNmJtfTC0FeoTCYUjMOPPU6Pa8Lvx6++fHjCrxhtvG24/Rn3/kWILDL9/jSu60JxFMcx587l156qb3pjW+ybrs9eA/3I8WVdls7Oq9GAAEEEEAAAQQQQGBrAgR2W/Pj1QgggAACCCCAwLYL6IJjcrrGZDCX/Ntfo8bEVXcK7BTeHTx4MKznM4kKu7jiTO3SxVAFcPoJ99v9+/XV0xVyw6Yji/vi9xVYJAMyD/PU/2EVbPG+4gu5cfim++1T04nGx4i3iR+Pq/D8REi2OQ4OPazc9pOGHc6NAIHd3Aw1Hd2CgL9P6wsc+kx44xvfaJdcfIkVT+3TPzP9Sxh6WJ9Pk1zjdQvd46UIIIAAAggggAACORUgsMvpwNItBBBAAAEEEEAgDsF0UXJlZSX8KLzT9JJevZZcK04XODU9mK8Vl6zK00XNarUaQjfdNN3Y6upqCATDcVZX+sHcqakrvTJN206iwo+RRyDPAgR2eR5d+rZVAf980mdYyQrhM+myyy6zm2666Ywvs2z1OLweAQQQQAABBBBAAIFxCBDYjUOVfSKAAAIIIIAAAjMq4Ov0eICnkE3BnQd4et4r4jyw05pvqjpQkKffu3btCvf1c84554TtP/OZz9jevXvDfT2enAIzGQrOKA/NQmDmBQjsZn6IaOAUBfxLIaHqutevmrvxxhvtxS9+8RRbxaERQAABBBBAAAEEEFifAIHd+pzYCijme9YAACAASURBVAEEEEAAAQQQyIxAco07NTyepnFYRzxki9d1S74uXktP+/Fj3XPPPXbbbbeF4C8O59Zz3MzA0lAEZkCAwG4GBoEmzLSAT3epCjt9geQXf/EXQyW4f7bNdONpHAIIIIAAAggggMBcCxDYzfXw03kEEEAAAQQQyKOAV8Z535JrsXnItlaYlramnPbr+9bzvh6e9qMqvY9+9KPhtyrykrd4HTdCvDyedfRpUgIEdpOS5jhZFNBnjT6nFNS16g27+gVX2+t/5PWsT5fFwaTNCCCAAAIIIIDAHAoQ2M3hoNNlBBBAAAEEEMi3QLIKLtlbrz7w4My39+3ix4eFe3GgpynHFN790z/9kz366KODte2S+xt2vHyPBr1DYHsFCOy215O95UtAn0X64ojWWe21O3bzzTfbhRdeSHVdvoaZ3iCAAAIIIIAAArkVILDL7dDSMQQQQAABBBCYd4G0KrnNmCSn2NQ6d3EVnVfdHT9+3P7sz/4sVDfEFXU6JmvYbUae1yBwtgCBHWcFAsMF9Fmjzyh9Bl313OeG6rqwnl2xOJjCGT8EEEAAAQQQQAABBGZVgMBuVkeGdiGAAAIIIIAAAlsUiCvtFKKlBWdp01O2Wq1QMZe23k883aa28+BOF0g1Bdmtt95qDz744KDlcfVespJvi93j5QjMpQCB3VwOO51ep4BPAa01637s9T9qz3rWs0Jgl6wsX+fu2AwBBBBAAAEEEEAAgYkKENhNlJuDIYAAAggggAAC4xfwC5bJwC1ZKecBXtyiZFXesH35a5L7XF5eDmvZxRV1cShIaDf+8ecI+RYgsMv3+NK7rQl4hZ2Cun/3ppu3tjNejQACCCCAAAIIIIDAhAUI7CYMzuEQQAABBBBAAIG8C3z+85+3u+66K4R2uqn6bnFx0bTWnVfv5d2A/iEwLgECu3HJst8sCHiVt0+9rMpufRFEny/6kkqlWLJms2lvectb7Fu+5VsGXdJzcYV4FvpKGxFAAAEEEEAAAQTmT4DAbv7GnB4jgAACCCCAAAJjFfC17HQB1UM7BXXVajUc16fnHGsj2DkCORUgsMvpwNKtdQvoc0UhnaZkXllZCa/TNM4K75qrdbvyyivtx3/8x8OXRfSYbo1GwzRNJjcEEEAAAQQQQAABBGZZgMBulkeHtiGAAAIIIIAAAhkV+NKXvmRf//rXB+vg6WLq0tKS7dixI1RCcEMAgc0JENhtzo1X5UPAK+n8tz5bFOCpgk7h3e4dO+31r3+9XXbZZYPATttqO24IIIAAAggggAACCMy6AIHdrI8Q7UMAAQQQQAABBDImoGo6VTU8+eST9s///M924MCBUA2hC6aqcuDCacYGlObOlACB3UwNB42ZsIA+WxTMqWLb10TVZ4p/7rzqFa+0F77whSHE8zVW42k0k2u7Trj5HA4BBBBAAAEEEEAAgTUFCOw4QRBAAAEEEEAAAQTGJqC1hD7+8Y/b6upqCOp0EZUpMcfGzY7nQIDAbg4GmS4OFVC1nMI6/dZniYd1mh7zB37gB+y7X/ydg9cqsNOPQjqq7DipEEAAAQQQQAABBLIgQGCXhVGijQgggAACCCCAQIYEdBHVL5SqGuIrX/mK3X777ba4uGjLy8th3SFuCCCwOQECu8258ap8CGhdOn2GeADna9O95jWvsauff7UVer3wxRB9WcQ/a7Str2WXDwV6gQACCCCAAAIIIJBXAQK7vI4s/UIAAQQQQAABBKYkkJx+TFOVqcpO05ipGsKnMZtS8zgsApkWILDL9PDR+G0QWFhYCJ8nXj33ohe9yF5146vCnotr7N+nyNyGJrALBBBAAAEEEEAAAQTGIkBgNxZWdooAAggggAACCMy3gKogvKJB9++55x677bbbwtRkBHbzfW7Q+60JENhtzY9XZ1tAXwhRBZ2q5mq1Wvj98z//87Zz504rl8ohsPPPn+Q0mEyLme2xp/UIIIAAAggggMA8CBDYzcMo00cEEEAAAQQQQGCCAj4lpqrp/MKppsL8h3/8Bzuw/0AI7DRVmbbTBVQP8FQ1oWnMuCGAwHCB4qkp/8K0s8XT9USaGvDgwYPWKxbgQyCzArVOMQRyy5Ve+HxYaPesUSnaarlku+odqxRX7USpauetlK1UKtgP/tCNduXVz7N6oWgLzaJZNbNdp+EIIIAAAggggAACCGiK914PBwQQQAABBBBAAAEEtltA4Vu1Wh2sNaSpMf/6b/46hHa6EKtqO938t8I93dfFWm4IIJAuoAo73QjsOEPyKFDplcKXOVqthlm1bIVa1XqNplWbHduxY4c93lm18zsLdmChZD/yqlfYd175bVYqFK1TKFupW1h7Tsw8gtEnBBBAAAEEEEAAgVwJENjlajjpDAIIIIAAAgggMH2B5DpB/v2wUDWxvGx333233XfffWENIt1UbaewTjdV5SnM44YAAukCPiVmqGSlwo7TJGcCvW7BGta1ncWydc3seK9hT+2VbWevaE9a02oLFXvGUsGuvfnH7OrLL7Nj1rRzrWgFK1m3V7AK3/fI2RlBdxBAAAEEEEAAgfkSILCbr/GmtwgggAACCCCAwEQEFCZ45ZwOqNBOjymQ003Vd5/480/Y0sklU+Wd1ruLg72JNJKDIJBBgWRg5wE5U2JmcDBp8lkCOp9XSmalXtEWugXrqGiu17Fur2OrtYL98Cdvt+cWv8XO+cwHzIrlUFG3Yl3boXmDekUq7DinEEAAAQQQQAABBDItQGCX6eGj8QgggAACCCCAwOwKpAVwqqRTpZ2Cu3vuucduu+22UFGnME/TZ+q3frghgEC6ABV2nBl5Fij2zOqFnjV6ZrvaRasVLAR1C82GfcuRul33ux+0xZdcb8+89b+bdRet1zEr6DOj2rGTBbPdVskzD31DAAEEEEAAAQQQyLkAgV3OB5juIYAAAggggAACkxYIa2v1eqHCLp4e09e0i6vvPvvZz9r9998/COriqrxJt5vjIZAFgWGBnf59HTx40LSMFzcEsipQ7nWt3TUrVGu20C5Ys1m3lcWinb//mH3rbQ/ZFbd/yr7t5T9stb/+PWsWdlq1ZWZl9VbTKvfMCgR2WR172o0AAggggAACCCBgRmDHWYAAAggggAACCCCwrQIe2GmnCuDigE7VdKqu8yBPv5eWluxzn/ucffOb3wyPe2XetjaKnSGQE4H+pLL9aWZ9DTtVrWpKzEOHDllHoQU3BDIqUNNnQq9nlULVdlnJTrQa9tjRJ2zXo9+0K/Yt2et/7sftGS/6Ditc+XzrlErWKJhV201rlgu2o1cxI7DO6MjTbAQQQAABBBBAAAEJENhxHiCAAAIIIIAAAghsu0ByOkwP6Hy6Sw/ywv+QFgrh59Zbbw3VdtwQQGC4QBzYdU/929G/H6+wI7Dj7MmywI5uz/YVOra7tGiLKx174OA+239iv+1qNq3WatrP//b/bS989rOt1DDrLpi1rGm1bsGaxYoVemYVArssDz9tRwABBBBAAAEE5l6AwG7uTwEAEEAAAQQQQACB6QhoPbtyuTyowFP13Re/+EW76667QhWeh3t+X3/rvm4KAPW3B4EKLDz8o0JvOuPJUScjUC4UBud959QhvYr18ccft16RxGIyI8FR1hLQe7JXTMfv061uv/K6WChYt9ez0qmCUH9PLxU64XNBnw/79u0LVaPxFMv/6T+92573vOeFQ8fV24wGAggggAACCCCAAAJ5ECCwy8Mo0gcEEEAAAQQQQCCDAnHVne4rjFNod+DAAfv6179ujz76aOiVh3TxBVpdqNUF4XidPP3tIV4GOWgyAusSILBbFxMbTUlA7+G6+fuzf5lC783hSxinpkTWNjqX4/f1SqVi7UbdDhw8YIcPH7bVldWwn1K5FH532h1773t/2y666KLBe79eE6+VOqVuc1gEEEAAAQQQQAABBLZFgMBuWxjZCQIIIIAAAggggMB6BbyyLt5ej4ULs9H6dvv377c77rjDHnnkkRDk6cJsPJWmX6TVY7p5hYZfIF5ve9gOgSwJENhlabTmr61xNd0gpDv1xQv/UoZU9J6u51VNp/fw1XrdVk8u2aHDB63RqFur2bJqrRq2aTaag8+Hj33sT6xWq50B65V2VNzN3/lGjxFAAAEEEEAAgbwJENjlbUTpDwIIIIAAAgggMOMCfkFXv3XRVhdsdfMpMP0irj/25JNP2p133ml79+4N2yiQ86k0/W+/MKzHmRJzxk8AmrclAQK7LfHx4jELxJXOYerLU1+o0Hu9fhS2tVqt0Ap9CaPbaodquiNHjtjy8rJ1Oq3BlMiVasW6nf7Ux/rR33/6J/9PeG1cVUdgN+ZBZfcIIIAAAggggAACExMgsJsYNQdCAAEEEEAAAQQQSAqosk43D+3WEtJF3QceeMAefuRhWzq5NLhgq4u/uvBbrVat0WiEQI8bAnkVILDL68jmo1/xFyb8vt6TfYrMZrPZr5DrdMP6dPpZWVmJ1iPthSkwvaoufD5UyiG4e/rTn2633PKBAOX79LDO18zj/T8f5xG9QAABBBBAAAEE5lWAwG5eR55+I4AAAggggAACUxRQpYWvTZesuIsvvPoUmX6BVr91gfbgwYNhuszHHntssJaRgjuFdl6pN8XucWgExiZAYDc2Wna8DQJxYOfhmU9XHKqqm61QTacfvWeHIK/XD+BKmhqzVR98gUPBXbvVDu/p+vmu7/ou+4//8VfOaGVcacdadtswgOwCAQQQQAABBBBAYKoCBHZT5efgCCCAAAIIIIDAfAro4qsurnpoN0whLdjTtj6dpqbL/Jd/+RfTb+1T2/sUbPMpS6/zLkBgl/cRzn7/9D6sm69PV6/XQyXdsWPHbOXkUnjcp84sWWHwpYvw/l0thmq6+L3cv8Txb3/oh+yNP/mm8F4fr11KVV32zxl6gAACCCCAAAIIINAXILDjTEAAAQQQQAABBBCYqICmwYynwEyuZafG+MXa5IVYX7Mu+fi+ffvCOnequOPi7USHk4NNWIDAbsLgHG5DAnqP1hTFeh9eWl62w4cO2dGjRwfVdKVCb7AuXenUVJlxVV6n1wthXLFUtE67H/zpvm4/9VP/zm585asGa5nG7/VxiLehBrMxAggggAACCCCAAAIzJEBgN0ODQVMQQAABBBBAAAEERgvEF2bj+1obaWlpyR5++OEQCGq6NT129913W6vdsMXFHWGNu2KhNKjsS66hx3Sao/3Tpp0jJB3ttl1beLWRn6v6rTXBNC579+61dq+7XYdiPwicJVAplgbVcV4BrUrp5eVlO378uBVL/S9c1FfrtrK6Etai85vO0X70NvzW6RXC+7NPl6lpjvU+rte+973vtSuuuIJRQQABBBBAAAEEEEAgtwIEdrkdWjqGAAIIIIAAAgjkXyBZcacLu6ru0E1hnO6ruuNjH/+o7X1sb7jQvLi40/bs2WO7d+8OF4Z1cdmn6NTvUdN05l917R7G61J5ZYw/5tPczbvRuPvvoakqkbwaVQHHN7/5TStV++c/NwTGIaA16FZWVmx1dXUwNbGmvNRjes/t9TqDKmd/f4inrxwV2HWtGF4fV93p/q5du+z3f//3wzql3BBAAAEEEEAAAQQQyKsAgV1eR5Z+IYAAAggggAACcyCgC7mhaqN49mXgeP27P/rj/2Z/8ReftEqlavXVhp177rnhRxd/PfxQUEfgNPqkiUM6melHwaiqGnU/vtA+em9ssRmB+JzVea6/FdgdPnzYllZXNrNLXoPAugRWl5ZDNZ3ON/2713tvP6jrr0nabjfDY2nTGYfpMkulNY/T7lp/SsxiMezTz/XLL7/cfuu3fmtdbWQjBBBAAAEEEEAAAQSyKkBgl9WRo90IIIAAAggggMCcCiSruuKLunFlhu77enkPPHCfvet/e1eopNOF4FKpHPQ6nfYZ6yH1Lzr3n+OWLuDGvV73jHBOjxcKusjOlIzjPHd0fuq8lXU/YO4Hdjq3V1dWrVpdGOfh2TcCQcDfd3Xfw7n+++vpv5PhfXh/LRTWFPTAThv5enj6/aNv+FH7kR/+kdQvZzAkCCCAAAIIIIAAAgjkRYDALi8jST8QQAABBBBAAIE5EkhOhRlfPPZpAs+c2rJrb37zm215ZXkQKp2erq00qOZQ+ME6dmufSF7xEk+DqfDIbzLkNj6BYlHTuLbDAeKAWudtt6MQde1AZHwtY8/zIOBTDXtlnfqs6lrd9Fyh0Av347CuH+b3z8tCr//8sFuhVAnvwV6151Mc/87v/I5967d+61mVe/NgTh8RQAABBBBAAAEE5keAwG5+xpqeIoAAAggggAACuRFIVtUN65hX1Jl17b3ve6/9y9f/xeqNerjoG0/Z5heXh02vmRu4beiIB3bh4vupoC6utlOgxG18Am4tZ4Wj/rvZaIZzetQaYeNrGXueB4H4fdPX/vR+h/fV8ulpcT1Q7gfJvfWdn8Xy4EsTPkXx+eefb7fccgvVdfNwgtFHBBBAAAEEEEBgzgUI7Ob8BKD7CCCAAAIIIIBAVgWGhXa+tpL65ReJW+2GfeELt9nv/u7/dWp9pX6s4eHH4GJyURebmdJxM+dEcqrSzeyD14wW8OpSr7Tz9RtXllf6072OmHJw9BHYAoG1BRTAFYqFs9aZU6Vdvdk8Hc6dWssuXmt0VIVd1/pr12lf/rrXvOY19qY3vWkwpTHjgwACCCCAAAIIIIBAXgUI7PI6svQLAQQQQAABBBDIqcDpqrl+B+OKL38ufqy/VddW66v2tv/wNltZXTmjgoO11zZ2osTr1MUhXVxtt7E9svVGBPpVoKVQrdRsNqxSqYb7K8vLViqXzDoEzhvxZNuNCcRhnb//+u9et2elWsU67f66il6NN/hCRKk48vzsFVQ52l9rVF++qNVq9pu/+Zt22WWXbayhbI0AAggggAACCCCAQAYFCOwyOGg0GQEEEEAAAQQQQGC4QDKs01pIqtbodDr24Q9/2P7hHz9tpZKmXeuEKR3b7ZYt1Bas0Www5RonViYEPLTrn8P9tcEa9UZ/qtcRa4RlooM0cm4FFNTp/NYapCv1pl1wwQX2/ve/n+q6uT0j6DgCCCCAAAIIIDBfAgR28zXe9BYBBBBAAAEEEMi9gC72qkJDF3yTtzvvvNN+/d3/Rwjv/HltW6vWQgXe4sKitdqt3BvRwWwLENhle/xo/XABr9pVJV9lYdHe+KY32qtufFV4QTzdMYYIIIAAAggggAACCORRgMAuj6NKnxBAAAEEEEAAgTkXiAM5UcRTN/7sz73Njhw5ap1OO0wtqAo7VXUouNPN1wSbc0K6P8MCBHYzPDg0bcsCXjXa6RXsj//4j23nzp1b3ic7QAABBBBAAAEEEEAgCwIEdlkYJdqIAAIIIIAAAgggsCkBnw5TL/b7X7jtc/Zbv/lbViwVw1SZmh5ToZ1fJPbfmzogL0JgAgIEdhNA5hBTEdD7r6+Bd8MP/KC97W1vC+1Yq3J6Kg3loAgggAACCCCAAAIIjEGAwG4MqOwSAQQQQAABBBBAYHoCcUinqrmwrlehEFXZ9ezmm28O02J2ut3weK/n1XWlsLYdNwRmWYDAbpZHh7ZtRcDfr9uttn34D/7Qzj333FD9rC9XcEMAAQQQQAABBBBAIO8CBHZ5H2H6hwACCCCAAAIIzJmALu5qWkuFGmnVcp1Oy/7qU5+yP/zDP7BabcFarWbYvlqpWqPZYErMOTtfsthdArssjhptXo+A3rObjaa98sYb7d+/5a3h/Tj+EsZ69sE2CCCAAAIIIIAAAghkVYDALqsjR7sRQAABBBBAAAEE1hTwwC7526xrS8vL9ou/8At25OgRq1Qqpyo49JvqOk6r2RcgsJv9MaKFmxPodrq2sFCzW255v+3cc054f/ZbvV63hYWFze2YVyGAAAIIIIAAAgggkAEBArsMDBJNRAABBBBAAAEEEFi/gFfYqSqjVNIUl93wW1Ng6rcCOz33hdtus1tuuSWEdFrHrtGoh+dZw2791mw5HQECu+m4c9TxC+jcftnLXmZv+9mfNbNieN/2Krs4vBt/SzgCAggggAACCCCAAAKTFyCwm7w5R0QAAQQQQAABBBCYosDpqTK79vO/8Au2b9/jtriwGKbDrFSq1um0p9g6Do3AaAECu9FGbDGbAr1C/8sTCuF005ckGo2GLS4uhi9S6AsT73//++28884bdODsKunZ7ButQgABBBBAAAEEEEBgqwIEdlsV5PUIIIAAAggggAACmRPQhWFdL/7aHV+z9773faHKTheKh617l7kO0uBcCxDY5Xp4c905BXZeMaf3XFVAl8vlEOLpvL7pJ2+y1732deExv+nx/jnfD/m4IYAAAggggAACCCCQVwECu7yOLP1CAAEEEEAAAQQQGCrg02Z2Oi17z3veY3ffc08I7U5PmwkeArMrQGA3u2NDy9YWaHX6wZumt9QXJ3Tz4O6Zz3ym/cZv/Ibt2bMnBHnaLp7iOA7xcEYAAQQQQAABBBBAII8CBHZ5HFX6hAACCCCAAAIIIDBSwMO5/fufsHe84x22tLxEBcdINTaYBQECu1kYBdqwGQFV2Hm1XL1eD1Nh6m+9H//yL/+yXXvttWG3/v7sv6l+3ow2r0EAAQQQQAABBBDImgCBXdZGjPYigAACCCCAAAIIbEnAp17zag1dCP7bv/sb+6M/+iPWr9uSLC+elACB3aSkOc52CxRKFWs2m2Htumq1Gtav0/l83XXX2dvf/vZBRV3acb3abrvbxP4QQAABBBBAAAEEEJgVAQK7WRkJ2oEAAggggAACCCAwUQFNx+br1im8+9Vf/d/t3vvus16vO9F2cDAENipAYLdRMbafFYFmuxumw9TN17JTld2HP/zhEOApyNP7cjw9sVfXUWU3K6NIOxBAAAEEEEAAAQTGJUBgNy5Z9osAAggggAACCCAwkwKdTs9KpUKo5NCFYf3odvDgQXvnO99pJ5eOz2S7aRQCLkBgx7mQVQFNialQToFcq9UK4Z2mJP72b//2QZCnvul5vTfH69hltc+0GwEEEEAAAQQQQACB9QoQ2K1Xiu0QQAABBBBAAAEEciPQanWsUulfNNYFYQ/tPvOZz9j7P/Bfc9NPOpJPAQK7fI7rPPRKgZ3ed1XVrCrn17/+9faGN7xhEOIpzIsr6aiqm4ezgj4igAACCCCAAAIIuACBHecCAggggAACCCCAAAKRgAI7BXeqwKtVa7a0tGS1hUq4iKxboVDCC4GpChDYTZWfg68h0Op0rLZQs9WV1TDFZbFUtGajGQI6vaeWSpVQWae/v+3bvs3e/e53h7COGwIIIIAAAggggAACCJgR2HEWIIAAAggggAACCCAQCSyvLNm7f/3X7YEHH7ByuR/UdbuqxNO6Sm0rFst4ITBVAQK7qfJz8DUECuWSdTtdK+j9st3pf/FhodYP7SplazU7IaA755xzQlh3wQUXDPambVXxzA0BBBBAAAEEEEAAgXkVILCb15Gn3wgggAACCCCAAAJDBLp24MABe9e73mUnl06emr6tEi4kt1p1AjvOm6kLENhNfQhowNB3z/4TpXIpBHZhndBif53QdqtttdpimArzl37pl+yaa645Yy++ph24CCCAAAIIIIAAAgjMqwCB3byOPP1GAAEEEEAAAQQQWFPgoYcesHe88x1WLJas1WqGC8/9irsucghMVYDAbqr8HHwNgV6hEKrqVE3XqDdscceiLS0tW7VSsWqtastLq/bW//mt9qobXzXYi7YPwV6hH+xxQwABBBBAAAEEEEBgXgUI7OZ15Ok3AggggAACCCCAwEiBz33+f9j73vte2717d5gas93pENiNVGODcQsQ2I1bmP1vWqBUDFNi9s/R/vSWqrDTNJj11bq94hU32lvf+lZrNpthjTvd+tMOa3071rLbtDsvRAABBBBAAAEEEMiFAIFdLoaRTiCAAAIIIIAAAghsl4CmayuXy+ECsio+/vz//YT9yZ/8ibXbrXABmiqQ7ZJmP5sVILDbrByvG7dA+9Q6dHr/VEVdq9kK75mdTse+519/j/2vv/yOMCWmv8eGarxyOTyvG6HduEeI/SOAAAIIIIAAAgjMsgCB3SyPDm1DAAEEEEAAAQQQmJqAQhHddLH5v97yu3brrbeG6TGZEnNqQ8KBTwkQ2HEqzKqAJgzW+akpMZuNU1MJV8p22aWX2a/+2q/ajsVdFq9Vp8BOX4RQYEdYN6ujSrsQQAABBBBAAAEEJiVAYDcpaY6DAAIIIIAAAgggkBkBv6B8em2lnv3ehz5kf//3n6bCLjOjmN+GEtjld2wz37NTU2L6OnbtVtuuvPJKe+e73mW7d+0ys/40mbrFwV38BYnMG9ABBBBAAAEEEEAAAQQ2KUBgt0k4XoYAAggggAACCCCQbwG/mOxrLenvj3zkI/bpv//bUAlSKPQvPKvirlQqWr2+GqZ2KxRYhynfZ8b0e0dgN/0xmNcWqIJO1XCa7jKEbs1WeD/UOdlfi64/raUqk/WeedVVV9k73/lO27NnT3ieKYXn9cyh3wgggAACCCCAAALrESCwW48S2yCAAAIIIIAAAgjMjYCvrxR32Kdt0wXo3//Ih+2f/ukfw8Vnv+kitEI7bRc9PDdmdHSyAgR2k/XmaKcFStWKra6sWm2hFsI6TX3ZaXesVC5Zt9O1SqUW3gd1u/TSS+1XfuVXbOfOneFvpr3kTEIAAQQQQAABBBBAYG0BAjvOEAQQQAABBBBAAAEEIgGvFNG6SvHNQ7ter2Mf+YM/sL/9278J1SKqtGvU61YoFqxarRDYcTaNXYDAbuzEHGCIQKfXO2PNOX3BYWFxweqrdatUK9btmKkqWdNgKqzbsWNHCPD6X2qg+pgTCwEEEEAAAQQQQACBtQQI7Dg/EEAAAQQQQAABBBBICMRVdo1Gw2q1Wtginh7zg7/3fvvsZz8bHldo1+m0w4VsbgiMW4DAbtzClX5qWQAAIABJREFU7H+oQKloWpfOp8E8/UWGXqiys17RnvWsZ9m73/1uq1arIajz99N6vW4LCwvgIoAAAggggAACCCCAwBABAjtODQQQQAABBBBAAAEENiDg07opNPnIH/y+ffrTnw7r2BWLJeuqvIQbAmMWILAbMzC7HyrQKxQG69VpI4V0tdqCra6shGDuuc+9yn7t134tvH5xcXGwH6bD5KRCAAEEEEAAAQQQQGC0AIHdaCO2QAABBBBAAAEEEJgjAa8YSVvLTmvYVSqVoKHQRNv83af/1j7+sY9ZvVGnwm6OzpNpdpXAbpr6833s1WbTzj33XDtx/HhYx67ZaIb3Qt2/4YYb7K1v+Q+D90dV1/lN28R/z7civUcAAQQQQAABBBBAIF2AwI4zAwEEEEAAAQQQQACBSMADO39IoZymuoynu0xefP7s//j/7L/8l/88CPMARWCcAgR249Rl32sJaA27cqVs3U43BHX6EsPOXTvtZS/7Pvv3P/3TViiUwuO6+XSYmj5T9wntOLcQQAABBBBAAAEEEFhbgMCOMwQBBBBAAAEEEEAAgYSAQjvdPKTThWZN6VYul80DPZ/irR/omT355JP2rne9y1brq3giMFYBArux8rLztQRKRWs1W2ENO4VwhWLBfvZnf85eet11p16l9Tw7gzXu4qCOwI5TCwEEEEAAAQQQQAABAjvOAQQQQAABBBBAAAEEtl1AF58V3unCtW7NZtNWV1ftPe95j+3bt88azVUrlcphfTv9brdbgzbotX7xWqGgV6RoO9bB2/ahyt0OCexyN6Qz06GuFUMQp/ezHTt2hAo6BXDxVMB6Xu991WrV3ve+99mFF144M+2nIQgggAACCCCAAAIIZFmACrssjx5tRwABBBBAAAEEEJiqQLJiRBe59dgHP/hB+/wXPndqSrh+UBdPqdkP8hT4daxQ6E+3qQvgnU5/+k1uCKwlQGDH+TEugXbXQjinLyKsrKwMvpCgvxXeKaTT+9xVV11lb3/72+28884LTVGlsYI8/wLDuNrHfhFAAAEEEEAAAQQQyLMAgV2eR5e+IYAAAggggAACCGy7QDKkGzbN29/93d/ZB3/v/VapVK1aqQymytT2/enkNHVc+4xKu21vLDvMpQCBXS6HdSY61en115rTTV8e8GmAFdYpyGs0GvbKV77SfuzHf8zO2XNO2NarhBXYcUMAAQQQQAABBBBAAIHNCxDYbd6OVyKAAAIIIIAAAgjMoUAc0MVTWyYvVuu5vXv32v/5n3/b9u59zHrdnu3evdta7XYI6rR9pVyxblgfrx0kFeJpCk1uCKwlQGDH+TE2gWJ5sF6npsL06l8Fd7VazX76p3/arrvuuvD+pZuv6an7rFE3tlFhxwgggAACCCCAAAJzIkBgNycDTTcRQAABBBBAAAEEtl/AK1F08drXtNNvXejWxW39rtfr9nsf+oB96Uu3h2CuXFaVSj1s79PH6aK4wrr+FJlUqWz/SOVrjwR2+RrPWeqNpsSMp7X0CroLL7rQ3v6Lbw/r1fljCus0FaamyeSGAAIIIIAAAggggAACWxcgsNu6IXtAAAEEEEAAAQQQmDOBOKiLu56svlP45ms7/cM//r39949+1BrNZgjmikVNi1mwVqsZfutv1rCbsxNpk90lsNskHC8bKVAsV8N7lm7+5YPXvva1dtNNN4Vgzr9QoG1UdefveQrv9BxfOBhJzAYIIIAAAggggAACCAwVILDj5EAAAQQQQAABBBBAYBMCa03/1uloXSdNcdmvvPOL2A8//LB94AO32L59++zkyZNWW6hZqVQORz9dpdfZRGt4yTwJENjN02hPtq/NdncQxO3Zs8fe+c532nOe85ww9aXeo1Q1rKDOb/pbt7gqb7It5mgIIIAAAggggAACCORHgMAuP2NJTxBAAAEEEEAAAQSmIJCstut2LYR18a3VaoWL3P3grmsf+/jH7W/++q9taXnJKpVqqLjztaCoUJnCIGbskAR2GRuwDDW3a8XwXvWd3/md9pa3vMXOOeecENIlA7nkFxbitewy1F2aigACCCCAAAIIIIDATAkQ2M3UcNAYBBBAAAEEEEAAgbwL9Hr9deoeeeQR+/CHP2z3P3D/qTWh+lNiquJO02RWqzUrl0q2Wl8N2+tx1rjL+9mxvv4R2K3PaR636vRU3Vu0UrkU3ldazVb//aNcsm6na9bpWrFUDAGcV8fp8XKlbO1W2/Y85an2Mz/zM/Y93/M9g3U5qZ6bxzOJPiOAAAIIIIAAAghMQ4DAbhrqHBMBBBBAAAEEEEAAATNT5d0n/+KT9qm/+pQdOXLENAXdan05VN21261wwVxBna8NpUCPGwIEdpwDwwRK1UoI6fTeouDO15nzirhquWz11bpVqpVQ1aubttN7zOte+zp79ev+re3ateus3adV2TEKCCCAAAIIIIAAAgggsL0CBHbb68neEEAAAQQQQAABBBBYl4BfQNdvhXUf+tCH7Pbbb7dS+fS6dwrrQpVMqxl+Lywshio8bvMtQGA33+O/Vu/b3W4I4qq1agjr2u22ddqdEMqFdei6vVBNF6ruikVrtdt2/vnn25vf/GZ70YteZFZUhW8/7PPKOl+/Tsdlyl7OPQQQQAABBBBAAAEExidAYDc+W/aMAAIIIIAAAggggMBZAsm1nvxvhTBf/epX7b/90R/agQMHQoWdLprr8XK5En73f/pVMdzmV4DAbn7HflTPC+VS2ETTW/YrdPtTX+q+QryC9f9WkLd792577eteaz/8Qz88NIhjbbpR4jyPAAIIIIAAAggggMD2CRDYbZ8le0IAAQQQQAABBBBAYF0CzabWqKuGC+d+Qd2npTu5dMI+9alP2V/95V+G9eu0ll2omKlU7OTJk+GiO7f5FiCwm+/xX6v3vUK/QtcreL0izh8rl6vWaDTs+uuvt5tuusme/vSnD6bc9Sky/bV6T/JbPH0m+ggggAACCCCAAAIIIDAeAQK78biyVwQQQAABBBBAAAEEUgVU2aKp6nTThXHd4ovq/vf+/fvtox/9qH3hC184I9SzAhV2835qEdjN+xkwvP/NdjuE+t1ON1TR6QsBen8J1Xblkj3rksvs5ptvtuc973nhiwAK5RTg1Wq1sNO4os7fn3xKzDjAYwQQQAABBBBAAAEEEEBg+wUI7LbflD0igAACCCCAAAIIIDBSwIM7r3zRxfA4zPP7d911l/3pn/6p3X///eH5QrEf8nGbXwECu/kd+5E9LxWt1+2F94qFxYWw+fHjx+2KK66wV7/6NfZ9L7thUH2n57ReXaVSGYR7/XOrX1k3bPrekW1gAwQQQAABBBBAAAEEENiUAIHdpth4EQIIIIAAAggggAACmxPods10PbzT0YXxghUKqrTr70v3dfMp6XzKTD1266232if+/BP25JPf3NyBeVVuBAjscjOU296RzqnpMGsLNWvUG7Znzx579WteY694xSts544d1uvpPacQgjpV+vp9hXZ+8/efYX9ve6PZIQIIIIAAAggggAACCPSvCfT+//bu9TmO6szj+DOaq3yTbCwb2xjZIEgIEPNiY24J8IJQIYFdWLbgT+QVhK3KviIm3NbhUkAoG7CxQWBs4Yu8soWRNPet32k9raNmRGHDqEfSt6tcmhn19On+9Gm/0K+e53ifC0AQQAABBBBAAAEEEEBg4AX+8fpr9te/vmznz5+3UqlszWYj/Gy3W6EyRiFfuVxZXMdKLe+K1um0Q7VMsVgKr/VH+kIhqaLpdpMWm9n2nAMPsYFPkMBu/d781mKbSl3hUHEotLb0dpZ6radWQVuj3ggtLr0yVz9D0FYshxaXO3bssKeefsqe+OMTNjIysn7BuDIEEEAAAQQQQAABBNaRAIHdOrqZXAoCCCCAAAIIIIDARhDo2Nz8nP3970fsv195xWZmZmx406bFwK4YABTeeXWet7irlCu2UF9I17NyqSS8S0r7spU1G0FzLV4jgd1avGs/8ZwXQzpfN86fTV+HrqBQbvGZVWhXKpdCS0tV04Vn3wr2zDPP2PPPP29bt25NB/XWlz/xLNgNAQQQQAABBBBAAAEEchAgsMsBnSERQAABBBBAAAEEELhxgU4I4xTa1BsNO3IkCe6uzl4NlTf6w/ym4U3WbDXDEKqqazSSP+brD/1eZeeBgCpzVG3nlXY3fl58c7UECOxWS3r1x+kqjBsqhHXo/BlVJZ2q67QuXbWsatp2qKwrFovh/4H5uXkbGxuz+x94wJ597r/C63htTH/2Ce1W/34yIgIIIIAAAggggAAC1yNAYHc9WuyLAAIIIIAAAggggMCACMTr3M3Nzdnx48ftxRdftEvTF0PbSw/m9Ed+BXlqjelb8sf8pBVm/JlX8wzIJXIaKwgQ2K3fqaE16LQpkMsGdmqR2Wp20go7BXejo6P29L8/bX9+8s+h0s7XoovXv1y/WlwZAggggAACCCCAAALrS4DAbn3dT64GAQQQQAABBBBAYJ0L+B/ivcrGQzb9cV9/5H/9jX/YK6+8YufOnQ1r2ak9psK7uE1mEggU0/aY+p027Uel3eBPIAK7wb9HN3yGiy0x9VyHdSdLyXMa1qwr6nUxVNopqPvLU3+xJ//0pG3bti3sq+dfm/8foc+8Ja4+U3DPhgACCCCAAAIIIIAAAoMrQGA3uPeGM0MAAQQQQAABBBBAoKeAV9fFbe+8kk6faTt58qS99NJLduzYsfAHf/2+VqtZvTGfrlXnAZ3+mO/tMgnsBn/SEdgN/j260TNsLra71Np0Cun0XCqIUzvL2nDNxnbuthdeeMEee+yxZUNk213G7/3/BEK7G70rfA8BBBBAAAEEEEAAgdURILBbHWdGQQABBBBAAAEEEEDgFxHQH99D5c3i+lU6aK9Wlh7qTU1N2csvv2xvvvlm+MN/pVKyRrORroOlSju10PRKnF/kJDlIXwUI7PrKm+vBy7WqXb06a7Vq1cqVsrWaLVMrzEO/PWTPPPuM3XvPoTRw14n6c+4VdnGlnVfY6f8KbfHvcr1IBkcAAQQQQAABBBBAAIGeAgR2TAwEEEAAAQQQQAABBNaogK9xpcAurrbzijkFdPV63arVqs3Pz9vf/udvduTIqzb3/Zwt1BeiqjqFgO2gwDp2gz8ZCOwG/x7d6Bmqwq5aq6bPoirpnvvP52z37t2LoVuyvp0HdfE4cStMb4+p3/fa90bPj+8hgAACCCCAAAIIIIBA/wQI7Ppny5ERQAABBBBAAAEEEBg4gU6nZceOH7NXX33VPv7Xx1Zv1K1UKofATgGgXvuadv7Hfn2mIK/Z1DpapWXhXqGg8CBZK4uwb3VuN4Hd6jj3GqXTXlpXTs9Lu7XYTrZUDEFa27rWbDTDaw/W4uq3clQZ68f350bH6g4V7a677rLHH3/cDh8+bFu3bg278Xzld88ZGQEEEEAAAQQQQACB1RIgsFstacZBAAEEEEAAAQQQQGAABHytO53KhQsX7M233rQ3Xn8jvNYadwv1udBuU5uChjgsUFinMM8DvFarGX6v9woU9D6u7BmAy12Xp0Bgl99tLZVKYT1IBXeFoUL6rHiFa6vTCa0sQ+vadic8Q/6+2+na0GL45sGffl9fWLC9+/bZfffdZ//x7HM2NjYWqmLjZy+/K2ZkBBBAAAEEEEAAAQQQWC0BArvVkmYcBBBAAAEEEEAAAQQGRMDXtlK45tU9H330kb322mv23vvvhCo6r7JTGKcgTt+pVWvW7nTCe21eQRQqiopaH6+aVt8NyKWuy9MgsMv3tvp6jwq29VxonbnwWXHIhsolqy/Uw7NRKpfS0C5tY9npWq1WtWarFfa555577PHH/2iHDh2yzVu3WLvdTUNABYMenuuKqWDN974zOgIIIIAAAggggAAC/RYgsOu3MMdHAAEEEEAAAQQQQGCABeKKO4UOWuvunXfesSNHjtgXX3wRgohyWaFdK4QTQ0UFB0nQpzaa+j1hwureYAK71fWOR1OAprXiVCGnTSGdngX/t9BIQjb90zNTqVSs2WymLS313fHxcXvk0Ufs9w//PqxN52tRejin/RXmZStdfYz8rp6REUAAAQQQQAABBBBAoJ8CBHb91OXYCCCAAAIIIIAAAggMmEAc0MWn5uts6TNfL0ttMt96+y07+r9HbWpqKgQLnW4rDSeSdbq8fWYS3lEF1P8bTmDXf+OVRlA1nVpcau6H56HTSed8aINpSdB27do127JFFXPtcKibbrrJHnroIXviiSfs5ptvDiF4/LzEwbe3ok1C8c6ytps8X/nde0ZGAAEEEEAAAQQQQKDfAgR2/Rbm+AgggAACCCCAAAIIDJCAB3O+5pYHDwoWFCJo02uFDh4i6LPJyUl797137ejRt2326qzNzc+F0EKBnVpkKkgolytpK80BuuR1dyoEdvneUl+nMW4tqzMK4V2xHJ4frQep9e4efPBBe+CBB8L6dF6d55Vz/pzFV9NoNEJVnraVwvV8r57REUAAAQQQQAABBBBAoF8CBHb9kuW4CCCAAAIIIIAAAggMoEBc1ePVQdmqHQUJ+ixdd6tQCFeSBAyF0Crz6D//aR9++KF9++1UGvApvFObTLb+ChDY9df3x46uZ8LXrNMaddq8Ik5B3N5bbg0tLx9++GG7//770yq6bAWdh36hveZiFZ1/5uP7sxqH6/ldOSMjgAACCCCAAAIIIIBAvwUI7PotzPERQAABBBBAAAEEEBgwgU7HbGgoOansa1NTP//lYntM7acALwkQusladov7XJqetg8++MDefustO3HyRKgqYuuvAIFdf31/7OiJvSpLl1piah26R/7wiD340IO2f/xg2sLSK+Ti58VfeztNf17iID2uvItD9fg4+QkwMgIIIIAAAggggAACCPRLgMCuX7IcFwEEEEAAAQQQQACBDSIQ1u7qdEKl3bvvvWPvv/+eHT92PLTN9Moir74rlcrWaNTD5worCoUh63Y7y6TiaqQkLEz2SSqRSqGKz4MMvdfWbrfCMb3doH8nHj9ZE2ztVwBu5MBu6X4mibNXt3mA3Ggla755wKx94haWldJQaDXZaXdsqLgUvMVzJ1tB124l6zOqoq7ZTubtxMSEPfroo3b48OGwPt1SoJ1Uo7IhgAACCCCAAAIIIIAAAtcrQGB3vWLsjwACCCCAAAIIIIDABhfIBmoenPjnCkwUpITWmUeP2ieffGLnz5+32dlZK1eKVqlUg6CvfafXcRtOvVawp6AlG+4pmFM4oqBOP5vNRjiWv/dALhvYad9e4eBavJUbObBT0FYsJYGcbyEsbrVDAKc15BTILQXChTC3vDqt0GlbuZKsM6dj6bX2bTaa4bhWTFpehjlWKobXmoe3jo/bxMTt9sgfHrMDBw7YyMhIGL5er4c157JtZdfivOKcEUAAAQQQQAABBBBAIF8BArt8/RkdAQQQQAABBBBAAIE1JeChnE46G1Jk2/opJCmXy+H6ZmZm7NSpU/avjz8KAd65c2dDEKJgLqnQS0KVcrkSXsehoMI4vVfAp/31M66a0mvtEweA2cDOkddDsLKRAzvdRwXCXiWnUM3niuZau5sEdD4/vfItnZsdD3yTUFlBneZPGty12+G9Ark77rjD/u13v7Pf3nuv7dq1K3zebi9VcWYf3Hj+r6mHmpNFAAEEEEAAAQQQQACBgRAgsBuI28BJIIAAAggggAACCCCwPgTi9bd0RQpWfM0vBRq+Btj09LR99tlnIbzT2neXLl4KAK12Iw0C1UYzOUZzWbtLP47CGN9HlXeqhlLw0itIdF0Cu/Uxz+L76POh2+laJ7RPXVpnLmmDmrRc9XXn/DOfl5qj27dvDwHdoUOH7O677w5VdNqazWYaOrucjhe30OxVcbo+lLkKBBBAAAEEEEAAAQQQWE0BArvV1GYsBBBAAAEEEEAAAQQ2gEDc3tIvt1f1URykXLx40U6cOGGffHosBHkXLlwIX/UAsFKuWKPZCEFJtVK1VrudVtp5u8tKuWwL9YVlwushoMtOmY1cYaf7qfaXqqxT4BYHwuF1qRK4fG7F8y8O8rTu3G233Wa/ufs3du8999r+/fvT9Q/9+3Eop896hXfxvaHCbgP858YlIoAAAggggAACCCDQRwECuz7icmgEEEAAAQQQQAABBDaCQLbCyNcMU+tCb13pYYavJZZ18WDOf3733Xf25Zdf2qnTp+zTTz61yclJm5+ft661Q/tLVdTpWGqRqRCnVxWexvAwbym4Saqt1vK2kQM73Tdfr05zy+dVmAPNllmYG0lby2RetKxWq4XquTvvvNMOHjwYKuh27ty5bAr0qsLzsFe/S+ZRYbF9ayc9vg4Sh4ZreV5x7ggggAACCCCAAAIIIJCvAIFdvv6MjgACCCCAAAIIIIDAmhLoVUW0UkvAeL07XaQHIAo4tJVKydp0/jsP6+JQL65qmpqass9PnbRvvvnGvjh92s6cOWNXrlwJbTBVdVdv1EOAl7QsTNoW+pi+pt2awl7hZDdyYOdVbwrnwpqHlWSNRIV4pXLJWh2ziYmJ8G/vvr128MDB8Fqhnc81rwBVoKwtDuQ8uPOALr4Fmreas75lw2cq7NbD08U1IIAAAggggAACCCCQnwCBXX72jIwAAggggAACCCCAwJoTiMMNP/k4qNByYUNDK1/WjYYaS202k4omBSf67Ouvv7bzF87b2bPn7OSJE3bq1ClrdzqhAm+9ri22kQO7Trtjw8M1m59fsFqtar/69a/twPgB27Nnj40fGLdf3XV3mHy9WqFm5178Pq0AXZy6XUvWW9Q2VIgmdCeprovn/krjrbmHmxNGAAEEEEAAAQQQQACBXAUI7HLlZ3AEEEAAAQQQQAABBBD4pQWuXr0a1sBTJZ7/O3funM3MzISWmgpcyqWyzS/Mp8FfuVyxTqednopXT6kyT5/rfdLisxjeL7ViTMIbr+jz8Eb7aVNw6G059T19rn2T/dTSMakE9O95GFcqFsM6fb7pODrHOIiMv6MQM7SKXPxCt9O1wlDSxtH3008PXNOAqp2MX6nq+pPWjwpCFYg2G81Qwaafql7z0NRbQ+qnLPU9b1MZB2U6blxlqd/JUOeq8xsqDqXf94q2djc55sLCQlqBWalUQjvLvXv32p69e2z81nG7/fbbbWRkJJzvSm1Wf+l5xfEQQAABBBBAAAEEEEAAgX4KENj1U5djI4AAAggggAACCCCAQC4CcVCk1wqb9O/Mma/s7LlzdvHiRbt06aJNX5oOa+Ut1BfSQEyhWrlUCoGeB1Ielim8qg0Ph2tSeJb8TIK14dqwNZqNZdfrAZafT1q1FdZYWwr79FpjxYGcr8Wmz72qMG7tGX/fA7tyUYHiUjtQHz9c/2LbSP9M4Vn8eVgDThVli0GarrVYSoLH5NyS6/QKMx1Pm/bx4EzH0Hsd2z+LqzLb3W4asGmcRr0RgsnR0VHbufMmG9u52w4cOBDCuVtuucXGxsZs27ZtVi4nrS9/rA2lt1TNZcIxKAIIIIAAAggggAACCCDwMwUI7H4mIF9HAAEEEEAAAQQQQACBwRH4sTXIdJbdbnvZWnq+JtnV2Vn7dmrKvrv2nZ05842pSu/8t9/a7OysffX1V2m4pmN4UJdUmCXBlH/u1WcetiVr6iVhoV575Zwq6/y7Omev2ksq/ZIKvFarGcIx7afXfqxsq0/tr6AsBGrtTqiG8+vKVrN58ObBWhzeKTxT2KZ9vAJP3/dr0ud67UGexvCg0L8XB4TxOnObN2224U3DtmffPtu1e5ft3bvPdu7caTft2BFCudHto6Hqsd3uhrDP/eJqvng9w+ReLq1RODgzkDNBAAEEEEAAAQQQQAABBG5MgMDuxtz4FgIIIIAAAggggAACCKwRgbg1Y7ZFZK9LiMMqD77q9bp9/vnnVq1WbXJyMlTSzc/P2+SXk+Fno9Gw06dPh0owBWh6r+CpVquZgiYFW3pdb8ynbSKTKrTlbTE9qCoWS6Fdpn6ftKnUun3JsX3zMMsDQVW8FYsKvZIWntqSwC8J4LItKjV+EhZ2QsCnc9RrvwZ9puvQT//cj+3H1E8Fb7t27QrXOz4+bpu3bLYd23eEz7dv324joyO2ZfOWtMVlXP0Yrwfn16Xf61y8qi4O6rzSUPuGVpztJID1ir41MiU5TQQQQAABBBBAAAEEEEDgBwIEdkwKBBBAAAEEEEAAAQQQ2DAC2ZaKXkHma6jFFV0KjhQWKbCKq87iYMkDQD+uAiStv3blypVQnacwb3p62q5cvZIGb5cvT9vM/82ka8UpDJy+PG2XL182BXW+ll68jl6z2UiDqaXALgn7PLjqtBXS+Sp2yV7Zajxfny6+hs2bN9uePXts69atYYzvv/8+hIsTExNWrVXDeer9/lv2h8BS4Ziq4nbs2LHMJRsIagx3/SkTLHuufv7Jun4/vK5en/+UcdgHAQQQQAABBBBAAAEEEBhEAQK7QbwrnBMCCCCAAAIIIIAAAgj0VaDXemf+mUI8r0yLg62lAC1pgalNoZGv0eahnj6P15/T+zgo9O8o+Io3r+zLtnpU6Kc1965du5YGV/HaeNnqubgdps5j06ZNSdvJ0dEfmIaWmd1uWs0WX1d2DF/PLw7PshVvvSrm4kGz1XL6nZ+vu8nFjbwNZ9YweyG+RmGlUunrvOHgCCCAAAIIIIAAAggggEC/BAjs+iXLcRFAAAEEEEAAAQQQQGDVBbItI3UCvYInD8VU3aaqsXjzcM33icM9D+fikO7nXmTcvlLHigM4D/Wy+2TH7FWdttJ5ZVtO+n7eXtKr4rLViL6fX3vs6s7Z9qO+T9ZX+8WBZa9jxt8N6/NlKvbia+41zs+9L3wfAQQQQAABBBBAAAEEEFhNAQK71dRmLAQQQAABBBBAAAEEEMhNIK5cy1bYxZVivp9Xg2WDq/h9/Nqr6jxY0s94zLiCLt4nBsmO5aHU9bR/XCm8W+kMM2m3AAADM0lEQVTzbEAZt/dUqOZW2WuJKw6zVYF+TR7gpSFg5u53rWsFW6pYLCyuteeVeisdt9ckup59c5uEDIwAAggggAACCCCAAAIIrCBAYMfUQAABBBBAAAEEEEAAAQQQQAABBBBAAAEEEEAAAQQQQCBHAQK7HPEZGgEEEEAAAQQQQAABBBBAAAEEEEAAAQQQQAABBBBAAAECO+YAAggggAACCCCAAAIIIIAAAggggAACCCCAAAIIIIAAAjkKENjliM/QCCCAAAIIIIAAAggggAACCCCAAAIIIIAAAggggAACCBDYMQcQQAABBBBAAAEEEEAAAQQQQAABBBBAAAEEEEAAAQQQyFGAwC5HfIZGAAEEEEAAAQQQQAABBBBAAAEEEEAAAQQQQAABBBBAgMCOOYAAAggggAACCCCAAAIIIIAAAggggAACCCCAAAIIIIBAjgIEdjniMzQCCCCAAAIIIIAAAggggAACCCCAAAIIIIAAAggggAACBHbMAQQQQAABBBBAAAEEEEAAAQQQQAABBBBAAAEEEEAAAQRyFCCwyxGfoRFAAAEEEEAAAQQQQAABBBBAAAEEEEAAAQQQQAABBBAgsGMOIIAAAggggAACCCCAAAIIIIAAAggggAACCCCAAAIIIJCjAIFdjvgMjQACCCCAAAIIIIAAAggggAACCCCAAAIIIIAAAggggACBHXMAAQQQQAABBBBAAAEEEEAAAQQQQAABBBBAAAEEEEAAgRwFCOxyxGdoBBBAAAEEEEAAAQQQQAABBBBAAAEEEEAAAQQQQAABBAjsmAMIIIAAAggggAACCCCAAAIIIIAAAggggAACCCCAAAII5ChAYJcjPkMjgAACCCCAAAIIIIAAAggggAACCCCAAAIIIIAAAgggQGDHHEAAAQQQQAABBBBAAAEEEEAAAQQQQAABBBBAAAEEEEAgRwECuxzxGRoBBBBAAAEEEEAAAQQQQAABBBBAAAEEEEAAAQQQQAABAjvmAAIIIIAAAggggAACCCCAAAIIIIAAAggggAACCCCAAAI5ChDY5YjP0AgggAACCCCAAAIIIIAAAggggAACCCCAAAIIIIAAAgj8Py6bqH/Sdvg/AAAAAElFTkSuQmCC"/>
          <p:cNvSpPr>
            <a:spLocks noChangeAspect="1" noChangeArrowheads="1"/>
          </p:cNvSpPr>
          <p:nvPr/>
        </p:nvSpPr>
        <p:spPr bwMode="auto">
          <a:xfrm>
            <a:off x="307975" y="-236538"/>
            <a:ext cx="819150" cy="8191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23" name="Grafik 22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293386" y="2149077"/>
            <a:ext cx="2944923" cy="2944923"/>
          </a:xfrm>
          <a:prstGeom prst="rect">
            <a:avLst/>
          </a:prstGeom>
        </p:spPr>
      </p:pic>
      <p:sp>
        <p:nvSpPr>
          <p:cNvPr id="25" name="Foliennummernplatzhalter 5"/>
          <p:cNvSpPr txBox="1"/>
          <p:nvPr/>
        </p:nvSpPr>
        <p:spPr bwMode="auto">
          <a:xfrm>
            <a:off x="8133990" y="5351303"/>
            <a:ext cx="2489464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>
                <a:solidFill>
                  <a:srgbClr val="DEC628"/>
                </a:solidFill>
                <a:latin typeface="Aptos"/>
              </a:rPr>
              <a:t>BLM Stiftung Medienpädagogik Bayern, CC-BY-NY4.0</a:t>
            </a:r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0947703" cy="861774"/>
          </a:xfrm>
        </p:spPr>
        <p:txBody>
          <a:bodyPr/>
          <a:lstStyle/>
          <a:p>
            <a:pPr>
              <a:defRPr/>
            </a:pPr>
            <a:r>
              <a:rPr lang="de-DE"/>
              <a:t>4. Gemeinsam Regeln festlegen &amp; visualisieren: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u="sng"/>
              <a:t>Exemplarische Schulregeln:</a:t>
            </a:r>
            <a:endParaRPr/>
          </a:p>
          <a:p>
            <a:pPr>
              <a:defRPr/>
            </a:pPr>
            <a:r>
              <a:rPr lang="de-DE"/>
              <a:t>Wir nutzen KI-Anwendungen nur, wenn es nötig ist!</a:t>
            </a:r>
            <a:endParaRPr/>
          </a:p>
          <a:p>
            <a:pPr>
              <a:defRPr/>
            </a:pPr>
            <a:r>
              <a:rPr lang="de-DE"/>
              <a:t>Wir benutzen KI-Anwendungen nur zur Unterstützung! – Das Denken übernehmen wir selbst!</a:t>
            </a:r>
            <a:endParaRPr/>
          </a:p>
          <a:p>
            <a:pPr>
              <a:defRPr/>
            </a:pPr>
            <a:r>
              <a:rPr lang="de-DE"/>
              <a:t>Wir nutzen nur KI-Anwendungen, die von der Lehrkraft freigegeben wurden. </a:t>
            </a:r>
            <a:endParaRPr/>
          </a:p>
          <a:p>
            <a:pPr>
              <a:defRPr/>
            </a:pPr>
            <a:r>
              <a:rPr lang="de-DE"/>
              <a:t>KI-Anwendungen sind nicht perfekt! – Wir überprüfen die Ergebnisse immer genau! (z.B. Mit Sachbüchern, google-Recherche, Lexika...)</a:t>
            </a:r>
            <a:endParaRPr/>
          </a:p>
          <a:p>
            <a:pPr>
              <a:defRPr/>
            </a:pPr>
            <a:r>
              <a:rPr lang="de-DE"/>
              <a:t>Wir geben keine persönliche Daten in ein KI-Anwendungen ein!</a:t>
            </a:r>
            <a:endParaRPr/>
          </a:p>
          <a:p>
            <a:pPr>
              <a:defRPr/>
            </a:pPr>
            <a:r>
              <a:rPr lang="de-DE"/>
              <a:t>Wir kennzeichnen, wenn wir für eine Arbeit die Hilfe einer KI-Anwendung genutzt haben!</a:t>
            </a:r>
            <a:endParaRPr/>
          </a:p>
          <a:p>
            <a:pPr>
              <a:defRPr/>
            </a:pPr>
            <a:r>
              <a:rPr lang="de-DE"/>
              <a:t>Bei Problemen sprechen wir miteinander darüber!</a:t>
            </a:r>
            <a:endParaRPr/>
          </a:p>
          <a:p>
            <a:pPr>
              <a:defRPr/>
            </a:pPr>
            <a:r>
              <a:rPr lang="de-DE"/>
              <a:t>Halte ich die Regeln nicht ein, darf ich nicht mit KI-Anwendungen arbeiten!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1</a:t>
            </a:fld>
            <a:endParaRPr lang="de-DE"/>
          </a:p>
        </p:txBody>
      </p:sp>
      <p:cxnSp>
        <p:nvCxnSpPr>
          <p:cNvPr id="7" name="Gerader Verbinder 14"/>
          <p:cNvCxnSpPr>
            <a:cxnSpLocks/>
          </p:cNvCxnSpPr>
          <p:nvPr/>
        </p:nvCxnSpPr>
        <p:spPr bwMode="auto">
          <a:xfrm>
            <a:off x="11457673" y="6475333"/>
            <a:ext cx="180000" cy="0"/>
          </a:xfrm>
          <a:prstGeom prst="line">
            <a:avLst/>
          </a:prstGeom>
          <a:ln cap="rnd">
            <a:solidFill>
              <a:srgbClr val="DEC628"/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0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1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2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3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11413677" cy="430887"/>
          </a:xfrm>
        </p:spPr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4. Gemeinsam Regeln festlegen &amp; Visualisieren: 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560513" y="1505528"/>
            <a:ext cx="5960359" cy="4803198"/>
          </a:xfrm>
        </p:spPr>
        <p:txBody>
          <a:bodyPr/>
          <a:lstStyle/>
          <a:p>
            <a:pPr>
              <a:buFont typeface="Wingdings"/>
              <a:buChar char="þ"/>
              <a:defRPr/>
            </a:pPr>
            <a:r>
              <a:rPr lang="de-DE"/>
              <a:t>Regeln der Schule auch zu Hause anwenden 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Zusammen die Regeln für zu Hause formulieren (ggf. auch gleich Konsequenzen festlegen)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Regeln sichtbar im Haus (z.B. am Schreibtisch) aufhängen</a:t>
            </a:r>
            <a:endParaRPr/>
          </a:p>
          <a:p>
            <a:pPr>
              <a:buFont typeface="Wingdings"/>
              <a:buChar char="þ"/>
              <a:defRPr/>
            </a:pPr>
            <a:r>
              <a:rPr lang="de-DE"/>
              <a:t>Selbst Vorbild sein: Eltern und Kinder halten die Regeln ein</a:t>
            </a:r>
            <a:endParaRPr/>
          </a:p>
          <a:p>
            <a:pPr>
              <a:buFont typeface="Wingdings"/>
              <a:buChar char="þ"/>
              <a:defRPr/>
            </a:pPr>
            <a:endParaRPr lang="de-DE"/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2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990163" y="2291653"/>
            <a:ext cx="4438749" cy="2959166"/>
          </a:xfrm>
          <a:prstGeom prst="rect">
            <a:avLst/>
          </a:prstGeom>
        </p:spPr>
      </p:pic>
      <p:grpSp>
        <p:nvGrpSpPr>
          <p:cNvPr id="14" name="Grafik 13"/>
          <p:cNvGrpSpPr/>
          <p:nvPr/>
        </p:nvGrpSpPr>
        <p:grpSpPr bwMode="auto">
          <a:xfrm>
            <a:off x="11233228" y="389844"/>
            <a:ext cx="679036" cy="748474"/>
            <a:chOff x="10950380" y="410026"/>
            <a:chExt cx="465152" cy="539923"/>
          </a:xfrm>
        </p:grpSpPr>
        <p:sp>
          <p:nvSpPr>
            <p:cNvPr id="18" name="Freihandform: Form 3"/>
            <p:cNvSpPr/>
            <p:nvPr/>
          </p:nvSpPr>
          <p:spPr bwMode="auto">
            <a:xfrm>
              <a:off x="10950380" y="410709"/>
              <a:ext cx="465152" cy="539233"/>
            </a:xfrm>
            <a:custGeom>
              <a:avLst/>
              <a:gdLst>
                <a:gd name="connsiteX0" fmla="*/ 130604 w 465152"/>
                <a:gd name="connsiteY0" fmla="*/ 1278 h 539233"/>
                <a:gd name="connsiteX1" fmla="*/ 78411 w 465152"/>
                <a:gd name="connsiteY1" fmla="*/ 438939 h 539233"/>
                <a:gd name="connsiteX2" fmla="*/ 296292 w 465152"/>
                <a:gd name="connsiteY2" fmla="*/ 416557 h 539233"/>
                <a:gd name="connsiteX3" fmla="*/ 447064 w 465152"/>
                <a:gd name="connsiteY3" fmla="*/ 539234 h 539233"/>
                <a:gd name="connsiteX4" fmla="*/ 380791 w 465152"/>
                <a:gd name="connsiteY4" fmla="*/ 385056 h 539233"/>
                <a:gd name="connsiteX5" fmla="*/ 392395 w 465152"/>
                <a:gd name="connsiteY5" fmla="*/ 346926 h 539233"/>
                <a:gd name="connsiteX6" fmla="*/ 461979 w 465152"/>
                <a:gd name="connsiteY6" fmla="*/ 260719 h 539233"/>
                <a:gd name="connsiteX7" fmla="*/ 130604 w 465152"/>
                <a:gd name="connsiteY7" fmla="*/ 1278 h 53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5152" h="539233" extrusionOk="0">
                  <a:moveTo>
                    <a:pt x="130604" y="1278"/>
                  </a:moveTo>
                  <a:cubicBezTo>
                    <a:pt x="-33396" y="18967"/>
                    <a:pt x="-33760" y="362481"/>
                    <a:pt x="78411" y="438939"/>
                  </a:cubicBezTo>
                  <a:cubicBezTo>
                    <a:pt x="147357" y="479683"/>
                    <a:pt x="231864" y="454254"/>
                    <a:pt x="296292" y="416557"/>
                  </a:cubicBezTo>
                  <a:cubicBezTo>
                    <a:pt x="336635" y="466351"/>
                    <a:pt x="395604" y="502518"/>
                    <a:pt x="447064" y="539234"/>
                  </a:cubicBezTo>
                  <a:cubicBezTo>
                    <a:pt x="422266" y="495080"/>
                    <a:pt x="400672" y="431481"/>
                    <a:pt x="380791" y="385056"/>
                  </a:cubicBezTo>
                  <a:cubicBezTo>
                    <a:pt x="371959" y="364430"/>
                    <a:pt x="377033" y="359819"/>
                    <a:pt x="392395" y="346926"/>
                  </a:cubicBezTo>
                  <a:cubicBezTo>
                    <a:pt x="416108" y="323735"/>
                    <a:pt x="449059" y="291931"/>
                    <a:pt x="461979" y="260719"/>
                  </a:cubicBezTo>
                  <a:cubicBezTo>
                    <a:pt x="496871" y="139105"/>
                    <a:pt x="234737" y="-15656"/>
                    <a:pt x="130604" y="12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19" name="Freihandform: Form 9"/>
            <p:cNvSpPr/>
            <p:nvPr/>
          </p:nvSpPr>
          <p:spPr bwMode="auto">
            <a:xfrm>
              <a:off x="10994845" y="533113"/>
              <a:ext cx="420687" cy="416835"/>
            </a:xfrm>
            <a:custGeom>
              <a:avLst/>
              <a:gdLst>
                <a:gd name="connsiteX0" fmla="*/ 357214 w 420687"/>
                <a:gd name="connsiteY0" fmla="*/ 0 h 416836"/>
                <a:gd name="connsiteX1" fmla="*/ 417514 w 420687"/>
                <a:gd name="connsiteY1" fmla="*/ 138321 h 416836"/>
                <a:gd name="connsiteX2" fmla="*/ 347929 w 420687"/>
                <a:gd name="connsiteY2" fmla="*/ 224529 h 416836"/>
                <a:gd name="connsiteX3" fmla="*/ 336326 w 420687"/>
                <a:gd name="connsiteY3" fmla="*/ 262658 h 416836"/>
                <a:gd name="connsiteX4" fmla="*/ 402598 w 420687"/>
                <a:gd name="connsiteY4" fmla="*/ 416836 h 416836"/>
                <a:gd name="connsiteX5" fmla="*/ 251826 w 420687"/>
                <a:gd name="connsiteY5" fmla="*/ 294159 h 416836"/>
                <a:gd name="connsiteX6" fmla="*/ 33945 w 420687"/>
                <a:gd name="connsiteY6" fmla="*/ 316542 h 416836"/>
                <a:gd name="connsiteX7" fmla="*/ 0 w 420687"/>
                <a:gd name="connsiteY7" fmla="*/ 280793 h 416836"/>
                <a:gd name="connsiteX8" fmla="*/ 357214 w 420687"/>
                <a:gd name="connsiteY8" fmla="*/ 0 h 416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687" h="416836" extrusionOk="0">
                  <a:moveTo>
                    <a:pt x="357214" y="0"/>
                  </a:moveTo>
                  <a:cubicBezTo>
                    <a:pt x="402633" y="43721"/>
                    <a:pt x="430434" y="93289"/>
                    <a:pt x="417514" y="138321"/>
                  </a:cubicBezTo>
                  <a:cubicBezTo>
                    <a:pt x="404601" y="169534"/>
                    <a:pt x="371643" y="201337"/>
                    <a:pt x="347929" y="224529"/>
                  </a:cubicBezTo>
                  <a:cubicBezTo>
                    <a:pt x="332568" y="237415"/>
                    <a:pt x="327493" y="242033"/>
                    <a:pt x="336326" y="262658"/>
                  </a:cubicBezTo>
                  <a:cubicBezTo>
                    <a:pt x="356206" y="309076"/>
                    <a:pt x="377801" y="372682"/>
                    <a:pt x="402598" y="416836"/>
                  </a:cubicBezTo>
                  <a:cubicBezTo>
                    <a:pt x="351139" y="380120"/>
                    <a:pt x="292170" y="343953"/>
                    <a:pt x="251826" y="294159"/>
                  </a:cubicBezTo>
                  <a:cubicBezTo>
                    <a:pt x="187392" y="331856"/>
                    <a:pt x="102892" y="357285"/>
                    <a:pt x="33945" y="316542"/>
                  </a:cubicBezTo>
                  <a:cubicBezTo>
                    <a:pt x="21135" y="307814"/>
                    <a:pt x="9800" y="295600"/>
                    <a:pt x="0" y="280793"/>
                  </a:cubicBezTo>
                  <a:lnTo>
                    <a:pt x="357214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0" name="Freihandform: Form 10"/>
            <p:cNvSpPr/>
            <p:nvPr/>
          </p:nvSpPr>
          <p:spPr bwMode="auto">
            <a:xfrm>
              <a:off x="11092601" y="435693"/>
              <a:ext cx="78149" cy="354341"/>
            </a:xfrm>
            <a:custGeom>
              <a:avLst/>
              <a:gdLst>
                <a:gd name="connsiteX0" fmla="*/ 78150 w 78149"/>
                <a:gd name="connsiteY0" fmla="*/ 306647 h 354341"/>
                <a:gd name="connsiteX1" fmla="*/ 78150 w 78149"/>
                <a:gd name="connsiteY1" fmla="*/ 321070 h 354341"/>
                <a:gd name="connsiteX2" fmla="*/ 38801 w 78149"/>
                <a:gd name="connsiteY2" fmla="*/ 354342 h 354341"/>
                <a:gd name="connsiteX3" fmla="*/ 0 w 78149"/>
                <a:gd name="connsiteY3" fmla="*/ 321070 h 354341"/>
                <a:gd name="connsiteX4" fmla="*/ 0 w 78149"/>
                <a:gd name="connsiteY4" fmla="*/ 306647 h 354341"/>
                <a:gd name="connsiteX5" fmla="*/ 38801 w 78149"/>
                <a:gd name="connsiteY5" fmla="*/ 272820 h 354341"/>
                <a:gd name="connsiteX6" fmla="*/ 78150 w 78149"/>
                <a:gd name="connsiteY6" fmla="*/ 306647 h 354341"/>
                <a:gd name="connsiteX7" fmla="*/ 58194 w 78149"/>
                <a:gd name="connsiteY7" fmla="*/ 0 h 354341"/>
                <a:gd name="connsiteX8" fmla="*/ 74268 w 78149"/>
                <a:gd name="connsiteY8" fmla="*/ 15528 h 354341"/>
                <a:gd name="connsiteX9" fmla="*/ 70387 w 78149"/>
                <a:gd name="connsiteY9" fmla="*/ 221249 h 354341"/>
                <a:gd name="connsiteX10" fmla="*/ 54313 w 78149"/>
                <a:gd name="connsiteY10" fmla="*/ 236777 h 354341"/>
                <a:gd name="connsiteX11" fmla="*/ 23830 w 78149"/>
                <a:gd name="connsiteY11" fmla="*/ 236777 h 354341"/>
                <a:gd name="connsiteX12" fmla="*/ 7756 w 78149"/>
                <a:gd name="connsiteY12" fmla="*/ 221249 h 354341"/>
                <a:gd name="connsiteX13" fmla="*/ 4430 w 78149"/>
                <a:gd name="connsiteY13" fmla="*/ 15528 h 354341"/>
                <a:gd name="connsiteX14" fmla="*/ 19949 w 78149"/>
                <a:gd name="connsiteY14" fmla="*/ 0 h 354341"/>
                <a:gd name="connsiteX15" fmla="*/ 58194 w 78149"/>
                <a:gd name="connsiteY15" fmla="*/ 0 h 3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49" h="354341" extrusionOk="0">
                  <a:moveTo>
                    <a:pt x="78150" y="306647"/>
                  </a:moveTo>
                  <a:lnTo>
                    <a:pt x="78150" y="321070"/>
                  </a:lnTo>
                  <a:cubicBezTo>
                    <a:pt x="78150" y="342142"/>
                    <a:pt x="64290" y="354342"/>
                    <a:pt x="38801" y="354342"/>
                  </a:cubicBezTo>
                  <a:cubicBezTo>
                    <a:pt x="13311" y="354342"/>
                    <a:pt x="0" y="342142"/>
                    <a:pt x="0" y="321070"/>
                  </a:cubicBezTo>
                  <a:lnTo>
                    <a:pt x="0" y="306647"/>
                  </a:lnTo>
                  <a:cubicBezTo>
                    <a:pt x="0" y="284464"/>
                    <a:pt x="13852" y="272820"/>
                    <a:pt x="38801" y="272820"/>
                  </a:cubicBezTo>
                  <a:cubicBezTo>
                    <a:pt x="63749" y="272820"/>
                    <a:pt x="78150" y="284464"/>
                    <a:pt x="78150" y="306647"/>
                  </a:cubicBezTo>
                  <a:close/>
                  <a:moveTo>
                    <a:pt x="58194" y="0"/>
                  </a:moveTo>
                  <a:cubicBezTo>
                    <a:pt x="68727" y="0"/>
                    <a:pt x="74268" y="5544"/>
                    <a:pt x="74268" y="15528"/>
                  </a:cubicBezTo>
                  <a:lnTo>
                    <a:pt x="70387" y="221249"/>
                  </a:lnTo>
                  <a:cubicBezTo>
                    <a:pt x="70387" y="231226"/>
                    <a:pt x="64846" y="236777"/>
                    <a:pt x="54313" y="236777"/>
                  </a:cubicBezTo>
                  <a:lnTo>
                    <a:pt x="23830" y="236777"/>
                  </a:lnTo>
                  <a:cubicBezTo>
                    <a:pt x="13297" y="236777"/>
                    <a:pt x="7756" y="231233"/>
                    <a:pt x="7756" y="221249"/>
                  </a:cubicBezTo>
                  <a:lnTo>
                    <a:pt x="4430" y="15528"/>
                  </a:lnTo>
                  <a:cubicBezTo>
                    <a:pt x="3875" y="5551"/>
                    <a:pt x="9416" y="0"/>
                    <a:pt x="19949" y="0"/>
                  </a:cubicBezTo>
                  <a:lnTo>
                    <a:pt x="58194" y="0"/>
                  </a:lnTo>
                  <a:close/>
                </a:path>
              </a:pathLst>
            </a:custGeom>
            <a:solidFill>
              <a:srgbClr val="FFFFFF"/>
            </a:solidFill>
            <a:ln w="2277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  <p:sp>
          <p:nvSpPr>
            <p:cNvPr id="21" name="Freihandform: Form 11"/>
            <p:cNvSpPr/>
            <p:nvPr/>
          </p:nvSpPr>
          <p:spPr bwMode="auto">
            <a:xfrm>
              <a:off x="11084427" y="410026"/>
              <a:ext cx="95163" cy="68984"/>
            </a:xfrm>
            <a:custGeom>
              <a:avLst/>
              <a:gdLst>
                <a:gd name="connsiteX0" fmla="*/ 92578 w 95163"/>
                <a:gd name="connsiteY0" fmla="*/ 68984 h 68984"/>
                <a:gd name="connsiteX1" fmla="*/ 95095 w 95163"/>
                <a:gd name="connsiteY1" fmla="*/ 17242 h 68984"/>
                <a:gd name="connsiteX2" fmla="*/ 95163 w 95163"/>
                <a:gd name="connsiteY2" fmla="*/ 16844 h 68984"/>
                <a:gd name="connsiteX3" fmla="*/ 0 w 95163"/>
                <a:gd name="connsiteY3" fmla="*/ 788 h 68984"/>
                <a:gd name="connsiteX4" fmla="*/ 0 w 95163"/>
                <a:gd name="connsiteY4" fmla="*/ 774 h 68984"/>
                <a:gd name="connsiteX5" fmla="*/ 2517 w 95163"/>
                <a:gd name="connsiteY5" fmla="*/ 59378 h 68984"/>
                <a:gd name="connsiteX6" fmla="*/ 92578 w 95163"/>
                <a:gd name="connsiteY6" fmla="*/ 68984 h 6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163" h="68984" extrusionOk="0">
                  <a:moveTo>
                    <a:pt x="92578" y="68984"/>
                  </a:moveTo>
                  <a:lnTo>
                    <a:pt x="95095" y="17242"/>
                  </a:lnTo>
                  <a:lnTo>
                    <a:pt x="95163" y="16844"/>
                  </a:lnTo>
                  <a:cubicBezTo>
                    <a:pt x="58928" y="3917"/>
                    <a:pt x="25243" y="-2320"/>
                    <a:pt x="0" y="788"/>
                  </a:cubicBezTo>
                  <a:lnTo>
                    <a:pt x="0" y="774"/>
                  </a:lnTo>
                  <a:cubicBezTo>
                    <a:pt x="0" y="774"/>
                    <a:pt x="2517" y="59378"/>
                    <a:pt x="2517" y="59378"/>
                  </a:cubicBezTo>
                  <a:lnTo>
                    <a:pt x="92578" y="68984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latin typeface="Aptos"/>
              </a:endParaRPr>
            </a:p>
          </p:txBody>
        </p:sp>
      </p:grpSp>
      <p:sp>
        <p:nvSpPr>
          <p:cNvPr id="23" name="Foliennummernplatzhalter 5"/>
          <p:cNvSpPr txBox="1"/>
          <p:nvPr/>
        </p:nvSpPr>
        <p:spPr bwMode="auto">
          <a:xfrm>
            <a:off x="9709743" y="5330119"/>
            <a:ext cx="1596591" cy="123111"/>
          </a:xfrm>
          <a:prstGeom prst="rect">
            <a:avLst/>
          </a:prstGeom>
          <a:grpFill/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/>
              <a:t>Erstellt am 28.4.2025 mit ChatGPT4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 sz="2800" spc="100">
                <a:cs typeface="Segoe UI"/>
              </a:rPr>
              <a:t>5. Begleiten, aber auch vertrauen!</a:t>
            </a:r>
            <a:endParaRPr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 algn="ctr">
              <a:buNone/>
              <a:defRPr/>
            </a:pPr>
            <a:r>
              <a:rPr lang="de-DE" sz="4000" dirty="0"/>
              <a:t>Unterstützen Sie ihr Kind, wo nötig, aber lassen Sie es auch eigenständig handeln, wo möglich!</a:t>
            </a:r>
            <a:endParaRPr dirty="0"/>
          </a:p>
          <a:p>
            <a:pPr marL="0" indent="0">
              <a:buNone/>
              <a:defRPr/>
            </a:pP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1168540" y="371225"/>
            <a:ext cx="641643" cy="641643"/>
          </a:xfrm>
          <a:prstGeom prst="rect">
            <a:avLst/>
          </a:prstGeom>
        </p:spPr>
      </p:pic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33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grpSp>
        <p:nvGrpSpPr>
          <p:cNvPr id="15" name="Gruppieren 14"/>
          <p:cNvGrpSpPr/>
          <p:nvPr/>
        </p:nvGrpSpPr>
        <p:grpSpPr bwMode="auto">
          <a:xfrm>
            <a:off x="8398460" y="5932421"/>
            <a:ext cx="3239213" cy="542912"/>
            <a:chOff x="8398460" y="5932421"/>
            <a:chExt cx="3239213" cy="542912"/>
          </a:xfrm>
        </p:grpSpPr>
        <p:sp>
          <p:nvSpPr>
            <p:cNvPr id="16" name="Foliennummernplatzhalter 5"/>
            <p:cNvSpPr txBox="1"/>
            <p:nvPr/>
          </p:nvSpPr>
          <p:spPr bwMode="auto">
            <a:xfrm>
              <a:off x="8398460" y="5932421"/>
              <a:ext cx="1715213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Erstellet am 28.4.2025 mit ChatGPT4</a:t>
              </a:r>
              <a:endParaRPr/>
            </a:p>
          </p:txBody>
        </p:sp>
        <p:cxnSp>
          <p:nvCxnSpPr>
            <p:cNvPr id="1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KI – Unterstützung im häuslichen Bereich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13" name="AutoShape 2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155575" y="-2247900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5" name="AutoShape 4" descr="data:image/png;base64,iVBORw0KGgoAAAANSUhEUgAABAAAAAQACAYAAAB/HSuDAAAAAXNSR0IArs4c6QAAIABJREFUeF4svEePZdmW3/fb5pjrw0ekt+XNq6r3ul53s9m+STQBEiTECQnqC+gbaCQBkgaaaaC5NKM4IEBQEim24etu9vOv65WvyjKZlZmR4c3195hthLWDgwQKWZERN87Za63/+putLv/2v4+RIbbQRJcR2wVte0kxvI73gRBr1PIYZdbRw128X8LqEq166M46rj7C2iHeOzQLtO3igwZfEYt1THsJpiS0Ch2nBJWjQqBqTiko8P1NcixueY4utqAYYNoTQqsJuScuGuh2QAWi6mPcCvwKrxw6FERtiCGgjAKlUVGj3RJtB7juAD+/xERHsDk6tphY4POMgEJVp4TYIR/kVLMphavRtiD2RvjYI8y/xZguKh/g1QgTL3HNApNpYBsTZ3il8LqEaoa2iqhzAh7ranyWoVxDzAyqLSDOwFmyboe2bsB4TNYDMlq3QnuP8itUZwelAmF5Cb11lFvgyciCJphAcBVOZWRxBXobpRuin0PMwFXoYog3AaW66PqQaEZEVRFNhnUaHxzKlFjraOgQg4NmiTGG4GvyYsByOSMPNeQ7YFtc61FhhVEFKssJSqOx1L7FyN/HlmAHqFiizYwQQMvvthrjVcAUCr+ag+mhdAdiCVmLbn36XvLeCDOC2ULT4rVHWTkLNTHOiTojKzdo6zlRBTKT0S6X2HIIRNrqGSrfRsv3DWOIhpB1QWto54TZGXqwhqlneN0FU4BW6HaJtz10URIbeYYGVXQIzpDXl4T+EDedoDsGpQdX/9/Is2hxlUcVlugttiwI7QrkXQUw+QDqS3wjn7FDo3IyOySqBtoGtEnPPJbXMO0pUKBNpJbnrwwtS6BPlvVQcU4IBltu0o4fo/qb+LbBxoi3XaJbEozGRkekizaaqAM6QOUC+WqKzh1NeZssnBMXl8TuLQKk2lA4YjSpZsPyAtZvkdkeofXE5ojcFATVpVUNRll8jFBfEEIf28mJ1OhQEfQmys3Sc1D9bVRVE/wMZzt0gsLnoNggNgcEXRCiIzdyprv4GMjzgraNKNUQXE2sL8k6e6BH1EHqY4UxOdHJWZPX14VMk1UtoaxpXJcs69I251jVR9VjYhZp2wotf4oBqtgktIv0fAyaILVLhqrOwWaEvMSGSAgVJmpisyAYiy43iG5xdRYZkSlFqzz4FqU1WQxUdYNWLcoZbG8N52dE38HVx2g5z3GA7XQJUUpqSpvJsxuh9QITR/g8EP0MpQtYzKWdpfdKvoHxcq5i6q1Z0SG6FapdYOwawa+IeQnKEesVKt+AokecvCDEFSbbwTdn6N4WygVoL6CzBfkaVJfp2WtWaDsixICPmlxFvKtQ7ZiocrwdYkyBAVR7gbMlKmTYwtDIzwwKbSPBK3SWo1VD2yjIS0zTEuMlxkdcPiKzBa65xM2nmM46dDJiI7U6u6qD7haxGmOswqwmNJ0+UX6Wq2mzAr08IOYDTHEL789RjSPqDtYEHB6lM+Jqhg4XqGwNRYajhmwdtTjGdjNc7KOCJ+Y5sTVkRuGaMUqeYaqMIcqACaT+GK0homA1g3KAwkKUd7SG5wLdRjAa35pUxyozuJBjFvvEzjoh2yWbfYvTjtjZxjYV3nRT7/PB05EZEzXKOpRbpTrI9QAX5ihbpplnbY4LS2hblOmmdh9chFCS5+CkB6daH6R5XJqGWg/kidIYC9UheiW1uUfsDtHLGbG7Cavn0HhCd5foV1dnOBqc9IRGfq6HfET0jYxhovT1mBNX32DppXkaVUTVTXov0V+glSW6Bp1vpPmo3QTfRkzeAbdM88KpImED1YxpfE0hNdbWaB1pixGmlWe9g/YRmgOcc6juDZCf1Vyi7IhoPaqSGWPQMaCcJ/aupdp1zSE+ZmhrMbaDl9nnL7CZ9PGAahbYIqf1pHlljaFVpFqWBhN0BN1B+SnRVcSQo4scFSui6hDRGJqr7+tqMt3gGo0qWjAjtNWgCnRc4BqP0YpQbqAWE7wbo31NND2CvHedY01LY7pkMcObGqO6qOjSeZJ3kT5DO0ObDlHOdVihli8I5VbCZ8asaGuPMRpdjal9JJNz2JHa3UIvDzE2UjXSE0YYldGUOXYq53iCKdZwJsPPzzBKPtsuMUjtCrbZIAaDQuqqSjXgfUmM0icjIb1/h4+CH/q02qCDzOUJme6iuoOETaSEpH/bfIiT383P8fI+wirVeFZspK8J7QXRG5q8pJBzXQliO7vqvbkBleMyR/Se2Fao5YpYDskEB2U7rIwjm73AltuEbi/VTMJZ8xdY20H1dtI5xAVUOSAuTwjKkXW2qF3AxiUulqh2irLyrCfo6GGwQfQ5enFGsBFlOviQo2hQqiC6ccK4cv4RPFkMiWGaMAjZbnpO3q8obE5rd8mZ0lQrdLxAOflcm7TtOX55SJltEqSepo+J3S204GnncFIXMUtzwpgSpxpUXBFXE3RPnp/Ma41SHVyYkCvpf6BDTajnmO52egfaSV/Lr/p8noEZQrsi0GDi6grDCf7N+iiTQSvdVeawNAGPjwol+0CoiD5gB7vACuc02mQY3aWupyhzVZsmG+DrMSrWhP4t9OwUV/ZTL1D1itjfhKZC5wW0M0K1QmVFKk7d3STUFcQFVDUon+ZEA9hKPoOh7ULufMK3hR1QqxLrTq/2ke4w9VDdFoRc3q/UWEw9Cl9gCk+ghNUSF87JyrWEE6RPxMZhhvcx3S7x8nNCdpOwegY4lO2ji018Ncai0bakyXKUz8iIrNwYVV+CLdDytVZw4kSQF1pwq87QLicrpAkZfDnCn3+NDJ+0e/S7eGfRbkxMuKSmMIbGlWSZw5cbULdotSDQg6yDbyYoAlrmYlYTnKPs3KVhjK4qKEYJt8isZ3lMU+5Rdkr8bEowilJBk8lMnqJld2sabDHEhIYmLNF6JFAp9WqXGbRX6d8pl8khwwtwcfP0Xlu65HmJrypU85zY2SIIlphfQifi1W56l5nMWq1YLcYJE+INUfqWHhCpCNUxIRdMp9BaMFcDoYB6QrSamHXIyj3c6pJgC5TV6HpKlHfkPFWwdPpDQtumdy4zXlEQrMeEHuQaFRpaAWdpDztMs116pNQD5R5RZmtYpHeuVJvqw2hPrTYxCaOP0bF/hQOaGSFbw2pPG1uKWJANdmnOPsNnPWy5i2VFU12k2ZXLO54f0HY2MJ0hYXWW6liVfYK7IGNIo7sYOZduSSwyTHWJEkxTZoS2Tp87zA5RpQDt9bTfYgbAQk5a2rmUzMJsnRgX+FWFGv/t/xDb2SGm2ycfPGD55M8oNl9HFdv49oAwm2M2r9M8/Snla/8NYX5IvHgMvU2iloe8JBCxa7cSKVDJgShGZO0KN/4OV0/pXf8BzfwMP3uRgKHp3aFtT4lySEwX07tJc/4IPbieAEY7fkK59ypKljVfoaR4uveIs2+pZxfo0Q5Kd4nzAzwLis3fRsnCHVZksaI6+wa7cT99jkaG1uRzsu59QiED4Lu0xJbrLzEb71NwjB+8jUURLz9OS9mCgv7eO9BIoXbTIrs8/Avyziahc4usrYi2RIdLVpdHZOv3yMp16vmLRALYzi7tbE6+to5fnGAHO9SLljD/nG7nOvPlmEIOUdGjkQM6v7gqWNldQ4dQHZL1buAFQC2eord/iLIGR47wHHF2gNYOpzw2l0bVUM8nlKMRodgmzi8wxmJ0IOicVmWY6TnKn8L194nzFeH4x7D1Nrq/h559xXIyptx5k7h8ge4NcNMputtBmQ2aFx9Q3nyZICBROZyvMULbDG4Q24YYxqjyBn78iNXBf2bt/r/Cqw5h9R1ByIXlCbG7DfUUs/5yAu2GPnF1SN65wXTyCd1rv0/eGXDxq/+dzt7voPUM3b9LHWrMcpZIh7gSAiIjjLbJlKWdPyHv3mAVFXm1IBYCBi/R2RqhqQntUQKMsc0ScVXe/S3cckl18JeURR/ydaKLmM4oLdshnEDIYHWcFli6smgH8vYSV1eo0fX/upguyYzB9XZRl4/SkhHjlGbRYIoOVoZWOSL4BWp6AmWPvPcWTfUC3R5gyvvUy+f46hy7+Q7+/FdYswGbd1F+QlDX8Ec/whQjQvkA/DmZzvCDNcLR52Q3/wh39DdkeQ8fB7TLb+j07lMbaKcvKHq3r4bVYozTilyXuHABoUusZwTlMet3Evnhqnn6OUYAvp0Tl0IO5bTjb7Cja7jFAtMdoXRJYI4qdtLw8mefY/I+dXDo1TNs/hA7kAEHC2lUF19i6hWM7hLld3MLdBaJsca5lpwBPu+Cn+OaGVl3DyUAYXEAUZr1Bu3pLyDrEgXMR4dp56yqMZ3td9HlNnH6hHb2Ar/7Jp1sizh7AXlDc/oddv0hUQbC8YdYIeCKNfLBPbyf0iwvKbMulRPyqqGZfUJ57fdQlSwpE1TvAa1bUrIiNDERHzobUAiolme39hbt9Nu0QNpeB8x6Wm4yo2nGH6PLLWLnPiaO8RffEKsF2c5rxGCJzSWxzARXEHovE4//nHz0ThpIxvZpp49pl+dkeY4u70IZcALkhdBSWVpGlBklAlSGnluu6OQ1saposWTLZ9C7jZcl2y/I80384pii2MLZHu3iq9Tjujvv0IYpbj5DZyVKiMOsn551kM8oA7l/neVX/5ZycIN8/TVc9EQ7JNTnuLMPiHu/i21OUe08vT/fvU99/BNybTBrL2N9Rb08p9i8TRN8Wkpt7YilQa8muHaC6a5D9xU4+SWhvcSWe7SrGXa4lsg22W9dfUG+9YawWYTxB6idH5AHRzXfJ+9dRwtRI0t7WOJnTwmdh2TDAnd5gM83yIs9YnNBqJ/LpILBQ5SXha1Fe8fCLTBKUcaS5eoQUw6J5V20O0vvSceaVoZ/p4+qXhDzXVQ5TASI8Ut8I4vfnEzrq6/fu5MIBH/+SXq2IVun6GyyPP4YExxClRedAhUt1fwpg8ENXNalmV+idET3bmHjObUzGFnAih66FLJjhZs8Jrqa/s5brISIT7yDT4QlJkNNHxG7O5jRS8TVC7RvqS6+JRYblFmODJAwfAW3OEqkurJ5AqpBlludUZ9/noiycnALH2paITCZ0wr5XsoS+ZSgNaq8ibr8knbtISzP0KYlTvYxo7dYHn5AvraHVRrX2cRYAXGBcPkB2d1/hN//L8yPP2Tz1X/Maj5JvTTUiqBqTLabiGEuH6dlMkRF7OzS3Xybev8/JIBrNn4Tv3pMlo9wUUD5r/FKMMhrhMkzYm8Pm28Txj8napEZStqsSza4Sz07JOMc9Dqqex3PErVaEYW4DA7rVjSyzGy/kvqBLFbtoqaz85DVxeNE0NjeQ7wGU89xy4O0jJo8x60C2doO3vlEPNs8JyyOrsjOdobRMnMy2vEh5XALJ7Mmi4mE06sFsbeN6t8mzJ/gqxnF4Faat/X0kFLmJ4Fq8hRr18n627SrfVTvPlqAohDs00maH6a3jVseJ5JRbf0m8+f/kXLzHs3lcRIkipvvE6oDtJMe9ArMv2Tx6N/Qfe2/g6yhmT5LGIZwiM1uQWjSrKwm++RC3oxeYjH7BqsN3eEmy9kUs/UK+uIRKi9Raw8I59/QnHxAfv13UKMN7GJF7VdkQQSCK6JA+n2QZ2BK4uoC9ByVj1DLMVHIkk4X20yppxdYIZzKHsq3iVjVZotoyjRvjDY0032MgPPRTdj4Ppx8DFSo/k18KxV3hVvU+GtMZwPvVpj+Tejuod0584un9IQYkL8TIl+EJS0E75ys/xLLs4+xpsDHNYyZ4syITIgAW9M0Y6g8dusO7uIJNh+gu0NaWSCVJq6ekPXfTAvOYnVKYTIyXVAvDnH/td/2r/0ulfRur9Fln6w+YGW2yDZeQ08fp9oWccnYHm78MWG2j939DRzmipBaLQjVCbor/XOJzZaYYhdtDc3Fc1xTUVgIiyVq7w3U4Ab187+ke+3v46p9rOomEtnPlyjmiXizRY/66z+Dm98jCw3V5IBy7WUav0QjBNEQowxufpSwQNnJWQgBJkSfP8b01oizM9TwdVz1nObiKfnaSxghH4Xku/iSOLxP1oxp9Vr6nu70Y7Kd36AtO+haRJajhBHDYBN3+g2ZNZiyi798SrHzPqF+wnLlyIuMbPQG9UwwX4GZHVG1U4zPKIQ86eyyag4xiyfofI8YLX7yCDW6kxZar1ZkzQJf7BCmT/DG0Lv5fZaHj+l0LcuTp5itezD5LpG5cE5n7Q3qMMbPa/LNB8RKiJ4FpneNUD0hXj7DbP8AFZdEtU6oRdicJRFMxEW9cY/2+a/J7v09/NET5vs/YeOl9wltF9vfpBk/Rm+9S6zH1NUlNjjy3gbV6Ufkr/5L/PycXF0mYtCPT1FC/vREPHS4g89o6xN6r/yzRObWpy8Q3tZPDq8IbG9pex305AQzeg13+B8xRRe99b2E06MstbQEVaHkTFVTTOsIUUiYNu1QghEifRRL2pVggG7C4Yt8l6IIqKgIzZy2HmP8nKpxDHbfwcVF2h9Mscfy+MdkvXuE+TOi6ScCPe+VRGZ4OomELYSQWMyILChjYH75nGLzFYreHrXURAgEmXEiyHSv0boZg/42bnqCKrpMjj6kHN2jt/GQxdk+xc49fCI3DGrVEo2QdxYXc0J9SLn+Gv7yEe3ka+i/imaKGTxEd4Y0x58RhzsJN+pqQqtq7Po7IP1t+hnF5gNU/zrh6BPc2Vfkb/wzdDtj8vH/xeilP6Key8+akq+9gpu+oPKO/s5v0dZPqA7/hsHtP6VZTKhP/47+te8Tsi2qk59jym2y7Xfwz/8KRYXu3cdPn6JH93AiZi1OExlgtm6jZvu0do28nuM7muA2UKJmVEd4d0Teu4tfTXGCJS9/+r9EI0ucqvHLGfX5x5QP/xSjegSm1Iefk9//Y/TkILESauc94vI52fA6zdHnsPYAVqfYoqCpFbkI8WpFXExx9Snm2m8QF+eE2ceEzg6meycpk6YYpA/hdYPqv4pC1PkF9dGvk0IU7RaxmSQQ6qzG+ob24hFm7SGq2ELrkvryK7I4gXwXY01i0qOo08IilhnN7DwB/t7ay1RHP0Wtv01ejFiefZWam7DjOhslhVHlHr88TYUqIFJUSFFcdX+dZuJRFz+CzffJtt6kPfgxIS8w+TVUEEU5COlDM3lOPnh4pQosTmD9ZRC11K2Ipx+jBtdosmFS70pxGcyOCGZAVsrm5oimk8iG6uiTtMDbzTdYTQ/oD25StxPqw/9M2btBtvl2UtqEyRKGSAZamD4irGroXaedfYHZ/iH+6McU228QqjOC7iVWv21WlHYbJwSMgJhijbZepd9VoCnVgrzXx9ULtNOYskM1fkzWv46qprhmRVtu0RG1IZTY4W38xedgFuiN3yYIKbPaT5/HyO+28XoiB5wdYP0hYV4lF0NsQNVPQJZoAeOdh7jmCD9/gZIB3p5guhu48acEu5XAVm4UyyAYaojJCnwm6luFvviIOHgHEycEL4REm9h2WZZCdysVawJErqLNttH1Oag5WsDI5m9A9Zhq8hFkDylEuRZVKpyi9G2CP0cLO0qOO/gULSRnsYFbXpKt30C7SBzdp3rxE0J9QWfnTYIdwfyAOP4avfV6Ij2qs6+TcplcH3u/TTj5knLjPsv5c3DjpFSIsyFWjtjbwdTnqKxMw3J1foRdPaFde5t8fkylGsq+NLqSTgmxv5ccNJnKErCRZtYKKdOaxD5aVaOzHYw7p5lXlNu3Esipl6fY3mZSGW0cEMYH+N4WWX8rvUfVv5uW/di8IHoZ6gsI67SmJStE3bpy9mQcEbvfpzr7a3y2QXf9DZrxh2StEFAe1dlKNaLqgJ98hdn6AXluhZOE5Skhs2SXB7iqIg5Hie03vXs0xz9DD3bxQdHJNhNhIEpj+/RH5IPb6OE1qqc/ovPGv6C5fEZ2+YzV8BriwRFyqr74Gqozyo2XWLYOK0pMjERRFbWoWaIe1bTLA9TwLfTsc0KwlOt3oDpJ5IgrtzDeofpSY/u48VPKO79PmD7DzfYxa69T9EdUs+dpERB2OoQSM7iOn+1D3kFJLzMt/uIxpl0SRndozz/DbNyjXM2IsrDPP0/gTpf3r9T6TJT1OXm5iV8dp6EcetdR4rbwJSrvJjXBifPKRpr9/4JaewPbv4fy+8SFKGIDQmeDXJZUVRLrCs0EL4vi+BBDgRtuXSmsRQfjaxxLrB8lBc70N2gWYIe7CbC4yXeJFS+uvZPmhKhNxuyAP6NajVFb71LMn16pgWqY1NnV8x/T6V/HjDbRuotrHdXJr9C7v0cuThp5HoNddHVKM7ugGN6gXc4IpUI1TarH1eGnqGJEx/aoqiNsb4/gM1Sm0vLgp49wrsEOX4e4JBNiRFQ8MWoJadEsiL4l1ifkvV2qosB6UfHn+HqB6twCWaZEaRdFXpQ7cti4C0IIhJYgriUzIKgWps+JtosVgvDyI1z/IUUUBcklF10z36ez9gqhHWOLLo18v+Y5AXFMPIDmHIa3k+vGzb+GzVdx4xeUOsfjCdUpNt+jrcW1MSSrarws3cqSj3YJ9ZgmhES0BC+OJEM1+QbbfSmpLO3sIBEmzeUXxHyHrCOM/xx18QKXldjNB9SHn9AVRcSMsN0tanFDiMJ/Jktcj0xIG1mMxc2m+7STDyjW38DPjgUWkvfuJFXTZKJOt7QvPqfceBm1eRcXeyijUfOnSc2MRmPiFlSPKLZ/C6+GyenmmmN0u8KbAWZ0i9gei40B071OkJrUEd8EmD0i7v0B8fLD5DzQo4cYd5J6sgmednlB3i2pV/MrYsbp9NxNrJgffIPZvI9F1J0xubiURDk0XXJ3Sd1MyVtDMA023yUyZbk4oezdT4RUcDM6g1u0+RrNya8pbIdAF8KcvLvJajWmM7pHXY8TyWn7W/j5M4zrEQcbtMc/J9v7oytXyvK7RA7oPKedn2M61ym7Haqzzwj+Mjmo7OAenH+R5oRdexVv8uR+iOKUCwY9vJfAtM8sVpRNccgI0RwuEeuZLvfwg7uYxQFqcB3b1lSHvya/8S5+dpAIU7v3Q1R9RNTi0hiT9d6gvvyQYNeu1LVyRNG5jTv9OXH4ABWWxEpAmzgMz9FCFkebnAnVs7+lUB14859TP/klJp6Trb+XVLBw8Cvs3d/D0ZItT1kJWRtqsp23UL5JZ0lwoLij2sUFtnMXUwTqxRmFOA56I9qn/w96+08wWYXv38aKInvxnHD5S5rBa8k1YXsvEedPksKLkGkC/NtTdOcWKrcoUceyNdz4yyQKyfxpLn5GOH6CXb+fiMPi+u/ShIg7+PdotU52413iwUdJUNGrF7S9EdHcIW+eXM2hVv7Z19ibv088v8TXT7Frt69crN7A5NPUW2wiMc+g/73kVrO5EH+G6uxzop9SrD9AifvLnUEmbpkaPT9FlXex3UB1vk93Y4t6/Byrd6HsJmXQB1FkT6mnX6G1JRu8QhDirKnSHG3nzyjX7iTykfEn5N1dquHLKBPxB7+iN7qe3J+hmaCzGtO9Rn3+lDzvYPr3iBjC8gyVRN2WejVGFKrM2HQOfZxQrL1Oe/6Y9uxX6K030TsPMcsWk29Qnf2UTOq4neCjpTu8nsgK/BgXikSAtPURrhLRLmKvfY/Vwa8o3IL8xvvMZweUuSZUDfrG3yce/jWtkF/Dl3DFunj2aOtLynwd56bowTrV0QfEbIPe8FW8zG9dQ+cW4eJDsDvk/Tu0akEmAkd1STj7mkxEL78iiPMwTskG1wjZBqvJM7pxhuruUjMiPvt3mP6rmM3bzPc/Zrj7RnJM1Bcf0ll7ORGJ4pJUoaIeH1KIa6r7Ml5cptOP0mzQxU1iNUk7jBHCerUvBhSh/glrb4K4KU5/SXH/j2jammz/17hOFyN1Vxa4tiCzXdz0O/HhpWfpK5MIYq/ahNtEVNVhhS3WceJSybawzXMoNojiGpuP0yyOF4fotdvU7gwTtgnhCZQ3MUpcvCuiLZKbI8iZ2LhHPTlDlyW2uAfZCX46JgSN7QxQdUubCQFwHyZPkkhg++tU40tMqTEiztoh1AfpbLWCy7o9bGePuLiA9hI9uobW67T1Anf5NVpFip230swUsrK6fEY+uAXi+BVSTWhrMU3UxxTddWI9x4aKpruHFUJJcGWIFHtvEtWAOLt6Zq7swItP0UWFuflPYfY17XKMUY4261DYNSg2xTOHX8wwnTKJhM3sa4yIvrqfzkssBtRNjY0L9JqQpEXqx6K6J4dOb0gzPqD0S1zvJvlwl/bk2+ReY3CPLG9YLTWm+ojYu4c9e04cbqE2v49avaCqZ2Qb91DjL8DexlRPqCpxYnTw4nLIdukMOwRxNzvB+5d0ijW0XWO+vCQXElwItWpGcBNsco11E3508zmmt0GcXKDGf/M/RS82uphTdHvEZc1yfpAWZJuFpL6Y3iupWfv513Sv/ynLxVfk3WvQFxBwmpjNZnlEFFtHJg/7OXbn7auhPn1MfXaEzRrM+uuo7iZu+jW5AKzhTVaP/h0hTLCbP6AY3KRaHJD1bqaiFptFnIu91yYVNoiVaO1N4vQ5vhBGI4NuRrwUS7HHiuW7DmlpT/ZDpVg0KwZrt2mmnyd7eL73Lu70a7xYlpUVFzhtc4lZiuWsxmy+ixntJQuLqAUdbfBuRiuRBz/B+pog1sGNh6mxhc4N9NmneLEJD/eumn82pzk5Ts+mu3GftncfVR9jFhfELWEtXyR7uBXrWRAbVY0Txd5ltFLMAr7FrmluQH8NdfZxsvyrzh20e5ZUabv1Dto9JfgOzfjLZFW0AqibBtW7TujeQNdiL3H4s+eU3T6r4W3KqkbFM0L/TcL4W1R3gzg9QHU7aLHAmh3C5t1E8rQnX6OHD8g3tmnPj1DC7sgwFfuSKZKaq0wPZt9Rjb8ju/l9dP9Vwv5fQ7GO0gpXXZL311FBrFdCqIu1V2yjvaSYVlHWkLm4yGhm39G789s4sfQJGBaFT5TKiyfJ/iMqqF5x8N3nAAAgAElEQVQ9pRWVcH5EtvYyRV6x/PzPiLd/N8VA7PgxRtTIUs7yDLVxn3D2IZkszgJchw+g94DgK+zqBWbtDsuzL+hbWBWvEJafkm29SnvxlDh5hOnfx/TWMfk29fhzVGeXTADx9BmFFPXkMW7tbUyYJheK6d+iXZwSxYburyINEqPRLhCtTW6WGBpMO8VlKrHWNGe0rVg++0RT472iU5QsFy1ZR0DZPLkwzI0/RLnnKTYRN99FNfs0508pO7tUYh3b/xn55m1U9yZqekTojshtl/roI0L0lDfepV08xZR3cGI3mT/FlteI9Tnt+S8Tm4jdvIpY6CIxz2Iri/URSpgGMXOMP8fGIf2b36ORmsOmyEMlbu8YKMrb+OlPklVrXj4kZ5K+JqwukqNEhiSN9JUT8tEDcndCVb6GXn2Gc3NU/11snNEu91HzY+yN3xSHGMu2ws4P6GzeZnX5jHjxBLP5ckpy+OEPiJcfXEUHloF8+y38cJf43V9gdt4gNme448+wg21ivpncAL5R5KamuvyKzp3fpz79hugnZIPXCJe/wJkt8v4OzL6lqRcU26+l2IW/+Biz8SbBrIGAZmnY4gQY/yoNBd15F+Zf0MQFRf8BKvM43wGxER9+Sti8R9a/R/XF/0mUetx8I7mJgljS5ufJ6mnCEa2X+uhcgUIvZFQX06zwy3OUrlBCQtVL7MZN9FIA3wlm0EGFXLhETLkO8RKqSbJEu/PnFIMurTcJmMXVU0IcoKxKcQeKXdTsCUqsv92Xr1wBq1P0cINVKFD7P8VsvYQOYgHWeC0WaJNcKG2YYyoh2zYh+GTdroWEzTZg+RS6W4TiJuHkr/HLGnPj90XIRU+PU/wm0zXVssV2JO7S4sQ6Z/Mr51AuKtYEZjNa20lkS1hMCItj4uAmavaY0KzQ278DYqNcToVZTHZtcXX51XPCtEat7yTHoDhPquqMfHgL5UU1W2DEli1OqctP0PIcClFoDhKZarWA7SDNKZFYWXmd9vJDTDHE2SE6RnLTwfmWVvqPOyX6gkyiQwuJ9ozQRYZvS3T7Ha2kCyQCIHZ2v0D3d1FGYg1j6uYMNbqX3BwSz8rKm7jLT2nEaiuxn3pGLvGhbDPFgtxqjCly6LyCqx7hZ2Py7TdgdU7INwiN9KQjiu4NfFlipuKKusTlZXLH5GKPFTuqFxfeOiFmaTaJasfGbUx2jdBI7a+hvEdnm6lHG51hRClrD4l6LcWFVsefoLYeYKZHeInuzc+waw+TzV01Fc36XYqQUR/9Z8Lmm9jqnGZ6SXnrveT6URIR7K7TTKUnSaSwxa69nIByW9coIe+Cv7KapsiaR/dvE+V3aFYUqd+PodxM4NXbDiz3MfUFiCJXlwngx/YMJ46Pjfdg+jHZ2ps0k28TmWE3306kdyuzYfYV9fAeWtwNMpOzIbkIwuIyyYRAFMtnixEiW6I+1PiuKH9jrCi5cUTc2EW3OmGMMH+E7r+eajHOHyUXje6/nJZfOYO6u0Mz+Q4j318iNYMhjH5IUR8nMCvEWd4RxXkNt/gO1axQw3uo5QnNaAuTbWJdRhh/lAAsor7qdYI7IDv6mLj3Jir206IsBKXvr1HoAsWYRqzDErHRDeHol8TObZTyBBErSvm+R8TyHkqEBIHe+RpRIh3ismhOMGIr7t1JkU374kfQu0nc+x2qx/8pRUuNV7Rmg3z9Lu30UXom2dY13HyCcvJHLL193GANp3PU7CCRTkJayXxm/bdoH/1vyYoe1ICiu4Z3BX780ZVirzJ0Obiq3clz6vYZVvqjXUd3RuTtkmgHhNVxWmrFIp6tvUucfZmcL2ZjL2GEejyh9+Af0I6/SrHCuHYPe/JpssrqzU1UeY327DPM8JUU8eHiA8zwFqEtcRILzTfRl99cKbD5FkZif2VO0zSEPCdzDaEcEZuG2F5S9neT6CYESZAo1vyA3v1/wfKb/wPf2aR77Y/xpz9LEQ9Rvc38O6qDD7Cb9zG3/5TSzZntf4LpD9KSEpQirsbYrnjh18l8YDV9ghUhYfM92vlXaWn3s2dJ5LKjN5NTzF/8mhiHGMGaEjvz0nu6uLkojA8IszGljjT9u/ijD1DSZ5uA6t1EC2F18jfU+U16wxGrz/41avt98u2X006Qb76eZpabj7FGIh9L6o4sewrhZ8PyCNtZS3O5Pf6CUHbIxQkjbrnxU+xgA0px0h5gsn6aU+3qBT7mZOL2GtxCrQ6volfC+IZTss4Dgiw4LtBW5ylGk4slPBvRLsWe/jWu1ZTXv89q/0cJL5XlgFZiPfWVkpp1RwkDGnHa5pvYskd78iWZuMfshFXVoJoWPVrHVC315MsUZ7PZXurNkm4KTSBMjwlCum0+JK6/g5o/Q/V6tF6ijBVZR5E5TXXxDWH9Nh3BoKuvk81bdrK6EtJ6J4lBUXIcTrD7q2SLT9KSX6/kMwxxTjKRGtvIgveUzrV3qVYO48WdMofte8RnH9Cs7ZEXwyQYCI6x5Rrt8w+x199DBwPnH+KGA5REi40QwKPk+NKzT4mDl5ODbfrsJwzu/jGq0LTnXxL1LVRfg8SPuiW0Q8L8M7SIJlJf5VXMTimVati/+Etitk3R6SWCpp6ImPAWrtlPBKop1okn31K3J3Q2H1AtIzrO6W68xUzEMnGsG4Wvzohql6wncaJFElDjxVdoIZFu/j5NG3DjD+isv85qepgEAbHkV4uaUpwIi69ShDsT+724pqoFarCbRMcoLqi930yCmp6Kq2w34ZkocYD5CWr4EC3ODjejIaOfyQKxoM0yvF3H1BIvb5IjN8/XyHZ/wEKEVCFGh7cJFx/RC2tUWUHMHOHgG7Ldh9AdYacvaOcXiXARnGnyLvX+n1Nc+xO81Fz1IonHZrSVZlBuOyke4KeXxPGvsWv3YHQ/fY1VEi9fUKzdoDl5Sm4MDHfReYf68jFq/LP/OYotVeyIdniHSizrrsKUA6ZHj+jceoNcr+HOvkCHc7jxD3Dnn6IvPiNsv48Z7+OH62nhk39vlMedPSbaFuXFGrdJbSpKKa75qRju6Kg59dyj1tbwqk9//CF1/zo6vw16gj/5CHvt79FOXuDGn5Hv/CZ+IncESCamh5o8I0j2Viw3u99DrWYYybrJMuouEstuyr2UJVeiMhab1GcfoEXty/K0vOe2xF2ck/U0SNyh+xB99nfU41+TXfs9bNPQdDdpj/6OstjACGN6/AtcM6W480/R9SWr5XdkZpgKXpR7JQCqukiHoBi9TPP8x/jhHub0S+zoOstqQk9Y/fo5daXIt+9RKMV8dkymYrJriQKsRjdQi0tCpyA2s6usrZAFxXWagz9Ptn1b7NEuX6TmqKZPCMWr2F4Bl18mhblZnaPbM2x5mziw8PwXNJJ/vf0PKWhY7P8EVexih9dShsenTMgFbevp71ynvdinXo6vbDOLU7rDbaLY7uoXqUi8MLNyyGuH2XgZm6zdF+kQ6pF837vEmdhMS5rJF6jOerqXIWtqmvqcbO0mTiyKkrBpDLmwrbvvpOxumD3CbrxF9fj/xmw8hMllGnr1/AjtF2S7v0dcPkrqlVm7QVwucBefkG+8j59+SlAF+bUfwOO/SHY4c//7+MVZYkDzwQ6uqpMNsT3/iphbzO4fUcy+ZnX5LVYUg+Ia2uQ44Zm1kEQ1TmyQsxlmbZdQzcQXjBKAXfTTMMmKiG+FWZZlTRjvazjdIUyfYljS1EtyAQ5mftU0s9vo3Qfo6QR3/nPo7ZFt/QbMX+CrQ3y2mTI+URhJybmblnbwgDg5JBOVdP/PCZKtlDsA5gfkt/6YOBfLZg9fH1EvjigGt1O+OEVNhMHt9LEpj5ZDNkKpbUw2pZaFo7ub8mS2foqbztMSKnn5SiIC9Cl2XoKqoZ79HXrnH1JOv2A5fUHYegs7e4SfHtDZfj3lndt2Spa/lDKaul0ke7xafYurLXr7NoWDeP4r6sHNZJDJ+1vo1uKKAcg9DLPPobiLGdwmLr5MTVBssVk1xm38MNmu3eILVHkbVXZQ42fpLore2vU0iG3vZlLyJWdub/wRcfUY26xwQm41F+S6Q3PyU+y1H6YYRBQAXH9BEHeS5NQvvsbc+PuEdj8ty252QVAlWXcdJ1Z2N0lfZ12TwFdTzaiEiNl6ndAV++YxUWp6533c+RcoISaDSiqyCHrV/DHd0Md3JCfaErrXsLZHLZn1NheDOFGy7pN9Qhyjss0r8mQ1hWyYlBi5q0VNH+P0ENPZwoglePoE6mNysSZOv07vXS8W2K1b1AsZrq9ggyHIXRvS/6LGnn1JECVdVHoh9bo3CLJgBCEATmgXR2TKwdp99NpbaZERy7Tr75DJHQvB0yxe0Nu8SdNsELXcXWHwl1+k+xtC1k/kWZj+XXL22FwnQCj3bQRZZBePUGuvwPT4Kh8s2VklbrBIIxbTznXM5Ce0ZhM7ukX16N+jd9+jXHsVt3iWcrYSZ2F+SHX4c7LRSwTJdi5O0OVNYsei7V6yMct5kBweqoeffpXqFC9Z1Tbl2mOYQx3RO++lPioKuhKCpfc9/OxbjCi8UtfjF+l9yj0LAvokay7Eiw8tqp0kYC2kmtSt8QWtRJ4k7iKxJ8nE2ow4+ZjgLYxeT7bWdvEcJbbbrENbjdNdFKaVjOCKXmeUrN6tO6cef4kd3CfPCprjX6ae4ovNtLC1Jz8mF3dYUtAPsXJrgR3R7P+ceP0dYnGNrH5KnB2i7ZBm/QF2eYEKF8Rqjhq8ge0WVE/+CrP1WsrsCqnpZt+iBLyGBXH6Ja3cTdIZ4QUwlX2x8ZCpnDZbRy+OCfOj9Pm8zVHldfz4F9iNN2nEtXH5BeW1H7IQC69pcLMaJQrK+OcpGhiWy+R+Cbd+T3yfuLOPkptHy9mXWGF/mywsWC0ruqWlnhxjdt8nxmVa3oXwkWWvs7FHvaiSg8rNTmFxgerK3TieTGKLG68mBc4sLa6/iRUr70LcJVt4IdVP/pbi+vsphqfOv8LK8zNr+P2/Qu+9TkTuxglEUVRlKRICdONNcHKjSpXiSOJ6y4Z7NJePyJ1KriD5b5nfubLMl6IUlui1l5HUgK0OiEJgbbz6XzOqEbU4olEzrN1MMRCJrTSCsQ4/JcssbuMV1MHPiYMHKCGuVweY08/Iii3qpDZeS3cehOU5vncbVe+T1Ze0kuMV8r+e4iWeECpaeVenH9ER0tUtmO7/Fb3Nt64ci3f+gHr/F7S2ItcjGsn6b7yHl4VTnGXVEiNxTblDIO8kx1guy5vX6X6Cuv6OXBTl4Y1E6oWVkGNXPbqU+036bxCFRBWVUpfYxQFx643kMmjPnuEnX1BsvpccLCyfUzz4Jyy/+WsG2yPml1Oy4Q7+Uu5+qbC33qM6+xJjt2jqKdbNUJ1BukNF7lFqC0tpu1TnX6NzuSNoGyfPRWZ/71q6t0QjDtgzou2lGGHz/FfkvRxT1ylqZ4tbqaZXp5+jS3GlvEXGlMmjHzG89hIrifFUE/IIy/NHGAlNy30/4u7au4dur+7Y8JINnn8L196ifvqThDON3D+0foMmZmQi4ohLbyHiWkTre/jLH1OffUaRDcju/Alh8TRl64vhA1w9Q0tsRPfRZOi4Snf8CFaI7Wm6F0CEriAKo0SxRvfh4tsUp9Ibb5N3tmlPfkIr7oybf4KVOMrOb5I/+Tc0omBvvI7xFmMu8bOTRIyvLl6Q99aSAzKefoS9/4/weoew/5+g3MVIbbmaUOxixH0l2uT4O/TmqynC6mffESZfwdZ7WJPhlhNUIRGMDayJhKOfEvvb2J0/pD76TyB48eYfEi5/hlHD5IKjKFH93eS8FHZZyFEr8WIRkkT5XE0IeoxWW/jmhPbsiHJ4m06nYKWWqc+WQlzFKT72CdNvEk6SeGfR30j31VSHP0JlQ7o3f5uFEEGDB3RGd1g8/f/IhCRYe51VdUnRG6SIiqu+Qi/F7fV26tG5fwLzfeowJOutJQLFr56hm5bV81/gls/pvvavcGe/Tm4tbrwFEgsTIqs3oJGYnK/pPPjnCUuvwozuxdN0F4XviuN1Sa42qERAlJy4c+jFC9h7DWOG+G//PeqH/yP+4jPUN/8Bu/uAWNzGNSfU0zllR2P713CUuNPPUjwv3XUh95B17xLaM0y1nxRrccA1xx8xXHtIlfdQRcAcPWVpPUNxLIubLBvilMOulum5xvIhjVjsJQJRbBLjWJAC8egTltkGpTg7sj7Vap9OvkkVqiu82r8PzQv8aoLaew/qOaqdEdt5+jsBkdntP0z3vrB4wuLop5j1N7AycyfnBH8CG6+l+6eCRBRv/SB9tubyMXl3h1qcm8U6Wp2hx8fpvQgBY7KSuvXkFx/hNt5FdzZREsHT47RXiJMk3VtxISKEpx7eTVE1XU9ozj5I8SWV70K3pjXX6RhFLcSO1EJzda9B5+E/pr6Q+IPESW/B4d9SqU2y7hpRRM7BDlFIw2T3v0998km6Ey+Lm+lOKnHP6vPHFHd/wHJ8hBKhbO91/OkTdBGxUs/yO8hdZ/WcVhxe2RZZd4t2vo+6+Mn/Gsusx2z8HV1Rq3rbaLOBl8v7xMavc7rrd2jGz9LlWG3eUBS3ab/+t8S9txNIcDEigrw8SDU5lhlItnWLeCSshlw21qFaTsmqY7Sx+MG9pApw8SW9G++zyncIpx9g+3JxzgbtxXPM1ibtpQAMS64WxIWjKixGcmSdXWL3DvXxTym6fer5NDUiZcVd8B2q1Cn/mbsFVXGN0r2gFUvspiiSeXrYoRIQP8WL7aW3gZ49ZTH7jnL9B1eWt8UZXi6WkM8rL230ACOZk8vvMPUTlN1LmUjJTbXC3EuDF2U3H7A6+Bn61h9QyOUc5Yjq8if4VtG799/i9//fZDUzO6+gF1MCkoHsUbWBIi9w02fpAp2suEE26hNOTnCdAtPdSYsdkgfu7+AlktEsk81UiI58+32iCSmLI5kT4hTqBeXm9xg//TnGBso3/iXt4/+AHt7AV0vK6oRF0adcuwa+xNsNlCzf2ZBg5eKcJW2eU8jlI04cE4LRV1eXhShF0VmnEqC//iZkCqtG1Ic/x27coRZHQnNCzEbYeope/x7Lgz/DXnuXIrvN8uIDMlmIxOIjl69VF7jQkvV20ueLl4cEPUUv50mhk2VFZSvc+Rn5+i2U/O5y6Z+/wGuTXCV2509oZz+lKG4RRvdZffyv6W7fS2y8EpuR6V2x2rKUmB7xQuIFN8gfvEc9P8DIDVByAZtYsepjsu6tNDyq6Vd0194gzp7giw7t6VPyzZs4vUspF+/ZLq1czrg4I5PL//o7tBefYuWOAQFXa28Tz3+SrFqrg2f0br2PW3+FcPEYfflxUk5lKbBRQT1LdcVihs081ewULTeRsZ3skyaItW2InT4jdPrke3+A/v9ZerNfya4zy2+dc/aZYo6483xzTpIpzpSKkiiVSlUoqbvKBQioB3ejAT8b8J9gwy9+MOBnwzBgw7Ab6AHodsP1om5VaZYokuKUyUzmPN85bsxx5r23sb7QezJ5M26cfb79rbV+K3smtionjmGZR6ftV4BjvOTTWjFH2N5HyZBHSjDlCxgOg9PHEkGt6ABS64t8mh4jar6GTE+h+BxQZaVrhJe9egBMzuHW9kWt17Ov4JLGF62KMwICBRrKEkDPE/iTu3B7F6G9Bkw6QsAt+vipgBD98JrAMQsOSbQN9++K+uz4rkBbTH1DHB3ahAKVMpMzFFGMmt9EfvgLhLt/iVIRkJnBjm6iGtNh0IGp7cNvLMGbHsLoM1Fca60tZKe3oL06fPJJ3DrS8Rfwlr8v23ZQbQ8JTiL8aBWWS0jm14ZPge6WXNJ5aBKMlJclonpDln28dFSzU/lvZdHSvA6d0o1EsI+FQ6hf1hc2iiXPgQ4WO4RravK7IBhIjQ+BzhrKyRmigOfXY8mxVuQ4DD8T25rmks1UMI024DFTTfBbBfD8SV9Cjx8jauwgD3bg6aG4csgM4bA3f/JzqEYD/tp7sAyMn78QV1e4tIPK1CWaEOS8HI/hMi40PYPufwmPlle3JUsEv7TQoSuwLmMt3PmxwLd82t4JuKN1ljZO5marOfzupYXlfvS1RLkcL4EZPofpvgFlM3m3eEFXFiMm4yKghqgqxbLJYYfb+jBchdXP4HTehTP+I/IiFpYKVTCJ5rolqs7bALkaukJpEgQ5P/OaPE9esyMsGeYQvdZ1iY7gxU+hm9+AavWA+QE85vQxliUFhwgnYOwsh51+DZtNF24xLrNUA2b6FLrJbD+P1icLgCgvK0FbQFH8+wgZs7UNOMlz6CJA0LqASpVQzIrze9rbEacZL3W2tY9KuzJoxmuvLBaUhYVSJTSzq/VtpP27MoSqeBm+G8DOHsHULsOjC8IqgM8kLDC6B7X+nvzey/5jueiWllyIAaLuDvRsIO8Khr4dngl0JhG81PoGHI/ukXNk/VtwEMBn9t3WZUGK7IHwSph7SmYHwMnniNe/v7hEBxZlOl8AVQnXoruXcLf2DQS0uFOZSp/DBF2UyVOoOh0sdIG1UUwfIVz/LpzZA5j5OZytv4DNhigGX4ltmQ4NPxnAJey2e13iL6CKSRspY3vJWCIRHuX3vJIIRXL7P8Dv1OFv/bW45zJmYgnMKTI4MbOdL+DoJoL22ygqWp3X4TIi8OA/Inz1XwiArZh+BEftwY26sMoimD6HqV1DqYYwk/5iSXr4mQDC6H5ktM6prci70NR68I4/WixS9r4Dl+wE7SGvxvB9sgpyOauS8zto7fw5MvJssmcSDyzDLQR1qjnpwhnIBc7kKUwYiRvCzM4geanOCsDB/9mv4PcuIWDEcPIQuopQ9G/CCzzUV99FRpcIIWzTJ5gWEzQu/QTm4DewNSr+S3DcEppQWXri0hJeb18WXAYNxGGIfHALOtiCrwJyyeA7NWS8yeoWQjNAdviJ2N0LQgiNRti5CCdagz39g7jrtI3kGQq61xcRq2oAk00kMsOlMvQAxqcjhovOYLGYq20D8yOU/QcIt99CkY7l3+PkdAfO4bdfFYdTTs4ElT7aKqxGfnoPrusiqClUk0NU0Qb8eBfldIB4aR1VcQbTfwmvuQy/fQMlo395hpJDKi97TBH5zI/fgCnvC6zZmBowe4yKVmCC5Hw6gJgK+xBBY1MggrlPCFsAo/8UxalKFMkBvN578MMW0uHX8JwSWjXg06bWfwRn83VUkxNRpk11AlM5iNa3YU0PdvoQ3jpjB7dgOnTRTuDkySKOl0xQhB5C35dFdPnwlwBjU1wSlAYNLxCYWVnQYehDcWGRHcPNTmHCdfiMgvE8zmbiYuW7O6xtCxgNyQP4zYsSi1PVhCgD+GEgjJWCsZPRfTj8PQa8dIyBykNBq3RlkFfHUEmKqnMJKitRDD5ErX0dcxGzlJybtEMzosDZWHstBCB8MEMOH0HcQTU7kKUHmU2Mb/FCb2cvBUDsiPrfQZH3gWQsl9qgRpt4Dre2BsRrmPd/jcbS92B4gRp9haK+A4ciGp876yNr8fKfICSPpsV3OU/wMQKKgnRQqTUUL38Ot3FFHLRFeYRg9X0BvtnpfbhLr0MXGRQhjnFHOC0B3TnFDA4jzHS3ks+jutD6FIoLdzpfKRh13oTrJAJVrZIBDOPOqaINTaCJFB8YyQ23XoexbfiP/j+4y/vI19+EvftP8Do1mGALXt6X95ht7wnrhcDe6uDX0C2+N55JjM5fuwo7PJO4U6UYQXkKv7EtcVs9JguBl9Y+wiv/Avmzf0QUKujWa1Amh448FNNDYaU4tV1k0+dwhl/CX3kbuS0QVBXIuPWrGYq0QOPq92WZVj7/A1T3KgozRz2KkU9GqEb34dF2z1iXGYsLwjoTuOjIf4PyBNaECF0fVeDANPagT28jbDQRLb0jboDi4W+EXVD6ESqeqTGX83WEBB1XJbS4m09QDk/gL10H6KgYH6E6+p1wYNwWgZFzEdc0cwLLe2gsXUVKxf/sobgRafH3qZSP7qEYHcBjpHvpogAmcz2DCq/CwQSKkHfO9LPnEmdx6a4Vjk9DFHqXC62cAOpUHLM2PYWKW8LhgbMCm52gGHBpT6dfJLE0uhOpwhcHH8Nr7oDHC2H4/L2a0UtYOs+4iEnP4FHQITMvU9Dp1/AZf/TpFnsGJz9AsLZPdjqK8UuouoNa6yrKfAw9fA6H8L+Nd+SeSVC4F9fFIYswgFcna+YZIYD/g83nB1A6hKLloLHOpCKq4WM+qghWr8CzOfQ5LxwxDLfhKz+ATe5Ah3Wx7vm9PVSjMcIgQZakKN0E0dr7QsYsTx8j6C4vDgBDwMM2DC9R/a8QurR5nsNrr6FQbWhapwnEWb0BZ57DzZ/BJQyP6SEe+NqF9kI4zMNqI5amxtq3F7RfPlD1ZTkoCN3wuOEQiq4HN3sBRDti5ylBsFKA7MU/wWPeeekNsSHlsyN4YYSI9t7ySIBbOqvg8mek/ZkDr7YoCFM7/iOMbsJd5nLDhQZkk2TT57B+EyqZyBcbJQ9bQh8IIWsi4BeVA37jIpzZVH4RzLwrFaEkRdirAXFLoD78ivFlEQYNgT3wwkAQXLz6OmaDhwJw4kXdjddRVBYBf0eEtNHSNT0XmI6JF6TJ8tnPJN8ZLL0LdPfhFAO4QQej45toMMogNPEePKqMHARI4o06sOe34ZNES3IpibkxCf11uQwSBmIJzWF7Q60h6pdLavXZLbi1NrzaDlAMoHnI5VOEK1eEkeAkjIy04SxtygKFhFbmOdPKILRUuusosiOB1virb0pzg5m9RFmMhIDJfJm0U+R0N7QX/w/TQxCTUu/Cmz5E2dqVl4yZPALaVxHQwlsym83B5wgq3pNso87O4OsQqUnEwkOHRVmcwS9nAlhkHjWMIqRUN5jlHR8iaGzAOb8DbL+Pwu3Cnvwaje46UoKjJJutkFYVVHIuiy9Fmm6TkZIFgdMSUlU8Rty7iorPhxPDW3kPQfEc8/49eOIU4BQAACAASURBVCvfhUsbLhcV7goQkiQ6F8JwljwWqrZV2xRZ4eTn8FSIUtUQaI358AUcc4ygeV3IpVSBsnoH3ulXMLMHCDvXUWZagF26uYOIA9T4EH53H9X5TViqchvvIeNahtEAvjSyRAZltbwvsDPrkDwcA/07cNpUvI/gZTHGD36G+up1OPV1+XPMJHnJEG68i7BeR5WOJYfOhYGx5zJg1ms1ASGRou+6Rrghrs6g431YpxImiAUHxSOY2lWB3lmTwHATfH5LQEbkgShFlTlCkb6EzwskBxCdwXWXBWqJoAFDEn32Em73AorpEQISnGOSgUkiZ/J60dLgUBE4+CMa69+Xl7NTDWGLEwE5epowRQOXOeD0EGUYIjRrsAEz74w5HMDkKXyCD90mNDkbCAFaFlWEoHYVJsyhX9wSGJ+/88+gwgje/BSaNO2gIbyUAiRpL8MRan4Ij0RnugLyI6DWhCJslVAeXnbZlDF+iYJAyd4NudwV2amoq9ZuQCu+xJZlWK6OfwVn6wcAM8/mBXxmftuXUHCgJ0Okdxm2IOW3s7CMO1ZAl7RaFnMXamUNGB3A0rJONovvIkjGsCTVMpaih/BoE2aMhJek6Qjuyiac8SlctYxq+BFKr4OgvSuXADfYkJ8/vfe/AXt/h0bzKvT5FwAv5ORuPPkt0LiAoLaMqnghy2bbvgwzoDPhPhpkO8hSjFTdADmXfL4HL1iFk3DwmImbwRD2uPdt6ONbCIyDPOrCZZsHIx8ceiqN0qtgpvfl71f1DVm6ONyQM4d4+BksranN9cVFmpt/pwWdPBOnkEt+S+81FAf/GRjeh9r/Z0BjR+CzVEiDzgW4tRX5O2md5j7PWLIHuqhGAyAKhE1Dh0FBxY6qadBFmpwgVHYRDSLBnKwOrwfjzGCrcKGsLb+K8sVHQqnWHBR5Ca8pWMtzgwRoWtYJ6+rAeqeyUNXeMtBZhze8jXLwXMBzteamZK+ZVfXqm/JdI0Wal1s6TLgINclDuOHegjFCGvj8BG59H8gLKGeEkmTj888wiy8gIOR2fg9+HKJqvws3y1E8+rcIV69BzxlL4VLWCDgqPfgK4ZUPUKl1uMVQ2C7ByRdIkMFvXpe4lAnVwkI6PYKONwV45jAWR5o/gavjY6Suj2b3oiw3nOEtVO0bYglXykpUgWC2yvUWufXlfSHp69kEPjktGfPogQgIFbP20TKKwR0otuU0Lkr0xZT83beROwnq7XUBQjn8/W69g5TMmSe/BpwU7tprcI1BWVuV58NQdeGBTXfW5Aia/xZ/BUFOd1QC1CKY+anEfFwuPV0f5flDAW+Sp+FS5VGr0Amdjyks340rb8vZb8+/hF15C7ZkxOgz2FBJRp9OIS7W3NOPgK2/QnH4qThmGhvvC+8gGxzANznU6lUYOsACBwVJ++VMQM3ovr4A7fqONMNU40cIWytww2soOS9asnbY/lKgYuQwrCMcHaGKPX654cwmqJy5xK2c88dwl67ANq4BJ7+F19gXBxHVNLarmNkBivMHiC79rbhMs0Qj9nIU5KM0l+AajWr4NYL1D2AmzOuSiTGXRiXbuAjlcu48Q7z+I5jRx8jOP0XUfQMVZ9owhjN7ioIslGgb+sU/wLjM2q7D4dkfhtJqwpmQjRF8huj4Y/sK3yX6+CuYFV4q9uHxfKDjhoJTeYbZ7ABB9xI86yCl46uzDJdKK+3Dvo9ABLMVOE4CzbnWC5AnE0Sru+JKUXEPRf853M4FETEkCMYmivGBKNkebcfNCyiP7ggjK9h/D/npF8KdUWuXUfWfoZg+RtDjwukU4IJ6fgKMGYNsw4Z74nLhMrC2/LbkwyUCUbskscF0fgsun1lFrWeM2IyRzqfI+d2srcOb3oGtdVA+/S2Cqz+BS3r6/IHAa+kaYUsSZDZYQz7xxJKsKd4p9mOkMGRq8B2iI8R+AZ07i0UjVdOla2KtdtmAwBgZAaNhD87oljwHfmcXs4PfIGpvwvXXBVzLtUGzeUNUZH34IdT+d1EcfYow3kHmTOBVGk77DZjT30rDjdl4C4oQ5srA9wuUGT0nCVIydRiRq++I0BfX2ejii2BGka80c3mnkFHCGJdPOB7fTWwbm95HhVBccYTiGidG0NmVtifv5c/hNS+iWH4DdvI1XLoCZg+Fes8oH3k11SnnlhhoXINbzpDc/3dwm7vovP/fIp1M4Y6fIJnPEDkpzPKfwSufww4PEDWamLP5YkjOWANuVgLhBlD2oXmhY1xscEeW/NL40VxHZhXCwR2UxQzRlb9E+fQXckeJWt+A5vJo+gy+2hCIJOczupmU15bZWqJXvVeEj+EaH+70iTgEq+4lVE/+AG0HiLtXUaoIYXNLHMPSGLXxPhzG5Qo2d5EXSHeRQdFchY9Fq0lx/KVEdlDkC5GNwM9qIDwxqzMUFAWqHFHABeE6PK9ExhYJQgIHtxF31sTd5fuuXKKdvQ+A2bks7Rw0gPVvw0+PJHbm5s9huXTJTmRR7e//EFVxLpfrMNiArobCWLCTIQo9hUeI3/ypxCZUYxul48EvZsjYbsQ5u8qRESgd+0gPPkRIV2+tKfOqPbwP7bcRd3YE8k3NQXXbKM8H8JvbsoBhXtbrXBGIOxLCXgtYRlYxhzm8hWDpFVTHt+WzU+1d2Nk5ivIBwuUPZAGmZ2TehfCaXWijoBgdYjwwnQpLY3L2EGFjTdptKqct9z+2Q/E553uN4PV6dxUpG/8mB3BGv/mfLQ+rysslpyEVDswpHP0GNtMI196Brl6KLRXxNrzARWk8gbLlp58hvPz38FUqakXg9wQwpCdPUY6PBSKVP/8pgv3/Wobb9OH/Aa/5TfgdAswO4fKCVFtBfnoH8YUfY3r/3yLubAnFmpsQDgfFLAGYk9T8pSWo7f4E6f3/BSbYQ7zxTaQj8gRCGFpemRFTXRmQAh5+tO6c34Qn5NOLKMenqJob8EmApT271hSLFjPOJKZyUCz4sj34HM7SZRg/XmSiiBWbPkeQJ8D6DbF8h9MDZGYERRhObR3gBZJZR+MijEKUVB6ouPALOXsK34kwO72J+vW/lbw+Tn+H8TxBe/NtqRkT4ARBhqRaCmRmDuf0K2T1JdSoPKQHMqDVWnuoQh7uIdz+I+ThKvx6Q3KDfn4OG28KmIOWyYIquSIE7UeonBzFw38PRZplxZjCklixuEjQ6TksK8CYL45CKLIRSASXujoFS2WC+SmC/aIteHUqdwlKtw6fedIyQRTXMT/5FG79Csgm8hTtcmPo+oao1axrCZbfgJk/QEnLTT4TqFdhCV9aRuVZuLTxUoHPS4S9NbG9uW4sdSfz0THisAlLWjyhU/yf8NLEJQQziaPHQt2lDZ1bUUJfHA71SQm0W8DkEFmu0eisIR0+g19bgVtvozh9KEC92fAWfAJwlr4Jo3kY0mo6RlFmCFCg4DKo24I96wPmOSLSrGcnqJjdz4GioMpFIjnJ/DP5XuW84Oscre4e8uEdeW5q+3+N2YP/G9HaD2Fo/X36e4SXfiL54Pz4Y/gX/x769GOh1rKqDoTktDrIp0NEUQvzAe3W/A5QGbgNVzegXAuTnCGPVlAnOMdje8E5tCHfW8smuDj9PXzau7UrrIzK40KEboBErNeocZOtoOlaSW/DbV2F4vd0OkChRnCCS7I44gUjUSmC/jO4nStAciTPp00TycyXfeYir8O2luA+/wx6dRPaXQdOPhKAnOksw48V7MygLFN43cvwuCgrBvBcXlIsrOnDDS4ICFLqx85eIp99jXrvFVFsnPYGkqNbiMMaoBoIl/aQs1rLyxBjQ2yfxpvIwV1ND4FoE97Gd8XVwe84Gyl0QUJ+DJcqrJuiOvs93PbbAOu4yjFm+USycqTbV0UhigZmL1Cx8rK2BpesjdryAjbEiwxVjPOborBSKafKRreMospa5MipJphMrGdlcoqIELTGDYDEZR72tV0BffqtDdj+YxhCzJgPoyOEtY5OTYBnru+iZJwj+BOAMbLI00OJW/khlR4e9m0UBZ0GGl58ATpy4M7OFzWVhMNUfZSkvhcjqM4e0vExFGMI/Fz6n8rW2ll+F57LOppDqdCjS4wv8xJzBK1X5WLN57RyFRyqid0dcE1RDZ+imB8Ji4KUaKXnyFk72SYPwEVgBii5sGE1K9XjLEEtMChaO8jJJCH9fPlNlKwyYuUdM39YQxlrOLNElChLZbTQwpFwmrvizCgZyWBcJV5GmRwJHMjtXZKfR80GUFd+sqjQS15IrKCiq4s1q0UfpnNNnEhe8hKW9Y5uA43eDrLTL+G0dqVGEKoOO38qSo7LwZxLUqpqg6coy2NEez8WJUaIzHSMRBH0KdX4AJqVr7aCX1tDxahdjU7xHhSHJCSiiNBe6dReB+zC0WXdGgwjCFSYWbnIszRcgVP1EY2HKBohzHyEGhcU6SkKUn75nmm8hopNNJp08gyK1ZWd1xGqOcb3f4r6xR/LQJd5GVwu8WgRB2tvGSENYOwUitlZttOEhDZO4KZTOK03oZy+APesTxW0Qjg7RBrTxEkreYqge00cGQ4H0dquNA4QhKlZmrj8DSDvCwSLUS9/eiTwOjfagx58KVVlukko1JHELGi3R3G0yNJnd6GrGpwOLz2fQMVbsuiuci4Y6bggXfyqNEaYk98i0wrxzjswHJJnxzCtVfh0hY0+h21vIgh7KNiUw1pN1u7OCbhideMWCkOOzH2BMaqtP4edEHDbklqz7PwmVGMPjl+X+t48OYXiraKzDLg96NljuP4aFKHK+iWw/Jo01+jhA4no0FXklgT3EhbKSqrp4jOejQU2pedH8MNNog5QZUeSGxanGxcfkr7nM/sCQeMCJsefQ7HWlGCsIS/SDZjOW/D47zj+GiXjKH5bZhsbX4DiGcCaRh42dFomU5TDx8D6e/Bnd4U8HbV2UBQuDKNbVgmEkbGPfE6H5bfg5YeouHRSK1AE2jYvS+2mlxPQ/JHMhlj+JiJTYjIdIhjchL3yQ2BWInCMgLRKPUXcfQtV/6lUiBoCvOZzaGcMh58z21MYzyvOhWvg8tIqFc51pPf+HcKNG3C5xJg8lM+QKJv8/BDuyRdwdr4FzbaLNINpN2EGD1DxktHch+7uwj34WOamMN5GRWozPyOJIcygXAUdtkRJ5MK6iDegpqcLDk7EiFiGIPKF+5Ef3USztyW5W2NmwkGptCOwQVaFMgbLFge3tSn1xXp0JEtmMgoIl/Va2xIPYETGTF8Ik8F1UlTTpwj2/1ZiVeb8S7jLlxFwJnU8mNHCjWZBq7RCPnwklbxcEOWsjJtQZXwTXmyRF0bOoDojrGdPYNwKXnMNNh+j8jyEPCMnh7Dju3CW3hQxyFVdEW+CyJEoj3YbaIZGBK3pi4/kMuSZKcpZArVySSIiBC6TQ1HNDxGRjhz4qJymgAr10Wdwg+6i+rXWE6gbKOWNH0GtfgM2S6CPvoa3dgUOeR2sUAvWUJ19JZGHGhs7Tu9Jzbdb57JTw3TfRjH5Av7oGfyldzDJp6gRAkiw7XwKv5gKSwP2GEgiuK0mivEx3KguFacBnaSzI/isR9QzOLMF36RwKGTy7E4QNJeQFAlCvr9pex8+kHhTTmFU5TCDA4E8CyROxVBVCDiJ1KpySYs5m2e6qLGBbPBA2FWMdKraHuKlTWSDB9CzOZzOOnySsMNVJC8+R9iju6cFh4p+6kB1OyjoZvE08umcCiNs6SCa3Yatb4mD1Bvcg+FyFikCxFIFmGfzRQuVJfBtKDDgst5CxMpZRvLyE1R2Bl9toyRkeema8IR0/74A4izz4ZUH36cI6cAOHkGXx1B7P4Yd9lHNGXV8DUXyJVS5DC8okVPY9azMFtnxl8Jkqa+9KucG22cU56ywiaJ/R8Rlj45M3lf8HNzK8EwyBBcRZL30Cmy9BXf4QtxHDr83fhspY9SUWzs3JD5RzR6Ls433M0YkVZMRn4bMoMX4jkQdE87mtoAzI21/jnpjHWheRzW9Jc42Lv4sF9WMhrHe/ew+ynAZQWcHTnkszTcOLfh9Ku8XhKOl+Szx/XHwe8SMO62/J4uskoIjl0nb35XaZzazsabbdNhE9Rhubw8eIaicazZ/AH3yj7KgbOgSReMKfCdDRWGBsWlCPbkoaG+hamygOPiVPBvkgKDRQHX+WHg0Va0DpDPo7nUE2XOJrtrONcRskBjcBBiRpTzt0R3FNjo6+1mVa1DkU3jODM74o/+VDdaohg8FPBASUtXalcE6nz9BFJOa/gyF20YwO5C6DubqaPHU+Tm0TVDUX0Vtyj7aJjQhVv1PhcZbVjFiXmoTEpBjGQrL6QTZ2WdSy8BaFzMvEO19G/OnP4cbNuRB8psdqNkZxkekBr8CG16ESr5AMR8gvvYvUT39J+jZTaj223C6+8hOf4daY182iRW7hCenqMbP4FGJM5ls66wNREFQ3X3MX/xBfr7ApCjiJvxgnwU7QjslFZVVLmF3B3DrQuNUiv3OrKaJhMLJTJjhsFidwzrLYrPmYM/aDx0ascwh3oNh5zBVbsYkjm4iqPqomNWTLlnAPv5PUGs3YLrfFrhdNXqMkNBAtwFVJSiSOUBXRtEn71hy4WHgIxkeyKCpMEfuGgTtN+ArZu96sLNbsjwxzasImH1r7yA9vgW/viJKMW08ftBDkfVBp5ANWS8EOJPbQnhX3Q2pjeLzTIAOohVoZuL4ZSZMj5vT3rvIj38lW1bHbUEPb8OJOotFRPyaVCESVGGTseSxpLNX51JjQiVE01vCPmjWUjk1uJq08J/BW3ldctb8bLhRdfnn6YiQzrQhSl52bQJNMAbdJ2e3YHpbcKhg+M0FKXT1MkpNJYPVfQV8dnhTEaI1sXwmn5vHPszOqoBsuOljZo5/loCseIVWef7MBfTwKezKO1DTEwHMgcMZbUgkDDNTyRwd1XPa1qozuGkBS9hjYx2GF/Th13B716TTXNR/j9BHWinnUjcll7UWLYCMpIzg9TaQHT+DIh174214ozHM0h60ncI7uye1OhxwtLsGp2R3dyoAGy5+xvf/A8Kd70Oxpo8HEOFIBOmkVAb6Yvf2O10EFe3cJMIPxXpI7gSKEbTmxrYrQBVWT/Fy4WRzVF4NOn2G5tIrKOanCGjHsgaGPaOKtTDs1naFa0FLn+VnR9LqfCQ57jyZS86P1V5Ux9neAZJtJ8eYz58i2vwBHEuy9jFc2r5ZxTM+W9RAcjPBjKKuxELK70J59gA+LXLpgajrLltIzn4nvbhhYxV28ghVZw8hldLiBIZE6CUqZKdCqzVehbixJcsl2oipbvH3Ea59C4WewSX8EgsWAgnAHFvE7k8ljssuOmsKVocdCGivIB2Z1ai9NxCGsTiYCNYrWfXkNaFHT6R+L2iTAMwWAoOc3wvaukmNrdhzvwavuQXMTmSINHEEf3qGhBVmcROF20FACzrzlFQGRl8Bvi92PTqhpA+dzgiCT+lk8Fmfo4E8hSbMK2wjKkuUVLGSIYrRxwi634JK7iLPNezqm9JOwNosHXZQT0+R1fakOo9wKca2CEeSYYw90S1WvC3srwSYlsMHUGwyIK8gXIKvNUpmfHmGNJirnAqoz7KSL14H8iMU4/tQHVYenYmTibWLDm2cpoaCjiQSh/kOIUBr8kiotuzirfJDOUeobjGjH7DTngIOLdKqXMCGmLmP12Cm5xIripURBVvX9+EMv5KKPtXdhpn1YQL2w2s4FTuDGTMi++AIXrzKihSBlopTxNDCzctPW3qsXcv+7GQBZ2LTAFUlqn2EkfFSaMYCwsTGu3CrMcqj3wD1i3ImKjeDt/Y28v4DqbatXf9XQtJmVlk3XpV3C4dok2sgG8j/I+puopqn0FycUJWnE+r0JgyGMI1vwAsL2NPbcJY/gGKjzcldlFyeiIX+XNQEzGdwVSoXcmZW5+MpVHcFvqaaRVdILlZX/v3y7+XlxbFCPQ7r+zCOh3x2giBuLOr40nNkw2dS81ckh4hZL+cvw8mO5WxTkUI1J2F8FVlyDI8uk6iH2uo78vea4UMhRlcvfgbVvAF36w2Y8wdw6CZr9mBsCFX0UZQFgloPaL4Ke/BPyJIj+Fs/gK/7yHPa89kYw8aSUt41ztIVqZJjS4fb3pc4jOblnRElZmlNT1pMhE9CVaZzRZY0ZsQ89xKC5csoaamk8MBIT7SFstLwy0OALjdCwrh0qwoUdNrUrwu4VGoBmcOMVyQ/W7Aek2BQDqzDJ8I7klaI2QHC5mUUKpP6Jk/YHlxsbUAnjwByX7p7AuRzG6/ApHfg+ntArSG0an3yNSx5DFvfg+rfg22/Cqc8gRncFVHDJ+iW56B2YeNL0Gf/CL/3HsLeNvLjTwDvIlTNAUafwyx/Gy7fySefCJHfdK7DkCwfrIgbLwlaCO1Ammji9ioM+QFVjlptBQUvgGSr9PbgHHwEr7MNW9Ep8khUqoBOnGiJ2hai4kS4RVV2Knlrvv/cjXelnjifP4W7dlWs2lyu8H3oJMfQZEE4Ck6h4XfWZNFaPv8Y/uZrUFbDbXaQn7IKOoNqXwXGX8sSUwpR58y/hrDda1JXyWWyXX4LTsr+73PobAJ3fiTKu9f7htSlpvOvUOk2vNGn0MEO/PYyCu0t2kTSkbSuiLuBnfKcA9lpX6QwXooq3IVb5ALXYyUis7gOa+e8GMYLZMHCzLDrO8hKDyH/UodnzxC6MnCZV/bYaejBc9ooT24hinwkK1dR4xmoWuKolUVkQn5JC56NUTLn6+8g7X+CsNmA7/TkTJsf3UaDs3PZR1HbR82eIZ2RpfQanPQpyikz+H8uCxZW79HZyIaTKpnIxcMSYlj0Mes/Q8Tu8ZTv4wre6mVZjhGaSfcGz0x3fg7talna+XaGMln0kyvG0DilZhNEfHew+YvzuPyZOZz6qswPivWpZC0UZ9JmxIW9sFbIeqjvoBw9Q14NEXavwJlP4PE9RaflbIYmYat8zyZTia3ReW9mjAEHUG4bpSLVnr+LMRAHCINdTO7/R0T7PxYHGGcZMrzoMFRmjMrSqdxYOH+p3nt1BCKGjWFkZuP3isJBADqnOZ/b3EFt4zWYPIMmI2t2BrP1QzjZoThJFFtc+M5LEzTa+8jLc3GzVoefQ3dfXVRH8zvFBR1nZ8eFGTxEFdT/1Ay0Dj16IPGERpsg5/vwmq/IUpjInNL64hb2VvfkflKyna3VhkoJi96VODTjPi5hsISpOjUBiapJH+7aq6hYH0qQqNORd3OVsZmpi6CxgoJNVmwWqibSXx8FNVQJ4xARdJLIWU1oNBloJnuKqP6GMEpw+jF0awtq/gJV6yJi1YFxDSqCams1iUCZ8T3Udv9aLOt0jBReA6GBKPQEaZL5wgUauWhe76JwBFSpUZDFE9RRTAgp3pBlpS3objuBYcUdIz26FPgqgbklY5HGgR+tIz37XPhNQYdC0QEsq1+DTWifZzOXzUOZ9fhMev0vYde+C8+8hPZ6cM9uw2y9Bd9dQv7iHwXQLdDS1Q/gnN1GVpwjKI4Q7P4NioOPZMHkLV+HbvTg8Xwm34kxyWaM8vxQYiSE8yUvfoYaBar4KvLxZwhaF6VFh0BD03oFoVNDnjyU5ZVHDkFjXVx4bAsh74gxlopAwvxYzlhtU4mrcEHIekiQIUQHaN5H1GXL0khE14wRyfFv/3tLaI3vdqF7F4DJS4F7eDVaXqkY7SGjNSGqi100GX2IWrS/sFCnfXnYguZrcOwQVTpB0NuQHlmvcQWah/fkK6C2jdIN4UnuMlj0Q/KlwcPz9DNoqsyjEfwdgop68MePYQgGU7EQcFVcgx33YUg6ZSaivYakJA9ghnj7O6hOv5TqJCy9C1sNAVrHOCDTskP7jlbQ3G5RgYi3xHqvNC3HI8nNs44iPfkIzZX3kUZ16OmBELcdlcs2C63riLRBwY7u1tpi0+iKRwPF7AhBg1RFErBHknlhnaDmpaK7j7R/iDi20KqJajZAFDclx6a6FyRL6xJmQgBKfo40mSLuXZJfKrNccdBBxWHg9CsULl8eNcnYKIFosGZkX2zzBSvWmCUU2BoBTw24YQAnoGJO1dfAnn+IYP27KJMM7uSOwCOs2pDDp5o8gUNgiigwY1Tj21KX4/jbcElKn7GWpwZvjfVxBSqqGrTssN6stQ57egcON3p774ubwMlmYtl3STzmRU1PxZZe+Q04Z5/AhFtyYWe/PRVa31+HGxqU/L4Eu6hywviWZJB3AtrdI2liUNwh51TNOACzdiuUHG/OgZ0d6FENJdU3vkQ5GBKkUVWiFtCSHQcNlN3rKE7vyCYzEJJnLv9u7dZRclD2/EXf+/QE7soOVEkyfyJDKB0rMCfSDerT5aJo1V2B67ekC7WAEv4Cq118QrkIIGLdXLAkF26nZB6Jz9iB2FQlf+i04acHcDor4laQGhd2cLNKjbWUvCQSNhYso8hOUA0ewV97E2X/C6lXK5kda9AadiBKLatu5DCcnkgWWvN7w3aIcA1VNobPl7xDC9kJ1OrbKHhoIZCueMf1hJ5cZn2xnoeqIQcj3UARLfHMAednyN0W7PyZvAT15ntQyQkCdvuapnTrZrMDxJ1L0FFNWg1ACzMHNla+KVqhx3DzF1Cb35KLZ8HfrQ1huQ0mLZ+govJUfj5yEsoqhb/0KtzRIQr9HG5I22UC5Xbk0lUxz09bcLANVZ0K5I4WZcffkQpRZ/xAyOWOcDSmqJIjRKuvye+JW1p9+Ht4y6/DUQ2UJpfe4Sq9B4+2djZKEApI2BlbOIoz2KSPghlbRo4mfbEgo7kNM7wDR9WF/cAOX8WuXCon/lRqnDgYBJt/BZPehQ1fQaWYoXWg5s+QHH2BeOWGAMLygrGaFaghe76Z8x+hrI6B9tuyrHJ54eQyibGg9BAImWGvoTCMTVih9qp6j84vFFSKWsvQfbaKnAJr3xFKealWBMTluqvwg5lUpjK37G2+KQo6HQf8nRg6UGoFdFoQSQAAIABJREFUKi4V4yVxKpBlYLLnUBz01r8JO74lnb0eLbTlTLbqfuRLmwVtaUUxh2PHsOyl5jnDZ4MKLNkrKkJOUnXGC803oEf3EYQbKFGDmz2EnZewa68I8JW8FQF0zh5JQwgvKeyIJxGYNHR2QEfr76PgMsPS0t1G9fIzgQqSxk93Gl0FMkyzNsdfRc40qqHDwkpe0FUrYpu1LpWBruRmF1lGNqS0oelC0jkwfyHDBXO7oiTxnNEDOBwgWq8Ia4SQUBO3pDmgmiwaV/zaBejzj6F1AMdTCNJjVJvvwc018tl9+Ovfl1YVKqBR6yoKfjasdCI+V5Mh8Sc3FquWJn+An7nIWfW08jZU9jXmoyFqK6+jmj+EZuXY/AymJOB3RSJaRcBhqZKWH0ZL5J1I/oNHjbm3gDCmVGfbAgW1tEeC4LVn8NgJFm6iGt8DPNaFrcKOb0vNJRfAZnIIt7UqCwR9/kIaf6LeJnQyQkFGS3gVnpOwpBOKcThTk+edy6ScfZPlU/howuEim1wXFUAnQ6jZI1lyOXFNKrMUXXVU7ghUKyoRI/xmW2zkHisCl67Cnn2FktVprCZTfIa/FsCw13gTWmcLMFSmYblUr1vMn/0RYZs06z05w1l1aEyBkNWfbgXLmlDCG/lssLmCPdVcbFIBpGJN59/8UFyBhPrRvEUHlVP2JW/O6jjf5nLh8du7KMl8OL8Hd/PPYCcP4Eov/QUko7sIWPvFLuoBafSkrbegeCZ6JTx/Vb7O2fwRAr+N2cF/QWP9e9BqVbrHfapprEhlY09ChsKeRAO8bAa9egk+lSNS89MDFIQAExRIByjf73oCj5eDjBGtLlxtUI0fw+/uoMoShE26m1bFlUQqN+U331aoNBXQCzJDlKSFmxrC5T3ht3hcjE0fi+OIbqrCTgHVQ8jmDwO5PLICyPE3IGFYyeTXYekSLM8gMiCX0I4Waj6BWSgm8tnzvPZjF8WzXwLxLvzt7wiXQQCEjkVBp6N2ECpePHNU5/eg6lvA8jZ07gOjzxAUA5TL34LDqFi8tRjqX34MHceotS+KtdcUDgqVIIo2hJ00Hz9G3L4K0/9cBC9VGqmwdMOOZLvJGKkIomYNb4MuKDJC+nA6WzAzwiaPgNYW/NljlLpYWN9Zkeq3UaNqTQGr/wncnb+El02hk0PYsAXH1OQ55hKGcOiAlyYurmo9BJUnl7uysqjVOsjHjxE2uqjSArqawfJ7zYssF3jdXVmcBexzD9oouQhtXUYwP0VRjaSnHuVjONFFeMuvwjn5A7L+IiJGTkDUI7E9EUK64Gj+5AKj7lWm/PdvI3v5IeKlqyi9ECqIkB/fggXbOrZQ8L3R2YLPWNHgKRD68KILEpVB8giW0Q4CgTnnpnQfs7mmg9JdgimfI7ANlISAs09eeeI0SKoSkR9KrMRIFI47ipuI2HhE9pjblDgoamsoH/8bBEtvQEuvPflKFh6XEbRtk6ZejCSGFvixxJYJpc4LT1rSou4usiEFoVSW7VyAG7pSs1OUBBDGuwgoMOTP4fN+ozWc7lsw45uAzuC1dlHxLBNXSQ5UZ4t2n/Ep/K3rArvVz3+NyvdRX3lTGBaW9evEgtbYzNKQuBBh2E7ck4UKq0D5DBm6m70Y6ewU9eYF2MBDXkaSZcfLX8u7JSlPEUlsbw3W5wXxEYLGtjBKCL0TrhCt6/kZMjoieOZTpHP4bGoU1oMft6CZzbcRvPYlifPZQskSyJs/FqeBJTOpOBeOGt3fdJYHhLSy2Y2CAoUht0RZzRAQmNlYxlzaN5rwXQ/l8Amia3+J2ePfoL68Cz3n74TLxYm0c/nr3wMiDxXdy4zmLhP6V0dGxhQZN9OJAPrC9TdQnXwOv3MR+fRUWkmcwkd2+hXiC98WwKnEcYIYhpXw5O6svCqxZsV7HPW6UsHtLC8AfOlQxGsntBIDzI9+i2jz+0gIKaXinp9Ad3fgl3NkE74DtxAyuuDQfn8Gj4I64fQUD+h4ZdXyy49gem/Ba60hvff/IGpfgbt0FejfhtO+jPTkU8RskaitwJ49Aggt7lxDOXkAQwiuVyLa+DNpPSvoii4GSPovsXzlh5jmBbz8GEF9C47TQE5BkFHBaEP4cc7ot/+jVSTwpzPk1QmUVihnT6FDdsgeA40tzB/8FzSu/B0s7Sbs3uSmLTkUwrW3/ReoCGLK5tI1yYycM7wnZOvAN1JBYKsYIMAvjGFshHR4D43ePiwb5eII8ycfI9x6FXFnGebga1TpDPNkisbV78EWLjR7LQnvK09RTZ/BXf+WXMBpdUnPHotloygPEDtd5KR8s9+UX+b0VC6BYF5WMW8+hT6/D79zGbrOrH6GsphKlrw0k0VH5vr7iL0KRXqGipfaKkHl56IoOrS36xEm9/8Tws13BUboCbV5jHJ0WyoIaxuvIqsAZ3QA0+zB9yJY5l11Aqf3TQGNMSdqqUZsfoDs2c/hU/FoX5XaPIfDZ+syvNljZIRNzDPUwi4MaW0uq4yGcGjTo8186U1krHsLuqh7KZIR4UY12OXX4c7GKFHIEEyrq54/ENeDztkbze74HpBNF9A2d/Hy5Qs1cOo0vMM9/RRV3JPhjAeiw9O98yost5onnwppmvAqh5dSf1k2Z3J49D+BZh55978SSrEevWTwSi7u/J6lg/tQ3U1Ro2hdd7q7wIROgQLF5BBR+12UOQe5V2EHd6WXnqqUNpEAuvxmXayQRcpawtafhgR+4A2p9pif34Gb9uEv/w0ql6rMsWR2i8lLxOQa0GY2vQe3vQOTs1/ZCqgwVCFc62NO1YyQHlZBNZmFZZ3fOQrC8NI5qgkvj2+h4pBGSzGhHZJH9ITdwDwXnD6q0VQujdyW+34HuV8ioFMBLpLJMbzWpizJypPfcYcuQ05Z9qV+xo3ZH5sjqEbI9BC+biEn6ZRNDKMB7NHPpYu+KBS8RijWn9xfQoN20Nkhcqqfp39AuHIDzvmX0MybsXqEufXJKfx4RZTeAMy1BtDKQlH5P/wEhXbFhYLpIdzudRhW7KgaXDpBDr6A8RIEK68uKvtyXhAfIvBqqEhsHjHLeQc+68Bqm4usKM0b7ExnHzVz1Es34Bx9jLw4hdr4MTD7UrrMw2hp0Xuu2sLpUexuJyF2fg6z8ZrUQtGhEWSL7HgSVkLzZ1XgbPgYtaX3oWe/Qum3oMJ3EGQvURoDW18S5w3dPBVrr7JjcbwQssIu+YovLdaWNjZQTvqohh8i6L0l3wkyR+jsQDGGt/0j6PEd5CdfI1xm+8C2kL+5sFGNJVhW/vRvQXdJ2j+DJrXZqQu0TKy4mhnDA9jGLqqjXyPc/ms4LmnTMyTTIzgvf4EaG1aiQDpe2Vvr6zHynNWEl8Ss4tkSvuehipbFuuiyHpM1cM6CG0IFh4qlZeWR10JVaolA1VZuoHIYbejD9q4hf/ZLBK19fjPlWZz3v0Sd1s0a4zzM4+VQnWtwR19hXiYImFdrvi0VOHRieKRJu6zhSaFiXghoT+fxtApn8DWq2hUBZxmxALJ2id3XXLZ2gbgrygWH3DjypCKVeTU2a9AamJ98BlV7HTa2CAefoHBi+Dx3MUE1PYeJWgj9ltSbBn59UZFGuGEVQmVH8OpcnvHfkMIheJGQNL+DmLbUdCLDqriazukqIBwuha2vwtLBRSYIceyNJanEK6yLgDJCyoUISw8tqsICcUMGcMK9SnbyFkdQl34C5+XnKANPGh30+Bjx5jvQCfklCbzGJuzkFkx0QUCU1fQFAqq4jO6QF9HYQGArAQUJyHB2KO+EcvRQFD0/asN1+Z2cyuKwGg8RTz5D1rsMp/WKKDz6xU/hrv1z2Ow53GoId/n7YkunLEbAn+vw4uuJS6Ecc0A9g137HpzyHOBSh6ZPDpUvP4T16vBWt5iyErAtYwasxpWKOS4so9WFc4LRk1qARGtEuoRxptBaCZeD77LKX4FN7wshv/TJ6BnJsgGEoOU5wuXXUKUD5LTt03FAlg2jMK6CcT251Ie7P4SxNQEPIhkg5+dbniBgFVlre1H1V2WY5yPE/PwITKTlOTmFwwUqK9qiLsrZE3h0ZSztwp0dwFRNUWRN+hTG96HCN1BN7wqd2saXBfan2QyRniyGfScSm7hXPkGVB4tnhAulkvWZywLoqgafIdj9K+kb9wg6Zn6WFHaeZ4w58Vxk61LQAs5uwdv6lrjP6ARyCXkzEYL2ksBGA/5sMli7AiUj0ZxnIPkw/tY7AtbkYiHytzAnaLHWQsAmIu0ip8tg6ZoIHGz3MU6AgKUj/UdAgwo2K05P4Le45EpREAQbtMV1R0geXYQ6fwIvXBHXpGFTUHom9V2e4qXSCHU+pwf34JdSxYfGLhyC+7gMGz0QnoYe3EXQuy5RGr6DfVbcNtcwJQCruw2X54GZwTq87J3LUkmHy9DDe4iqBDmXFfUlqeO0zMazbYewTVbqjtlpvi7NLOLAJO+Bz1R9Rc4pdrFVKWvmWNtIq3YFLzlgoEmW6I5ykR1/Do+Z8y7rpR/CmHO4vfdh8jPo/EzgysnX/ycCry6ziMfzih5GOr0I+5q+hN99F1b3hcRvGZujA6jeXXTdm1K+w7Hfha31UCbPEdAlw9hoSRcacT6cizkb8LvfgOMMUPGZr23DDL5C0b8Pn3wdnzbqu/AbBF67KJJTyYPDJdS4Jo0x0kRUpPAwFV5GtPnnqPKncL0GimAd+t7/JfHFqvMK8OBfQ4frwkzxW8uwp3+Es/kWinkm0Zdg4wcoz75AGBDI9zbmzU04d/41nM4+PFZg0v0Ur4m7Bl5XgK5ed0PaKrJnP4VpbSCmUunSddiGky3ifVweut03oc8+RGXJLOlAkYBANdNlz/lAFioINmGLkbg2uYQk88cFYaZ07XK2qlCd3kPY44KP3elHcGtcUl9FGdGC3YFL5Z+8irANlZ2hYOd76yLK/Agen2eKJdEmonQgF+dg+0ewo09RDB7CWf2mOEHprJEL9fb7SE8/BY5uQe3/HSzfl4N7EiVhhDKgA5rQyuQEyqXT50hamkzrgrhInPFTZH4bzfqmNCXlZJXxnMxnAjXU4+dwHVZsz2HbbyEY3F6IW2vfkcw6xQqyM1C9AAYlnFZLfgel40utLEHdbm0Z+flz1JwZytoS/JR8ISvOFHf7e9L+Yof3oJldpyM6YS1sKDFM1u5WDVZcamFv8T5TskYzZBSxQJmewJtxfnIQNq9BM/5VjsR1QBYCF/zFwR/gOEOES9+GptBIuLQqpJqWrk9v+RIKvw6fkLr1a6iKCkHUQHb+FPbFr+Hs/EgqJKucHDbW476QWJ4zJ2A9AuorsGaI/IDfz124jdcAP0d59ARQEeLkFAn5HWtvwry8CXflCsqXhBXus6YFjlfK+VCdfg2/dVHOluzoC4nQRvvfQfXkH6TRw6FY+PIjeCtvQHkZ0mQgMT9v/AIZm5BmjHduy4KfS39F8XHKtp8A1WwKu3pDgN6sTlXluYgnfEbpdhwdfYnG8iuwyghHwlYuwkYLJi+QZYzCcrAkiUvBUtAszmE6l6UJhs1vSmfSfEHRIOheQM7ozegpQj+G26hDE+6MCvbsLtzV14H+TSLs4K4TdNmGYa39KeNqHpzzj/8n6/GBN0NUpoGo1UI5fCnZHCpJtUrJpTujFef5r+AHGYLdv0d18BHKMEXY+ZZU59m5Qbz9ntivvewYVdWHNxnB2XsHmpUJIWsHHknWSKkO8rN/gBPeEKJxYHIYuVyeShy5tFoeFm48fJLR/RAl+zNZM9S5gmL0FPb8JoKVV0QRYBerTc9RMe+zsgvz5HNRbV3WFFKtYWWRk8PzVgUyxEoxAnL0fABP0Ra4CTcmHOyrP1U90b3ATtBTyUz4k9uoaP3Z+0AWETmrOVjjQZth0EAwfYKCkTJuVdnz1XlbqJvGMdL5CmbFuBlKzuWyENQWGcf54U9lq+wsfQMm8uEwV0xY4uBQDsaAcL3pS3jdS/KQc/6pTh5Cre4jD5egTtjvbuCrGfLxHNHaK8j6DwSgIn3IRHlwi1fMUFBRLnJ4JGSSc8AuYKMQuAbz4UPEcQfaDWHyEYLVbyE//Klk85hdVBsfoHjwM3jBEFj5IVR+KJtRff57FG4L0ep7QsPU/PKyYombMJf5nlR4B5r0U/ICTI5ieBPu7l9AzSxs+RRF0IHnt8U+E7lNOeBdZZENDuFSHe1eXpC+rYeUmWUeWqxrCTsokymc4W/ghRdl4USitcNuc/cM2fAFQsZUwgvwd95CcfY5lNjsr9PIBoyp4PE6zoo22jkNdPdN2OljeOzKtL5UwJCKT5uQ9dcQN5eQ9h8gnz9EgzVa4bJc3FXSFyK/DXzJCztZijI7gGIF1HyKoLYkWTCbzoRm3XJPMZ+QvtqDc/JHuLs/EqgVN8GWwzGtUvE+1PHv4F74kSzbrBlDmy6i5gUBRJLOq5RCmacIp8+QU60T2+YMJVVbVlc2dpEkJ/CyEcLQhxuwGuvlwlGTJciYOYz4XHJQoB07QzGj+reKiu0SrQvw2aPLCkqf+bnncIoZvLUPoOj4ocJJYmxtG1rTJj8DGK+opnCZsUzO5YLnVwcCl7PMFtZ3EN7734Er/x1MrOGy7jIfwKfGqRc1eQ7V1e47UA4p+09haRtnn6zyUaanYgukMsZKNJ+VeG322ucw6XOo5Q9koeEOeOgxu83YSR2mvgQ75wu2gaB+CWX6SJ5vv3FVLsw8MMGsppPC67yLpDxGyJz+ydeLWAkjRNNTAb6gtgnHsI1kB+nojmz/+VmpEqiCAJHyUPAlP3qBgLkxFUnjgSocOKEjgxsr2sgWYbUMIaK+TpAOzmHOP0TMZSupsrzE0hXRuQxwY06gZBSjSjIoAZoGUM22xDU8dpETNsTzkG4nKmdBIFAdvkDpGuBCk/lB9eLncHa/DRvtwO1/jiLsICKt3fORH/wcIZ019SUkjo8waEn0yXIIHD0HNHu/PZS9N4XxopnF1Qp+8yrK9AmKwReIu68jNRFCcwSHm+eM7JsZLM84h1WMR3AnT+CuvIvs+c/FLVLSKqktTPYSFVyoDgn1jmRVKy9CY+m69NpXJ5/AxKsIO7vStsD8th7fBpbfl97hcnhXeoC5JCjTCaL19zB/+gvESxeRRmvA5KlUh1LdzA/+IGoxzxRpsAgjaMk8juGGK/A5sDPby7gRIwL5GJa1XNGedFVHLjAb3ILDlgdulbIjOM19WQozx0RolHY68FUfbq5QCpx2TxxMvGRBaej8EK63Tp4ZrzWwk2Oguwp/ngOdyyiGt1CijihqoJo/gY2WoSILm3fhxC50uIFg+FsUAWFKbQSkXZ9/gXrnFczKKffuABtqgi708BnAhoHeNmzhSA2Rz2fd0mpZhzN/iXD5KjJaQ5us0bUoX/xnqAZrn5ag+PMyqx9fgWcOoac8kwbw138I+/wXCwgU6xmDFShngKIg1+UZ3GAZhhEEL5VogsslFqnvLz9CePFv5XMrVQ7lbcATns+XsCFpy+y07iPY+R7y7LlAgknEduub8MsJKrYzFDnCZguJCaDUGlRQoDz+SjrY3eVXUNi5ZLmL+SH8zQ+AEc93V5RJRhxcRjVK1r8RatmEM3soi3KPzwt5PIyjJS9EAaeKxCVKlhmEzW0BTOl8jjIp4K9clLMpiJh7dlEMb8uSOU8nUJ3LcNiUQKYHidrTF/DtHKityPlQZSVc1tQRHDx5hnzwAOHWn0u+O5g/QJJC6ix5BvgBI3d3oTo70L134NLazuGa3dkEKfd/DadyYTVts6SzDzGjy6t2XZR+xhbIAKDjzS0eIxm8RLxOUjQrHh9BVwT3tWCaF+Gzc53v9CCEKYYIoiUU1UR+Rr97EdoJ4TAGxHf+4JdwCYeu7cEZfSJVeqhdQz47E1p++eDfI77297KAy+7+GzjxBdQu/jXy/Ah2+BDe0nX4fn0B/ivP/1SX2RGngd+7ITWr6eAhGhuvovRriFUNORcz5JWwoks1YYafyvcnq23Al2rrGIZtNrUOdNKXWtmCnIZJCv/KDzAd3GOhJTQ77ucjphbgsA2ELroXny3e52RwMA5T30EweogpgXrkwoxfAt1tYEJHiAPTvAFF8O38BIVPd0K4cNkVWqph2bBA5ylhdhSXFKMne/8cujxFyAhIYWHaK1ILx/dKRegxoel07UVLMHEb3owW5ya8skA55r/7FZkXgtEjpNP+omI33BHIMBw+S1Oh/5fMuE8ewdt6C9WYn/dNVN330HQzJF4obrrSOOI0c8IuPMYZC4Ng/29ERbfzAund/xf1d/4bGG9FeD1hOkI6PoFPVhOjkIQOzo8lB86ZyGMzweQYrlugHNIZ1INaew9OzhaJmwi4VGdDkxPDUT1ojABW37V2AHn+PKkO5IxT6RReOUJVhQiaHRRZhsDLkLEdhxfVuIsgS5Hxvbp2Qxpdquc/h8cmoZVt6KoLZ/oEqmLlqQu9dBmsA+DvhG1aXr0lz4XLpXY1l1kDnHvqLWk58TtXUE0IZqb62oET+QgLZt/JA1oWUKD1Ivh0vBIuO30As/FNoP+5LLW96RFK2u/nBFdzkUV3Zlc4OFU5R613FVncgXn0BwHIVXQhO57MV7w7o1aDO368mFfp5KwcKDVBMU/gRlsI3Lm0BjEma0bHwmKwmsyac4TLO8iqJjwQEEtXc2sBEmWcke8TxdjnKrLzR+JGrIUt5GdfwCEYtd4F+D0leT+I4dA5RaczQdCs/SYcu7YCb0yY9Yk4dzxxLddkAcjWFq93Azp5CFsaeGS7jO/D1nag0hOkZAFVGsp3JRpXVRVqO68je/FHuAHZapdgnETOqDpdVQHh8R/B674qQleZJNKM4rg9OGO6xAzQvg47PZX6dcWzcTaAjVvw6Iht7SyWviEh4kM4Am3vQtGBYhpyJ6yyFA7jLGTdcF7xNqROj59lGWr4SQGsvgE1eSFQVYIW49oFqJqP0jbhTR4jYyTJCaHoYCM4PRvA6pm4bNzpy8WCXi1J04nyYjheCEPYaVkhbK0iP78Hy6iD8//z9F67lmXpld6Yay67/T5nH2/C+0hvKsslsxxbTTUJAhTUal2qoTfQhW6kB2hAegNJkC4IdEtiS0WpyGI1WdXFymRmpY8MH5ERceJ4s71Zfk5h/Lsg8IpAZWbEOXuvNef/j/F9kdQFWbXRNOeNH2HW30O4+YO5FpArCQ5ugw1kw5eI9z+Uu3BYuwBv/YKcC23/mfxss8BHuPIuSuvADr5G2LqCWf8IavzJv7HspKr6VTjcmrOHypXtwhYcxuo99ntdpGefIVp6BRN+yXvHqG69Bad+GzZ/BMUe1/gA0So3FjtIM4vK6lWkcSz6Ik7I3NoWbPICeVrAr11BQr8vyZIb35eHneUlz9+SzUI8vIOwTOe0fHamsmOognGbGfTSJThpBV55gpR02HwKp7kEHL2AWb0B7H0khPV88Tac+BRq8hK2dhNl+kw2AyzNWBPBVdwqc2MRQvFlyYlJ/RLQv49S9Ctr8rBl94MEUzvqYrz7IaJaB1h8R7Q5hDUwMk4vODdI4cqrAkbEdArjV+ZWAjVF1j9DuPZjlPTOlodC7meEkT549sVt3BPQmJmdoNK4iHh8H3r1dfFRVpSLhPFcO5ZoHnu0qC7Az3Nkp3fEqTwancDvfzb/c9kcUfuSbN7N4BnUMmm+PMVMkBMqwr4mL4FeCcNtlleHPrsrcXESX21J8ganGX2B8hmfACJe8MZQgy/gbv0MhQ0RVDYQ975CWONlMZEptOeQ9JqhjDZQHv4D3KXrAt/j1ImU7HT33yFgxzVcB+yBxHJBjdrKTUxe/hx1xnd9D2YSwyEwKWP/cnMenWJ3PGQvv4fYDVGtL8mXSgwLIFTyGPbkdxK9LLf/As7spXAHPPaD0YITUqFTgzn7RFR/jg7hVC8B3NKffi096YATzINfQDevyWCFvxtQN8VwfWLg6gKl04FHddhwR8BwhIRQn2hJpvc4OIjEqsAue+BRB5NDRedF2UHFEZbehLNwHmb/U3izR8iqlwQoV/gGIe0E1PgUORJu6Y7uoLLyBlI6n+lod2MYRu29DaSTl9JpFQdFcgDVOA8TtBCYENnoPhzDXiL5HUM4NXbF2YObwW0to3DICeDhdSx/f4mFkmzLiKkJ5nHcqAa3JOl5BKfG7/k+bJLCiXwgj+SSQU4Gfz+MZPO7rpsNoeDy0h6Q+5CTQXAm2zh2llV8hrT7e/Ehh5t/inz//4K3+j3Y6VjIvr5LuFYNU17yNXVV7KQ3oFMHRfpIPruMO+bTF/DSReSNVTjjr6Aat1FqFy5TNtbCz7sYWQe1pdeAyRPMDh/IZZJbfwTbUEzTjHZRMp1DXQxHQgtXhQIMDFDoNSFgQ42QElK39CZK9gp7n0kfWJRVOkaSEwJ3IH56Ko9iVUDNDqAIoVt+D5ppHrUCVXHhnt1H1roMxyV5/JGQ+P16B2bCB3Q2d4Q7HjyTCcRvOnmOULMbuCUkfkNVTfYcecALZCZqRk8XsBWq6woU4yfwquRD1GUI4HOIxV4eq0BjJlfuwUy+hX/pXwkvYHbwGNXt1+SywS1N6i3AMmFhFYqoBjNLEHE4QR/3AtMyEyQvfoXw/M/myQjGNW2IMPDnCShCCm0CZ/xUuu5UA5Ylty2XoZMTxMmIo1N57ll/E874JTK/iaqaICFXZnYog1+/to28fxfaWUTJDuTsKYjE5YbNWfsxcppSZvuw+1/A7Vybb1Rnz2VDzrgd4+YcrRBkmsY9+LU2MqY0ShpGPJTcikxZJXGRVRuIHA64uyiLLlx3WTS4rjIouk/hStfdF2YAlWyKWjjNikdFqg7FtAe3UoPSHbjZoVxqDXslCenKNWRFKkMY160jJxSrugyXHcXj3wjjAMs/BmYvoZjoIKNh8AgISHCvAykVqgQyJeCkgQeFlMyT6qvwGHu1M6CxiSzuQXe/RrjwHaQ8LA++hMeLASum0OZvAAAgAElEQVQM3QcoK3PGi+/6yFkVS2ZiFoE/ZxVMdv8eEbewzXNy6Das/XDz2dhCTuUnVXvVixK1LUcP5e/nL17F+MlfyfBAYI40cXCjze19aaUGYM/uw1ZXEFQvYTr8Cm60gooKMHjxO3jN6wiXrkj0lzRxDnrl4je9A9RuAmYkaTs/1DCHz5FiKL9nHsLYWXaqS5KE4HexGL6Erlbl3KDzvlDObXgeJjkQGG7BlE08ZzIUflviq0hJZR/CC6owmqpLQtbY78/F2+x5bSTDLwWeF5IzUEbwq4HAf8mNsFUHOmBy7bEclLnlsRNu6DPk1fMo9v8ehVtHZekdaNA8w++KA01bAYeoXDqE65JSLBmBJvhu9jXy0hf9JW052jlBUdTkf+uuvCWaOF4eVesV4YjwzKFd1p9oKvBRSJ3Gwg4mUORGLF8Vba3jbSJjf1pNUZSe2E50JQQ4LOJi5egrlJ4Lv/E6kt7HcGk7CbaQqjF8p4J8uivbVpPm83ddXog+OWrcxrR/R1J64fZPkYy6CJYuIOWALhvKeScfkWdzIgpfNEhSf0/Uj/HxEzQufxf52XMZMpX0lQctlG4JjE6FKaHqa3CZsBk+Rtk4B4xfSrLGDRe5mIQZPJDPnOdXECe05DCNlUM3N+GrAgkNFaxC5EzfXEQ2+BLK45//DGp4CHfpbZR7v4RdeAW6uQxFmBb+UJlae0vMOc7GD1ESwFW9jCLyoMkDUDNMOaCpsVLjC4tEnXyIxKmgtriJdDIT4nypNwDbQz5K4HJQF+8ibF1HGV1EGT+EmxkU/W8E0GnLYygyB1jrmtxHyrRi8yqmgWIwEgFzhGs/gje8i5TAQrLsh88RtjZhSBE/+QRq631YVnpo1SJ3KKbq8AxBk+q7kfS1eQbH6KFQ8Zn2KiansP4qgvYF5LMDlKcvpC6mV38A5/hjxLM9uCs/knSKff5zWPIhghV4fI4Q4BwuwUleyLKBUGjW4Njjz9MJNCs8cRdOm4mJGsqsL170tH0JQf+hfMax/gGc5Gh+UZr26OsVxztrFOD5btaH5tLPnaHILTQvYYTxRivwkkOUBK1Rac14uuHyYBGe3cXo2X9EsPHTuSaUbBqq2A4+hr/2AZzaORT7n0IvbktcOpjsIZm8FI5W4Teh+5+JBaHS2AScGQwv2XxHyIzYhVdbgk0tiuFjqRmG7VegRi9RUANtOTDMZdAb5BlM87xUqDXTP+M7sMH8XV2OnyBcuIQEHXj2RFSOzrgLt8oqzpYMeJETHLyLqNpBdrYLt30FhkOW4UuES9fn5y2Hrvo2stO7cy1w5xpw+miuZN66ieLwvtSTDd8l7NZPhgJMJsfAxH1Z0FUWLyCNT5EVBSLqT8M60uPH0u3XC0yzEuTK2kUTZWXOOHIWb8yHG51XgdkeYta0mUIky6riQaepcAdw4YcwR1/Bb64KVNtOeyiKI3iLbwh/gwpb1ofAc3qNylwHzux0XjUNFqTipwPm7iKY3qdSh5l178G/9a/hFkxvZqLU5eY8WNqWGmhCG0Z/Vy7+XFzpCi8ATfm9ZM4AyjsHs/cfRG2cbv0JgppF2TsWzpbb2IIenWAcv0C1fQPB4i2krJ+lvM9tiREqH38r0X1/+y3kThP2zl/CufA+csb1uW9iPcwJJCHFBQUIRq0swzm5B8rIMhhUzv1M7oL8DPHza/o789rmxZ+i3L8DY3pSG6YC1KMZnMORfCo2Ck+3EPNujBhR0EQe8wHRBPwIQe8bzJjWderyTuB5jhByDgCYmq6tvYH49HMkR3dRef1foTjZgRp++G8s9VnBwhUYRmV4YGdHkDHE0RHU4gUkWYyQRHtVR9m4CG/0SC4qMT8M9XUEmqCNFHkyRWk1InYxRk/+4FJfpTAIzrgnF19uEYyToqzyEHgkD4909JS+BHjtcyhOHs4PK9TvVBckQujsfy7APXfjXRgnlC90eXIX3sotwpWRFlP49S3UasvoPf5/EZz/CXByCMQfw1knLIjRI4sip6qONNYCeaokrkV9jS6Gc1BM+1UU9Aqnz+GH50TJ5HoK2ZS1h9V5tJDEhOkp3HwsLt60MAidCEn/PlC/BC9UsGf34K59Xw7G/ObNF0x9OLNcXubF6deY9aao3vpTlIe/EQo448jUTzj0eB4TqlUHFt5CdvYJXH8BbqUpcZmosorxdE+SEU60JNO66PwHsNzMzAqE04eYJmN5GbJnzz4uOyL2D0q15PgztK79a0xO/1E24mhfh+s35x05akHQgPVz6NptxPu/gL/ytkw43RrBJ1vIBl+h6D9C1NlA2XgXNtmVDxe3oPB42EzmMS2+ZODLBZiHXUbandSHXvsO7PFHQt9W7Xdhi0NYvyoPBHa4vaiN/PgLmdbxJaINPcKEfJ3JpIvGCoGV9frIbQ61cgP+5B58kyPOSC6dobL4NgpujIJ1eIxwD8+gyGnghO/sgfQH/c415IOHAidjBy9a2ED88jdI8wDBxT+GmR1C5+QcVETdpMMG4rOPYNrvorH2ukwrC0KqBt/Kw0PFfTjcwtDPmw2Rh1vIxk/hN9alJkDoBlVlWUrqO6P7mxJ78tcuQ/ceC8UcQVUOyozE8uFXnH2IsHNDaNNWtWDOHsmWgQdyUqnZoNFREy4rGtYHuOEYPEVITR2768kjsSQgceTlUwa5vKjF8W1r4q+HZhXkQLZX7HwXrSuww89hx/SgvyeUf34XnciBih1hUbthS5Qm5CdklVV40+fQ1HWSjcFfFg+3s0co0hl8MxPHMFgriFPpf/MgOX30v8gQy1LZUl+RXjm/CIoKTd+XqSdO7iDXbXj1QFJEDuow3O7zs6oKeI1rcthUx1/O+5XssbI2ExMKtSwxesYm+W40xVCSLfnpF1AVgiiX4RLklnwLlU/h1jflcMyIsstoW1rCcDpdXUBOrkWTiryRwEnjsouQm22/CqsXUOS7ckFRqQdVHiM//gSOuwlnYUse1Lb/HIqgMSaVpifwpvtIWrcQ8cBL+Kdak5dwhTHM3KDkJaGyDZ9GBydAdvIQZfJsDs469y8FaEX9KEE9Hh3bTGuYuTqUkfvQXcXo8CNUqHPzmnN7A2OYi28IeZlaRad9FV6Nl1RfUlclKzW0uDCdTa+Kmc6JxV4gRGB27wmXdFa+A7DeMOGFhbO0NsrZMZmEoh5z9TLS/gl0pyHRUnrKU1tDwM424WIkVlcuYTZ+LHBWLL0Nlxc3r4VCOZLQAg0N2kGS5Yiq60hyH97oExSc/M/oT38Cw4tt86oA7MR4kIyllsP/QzmbDyw5ePQrsrlQ9Vswz/43FLo5dwfTWz+Zwmkvwsu0aIJyQ8jWhtghMjuBTUv53vPw7rVvoCAN32YCNtTTXcxmO3DDy3B5EB/dl663X92Gmh3LZq40ShRDrldF4S2joIueSiqTSRWHQDpN1ZinZChDpZzxVqFqC1Ddu/I8UMEmjB3JYN5tbsApUhmyo/SgIwWnvomidR3pk/8bESPnm+/IltmlRq3Xg9uiY3uIkhrbWgfKhPOta+HCbddhz3ahl2/IMFAApaTrH30uzw2qxBgBz+gLZ+qOcfjGNtz0RComiiTsaB3O7ET0ZbwA0LPsOBN4hOCmXWDlDRT3/y3Q3JZBFvMp1Eum3a8RtS+jIIgz7sENLsk/R3q5xLWF5UK9lYOcgGF+BhZWxDhBkrIh+ZFphvoaCsJO+bNlva22JsPPsrmOfPQcAWsL2R+I3uWRdF8ZIXbTfXnmcABIfSUVvDl1pOESMHopfB9GjnU8RE5FamMLfnMLDpk7/PsTtqZdJvyh+b7LXQGCOtOHcMJtGNZhuAFeuoa8uyNgJm77bdhGmTnQ7JqXE+jhAbD+FuwJO9IGudZoLF/HjB75xJFtUq11A2V2ilJRe3uAcrg7t6zkKYL2Tbkw5QNymwhYrYnekO9OOzyFSZ+g6HwHlXiIZPIAXnRJgLOW/fjaBVR9BZunyA0hp3VoglYnTKMlAKFtrCKxp5oQhHeAcPU9oY6nrALxVlFOYRoduSBYO4Q560Itshr4aG6I8TcARryjSyimX8Cc7kJv/gnK4gSWtUl/URRVJKk7Y0I5K5KwyrICwfBzOK3XUM5OgOU3oYj32/klfFZAOWBSOdI4gWaqMuygcNpiOOHliPVLfo+L7j0ZKBBgRl5BlnLkQNDdZWC6J9yfoEI16W2kw505BLM0SMohKp1XkHDoMuHvbzq/1DmbCLdeEaBy8fzXksRQtTpKQr3O/gFm5Y/g1lfntoycvIdFAZkV/T24TK0ENYTkgFDVuPcrmMY5RNUmOKMqJ79Hpf6exHsLLoEWX0FOn3tMKFtdiOBMbFKDLApkgqmzAKbmww2WkDDW7HtiH2DixLAyQY7W4Cmclffmbvbe/bnFosJFAXv0sfC9Ci5Izp7CXdxE4W5C9e9gwmQoWQvnfyzGCbvzt3C9VWTGYhI/Q9Q4D7fGZxIh2azhEArL5ccQ3uYfIR68kJ+5dOS5Eeafd+E2su5TVBY6ct7jwJCHeKrnhB0zPRJeF7v6TC4mjkZglTABSr7HWMVqnJcNakJQYkSW2gRB4KIIImCSoCxH8NY/QDJ6hrAsYQlGIxsoOYXa/CnU4d/CYyWwfhOaF0beeUIm3XiGegPK6SHb4Tb1PHQ2gnUmcBOmrRrMHcKMewi230cxuCdgYK3ZxY/gFAeIT+8hqK8hY9KwvoZyvIuCZyVw7/GeaEZtcxuKyxXWZn0fhimZxSvgvNjaF9AzDdcLEY8HUMUxfF8DtJ/xZ3j0O9jF69CaA6hk/gzqvkSWztDaoMLcIFUJnKN7KDBB2LyJrDyDm1oYciTKGDkTg1tvyjvPGYxgVq7Dz8m5vAdv7Q1JTedMyxJ6WDgwfg7H3ZB6DNOlwgbKu/A7V+EEa1D5QNhxsePD52KAzySmkhTPm0cw6KDg74Rwx3yMePQQmiyfJb47mDyhWcHAj7aRUO9NkDU3d6f3YaKWqG/534gnQzmPYfUVZEyjT/fgrL6JPKV++ASWVR9CKTg4lzpdHUV/R+4XutaWey1NRvwcOAEXVy9RtlbmCUACZIM6cv+yqFNZuyPfweXvx3rwju9gdvFn8vcrDz+SGirvEt6V78NJrUAoydjQBOUSvk5mGP8dZDL5y9DpsUB+s2QGd/NV5MffQq/dlu8VmRjpCTWrBJNnwOwA0zLB4sINzJw6dHYo9Tzwvzm8g4Dsi9abiJko8fJ5vdV4qHotzIbPEA+foNLegg0vwG+0UGZMGPVEPW+RyJCHak4uZNTw1/+dpVZJO1XpluUtanW6844YuyDlfAlSmIr8Et3ec5QLq/NoE1+u4xOJ5NnKRZQut930RVbgBmsy7fY2+AAfID/7EjVefv0VpMMjeKGBFzSQlTxMngl4K7WuqGYIdzDlskRujIqByjZcRrUJhRseoWxtygubWjxrMkR82TMmxA4LOzSMiNMvmu2iaL0tm2ShfRKolXqwGQneBK8wBnMghx9qoFzCslQA0E3euigbW4GHuTHQvCVaD7pbuVMmpMbnAS3rIWu9Jl0tieFye87J5+JbMNMDaMJ6Nn+CmJfF6V0kB9QfHgmoj2qVlFvVldfg1Voodn8Bm4fQnbcFyuGQQMxA7upNJHufyzaGgxY/uISZ7yIqJohTqs8YJ12UwYiZHsHS/0v1ihcIhKNMSMIOkbKj//x/hzr3ZxIjDBiEIvWacBECivovBH5SNLbgmBG80Qh24RxM0pNYtV+GyDwDJxnCYdxleQP5yROoyIfLPhXVN9VllPGJgNGcnMHqAJoFqHwMt76NdHQf5egUbusmFH2jURsGVVHYeekuNLVIoyPpfjmMenPwxGnf6JEMpXiA0kYRcC8Ro+nd/xn+xg/hLL0DTI8EtIX4+RxI1byCfPgcTo39H18gTHlOfSDrIFT3lNDxJygr34MOAhhuu6mVYtR0+hzTOIG/8j1xK7t5jvTkYzi1ZfjRBTk4aFWHIbhI12FGewJeNOkR8t4OwqXvwPrs883gZonoiHIqSRoX4Z5+DlvbkC1bys/f5BBB4way3qfSOyMplFtOOmMN6vBXtoHFK/AGExSBD9ZYncETBKhKNL+saRTjlwiSAsqOkNWpOHGE6OqtfAc2P4UZ7cJZugXDbfDZ5/DaHVgyM3QDodOH7y9hfPg1/MiFQ6q0E0n8mt8h8hWoE6HkKJA4eHX+wPQ7ULu/FSK6WX5FwGh5k3HXBIFl7aQF320int1HsHATuv9c1F+o3UJEnZTWmMZjhBwK+E355wqGqRm3Z3Ji+hSmuiUvOnaSlWmgxAgeL/RM8gRMqzC19BhWLUvsUrqhBCQtvoLR/sdwubkNzktaxFWxbG5pnaAOlAknAiDzqYNQEeKYSFfaC13kjEDm7LYvwyHVunV93nWPT6SKUFSuIyiGEslPj+8hbF9CygFI85rwJMqzr1CQxWAncLov5DLDSghTKQQixoNDRAvb0Kzi0IlLFWE6Rhick42c5XCKKQgeeMZPUWp2cbfkkozeV7CqPh8WpUdyuafGlLF2XhpzbnZE59qEl5EREvwBHjSCp/ZhvCUUSz9A9uznQshH8w1kkz0E7MORFZC+QMH6T9iBIZGWoLrsJSqN15Fmo3ncrnlRSL15FkGrDKq1iWw8RMiO7vCRbE+Z3Ck5rGQdpX4VRsB0bbijA2ChjfysDyAV+ritrQvfgVWRnJCdciKaPYLXwNhjfoaQLujJUzi0CbSov+vDUI+aZAgW1yVWXI7vix+eoD9GvGG78OMJYmsEyJk7FTlouKOvkOYz5OE6ouYqDD9vnGgwAszDKFW47MtNX8p3NxBDAEn5vBiti27QGoV8sgOXwMvjD6EI0ly8JewMOzxCzuEJTSo8iAugMRGoJhYuwzImefg7BItXEQ++hZvxvbWEcsT63W0ZAml3ESj78vfloY31BbtyWSCJyYjMFRcOB9coRLPqNW/ATXoSzfRFd/oQleYluSBaXvT4vZp1RX/KYRk5FaxDmKNnMJWqXJzpZpZtf6UlBxoeHLLSg3P2GNHCOtLoGtzZXeSVcxK7VqdfoaiwLkAy3Ui+wySD6+V3UWZ7UNNnAn3jtkQPH8Df/JG4t6l9Kkwif89K8wbKwe9hwqsymCnIJPEqyFmHYL+VAOHGkrybSUIP+U5zQlGocQOXTx9JdU1AgYu3ke38Ut4rbtZD4a6JOlPRoGETJMMHcDo/hMOOd/+ufG4V+8fehvTHCQCc9b6C73RgWKUjbJSu+mAF5ck9aOxBVS5KksXEE7j5APloBKdNQNwIPq0kqgYU+0hY42EaJ1wUhSjfe96Fn8LJRzBHfwPlnpOEVZZl8pzk0CZldS/YgA7Zf2Uc1UHZ/z3QekNSNeh+A2x+F06vywCOpNlcmnnGL1HkMwHIovdcqomsrqD3GFpPYZZ+Kgd5xQ0+kWLHH8HvvInxeA+1aAHGUUiGAxnGKnIweJGk5jSbQKEOmxzBljR7hJJwY52A6tAyT+CUCrY4gqldkTi8m3SRd7+FXroOXTsv3Wb0ngCtNgq+o8oxPD6DKgsoqHEmSJj8qCkTjnW5/FAzR8ZIFi3CoRKvQcWuL1vGtN5EwOVCfAbN/z61aAX92AtwyxPEvTMEohzmIqeOjFCyYoBwcoiytiGdaC6O+IxhNZEDZaM9SQuo9rqQs6nyLTlw79yUGLpJFTJ+PhpLEsWf67RmUATssdO/9u58S0kGxcI7c6MEqz7ZWBgcHv3wQQ3FwX9EWpQIOGxhJH90KM8pEuM5MCBNvQgqcPd/J89eIbA315CefQqPtYPmJak2kOqd0bRBGDVNSAefy8AaS1vwmJRZfgPJcF+WT0jm5HWqyeJ0Co/vYhocipmk3YvCg+dM4ZXUAxP8eAqdH6BoXYM/S1FWqrKlBS1ER49h61eA8gD6rA+9fhEOTwZeB8nh1wi3vwszfADrrkqSjcNTh9q90ztwV78jgMZs/x/hbr0lBH1Ht6F6Xwt5n0IiBBEyXhSZXilKpI6G5/LyQ01xBZ6J5R2EygZU755cppk69eSi6cJZel+4K15yBwUZPKyMcoiad+GmI5TkqrCWNDiAf+M/Q8JhhefA6T6DpTu9fwjPX0aS70G5dTiLr8gzkbwq8alPjxEzWr9ylS1ExNPZfIFYa8vPmXH6LLwIj8nD/c8RtjYERl6WAVSDlqQMWgVIc4MoVLLZLc72JQ3IFLGrQ2SEeOMIdtiFrd+Czr9FXrkNb/JcbAKoXYAjCcuBbIh1tIZk2oVfX0Y+PRC2it/qCBvK63xPtNx8NqHaQGBKlOM+SnbMjUahY3gLryJ//HMZQnvnfiKQcr9G9ayDXAGV5hamz34Fj+cIuXCPAA6JW5eRku8kyliWaTwURw8kfVT0HiHLclSWbqGcPIejJtDrH2D68jOpYNWXbmNCrBmXHYTQk1nE91N+Ku8rKm89becDDlvCrd1AnvegDj6W4b8b1ub2odYN4ZjMnvxWVJre5p+JWtmc3kMxuA/NKhW5JklXoN9Zegzwfa086NEDhCZASVB6xGciYc8XYA2f1ftSqwvrHSRcSi+swikzBGn8h0XECUZP/yfUr/w3UNXR3Po00UgPP0bRXJfhIXXKvKckveeIapdhWCmKz2RJZ5Mclcs/wuzBX8NdWIJuvDq3mrUuSSrCb27Dc2rIVYr05S/hkam39M+Q5Q9guFg2DWD2QpZW1YXz0HaKwfglarUVsaUVrEDpAh6YoCHHbQzru9CFh3HvK7S3v484UVDdf/ofrOuSYsqoWgltYjhGw7InzD4YYz5+S2AuyvPmG6/BQ+gogm69hXL4LbLTz6HX3obfuoby7v+KMn4GXP2vEDTOw57eQeY1EWqDpBiDqRy31YZRVRS9x1C1deiCFOoxvOaCHMDLku76S4j7XejJrmz+iqWteQee5oFyAr92XUj0fHAbkoLTvlxmeHEIdCmwLcXuNi/Sjpp7f+mmZ8yFFwVGjTRpsyV00kfGAYDDzR8n6avyRWbvx2Rj6NaWKP4YUfVaVLwM4BAOwo0pL4K1m7Dd3wEE1S3dlANQ2f0cTrgGoIbixV8CG3+OaJH6wGcwlvC6DF62I31Jbgccdqy9DiJ2b5//H3Ab2/Cr64iLKrwgQ0avbjETIrofNJGSMB93US5cFtAdibskNzPaXhA+mBnY2Z6om5D0YUg45qFm/FT0iIpbIKq8Un4LCaBxkZkEQWUNRTZGMXqIqHMNBV826anQ5pHuQdNdvfIqvCRHwhSEjVEUCfzNH8MefYJSK9jKpnT4Auk7M4bVkgOwR2KDqiLJenMLwIyTdRd+a1UgI+xpJaJMu4jcxlBnz6E6b8JhasQwihXBjpgkqUq6gp1uVbsAX0eY9r5F6HDTuSJ/V795GSk/l81t6CRFHO8gYmc7nyLgW5ETb2ioITkHIfJsBMdUUTYaMqUsbPUPHXQOEjZg01Sm3VbcwaVMbakBc6tb0ATlBYtwXG6zpkJdLehKbiwh2/1YtmQBqyM8oBGKYwaYxRm8Zhs6ZkedJNltmKOPUFbWRLumK6wVsGPWRk6zg9bIc37dGWmifqoKP6zIAZEbKq9+TVzc9NT7vPyYXZichNwKZuMzhI0FAWq6jRUkmMFNDKzLJAy5E0ZALxljk8M92MW3oOqLUh0p+VCm8aCIESzfkml5yi0t+RFFjqK6BeWORRWm4grczhLw/OdIOt+Hx8Eg/czcqHfehdr9vQxEsPK2KIKy3o5wD/hXcqrn+GqEn48ENMrDoi5qKAkPHU5k+5ipGCEPFdyEq0VYVjKynihLCYlx9FgOCuxsshtXmgPkJ9/AXXpPNJoZDwy1bVhG/tbeRT7uU9cAz1Gy/eIBiv0rP+IA7RzitC+AG9emsFlXLlAmqsNnsqasIR/+EzxuwO2idDepEg2XvovZ7i/gMlmy/VO55HikQw9OkZAe3d6Aw+8H/9zsHuax9JyZ4GHVhIdYbnhU8hz+4lvIGY2shsB0iFw34JGRoWJkw6HE27XLzh0jukdCi3bQlARFpXEBqZlAceLN1EntGtxaA/bkMaYHHyHovCrxQw4baFVIvQYqdoSSFSAeKkkmJ6QyO0OoLAoeotI9ueCF9U2kZs56gNead0rzIfylN2ELWkJORcHD2pKpvYEseylqVCOeDA9ZOYSTEzZ5DUk6hO9VxP+eT4/gVtsoaTchBIhbLw7BuMVvbcOnzUU50tklwMytr823ee4iCm65wiWYwoXJduC6CnbxAxRnv4fvLCDtfYRw7T+BzU6ROC58XgLKDG45QuGx/tSBzhlh50XSgVOGyLm1UKyhXBCIKlM8jrcIM36MjFyN5jnxpJd8D3gRaqgjOf4QRXMTUXVV+uncjKnKulwAJY3Cp+DxR3DX35cLrR4dIOn/HtGV/1KAuNj7DZzmW8hmT+HM+M9uAKySsXKQjRAwxXHyKcBUQP0mElNFrfuPKJZ/BKeihY8TtNa4QIfj5MiSTHRXmsmCfIxsugunsiWdc+fkKzirbyPufYuKVwWWbiA7vAuf9pv6mzD5HgL25zsbAhxi71LAf/zZ8hJM/e3ZNzKo0muvQs8OxIcMxk4TbhcTKILjSgfuxutSu3F1iUnZhu/0pS4V2gJx+yKyZ79EtHhNNpvU0LpBADWLUfgNuBwUgHWrCkz/VGBQVkfy7ubAqxxPQNqoS56Ik0tUVG28h4yJHckssWc5hsE6FPk/mgOBKmx5glBfEhgXL0PkupaTGAgC6ITu9lUY9vaziYD4PJPIlpJ2I799ETkPxRf+BJOjjwHyDxiJxQICPUU8eC6xWNeNUNbaKKcn0J6GHywgThjPThG5vsTjqZcryes4uY9q5yIKHthTXlKHwpQwe5/BNtoImIzg8CNYgn35K6j1V2GOn8BwOMwAO4n7jZvQ3fvIq20ZXFhaOc4OkK7dgseEgu0iD5eg+vvwW7dRODHM4afQ7Jn7RNRsIptNwKWQw2oDBwCMLqsYrhdbkAkAACAASURBVO5IyoEpJ7d6CZbxejJ+vHxufaifg++Vcglxq9cE6sZLvI4cFGOmKQvo1m0kh5/AY3Wofn5uP+A5U4bZATTVd9yWI0fQviWf3XJEe1MTXl4i9nwxJLEHz8G7xgTT7hF06MNvr8N0uXxw5iDE8TGC9ddlsaXTMRJalhobKBYvQvMSQ0PD/kMZPur1V2EZWx7twG6+gZBx4j1WdZgAO0S0zHrlWDg+dtgTAJxPMBq3rSHtJgbpkNplftdPoJl804546U0YwiOtvHULZvQECjWpvFFpptjTB7k0LWTU4J5+JjWLcPNdea+DA6ygI4ylwlGSSGHMPhuTN7Egn+MsGUpXvVFbRc736uRMosjc+HrTCeDz/cWKgwsv2kQ8+AouL7ONq6LLNqaKiLo4lQKHX8Gu/VB4K2Fxirh6Dmo6kORFyAsm+R5+HUGlTmwB84Dkh8IMX8Bvn0fu0HTwEOr0AfxLP0M2PoIuE2RBFRWmcLkd5UV8+U0EhhreR0gHU3hLt2TBVR59A6UN1NK7yIohqmEDyZSDYA7vC+lmVxqLDECLTpBJTO1X58kpplEMoWsGKevFvMAHi5JCJXvJpU2CNY6SsN+nUOvvQM+OYJnm4RnCSYQxo9qX4bavyjDWnZ6i4CA74qJkCaZWl++uPftGkh7c2rM6SeMVtW4c9OcEwqQnMiAgGNdpXYA9+xLp4CWc5XcQZF3kJU1i0dw+0H2J8elT+J31OcS7ch66nOs2Qx0gdQq4aTI3BzBtYFO44z2JjZe2IuNfL6rDzdnRb8iZjlyUdHgsVQ/Q4EG9MC//i5fkQli8/DVUtAwdbQm4cP6eL6GZJjMWPutE+UjYBqZyAXbwDVyvicxE8DXvPrlUPRj1ryxfgqU6YDZG2WBFNpBko8tLfecWyt4jsTk5yzfgqqpUOma9MfQiFbQZZspB4FTkM8o0AO9dQecdGRBxQFdmx/MhotLwaquY7H2CRvs1lEs3UDz7azgbH0glTHPjPtpFmp+iuvFHmDz5e0TnX0EZa+TD+9BhXXS2KX9po0fybmUNKj76EGrjz5F/+1fwlYLtfAfO5K5UClh70N0unGs/wmznYwRcTlffgHEL6OFz2GQ4B+e6VTi9+8i0QbT0miQ/WNniuZbPD953dX0ZgRfIYpgmNZqe+LnE7LnUZDKay6o80zWgeOce3IVD456TwXMV0sFTVPU2UoJ9yiFUsIAk7aPi1JHL0MgRtSJo32ltISG0219AVNEovHNSG2ahIlClaKgLchDGH/+31nprmD35d/AbtxGc4xcvgWUHiooPTourV+CEuUykneW3hHRLEiTptbwcu/2nciErCVcqCngEOrWuC+3fHT6F7VyDg1C0gWF9FbOTF9A1Cx1eRMFRLCc0kkMFinQHTprPX/xeU5Q4RleQ+QW8wspBL6gsz4nCPGAoB7mlXNAid5tzqM7oAa92KPwNhH6Iwg5EiZOHEcKgJdoxDPjlaMNvLApUy5RdeHp53ifKJvDal5ElPLStA7NTmNk+suQU0eLryMszKPZS4zG82RnUxgfI8zH8YgLdaCOOCZPpwxsdSp+aVGeHPU92d0nfLj34s2+Q1W9ISsIMugh9gt82xHdNR6vLmAahcXyh8KVL/yshHNMeVK0qrtly91NMj3bQXrsOU1lBdvI5BXkw9WWos6cIVm+JF7ksY3nwKTWFGR3DX35F+uJ28Ehivw4/wNkBQOBhfQMpIum00qntNRbnvX5qVxhV7X8Lp3lO7giMqnNzEHgLUPUVTF5+gohwk7XbKLoHSI4+QmXju5gOu3AtHZRvIWcEpfdMYGocctBtSUSlkw6Qs1/r+UhHM4RBIQ9lm8coqxcR1gxG9/8W9Qt/BEsqOX3kpQNTo5YxR3L4G7gb34eeHSOPjxC0XpONrqldRrjzf8I6LWRLryKkxpBap9FjuLWLclDmRYbgkoAXcaoK2Xlkl5jxsTCALlkLiREurmFahlAnX0MFHnLtI6rdwKz/VOI9HDahvoggaCPjJo1aobPPMbEa1c7ryLhB6T6BR7gJxsjYo1r9PhwCaCQ5cYiyT0NABY7xZIKqCQihY5qjxNoaSsbt174Hw0NG7yt44TYSPmQnewiNkfi5Xf8BAmORsBrQ2EDAzyEvzcEiQl4KSIyN5ho5du78lbcQ9/flAO8v3kRGqA97hyVj91rcuCbL4HE7kDNaFQgAjlYGgdxxEUX4C7vtaECza6hGKE6+hFO/wEUubK0BpRpA7z5sFCJnJcKroT4bkqgAN98DqHiJzkFjiqw4Rlh7G4ktJLIeeJsouZXlMIRubeUhLRyEkYEhgXvyVPRUjOWXKoTfYLWoC5edycY6DAdKjN3OesBkDLV6Xi7lRAF5Xo3maLjpTNR0ij7s4XOU1qDCjpaJkBD0xxyfONjbKAwvuscIuW2e/5RgPH5+A2SzISCuWgJ3BtBeB6YcIs5zucAr9kbLGYxqQ6kT+fPIv5w1idKFHT+QoQwBNWFrHVNulsk3GHWhl18VVgs3Ko5XF21jyj/v+BCeMwNc6n2oCuKgMYBHQOLwBFS9kiLMCygTWqrSlAsZ+9vwZihPd2R7qKqLQDaGsUpo9So3yPpfw63xAvYanGmK6cGv4Xgt1FsXECdzX7fuvAc7eQyXW3jbh3P6NbBwWyLC+XAfAfuj3NIcfgS19ecw1QDlwWNUFtcwTmKE3Fwy3li7BBswTkmKPzfgSp6lBFSqyhbKGZV7QwQr7yGbPEZy9HuJ5NeX3sT0+KnUt9ylH8BVfA8wym2BuESujDA5qKsrCPwkKMgL4dMZrzj4jWHVFCFJ7vFL+J0fIBk+lcsulaiE51BDlu19Mf+8L70K0/0t3GSGfOk1WD9AJVVIbQaXqknXhVMM4Mz6yNZ+JOkY+qaZfNLxiQw4IQc0XyjAfthEbD34pFIzvmvbSIsDlNMpKlf/FI4KYbr3YYp9rvoZgYGuNJClCbx0BIsq1MIFmJMPRZlImjK9vxxqm5z6uy353005RFQTGOrk6Ok2EaBo6xlBM1LJZwy98MMd0S6FQUOAsuODz0R7Wa1VMRtQtXYGv3JeYIk2S5CrPjSDri4/077YQLjZVfxu9V7CXboKMDFA+r7HrVEAo8ew/X2Av3tdkwqa5vuXqjeS+jlUjbaQJjviiGenn3YEw0E+OARwkE+OJemmySPgu56DN48LDVe+xyXVo9NDeJggp+Vn7R24KoUfrmHUfQQvKVHWmrLBV8dPUPT24N/6Y5iDf4KKLotyy65egeXwwrB0RTBYJpU8xa0edYaDHlT3d7Dkfrh12OMvoFYuw+aEXirhycjmenoMzU1fYaVqk2MGb9hFwUOmy2f7HrTrirLNsyOMdr5GdetdiXozHaRXXpfOvRctCDMBURUuVWZ00zfIdNBi+3COPxVtrb74x7BkFdkIevkSyoNPUM5GUivz3BLT4T7cqCGH1LL7AubsniQ0EKTIJzGi+iay/b+Fab0tVHYbElpIdVkAw7PAeA955zo8JgfTLgoylByNSnsVSfclzPBbVDZeRzyaoBw8RLR2C3n1GsLkCHEew2Xvf7IPl78jDklYG+Szon0B1ivFN061YEnCvOXnKxQTBT8jOqiiiA+g/TU4fKqefQVv8QY8v44ZLxv2DF7jnIDjFInyLuF0ZD1p0bgyUp6PX8LjRbm5IYBW02zDNyXy/d8hGZyidu1fIh1/K5UXVTuPgslDpxRYqSgy+/cEGAn57Hkoz56gJPXbqcFZuCTKXKpCDYF4bg6fA6o6GScPxRLFGog99124ahX2+FeIOfAvR/A7b8DQDHLyGfL6ImqVDalcsGpjF67AdYyk91wqnPt3JP4dLb2KrPsAhZqfx3ixMIQ6MkFbeqiuvY3Bzt+h1l6EKVZgY4KsI7EnMJVYnN6Hw2F74SPLCR028Kqb0uTULu0XbbmEBZVQ6pqx14I/OUGuDcKNn8h5iWaN1LB6xWoT4X28QPCdUyIgMJawX0viDq11TB+tI+8fwTUTONQjm6oAj7UToOBFiJtqLgfSocAFubn3/pCKY5LQDc9DEXyXkpKZwaEhKrN8nCE1TJZ14MyO4NU2UQYV2NFLOcdYatY44FM53NY2ssOnYp9gNJzGsUptC3m0hvzkIYIWNYLfSmVZBy3o7g7U+C7y1usIwo6ABzmoBTlArO9FIWzSlXoSh31ZwXQPn6/UxFK37iDNPBn2alYmFjbnvBmml+s3EFXryJlmCkJ5FhFwaHvH0GoKZ+EKMDtG4rcR0RZ0eA9Fg7H3TWByV6DC7sI5gWXWa9Sds7pzJhBMOz4Ug0rWugiX7nrtiuLO8j4VLCKrtxAlmah02RuvLGzD0BqkF+YGKPLUmGmJApRchpFRRWVeexPueArGN2KVIDQuDIdGnoU77co/R5ijaa7L4Mjzmyj4Oab5gOo9JpfT0zkToLIBT3kocqZpV2WAbAbHsI0NUe26C9dkSalGT6GrF1Cy5jqdL8eY/jTUwdc6UpmKmfbhwJycFyqSsx4qSiHPZ7CNFtwkA6iOJqB0sCNsGYJTPS536huiMadOms9anRfyzqc6l9BILpBpq+LnWk12YYO2vGepHfW9dZRnv5cqnd54HzkH1nUmaOvICHQnC2P5DQEhp3t34TVWEVRrSMnWSJhIKkVxyeRjyfoLba7NW4gGT5Hv/N182Nu4JUNo/rvS6Yk8ww3r46zrGF+eSaz1m6SAz0qPbUHv/D9QzUW45FK4DRSjHZS5hhp98j9aHmqL3l24CzeRBysSJ4PLiN8RdDJCoUmTN9DaRcEoI+PZtXW40SLMaF82ihW3gTjndC+GW13mjwtO0kc67EJd+R68fh8ODmHaN2AnM+DwH2Cji0D7MrRvkR5+IeCLkB+8hbcl5krvZJpy2+fLho7TfIx3JCZq2usyBMgPfov6xnclBpZNTwE1RrHzhcDxTOTBpOxD1pBSn+DmcPSmvMC1IQnyFLbKC/YUmmC+vM8JBAp+IOvnkOUTVFWOjNAFbpbjb6Hq16A9wj5K5OxE0l/NuD2ncjaRngqVHoTFaB423RVRO+kiR9r7BE4ygLv5I2QH1FC0kTo+QqojTu4joUJt84fwGlell02Cq9PalK03Rs8oyIVpUgdBfAaJE5HAgDx2Kve+kW5JtnMHleYCK4koC1f6XnkxQGPxdXFZx71H0MYiXH0T09EzeWESvU4KKgnYOiQx/aL87mTrOniGYP0d6WpxQscOjmF/LZsBfCgwPuOHcCcHcL0MRVrF7OA3iM7/GH7rHLL+E4Enccpv6IWnos9YuJVFpJzks9cdLorWyVMh7OkXiNMT1Ld/BssOUPs24BeivfIrHeTdL1G6ddTXX8P0xZfwli8IyJFaGjtlJJugpgROw0d6/HB+MTn9NSrbf4HZyd9LzNBZfxdOUghVHZ03kOz/Hfyyh0xvI6iuoGTnZfAlYOmrptN1Nn+wzgx0MafkM6bF+BA3yLPefQR+GwiXJWooW8LpY4CblPol6EYThrCO3n0YPYUXXRH9T+k0YOOnosCjQrE4uwOrmwDdwi5BLVPZxARU7ZR9lKMpdLIj/SwsvAq1/CbK538Fa100GutIuOnlJrj1A7iVAmVSwJJ5YPcRbv/XsDmn8RkKbnTSfemUc6DEl3alfkU6sPCbMJye6xpUMUBuXYTSW01Fm+gufUde3jk963pRNC/goIwGA5KxaaXQDmJbg+a2iT1qbkKo/SK9nWCpk7vynSzNUGCXReYKiZWDIaFn185Drb4CSxUPXeu8WNSXJY6tBneQeuvwFs5B5wHK3meyWUWtBW1DGVgSXMmNs3Ax+FLvP5bLslMhcHMHKjwPJ4qQMzlEsjyDuu6C9F/LZHcOBmOnOZmgYCdUcxi9IJedPBnL95AbXR52Gen2qItkLz7twjgV2a4YOs61g4ydf2cmm5Jw4T2kegj/9J6kR0yN4MltpHEXftBG7nrCpNCzUyhStpmHrqwhGu8jdWZwckIKIxReW4i+1Ljk3A7YGpxkNNe41c9BFc9gxolA0fKwIxR4Z5oJyV8c5h4D2xVYGiJW3oTa+Q9Ii0xUiGQ0wLDfPGL7BiW1mb5Bw69jGvehM17gNkVtyvRAwG15ZpEQ5EN/dExtYgoQ4FoewFa2UWRHQrU3VN+MCEEN54MRPt9oZDj+HKqxAK/5Dkyyj7z3AJqqNyoGBaqTQsVjSX6UuiEJCjV7LlrObPE1VMpDxL0XcuAndfn/tyxkXcBvwbokZw+EW1PE3PQG83SYIgyPvdVEDiTISqhaaw6GbK6hoF/5+HNYVyPY/GC+VR/eRxEyrt2Akx4jF63paygqG7DxS6AYQFcvy7NT6zasGcDws8U6jV9gVlTg+j04hISxQh3SItITKww4DLUKeTWARztMOYKN2Vvnz/IUxfQIXuU6LC+4djp/PnBKbxP4fgdlbR0m8YGTfyskevJK6OBW8SESKjlrF2G4jXr5IYLNn4g1I0+HCGoXkGanMISbrb4qhy6mCcgEMJh7x53+11Dn/0wI8Xr4DQpHw+F7WCLjCsXpY7iElrUvoBidwBCku3RefMu684aQmWmsSHp34fPSxk3UbIzCcAOewHCg62zCqVr5czBZ4nmFDA9ZPvK9FZQ0qYz586hJqo8d1SxP5H3C91zKGDctJQSgFkz+1WEW1xCmhWybi51fwI72RRGVmTM4sykcbsFUgXIygrP2XTijO1C1VWQzB26QzKtIHodifBak0p13qjfEnOBOXiDjQax1BWrwQIbNhAxm+7+Grr8Oxw7g8TmDOhQ1W2Qm+R3EhJhGF6RmxxSHDTKouBDIbzF7LCoyZ7iDIhvC0rHuR3BppOGwcfpUmDtleiaHzZzGFUbfwxaAY+mb4oxQslg4JfkskWQajRPcJpv9vxEoldr8F0Dv4zlvqH4BWXsVejKGrtdhpnMlGBM7OlpE4TFttgQ1pIlhD7ayjtIxCP0VOeiXhsuQGdxmBxl85Iefwa1uw19sw6QJime/FPilWbgo3fP8wV+L9tIhFJWU7loDXmaREvhXDVELz8kyoJgdQ82ewWnfgssEUdEDDFkNKVSRIPSogmNFU80ZG/lYKoQkzXNh4jgeMpqXSrrSCdaqIyfw2cmAsAUjDJ73kRJMRphYYmBWXoOyBSyH17XmXHPHhCMXCPFzhNEqkukO3HgMZ4HAyoksWFDbhAovQakMTv+enCNVtIbZ2ROEDdY6qjK8pIKUfxaXYLPQQz4zCGh4KAskw+eonv8xcqrqOKAdPEQ6G6HaWEEqVbR9qfxh8lwo7oXhVn0iiRFeQnj+IPS6HHThrF6S7xSTpaC2MiewswRY/6m14JdTlDvUkhKYGiEj+Ld6QSoTBQYox8eoVNaAfAqjQ5TdL5ChAXf1u5K8DBe3JIpcDk7ghQEKvhdpKsgTlH4Haf++KMrI33FDAlc0stN78Dq35eLkTI6gGnx28Bx+InHyMmPVmMT/U/m56/E+VO0aYqavIg7cWnBqdZjZS0nQElyN4Y7U9aLVW5Im5c+IZyXafjw3QBqsAgX1tc/hWU8GS2Y8gWH1NB3C7byGdOffI2rchOU5jLFpRur3fw9F9emVPxcfuyawlMNSz4fLZUP90jy1x8QrFyQECCcxSs8TGj5MCuuTCbUNjywMC2Qc3IyGUj3WNFZxMETAHKsl/Jks3xZAWzA9Azb/BRS6MJMhvGKKXGjvS8jyKZ0wSHlqoV785Dm8C99D4S5ADZ7LMNBb2kI+ncGOnoumL+i8DlTXkHz7d/BXbgJMQNAUlc6EwRJc+AHyw2fIT75GeP2fozi9B5+X6PG+cLOkz66taC+pROaChXaisvcM0eZbSLv3ZXjj11ZR5ruSGnUKC7/aRB62UfSeiw1CBjVM8vBMoqtz+1PURFz0ZSBMjaC8ZMefofQuSF0hne1y1g1FEG1QhY2fwUk0bG0ZbujCqHPQ8adIewO4VP9x0F5OUTRuQxcnwPgxNOGEKyTn78KAML1llKePYVaviyrSZaJ48AAqaMn5q4z7CFfeEJMBmJBtLiMd8Ox7E+UR73Dk0f0IhknhyaHwo0zrPNSTv4Zae1NMM+QABBf+GeyLfwBWfwAlTIM7stBw2hsopnvyeclsgQqhy7znHH2GfDqEe/HPgMkDqUzHj38BvbAKdN6FHryQenBuhwiEn8EhBRfpTRmEs1pCfaKKlhD4y0izQ2EQeY6HnDrZ+AWy8Rl0rSPLm1kaQw3/8b+3JbtQug2Xurn+5zD9TxFu/BcoCcop2Iv5RuBsjMAyxsZDNglQlpO13sfwLvyZuNNJW2afytKnbUYSCXUYmdj7EnFtAT5fBtyIL96Ca3PYcgpHB0LfLvnPNm8CvacoCNniQ2f9ffHRl+E2nOGnmPIAtP2fIhJFQgyPKghdFX8utx2cwNmVG0LTd5IpdOcWsngXlhcxv4WosoWc/7+n4JMoOZ6KtkKnDyQWmXMy5rFbMRRqvEyfCboiWp7TWvpxJ4TdGdiwBbekHm0Md3gK1DpzSjC9prUV6TkW7EAWBVS4hrLWQaiqiHf+PcLO95Fzes+pE//MYR2GPV7+u9nNImdAXvgG6elnojrzqAqEg4QKQoIZ8jNEy+9jdvoVfFKTFzZgGPEfPIGTjpEpjWqVk+MTWNLs6SDml6xxUba+dFRyO6AXX4Xh9t8qlGkiFHelY4nqMxbPA2YlqmN6siObKadFiNICbDGWL5vXOgcz6gn8IklTaPZZGNdhf9VjxIvAnTaK6RBhYw1ZQuAQY4HUJfnSu+chi5d6YxjJXEGsAlR8g5xe2UZHADLTGRDWl6DYAzV9qNTAyBQ1hiJ0ib/jk7+RiJWpXIZT7orL2NDlTfp7YxuGsSl/US4AdAbbOi+vFnbyEE5jA5ZTUSYmpn24doDIu4iyIJwwkAOfM4nn9OH1D5D7IcLpc+S0KATrsgFkxN9OuvKQ42WQMWVV20JZX4eXPIChmoVQE+rEGPXmRTXjRHwES8gWHcDrr8klnion+pEJLVMELXoRTG0BbnQZ5dGXcKanKOM9RMvXkNWvyjDBP/h7cTHz1Jw2N6CZtIh8hKvvIs0K5I/+UlQvztI1KKZmHIs0bMPLRqKbpK6Sk0tD7yghk40rCDj0IwW92BOitSGCOdmD2v6xJBfADZnroGTUuN6B6t+DJSl89X0kfABxk11w+6xRErqZHs6Vmn4DihcxvlgYxacnncwMdqBoQI2HKIZPgZVXEEqXNsX45W/gLb0CZ+l7UL37oCMnzWvw5bIVIGFHNogkZq7MKWxSSA/RIJcdPWnjOWGAjddQFKcwMdMWN+EWXaRpdw5JooqUE1LFrcUFxINHQsHmsIMbCD6zFHU28SG8aFvAXfLd9RfFDe2U1MswynUDqtkGRsewGVVD14HxHeT1K0KIl5Tg3ocIaUHhS4vVENJcsylKetYrV+U7he5XmE6eorL8wRxyGD+RKCgLNZXG9TkYa3YiQ8PZ7s8Rbv6JXBRYlWLiiPYM8SuffYNs9W04HNp0P4EKFxC4ZJ6EyLl5bN+U6lTW+1oGREQDlMURwJ9hY120n4yeCgGfyJFWUzr/BM2EfiKbr8IuwOH3xU6hPELdMvgqxmSwi5DaVbqUs0P43rZs5Nm3pv+6HOzAuEvQvoY/foJk6W34wQrU0W+RuDUE1Ir6PCIZeASpzU7EFc6ooPIiuHxW+204wzPMJh8iqH5HXL8OTmFYVWFnvkeeTI6g8zaS5EAc42X1HDB9IXwYnxsfTdKZAiZ9+W651hPvcsAhRsx31BnAywPBlISs5SX04mXk4wPg9EvRnDJVoNbeQZbNoE+/hWEEmJUbpilQEWQFrQ8loUBLb8NkCVT3a6ASCXAJJobtvAV3uoN0tAsVbUMx5XDpJ5KY4fcAo67EpUte2BZZcRojHe3AX9yC0kuylfNZSMliicPqIsEk7iNSXejtP0W2/wtY8Hl3Ok9fVdbg+mtwY/YeKyhSg6hzGcX+Z3JxLdeuC+hLjQ8EvqnCTRmKKMZRh4+FqaGoicw4wz9FsPg+kD+CYeqs1gKoZj3+FTK9Dr18GS4jpyOaVy7BIamZ5gs9T/GNhrvwl9+Hg0wqgnwHWq8K5dNmcSR2GFTqMGUDeXEKnzYFXtw8w2+iUPQVhyjpQA5/rFyZzqsw3KDzuUrdcKmlHxuc+76YdDio5RLCdN6BO3qKxHFQLTgP6qNonIfHz4NmncPCp3ascQmKG+/sDA5VeEzuIJB+NxcEVOBp1nqKGAlNOZf/AuXwBCbblY2jZtrEr6Nghcxrw0yOBBrJg7bLvxu3v7M5J0h3tuXvnaU5nM5VOfSr00Mgqgt0MaMSsMtN9KoQ4NX66/L7ZNKCwbWg0cTk4Buo/CX8rf9cbAhMSnGbj9lTuN4KbDlCnrGH6wNUEWZnKJia4ECveU4c5nTLF3zXVtehTj+VOLa3+hrAMw8vI4M92fL72+/Dpl244yfIFt+c1+zIR1r9nrCT8t5zuRx5UQdlhakFJrhyYMoBWUe2gGr4GQq9hIiVlN4RlBrPlYRHv0HGLu/yP4fTDJGePIcdPwSCNkLCTl1yOnwU3vpc6UkLgfT/OatNYIoYubeIyHMw7u+jQaYK0za9u7DNt5CcfIoodFHWr0OlL+EWNVgOzXAKsGLGVAIVoTIY9RCwBhM24CS7SMZHcL2OQCzpE5TzaO28JNZ4WQfPRv1dONs/BP4/lt4sRtLrTNN7z/n32DMiI7fKWrM2soosUhQpitpHwvQ247bbngvDMGzDgAFfGL72pa9swDZ8Z8C3NmDAcHtG3R5rWqPutqgWRVHct1pYe+WeGZmRsf7rOcd4v2j1lSA1lVUZ8f/nfN/7Ps+EiuslaOMhO/wEXq+NwNtAOtlGuPoWCgIy0zF094YMGxVjvWTQcMvObbluyLCIjC5eepPua8ipvowDGNkedxcAUW4lJ2cIGYsnAHf3N6jKMfz2yzCDRwg278jgsyJfqUxMMwAAIABJREFUhIrl9VvynswzD8oN0Kh3kVsC31KYo/cQtK+hqG3AK3fh62XkTFrw3ENey+prAo8NCI1kVbNGYOc+CteGP38Gt3Qd9vixfJ74XfRn+ygaG4hbl1AdfbRYPDAyrQM4whg3vy1JP8KGA5Lo6YsQSw+h3IeSPIaoTE9Rq7UxL+aIqFEkOM838BWXlrnwANB9U3TGZJYZDsiqMTRrA1WOsLaKMp/DaQtdvwJ3+LcodAMR7TlJD+rwaxQ+eVYjSUfPUwufUX4uFzsEmR8hnZ4ioPKO9bHZPqpr/0KqBWa2i1q0gZOnv0Rz/SV4jesoTr+E1+HzgntXps22oeKL0ON95iT4GIFRdYTc2g/vwTRW5Puicw4IT4Hl64h4/yEAVUVwAZNkR2KEoaaY8DpX60nywXesQPgwnRsoDj6SlGhz689R7H4GRyBqfUPO3WSoVeNDVHvvSc1TUtkMlOu61K05qSZAOdv53eI71b0MzcRZ6An3K+yuIitjUXMH822pcRGUmJMHQgCBr+Atv7RIlZHTxRrV5DlCH0jr18UkxLuW3fuNfO9rS+cwrWJouy/3s8AGmNFEENXEpsKfxxCsPt+FWnoZenYENX8EU7uFsLECzXsTB/FZLvptv/LE4mNYv+neRrn9HjwmQs99D+7sLqrpUIYEBLYqDvKo+OMZtJihrIYwp8eo3XgH5byS4SnvWPKcnh7Crbws71eegy0tHMtvQY8fwNYuIUypNGaCdYBs52tZFJH3lqVT0V6Hvo+CkFRFLWgmEOXSZFKFCaoIRbUvdy1Qv9zbAGZjKPJept9gPj1As3dHVMN+l/WdZdHnslLLs1RAg93kG5RMyTLN7gUIS96bItFKzgie5LN5/Lv/xrF/T7ALX04hYR6KTuZTcZUa+qxPnyDsbaHQsQCVHDsvSkt3tZoPEGy8Azd/gmDpEuyYTuEc/hI3KHx5FzBPP0SychmVXUax93N4Gz9Y0EGZL1q6hqrYhZ6N4ZNUzgcep6fsNbZfExqkxy4pVmEI52lflV4zOxR2foKgsynxe2Y0qPMjJT5XJQL2mVe/Jx5lqqVcvI7s+c8R1s7B2/wOit3fImKMWLWg9j+C1+3BtrfgsTssPX0fgbPISg8+dmDGQyTnf4jKaIlYwp6KYsiLV2HsDMzTcFJPRQ6VQLqzIQRKXlhRnqIiEX7jnwhs0cyeweq6TB8Jy/C4wUSOKPRQ+MvIB5/AoxrHLBgGoHbDa8CzY1T0yzNmYxWq5mUE1AyxU7f8sgAY2Ycvl69AEZNDVydf7HGP1wQoxkWojgg9uNNnLHfA54RUa1RUwBFIWKdmbICSF8/xLnTcEagg4UFkp7NbFfKDWluRDbIjvZfQDpRCwQ6oVuMQgxdJz8jnpYjXYCv24powIDwvkc1ynWkCFsAnL+CaVNPFcLU67Pgr6S35JPWGnkzfpLN5uo/alR+hOP4GpjxA0H9DBhGEiZfZ7kKVpxPZ1BAipTnwcBzOvIpq8HuZ8AWd1+BwBOx9iDK8BC8qJWHBCwO30JxYM8I/yzOEjQ0YRqciAz+jgq8jFgiBkxF+GUZwySZs6IljHdyQjp7Dtc8j6rwqHAWJP9k5qvkEtZVvywtdjz6HY61FBVDU9C29jGD4jWwidO0CYr+PPLTQrgB0Sw4MmnTxbAwDXnbXRItTnr2L8NxPYHbuw/Vi6OiCdCPZ9WWcCdUJVP9t2PETubyRIs3hDt3NBDzpaAWptYg0ayIjKEPl5wh+vCbbSl5GuBVR1QAZw5M8nNHfbi00CabTKQpLtoYPExM+9TVCHSFt3IB38EsAM6jabdjWdamPYPAFbDYD5dqO0Sqq3lg1YT9r/acI0z3M0hBBVMIoh4SbqZP7cARxuQomvgasvwLv8APpLqr1mzK4iuvXkI63hSnBiBkrGyVBitS0xB4CfieqUiA77vQj+OzwNV5G6Ti4akgFhpEoP15FYXPEPPE6RncBz0IOwHl2Ag5Kw/aW6OUYq49YpZm/EBp1SXaFJS2/L3FfwhrBFwWBivYQRdWCHX8hKSsOiqrZrsTN6NX2edBm949E6zq3xnO42S4qP5RouJ2ewHAwp1vy/fJihfyYvfox0oKX1RmS/i3ZKDs7gk42UU7Yo7UC3fOavOgewA2/WmytZmeYuwIJD7OE6dgGxRQy5a9ql+HNdoHpDnT/WygOPxA6rr/6Y2D4pcRNg3pvoYoVL3IDJUFK5+7IYT4fbiPQI1jGr4PL8EcfQQd9qT5lZY4gH8ilMVy/A+OWoU7ek3++W/kp7N5fSzrJdn8EL38Kx05zOUEerCMgl4FxVRL0iyG85iX5PuiDd5HzQLXyFjzCmngwZqyXSZDtX8FtvCOXO7/yUb34JbD8Krzla6iO+XubImhdRjU8BMmSisoo1YWyE0kzlYfP4fEg2+qhOHoP3tIPZXtISj6W1qHHR6jqGwgJkiTTIOBZbQrH4WZmUc4eCRhUDrd5Bpzdkzij9vrA6Veiy2NFx6UKKE5QxayftRATjkZq9dk2/N5LKMRnfIgk6AgwTvOiUQ+lFuCGn6Dy6kjqN1FmAxivQsju4vi5dN09wv+GB9Cd63DZGQrF7FghF+kSkWyWuTHPO+fgl27RhW/1UZ18gfzxr+Ff+BH8eFk67NzCsVJRne2JOYUEbF7MMR/KUMr311GxZkI2wO6HUBd/LJ8Tvr/JJykjQlHp2J4hffq/Y2nrP0U+ewCfoC1TRzH4/SIBc+478EeM3fbgJxtw3C7m1EQGi8paeQzl5pIG4buQgxn+jJokf6pNuV2iIcXTwjZyfibDQCokVbOx0Fs++g2MwB85tGej2KIsh8Ltscll+JY8jQRVHMPPDKaHfwuNJUT9V+QMqsd8h8cyZGNtjCkT8iAcnwFMlFCjGlHh9TUiakcnhyj8VfjLVyRN55kRCqNRb3ZFhegmrCM5aBdDs7fLDe98AtW8DByyF36G4NKfwjByOiZYM5JtkADhODTNz1ANvpaYMAGT5tlfSQ1TL72BfPAPCAs+kzS8+g1ZMLAyVWUzBJ0N4SnQ+16WB4icD9fZgiuMbPtA4n9hZbCbeCVs6zWpj9imQjjYRepzuMutOmGoT+FduAPf1yhHT+DrFZg4hkd2TpqjNGfQZYmod1k2xmb391D9i1COl7ECSRihoEVmRr7HNeSWKTPqf2so0UI9PUWuc6n+BdzkTvehqXJeeksGPg4x4vQJTLAqlwrqD31HoOsU2vdk+WOCvpg67OQJvO5lZN/8HbzeHYSdS7DlKYzjeYZ8JoM0WoMujxZwSC6kWL3hq8ESLjeGmhOO7CHMOyi7TehiBkuDSWdFuAX56TY8bgIvfV84IfbwE+j+VbgsA/h7qgzs6GsZgAWEWY52YGaPxWoAJpXaF6XPzRSPHh9gzqHh+belb09GFTSd7DzjDRAq9uDrMCffQDdXJLZf5tQjpnDjCqqm4PMiuPcJggvfkoE/I8dV64bYHeTssnwT5c6voZovwecCJqUVJZElneGzm6wUxuwn5O5EMCf3EfBCz4vz8UeSujAEbZNP0FyRIbVfHcEUhNP25DnDxAQ356Lv7t6Clx4Ac3rsV6Xm5lfHqAgd5rmTnwsq0SZ8HufInEHSuboATFJbGIfQ7TsI4wZm+18KPJxVSYLhyPIiOybe/xJu9TaKcAXqhDWmNVR+vGBw0THvAsT1ZWQHX0gqwyQFVHwNwfQERWsVNQ5FO9dhCTtmd76xhYB/huNnyBoNNHpXkD75gwwT8/II3uAZgvM/ExYLZp/LJp26ckbYEV9CgBmyM5LpEySrd2DTI4nZY/5EFpYmzcSOYalENh7CpYvITx/AX3sDlglQ+wg2uYj55AViLu1cDSrMJSVNZTDfl8WAdY4I8eotVLqF/PgugnwHbvltwKfWtgSmZwK69KPLwPwh5pOHSEKeex3i5jlE7VUU1IlyyZPORImugxBBFSKPQwTkX/hAON9D0XkDbv/fImTatXEJk8d/Db97BfrcO/CH96RCKXUYAprjntxD8pB17UzOeYo8F78n1gdbHYv5how1Tu6YhmFdgpU+a5tyTiJXRWfkwuQCCOQdgsOcgMloPg94r0yPoLtXpd5Jyj5raEmPS1ra3wLp2RNYSlayO3sqQ20ab6r0nqQn4kYEiwSlNaj7CaZhD9X+p2hd/mNYphxmqZhYnPHhzXeRH90V3o2/9e9IQrwc3kVRzhE1L0hSUTVbqGiV4s/OarLPahLTbwo5LWPzY+jV76Mcf4L86BHqS5eh196GojmEnLmKxgcmv5n+SFBLEqSjx/D9VQTeXCC1rPBVx7QLvLr4ftG6p33m8xGcviuMuYiL7jm5IHP4pYKa/OF/dqWaIeArkAcNQqBIE2XHvcMXZAWfPUzNbe0c1dkT+IFDaVrQzZ7EpThxL8aHaLTXUGS7KI6+RHTxT+B5HjJeNLVFsPI2isGX0s2ll9EWU9HDuNPHqKg/82pw04+h63eg6mso9n6J2uoPBXBVfP4/Irj9X8o2nqC4sNmDnY9glULQuiC6JWAsByMS5KtqBo9+7PFT6WH7S+fgFSdI7/8VVLIGLQOLPeiY+qAMRTZG0H1NejbF8Ln83FYmMwSUNYQabWYfo5oM4dJjRFf/HCYt4bL70GUElTSRZzNoPlgCBR3HyA+eIW5fFr0FGOlBDfrsLuzmjxHWIqR7n8p2WDe70HkqmwjpRkb8Ox3DpJydz1GR2srpr6YaZg/x0g3pW5n5PtTy6xIPMpwIejmiKqeYSbQuPDgUJ58iDlaQZk/geRekj8iNXE7tHk1wpG5zk0WgY7gJN3wgsC0zfAGTNMQb7zFK2bwIT9Er3wYmuyhNIWkGV1+DKxgVNPA5ua3xsPI+8tlINkhlxKTAmUC6qDLMzu5BMz638TNYgj0ybl21/FzO+jJgsF4Djh3ksIaonKHIrUBh4rAr0Ka0uYEkL6Q2YMmX0BGUH8Oxo95/HTj6UNIktncbNn+AWC8JBVWRIk/6KpVhQQv25OHiodFegwm6crGq0iNYXjiZiFl5FUGVSZy/nG8LKZT1h3D4RPpFSDbheIBnz55Tu3gJenaCavYUuv8DeJ6B5RCKG5MpKeon4pe2rRXMD+4jrC8jrF+EHX0sF2SPipnD+5gW+2guvyJTU3u2D8uuIQdyUYL0658jWrsik2njNSXSq+JIFFKMAAUrbyEffC6HDo+pB+dJTWe6/zt4/W8hYt/t2a+h2tckMkpIYkBnrJ1LR0uNDoUWGib9hQ5sfAxNJZ9chvkS5yT1HLzAh5mfCME6rp0T/Sc1XEVVotb5DrzsEYrJNlTrttgbvM0fihqTuj3df0u6VRh8CN39FgrMkRDiRk9tvo+Qvfkylcikpfs3UtDzOYxWctDwhea7j5yxaoKe5ttIlq7JNrkqLUpqYmYn8Ngb5O+HcU5uphWhkffg6ldkm+uxD9p8WV5MqmR3nt/bDlIyPVQDXtCBosowoBXlmfwdBCu3UToHMx7BZxJKlwhYZTj6DOXSdQGvlNu/FnWlv/odzId7Eoes1wPM9j5Hs7OFtDqTSgdpyIaDz/pliWhXfgfgYJXRdPYcyxNodlXpLi4ygSWBF/SMGsQX0FRwMungJfCmj5GHK/AJMwR9306I1hVhZvkQjheVxmuwB38P5I/h938CK77yf5CtGY0JZHNE+RBzU8DzCIj7AP75n8p3z033kY124CcdKJK/uV9WtDJwCOYLu8FyuhxegCYApXoBU78Kr30e7uB96NYVWPqbTz+Ht/rHorJhB7OsagiWr8JWZ/BVE1qAT0NgxDheHV73FZjZoUzLCypBuZ1nTjTpwZ+/ECCRaq4h8M+hGH8unlwnB41loL6Jghu91pZUetLtd1Fj5HjpMuan2wjDuvQZi7SEx1g5t5FBINUnw/qL1vCChOlRoKL1JIVu9lFFF8T7rQgJJHDWniFXPqLmTZneg9pR3YUu9uVn8GubQh7Wfg3I+F4dywWVNOuUhgQyYXghGz6Hnx8jiLvIOMBubkHJ0CqAqfWEEEwOidNG4v5lc102As7uSTrFSxqo6IDuvgo3T2EGv4B/4T+UwTJ/f64eykXLjZ8h3f8czWt/RHz0QqtLHzGHUOUYeTZAHJ+Ti5Ze/Rb06VP4012kjKLXNuG3WQ87FG1sOfhcDk6BNXBLt4DsAVy0Ap/foeYmsoMP4LGXrSvkZYgwHaLwA0T9Wyiff4Bg9Q6K6VNwFUQLj7WFAL34/OJ32agaVDUWMj17o9z6kCnCQRbPFFFyRVgLtHNobq/zMbLxASI6vituN54hWr0DKB8VtbeNV5CO9xFt3JHPZT58htrm68K3cRGTg0zELcFu70CFc2D5+zCnX0B7tHTwe9GCDX2pEbhaHwmHv0e/Q9G6IZWegINUMhNYtZqPgd4rUn0r+bvrvgaoKYqnf41k9Z/C27iN7NEv4C8x2Ufi/QAhq08UjR18AvTuIEh4iargze8hJ4maMVZG2hlf59Zu8EyGvcbMELQ79IwJkZ89ZxTbMEgkHWLLKfyLP4AePZaDog4t5o9/J1wIbvP86ROUzZcRlQfImSZovyT93Gw0gBcb2PQMtfWfoJoeYHz2CL1uH+ZsgKJ1hSIKFCRmRzXEZCJ4DmVeSiIuoBr1+APkwQrimpK0hC1LsRWA8GCCsfj84rsu7sNPX8hQhNVPXmg4XFVLbwKDD6BIkudAKGjIWaLa+XsZBqnN70AxgeImKA++gmtchkedNKnzjX+MmNPuwvf18CsETBu2by5MF6MnmGUz1JsbEglW5+/ATyuJcVfDZ/DcKWx8DgHTiYTyctFx8gk83YDfXpPliqr3JVHFCLuLCQQew4rFh2e4PZjedT6lRbXIqHvoNZB6HXjTr6EEoqcW5HcODT3CsplwzElQRWWNbA9VUaLMXiDqfBeuex3Z3f8V/tIbQG994fg++QiueRMBbVl6LPwHQgITXkTSPUTX/wNM7/+faNQvLy4Hp9so57sIWClr8LO7s9BVs4p58hR65WVoDix4jrA1WPcCLt4Us4p/9mxBGO/0EGa8zMfIqfk7fiBaUtu8A3X6WIbYenkLZkqF9DmY7ADFeA81AkLbNMIcI7anYnBRnRX5zHrZHI6Qx7APe/oRXD2G1WvA4CHQqKG2+l2ko0MEtQ4KFyBivY/n57KUKnLFgR/rGskqSq+Cykrpu2dUzpJbxcoS2WJ+G/ns+aKm0bsOdfyQ00KpjhjdQ7h2TYZpjimVdIyQl7iQw+0dxEELaTFDvHQF1cnDRWqleACv/5YMuXiv4X3Xm00E9jerXUGtsSwLCpcPkDTOyZDScDjVeUPMYkzI8mfjMzglsC8opH9vvVWxcQQnp3Axu+EafrcJBDehhveEo2XTDEGtyzAEKp4jBo8RbP0MtXyOdLYP034Zcb6D4uwFgrAHQ/WscjAeNYvbkkzicD4fPxETW8jaVdhGOdoWzhOfR7RvFLx8FSMZgqjeDajjr6BY8aaN6NybcAfvLVKetTpKGyKpRaiGA3hL1IBegHnwl7D9O2K+cs/+DdS5d1AYJRYVw8VddoRQgNe5nGmpAS5Od6D4HJzxHNaBV1+XO6g9eSADw7j7CrJyDp90fQLtgoaAyRUnE+UuwvoVpPMn8NUqnB5L3VhR0+71kM2foh4vI1U9hKOPge4dWRpwgUcIfC6DBQOfn6coQTYbIQytpB5ZqSJnKVjaWtTrBg+QrP4UbvY5sukBwsbryMtHiPxLQG8TZXoIrYlZp1VnD3a8TxQfbP8a0oOv0AgbAK0jnZcRcPkDX1KRavW23AG48PFcAxWT3x6rdxPo5g1ZPJenjyUhw2Rr0HtNbAwgC2Q+he2eQ1BNUXLZnJyHKqcojv8BScQ6Fu8e3zAB8N87dln5FzYbz9BY+xF0XcFOXoiSMFK5aFOkf0kQA/3RtRXkJ88R9BrwhimqRlP6LtWLv0O0/oZ00vLxHoytBNIRkbx6NgCmuxJVB/UcmmoV+s7bUIQxzL6RF2hBtdjkG7hwBXHURuqHCI6+gG1cgcep5JxpAAh9GyaFm+zC1Hwo10XUWIGxhcA2PP5huc1tXpYXexlfRFhvoRrdQ3W2CxVuyJQ+IDkx0fALqhLGsIZfiJtyGNKVFfq3bqzBI6V/+2PMZw8QXfkhVO1NeOlnUME6ipPP4M2eINr8GQpubOkJHjxEQaiK5cVpVR6UfhIjY+Rdd+AdfimxP2/tbejxfRTpC0RUdhCASCxavIo6v4jTAbz0hLMu+PzlaqYfduFTxVZfRpqO0HIVZlYhIpgo6aFkjSJ38u8JPqliwsnoo46QFUamw9KTdC14GCH3G2hwy8loU3NtAbkIz8MyJs/pEvVY7LYtv4GA+qbhZ/A4kGhuyUQt9h3y6fOFP5x+Ws0N5WN4s0fwW1cQ1Dl5m0sHW9G7TECXyWHCTYSekYs3qfx6xLpAH6WoyAjsClCdvYBauwU3O1hQNWuX4bPTdvJM+oY+oRjmTP63hdSRMLq0BjN/Dg06zguYuIfQD5Ae70IXB1Arb8BXpfSB2THmQV+Rrs7Olp+gGH6KKLqEMgmgJgMo7aM8vouQF6CgDseBiDkRuBS3OarzEhRjrtVzqT6UGaO1JRQP6WQ+gD9XD46xdQ7W6n2JXBsOqPKJkIS9pbeEtErVSRCtSbyrOHgXweqrMrwopzP4mrHl6/BDXoQmHPYCZ7+Ef+Ev5JI4m+6g3llDiVjAiIUEmQzCRgfjvW8QdPoCCbFj/l42RGdUegZo35a4E9jz7V5DSdBfUJfun1+RrN0BMr6QtCRkvMM/IK8zznQD+vAebPMSnDUAAW31Dhzhe02S7o9gEzrNH8tWlFFTRv/ZIlC6iZh0dHWKjP0O/jap4+GgaDRGWO4KaJGcEE2wZ3EEl+VQboaqfQUBv4+jbxAFNaS8IBmFOB/CqEo2K3z2MLoPkm89Az0/Q3X8EfwL/zHQYLrl7gL2WOujOmUMvEBCTczxPZjA8eOIwpEFkMDWSRxmvJI+9N/BeX0oPRUQJZZui9u+4kGHkbz6ObiDX8FvvQSwHsPhAS+GBMm0Lsjfo59cIgVJnMEcQClu7CqFOGmjIAei8xI8bWDPqPNqISLcL6JOiDySBH7+UP4uXO82quE9+IkHnXBD8D60S2Dal+QwwQsz/d7CPSD1vkFlU4ns8H0kSVscu4T/ect35HPPSbjLn8Hf+ufA8AA51WVBB7Wgg8wOBX6YZLuyOUC8KVBHAuaoYCWWTQY7zZuLyOv+l/AJcvNmKAsFN3iCMnZo1C4i81ZhqC59/ms0L38Pc6MRpccoGysI0IWZPEJVrwu1d3bwAEsrt5Az2nbGgdVViQtOiwECXsz6r0C9+IWYFoilTidfQG/+SA7XAvz0fKiTLyS95vd/CJ1ouNEjGMI8CRQqc3h6hkonUOEqTDqCz749O33zKXTC4XcfcIG8V7TlRov1mE358+qzHYQrl5ARlDobIChmktoyekkAUvznleP7Ai1EM0Q1zUQLZ2i7mLyAR9KyUwI8tLNduPZ34SU+yskTBI4Q0I6km9TGt6BcuIgYn72AXw5F2cX3SxFdgqrliAolB/9gfoSyQT3jObj6MvwkQXG2IxdhgXFVGaqqhFdvAGcHcFEAbZjy2kbZug3lhyhPHiJiF5eWk0ijzCPhNmhOUx2dx12pvRDIllMh2TyH2eQ+AkIowxBhuIJCT2GHh5TsyWc6PyAcSSFa2hKQVGFOERKWVBGgNCe2F0rVYM4eIrj6Z9Acbp/uCROFrudw/giu9S058JlqhooXEJ9Axx0EPOA0L8JOn8Gr9aF4mNMlsulk0RWdjJCnB0jqq3LQM811JOw+Tz+FDa4gHD0VlRzfwRU1mLR+NS/CjJ7BBRpJ7aL8HlgVRDWUwZGNm3B776N25U8lCeeNzmBI9/O5SdqFYhy2/7rAd/NxjqTTkZ91+vBv0Xjtv4LWEczoc0m7lb5GsHRNIKOOhpmz5/CZ4jr/PXgeI/JzFIyO0qhCO0r+DRQHhd11YPtLRP1rmD75vxBc+Peg6YAe3JU0EpVYBJRym2rSKbJshGTtJRheAKOuRPu5hNHLyxItN/EVhPkY6Yt/hXprE+XV/wyadp7RV8DK22hWh5g9+1AuYbZ7awH0VQW89ddRnDKBSAsio+8v5Ge2itrlbejkCkJrcXZ2D/HqFXijGSxtRExlzR7Ips03IVx9hT4iGAK5SCDnWeH4UyhuzpK+8AgCgioJ3Jvtww83gfnnwngIWCKpNxHlFvN0DK+3tUjr8Z1Lfay/JkM7vf0LFJf/fYSG1dAY3uFHcsFQS69CjT6F8bpwWsuWmBd8po6ycorEcdDPfwa3jw2EoUZZni1OGWeHSFpNFDYUQCOj13GNcNoXsFTYpYeoeLms92D8AOXeF5KkU1EE134ZdsLUZwzHreX0Ecp0KhpAN3gEv3NZhmT8U2ijkVVj1Na/C3vwLhwvRjT9cIgX9hDFK8jzGXzlUNB+wAvv8m0Uu5/ATO8hvP2fI3v6ATySx9feEIe4ZaJGdxE2YxQpI8g1+TNr+JjPHyNkGnPpJWRMfLGWQsUkl1C1DUnHUaep29+DjWkKeSEpINb2LPkJnoeEF9vJfWEn2Yp1OW9hjxk9l/8c9XMI7BBmyk56irhxDukpP/8zdligO5ckmeXZAczxI6i123Bk6HgJgpNHMPzup9QTXl0M8x3Vi3x2LsO1VlE+/YUkW/2N11Ee3IWNlpCoGUqTIODd5OC3MGGCenMLaTaTNGTQvrDYfL/4B6mP6rULMvQ1o13ko8eImtfgVi8Ch3eF+cUFXOwviUWIdTymCufZEXzS9Ql+PH4EXb5A1bgDU19DxO337l2oRiwmAIF38l1lNPR4F7lXwa/RapMLrA77HwnIkBURs//38qysNn6EiIpe9vnJX4hqsIbvKYcZNdHhHEl8Rfg86ek9BOzir74qqT/4TEd2ZbjtM73KeuM6oXV3oTx3CJIpAAAgAElEQVRW0XwEBNkSGleNJclKHo7l97POi+8xDG1QrFz1L6Gc5fAEeJ4ukrdFinlRIKaxYu0G/JFF0uthPhlDz+7Cr12W4W5JEmHSE4CrJRBUE+7MC69iCFOGga4aLip6BWGqND0p2H+EvDoyCZyC31pCtX8XAW0+XZ6td0STyQWI/HuiJwdfiCXKa7Zgh4uKdszztWPCpULlRXI/YT3AyvuNNPcWyqN78HhOa11Dtf13kqCiZp0ikiQySFnBcBpeZxOx9ZDR1uIyScKHaQGr58gnp4haFwUCWjz7BWxhUeueh26vwsy5yNpF0KpDN6/CjPfEkJGNTxA3Q7gGPwchsvwMYXUi6SkdEvZMh+cRfKwgjEPM0xPhAaj5AbyovTiHkQNVsQa5Aq+RYHp0HzolLHtNTElq/OF/6xyaKHc/AcwJ9MU/XoAfxgfy8Obmgyoqr874wTIc/wd4EKC7NNqEmz2HzcaIVt7E6Nm78JIQXv/78I7fox9DJmP0ghactPZexXTn96gtXwB52Iq94/qq/JLBqXrvDfnwO3cAv8XtwGOhqwbgRfcAKjtE0LmEklNgbgdGT5BNdxHzS8Hey+AjIbVG3WUUZYQwbKI4/hIeH56NvqjyqNkKCl4YCwGXkZhIAJMlRZSbAKVhqxKWHVpesg6ewT93Gf7S6wDhLl4T5ekX8FZuyWSc3t+cE5bZM+mkEgLEi2RWVIirU6RxDz51bYefizsbfmcRvSFssPBg41AoqJaTKDcXIEjZWILPSwajlc4gpBqL0wxdoKQiLJ0g7JxHPnoKj52V+RCaGpkR4VnrstFlLKzRfQuz8deIW7flBdHqbiEfH0CTTExtW3MdNh9IJJ++TQKHHCm8rVUUjCad3od3/o+F7l2N+PfwQ+jBM2SMK619V+KdvublrEKlhojCdQReDenJC4Srl1EefgSvdgNVow49OoALLdC4KodGbkWoqqksu+gpFL3ke58i8KfIc4Uo5NV9Al3W4K2+BLP7qeiUQl64+ZnxLEoyJBhpPPkShn1GF0G1b8IQ8jb+vZDdg3oHdlzB1n2ZZLIy4BNER3iaxxf2MSLbQEF4n4LEAzlhoiJDukbiYq5ky8LPONUo9GuS6Cnxqdm+AOo4YUTpAa4Gz+wCtU14ox3k1MNwQh0U0GUGr3YLLtuWbZB3dCzpl3B5Cy5uIT/4PZL+DwUkljHiOtyRtAtrDdn8ORq12yg8bqIM7OkLqNYayif/gOTqnwk8xbGHRNUb2RVHX8oLOiJ8hNuWo8/hd+9A914WR7FrbaKaz+Hl+/C6d6Tz6asMVfcqwtEU5fy5aJ4iOBmUlbzsEaTU6gE7v5UXQbDxz+B2fgPb7CCMO8hGNBwsQ7M77TM2ugNFGjJBT51XgJNP4bcvLDaHphQWA6oKjp3pAfu6jFouyfaQfmnFyCMp9UJhJc2Y2iROcH1ES+souQFrsq7QRTl5CDVkF64Fk/TkdxEQXqhT+MO9xZAyvgJv/FDqTq67BT09E9AZqzeE4HHgxRgeaxlu9BnU6j+HN/saReWgGj1oy0hlA4agvcPfQ5UOLorgU2c1eYS5IXDnxyhpOvDoySYMlXFrOuXZW56Ll5n+WTueAJ0LsNQwrd6QA7WaG/kcETmS8Znbuw2P+h/DHukGyulXcrnwVRf52edIohYcvfPGoDj6Jfylb8OFBB1uo0yPETKazKQOP2/1LrxoFRVBifvvA4zx976NcP4NijxFGK+gHO8hWF5Hzi0EL20cuk7uC4jUZEagamk9EfJ9Tuo2eROcIieX4HweoFehR8+E9kxyOTVHtn1LBAfehIYIi5KxRX8NSfuckOLpO7fcKsXriFo0YZyiGrEP2ULc7QGDrwQWBcYMhx+i8ghUM4vDkSU8cR35i5/D9X8sB2Sq+shksJMvhdTLqgD5JxWZNSFhfF+Ks5oT+CJ9IM8AvnTpObfGyMASPIBHm/CnDyUFpZeuCquAMD/Lzl2ewyraIxSqism4HJqaT/ZOOYQ6vQfVuyx9cMth6xf/i3A3bHIeejyE81O50NbCDubkuxCs69dQZIRvEhx1XVzBAeFi7fPQ7IoTkORNURw8QdC7CZvy4HsDQRChOjuAV4tEDyfgKh4QNt+G2f2NVJZIG8d0hqDZwmy6Da/z5mKTw5/VnEBlGv4SOTGFULvN+CupA5rhrvSQqb7jhlDzYjy1MM0l2WpS/6pJcZ59KhH+oNETunRO7sTwG8S978Ce3ofVY6jmbVhvjnA8RNk8D824pAqFMSO1CUZTeaZQFbLxIaJ/NGiQ/Mx/lcN9+NzkUkWW8XuiJEmj+P/P+k8+gebGxGYoCUnz2tBuFbo5h0qpP1skuVg/UlVbBn5BLAQNBHoT+e7fI6aujpH7yb4MWuOYHeoRgmaCkkm/8XMEEUeqbZi6BzUj4fkl0aGmk4fAyrfl8MUuvArbi2FBsSMgYr1yFboMUMUt+MNnsKOHqJb6cJNDxL03JekimjfGoLldHE+R7fwc0aU/gT+eo1q+Do8Qz+PPYEwNjsMI+rGb51GQdxFeRLn9twhI+6d68ngbweptKJo95i8wn+yj1X8L6cGHqHY/gbpCjk2CmCo/xq256c0PELQaKHMf5uB3iOpbyBt9uGf/N5D0Ubv0F5jvvi8q5aS7gfHBZwLiY7Wu5GV6OofHiPv0FEi4Bu1DqxJ6+giZi0UBW2tfE/uJPflMGA7yTrIpClZcmILjgoPfB+1Qku9BtTE7sHyWM0XDjXjGhAGZGUbAm6Tue92XUM7GgD6CS/l5W0DquJHXZEHNOZxYgapFmH7zV6hd/Aup/RAobajY5LIoacsgWwW8eF6GLlLMHv4lkvU7QPs6QMg0z0i1NWDyROoFeTVDrXYOFbXZR1/JsJ4XfMULjQ7hDu4CAWtmPQSdVVSD+zD1dcQtRviBYrgPy+WIRL6PYb0VOC7OCIfju3T8FcpoBVH3Ojw3RLb7KcAUKwFg/TcRGY1JXqDZbgufqMoyaKZyl6iSc5KaYWrKNpfhDe5K9ckjNLu1gWK8I4lVv9bF3ISoTQ9RUBdY66GmgEyz/hcgTEeYVbuI+ZfUXF8oI1k3C9jTnsnFSqoVzZdRDH4tdPaIjAk++O0E6cmhMB/4TOGtjouOangC01hFlCyjiPhO+gDx2psyZCW8QvH7X1B11oed8py7hGq4I2ryeO0dFGePYTjoY33Cki3B5cUrMKFFvWrKUUxT7cwOOBzmrADMHsKjcYLg6uIEKjoHS5NPax2V4XDuY6jOhtgTwsYVqW0EvsZ89wP4vJvwmekNoGelwK3L3iuImudhjt+DTueIN99B+vhd+e/xTOMVpwg8hQnBbq1ziw25l8F4m4jy+5jzvNt5DVpRL1qDbnQFwDkf3Edt/ZbwxuIuORh3UaaniJdvIeOZLaqhGp0g6q/ADHYRNdqSnCUXggkyw58tOxAQb0DQtslRrG4BMwuPnKXuSzCTu1AEIWYL49nk2d+j2b8E66/CckFab0il2lCtm45IhkA+HUkSmCBY53nwYgJ+T+GlT6AILt+/C2/luiTpclrRWKfzFTKeS3d+hdrFP0UeEvhZoAgT2azTssLNPT+mFVXt3Rsw04fQdg5VuwIzuIeqvimddjU5Xqjbm51FjZVg1fG+fL9svouCqenNd+ATdDl6uuBw+R2pU4qdq5xh7kIEqoWQKmNyVwbvwzAd7U/h5scI2pdgE969zlBNnyHi+Lp1WdTvtLMFvTtQZAtMv0aRXIDOpwiWm3CTdAE/ZNTfRfC9An4VIt3/A6LVNwW2aA4IDKbeewzjhfCYBmSKqbbClR2Kg99DJVvIWOlZfgn5i38pOmvdeU308XFzCWXh5GtF/lBaxuh2QpydHaLRv4HZ8RdQ0z2EF34Cv1YHBsewcSnWE1nILl2GomIymyLLD4QBpk4/+B8c48XmeB+mUUfIA7nXwvz4V6iTyN+8syDvhko0M4y583AHTiUY2eGWcXIMW6+Lgirf+1uJ43n9O6JnEcgIyeBLW3DU88m05jIKbjfKCsXJ1yjP9hBvfhe6Sb2XjyybSdUg1IFM0spkDVG5DVt1pV9BcFxlA/j8C9djGN2G4TR+/7eI6tdRsR9F6vx8WzoeuvsW7OSZfCENSf9+H+HmK6ioG6JuIbdw0uXVCNpXEPHCZ2vIZ08WjnHmk10B5+fw81g2pLqZILLc6B9Bt16CjpZQHb6LYOkGnOrBxhkitOTgVM4PJD5HABt1edJnZiSd/0clIZgzjZFvs2do4G/8Map0RzZEaukmfE4GSdxf+ZbopGyeQ7XXFx391sWFa1XMA6lQ+StuMzhcaV5a9DanxyjHn0HH1+Bx2uqVKPJTVIxdEcwYVwibLy0SD6JLWxICth8mMLJ1X13oRyZHqDVjlPNSDraBO4UfkzQ8BRJOqm4Bsy+Rl3M0lr+N8tm7cN0LcDxYdF5DdvYIPqEiaz+FN3koUSg7vQdVdRBd+wnco38Nu3kLKrghHvScWqJ0Drv6iiidQlSYDQ4QthMEwQZm8wHi4jHU6h/JEIrx+yBoo6KtoHluwQuhczabC3HVa3ZgaLBgpYWf57RcRKPafNjnyHnhbN4WerrRJdTZI3jdm3A2A+p3YLN7CAwvi2dwuo2Y0MzxU9k8Wt+IY5jRKWsUwqWbmO7/ErFwJRgLTeUS4ockFyuUp/fhZhyqvCU9agFcxTXoiHHmbYRqjNLfRFxvC+nYTR5BkYTrL6OanaDY/9fQ3Z/B0pnrjaFODxBf/omQk7npYWxakexPlkb91gKgSDCWHyOfD4XpEDJ6SQhYs4ucETTNHiuJuY+QZRVa3XXkuS/1hir9GnrmoDe/JzTW9OGvJPlhlkgoH8GzEVj1C2srMkxhXJkPKgJ04skj5M0NRJ1LqJ69D0eGxpUfwR18Co8U+egiLAFljK/6S0LdV1SicLjY5sEnRbX3EdyFP0PMDebp1xI9Y9WFk/7AOaQjMi3mCMleiGqiddGTJyhMDL9FojotFMswO5/CtvvwGbWk3q52FVi6BJcVsomKuq+iqHL4s6cCvLKKdF8Nx76kGtNniLBFYvGxbIH5YqhmjMK3BarjZ0dsH6OKGjCHH4rSSL4rvVcXjlt/E+rsN1DhNfFWMy1CKwRdtJr6u845gKRgqs6sQ0oKOQEufl0Ol278FSpOeldelSGDJZncayA8fYIqO4NefU060gLsAi9WHSj2BHmYM5yeswO4DFMey+GmICXcZvAb51ERGMoDrGGXfgRHpsvJPaj6uQUborkMOxsjZvx1vCfPdb38A+jZZzLccSt/imz6QGLByluTCXiV5fDJkwg25PlKhU9Fcjphi81zi83M7FAqRyXduHYsikeVvhD4a+HVEZodVLWXxQahzVxqKkF+grJBG8ER/OAlWOrzpo+hOExjmkU3UREUNHoM1/su4uJAvMlqNhBoJTd+AU0wmoyTTA6aKt8DpocwHLIyvWM92Ok2oqVLMoCtfE8qWpg+kBewZbqMcdi9TyR5wn6u37iE4vBL2JPniNUUuPYXsJM9lEy7UV2nK6iz5/BoDDn3pgzaGQ/2+GXh72Oyi6DaA5bfWfjhJ4dy0DazM/itrgzczPJbCFstVPkIXnQB9uRr+V5T+RpFBmY+QBmdF2pzWEwEIOciT3raEuOMaLvgUMQiSOqowppsnhw3gfy8oS1/TksXMRNxZ8fyjrLtC6I7raIW2/FITx9LskRlBPvehq32BS6nzp7Jz+R63wKMRbK6hersMSqSo4MNxGG12O5TbcguJHfyfl3YFKRw684d5Kefo9z9AMmNv4DH91d+iGDppvSHHQ+vXhcVf8Y5YZwbsIRz0ifPzaVcPupIRx+hVn8ZlaPRZgydRXCsgfCwd/wURbOPIOXvkZdTD36dkK57MM9/jua1/wgVlwbHny1gbMdfynuk1tuSYTB5BFFtHc4OUQyfwOQa0bWfAc/+LTw/xJzP11ofXuCQHw4Qbt1GtfsVNCtvrctyKHU0ENCRriU/A9gCYMopNKIwK+f0P/PcsQrFc8TOL2FW7iBCG9nwPXh9DggtHIHH6/wOZFAEnfEAGsWA2YVSq5hMczQIY46bovik9UfnAygyd0KDImYUvwV99pVQoqmKcjxzVWNktFNQp+lZBLUGsvE2ksZFGL8HV+4gis8hsz7Ug79ESbtMu4uA78/2TYSddZjn7woEmYOTyckJkks/gDn+g/jRF5BSB8slwNINZONHKA4fIFi+swDE0oARdqBnD8V6Q5UxKxWEzglDpXkFYKrTNoDxR9D+ElyLC4HPYKIuPUnI56fwpEPchtUT2NrWgn6e3UeVBwjKfPHM5aeQS5zgAmKmk5r83T8UarzLQ5jeRQT5HqrRETQHcLOBpLRUb0s2j9RVUqupW11JFVVnz6DCLpB0kQ/vI2yuopjNEbEL3r8stQzL7w6Bdo112HgNHrkag3tI1Qhh+wLU6EigybXeOcwHu6hdfBXVNIdLPFSP/hLJ5X8BVRwgm9HARNgtNXhniGo9zGdTaNaazh6jLEo0b/yRfBdP9z/AEqts6SHcZCD6ttnuQ9Qv3oQf9lEwju2mMqAJW68udGSsX8rfuw8/dqholOHFv7G0oNqXZP2cF47M/PBLLK3fxpQVGNpseheB08dySeM/t7b8DgoO/odfydaUdh5RbM8PEK79AJlJUTMTVFTpMinAAe3pC6k8kdMw3/4IUbuOIFwX0DhtDkz38V+sdpZ8N3CLXE6g/Sb89BhT5SPg5pexeW5hay0B7LF+B6/GUyWIINXT5yhbVxC5BLPxA8TRMlRvVe45mEzhL5Md8RAOfdEG4uB3AE0HRsGMt+FpH3l3DQmTI+kJCvBy14VNnws7iAlIw88Fl4nTJ3AVFcWbcm4KDKQmQaMRk1+GIOJsCJ/LLiaBVQ7PaajnfyOLRA6li8FTaG8OV0XQdM+ffC498ZBLANLij+9BUftHNTcBtcw7Z/uwflMqR1SoazKqVl9Dufe1xNOT7m2J4Bcnh4A3hx+vCJzO8S4VL0uNtUhH0OYEJurBHd2XhFZc62OSjYTtxncMB+DCGePgieyak20kvkWxfFWGJUxdeOfegp2nUodUygkzx6tdRkQTBc9+yXkEnSvQw0eLmpHNESYEJK4J/J28DQ47wo23hVNBq5EqTlDwjllfR8jhuCngXCCJnDLnHfYEVU7Tg5Nqc/7iD1DJCjSfvWYCf+mGwIbVyVdA93WY6Z5wZHS/Q6QVdGdNovRVtg9HgOrh16KHDW7+OXD4BbL5CaKV2/I9zJnw7F5HMTkV/SvtUEx3IewJ60wTrknOBV/9rQ3Mjj5HkOcIel1JrjqTAPz9uQLlk7+TlKCqrcLWGvBHVI6ewPi05ZD2RK03AZg8F6QCT6zsXH4vTMMi47OWyUQN3zZkEEXujBr+4X9yfkWYSg1psCIvBp+eYIkyjxF5Gtmcf2Gcavbg3ARqPhKlSGZG8DtXoAh0QYiwlgDDfZT1FXhxDV7rvHQUeAE1XH1Nn0vXIsj2UYyPgLUteWjXud+bzlDmT1Fb+74Ah4rJcwRrb8uBg50mx3hInEg/wjWWBXBghtSMvUBM4BRBL6jgJwQRTYB5CVOdCuSoSnoCaKmO7yFauw3LA8P4Hvx6HyUp0zzc8FvohQKQk8OAGQOMFjvA5DOJ9nCKJ5F66gEv/xOUg0Mhr5Ye4/ebotVL4g7M+AhhvY8Ztxw83IUtqVDQ786pYzUfykHHVt7ipZJwc94Uyr81A/j+JYHlUQPlrf8Q+vH/gfHRPppbPxG4BZ2k5BeUWSUE4YD9T36KZhPEjRoyqtvYb51WUNP70u2qvGXoOAcmM9nMlW6IuL4Jyy/44UdSMQhrPYmG8svk08U7OUE1fQSEfYkpcexr6x348xGqs2+k7xl5mSiwSM4PCSCpKnidHowlwIwHywSz3b9GtPyGOMerF/9GiPuc9Mf5DFWtL9CcfHIIX3dh7AAu1/DWt2CP+OJgn5eHvmOAkXES39mFKTiYGcqmmCvTkukQArlUJJqgImfk5wMEKz8UWEmgetDZDrykLg8Ib/9DFLUrCKkqW7olD4OSig/rUKVjgaDoZF02RoWNEZKmevJUoqdoExTGegcnuhEwfgjnXwQaTWC+LSmQakIl5gBl8woCklJVhWnSEKgbzh4j6L4BhwlSalvGu/J3y+0ZXxIu4aSOm84hymADvhnCS09hqjqcnsoWg1qi9PAJ4E6Q5hVaV34q1Y8YBsV8jMIcIVi6JeojkpEV/bfU4BBOxYd/3JBLbcbuXsi46x0g4nBthtgUKHhRYuWoTtVfATt38Agp5PYhYoSZ7noPfmMLGdUsHErRQTq/B9V9GdbrwyufycWkmMwRsAumY5STQ/HpkgVRHHwCd/1nqGMZGSf/k4eLFyta0CDgzkfSPAc7fSIvLGq7qloDQZ98hwrR/Llsm3MzF6p2wvguky28UM6P4Nc8mPiGTOR5OPbzPeTFBEnQByKH+XAf9d5VFIzHu1xI0gRZKp+7aoJlDDz7FIbqNdoOTj4R2KZdeg2YPhSdDCO07BLi7AH0yg+Agn1JAo9q0OO7RGMKSElVPhArWC+Cp5bgsqdAegbV/zby2b50QzlMMMWpxM/4vGL3q5gcyuexsfVPUdFCoQYInS9wHz6zbPYQfv9tXscQzXdQ0NsbRvCKqRz8vB4ZFGSZMCRyBuvqSDoXZPubjvfgRUtQ5hCo2lBLGyjSR0h0HyljgGePETZvouJJmrYGDjGZYmleEI2NqiKY9jXUqvuogk1kxQjezt8g3PovYFnjMmdyELfjAULfA3pbopD0CeCJqfwZC1G31D6ioAG0boiCFfmCTRLEmygP/z/4y2/DZHtIjMOUYLPt/wcVnfStm7Djr1HQw15flo0T3zkedUy2gCKzxNOcEcGdLhgr4dIWiuwM3mwbaG+J6165FkrqONsbKI+eAWomdS4OAfOnv0QQrEMTUBs5qZ5V3JyFbYGM8TMPgjExgu58S+CsevYNvOQCcpPDHt+VqK1mTcYpSUrxohUsfRcV7SPJeZjxPcS1dWRpAc2a1+g+yqXXEU2YQvmxRM7d9GwxiDn7StRD3ubPxKjAPyuNDpY1FGpdCRBj5zF9ASuRWG6hPOSMxM6HwvQJw4Z8Lh2334y6978jA2pHcnTgSzWNF2gzz+CGnwIr35EDFOFokhwL12EzaqwG8MJzKPZ+IxsLGm0MUzo1Ksem8BqrqIYP4ZguofmD35n6ebjmZVS0L5xuS7rAJ/gxpLK2Ad9Lke3voKr2kbCLHISYslLEJl1rCTZg9Y+e+oEMR8tCI2iuYf70b6BG24je/K8B9qstAfU0XnwtCibGqCtetsJ1oHcJ7uQhgtiXZyUHbSY9gte4DJ20oIoRiqSDgL1L9objOoLRE5jOFszeH+AtLSPqfAfV7v8rsGCPl7tMIWiswakh1OAxXP97MOW+pAT9+DzKk/eQNLZg+68AA6bZLosGk7pfQ4J/NUTE9z8v6C1yXiKJqc5OP0Ct8zaqySdQaMDr3IH159DchvGSGDVQbt+FGb2LWu/7MJ3zEknPSbefHiJqX0KWnkEvXYc3eYH87BtEm6/BDvah4hoKUtbzI/gr34ejwSQ/EyaN4WbLryQBqWJfNnx6/DHgUe21JupGs/dItoTh1p/BvPgAutuXBJKZP16ASIspYnqt+VmJWG04hJeswLKaYw1i/oztTTEF6IJnsEMxb9jmlUWdiEPMgM/AAYJ4Q8BgJiKUcQQ32YZb2oL2LsNmj+XSwfe44sDPaUTLd2AjC7v/MbIygN+5BD36GJrVtrXvwR39Bu6IyqwNeI2GgOHoKXfs026/K1BJUr3RPAfPeXBFKfXC/GQHUfeKbOm9dIh5PkKycQd+dBGFQD97cBXPj3uYzTJ4SVfYF5WdQjVWYaYjWH0M33IzW8GmU3jrbyMvDpHw80zryuFvYch3ovpy/A3AKhuTqdTVsueo63CUxFYcHuXw2xcF9Akm1+IEfvMVVPSsWwL2uLxow/K7rHhGjhA328ipI+PWuBiinDNxw5jWBiy5VIe/gqVtqnFVqhfwB6KedEUESGR5KNUlDhgd/e0r7wDHX6M4fYZw4w0ZcrF6wSpAGDM5eAa1fAXV9m8R9m/LMwLUSYZ9GeiRAaODNjQhbgQXEqQbclj7HM624HhBb11FevIN1PQhwsbLgM7h6puScKiOvkDUu7pIRhy+L/9cxvydLuCTXWBKlOMn0KM9eJc4WG1ApTsoRweiKM1Pv0TgewJWDgMlPLSs2RWzVFSmyARmOIPf7WH2yV8i6F+DWvu2vAvFxmDIgujADJ/Ku7UgIE57CHvnYE8PUYWhqB7NMdWHm3DpUzn/akLVu+dh8gqZPI9i5IGPxNWh2udh5nuwsyH08m2YZ7+E3+xLZbWcvZC6SLjxOtLRIzF28ezgEaKpWI/mObmkBwYho+rTXbiyhqp4gZDPuAbfc5/B5ifQq68zUQ/jLUGrOYqd3wnTjIvHcu/Bol+fLEOzHtjegL98Q9hM1fCxVAstd9eKCtcavOSSXLiZ8Gxe/QkKL4Q5oQZ5kegopzsy8ESyAnhKrBnICEhemM/ISPDyOUxCQwZTzEygzKGzXaB/awETFaq+QTE7ELYEk0GEHoasUaRUcmZIepcxf/YJfN9At6iBXCRE6pf+XWS6RHnvf0O88ScImd44/RgZ2QfchgsWvUIxPIUfltDJOUkOUPyTTZ7Bb/JibqEHX0D1byKvIoQxWXPU6XIItwa/0YGZ7qNSMWpeiZLV3/F4wZujLjU/gmvfgMn2EZRjAA2YegJzug8/nSG4/iewXP6efPOPtdkFMDNqkek1BaoQfv8aZt/8SzRW38Rk+z2pb9baV2FYAafJi8vbWhOOB/i9T5DTpjd9Dr8WwPHsdUZl74Lvp07f++9cQNXP+LFs84raJuqcoI+fwp38Dmi/LF5fj9qL1i1oItdnA1AK1RgAACAASURBVJTtTekZ011MbmAQNWWjwEu4M4QmUWexBKMIiOOmJYbyOhLdMumJkGJZIzDb70vHRm18B/roM7mgYP9jqN5N6BY3UJ/AgJu+EF6LGwyqPcYIScwf3IPX3YLffU0i265MkfNgsPIKlKdgjj8EVt6QSLxPvyODLE//BvHaLflLKqYpmltvY3L0GCEvlcvX4IZj0YIV7XNykHfjQ8Rrd2AGn6E0JSJvCfByeTAyFg0qbHioJRzezyV2pib7ApIwPg+Lj5GsvCo0eU7VCalR0wdA+hCGD6T6JelSs9vPKG85uCupifD2f4KciYYqQxavIC6m0pk0RQod0fc8gAt7CHEMP2Fkmp7HI8SJEQhHwal6FEO3bi7ANSqUjVs1Yc9/EwXjLIy6z6YI164CRYoi24MXrMjvU+sQ/vwQrn4drtiBIWSu+RIqbwLLTm+VIuQX2fflAcu/E+myst9NfcaUSjceckawjP/xBYtCNmGIriBsd5APnwNeB1G4gazcls52evgREgJZ/ES2Q6xieLXzMoVj6oTuc5sSVnWKsH0JhkMlaxYmhSb/eydQ3nnx7ersD/Aq9mYXgwt3+hQmMKgzEXJMIFwDOb+s0xzN7gVk7LZWnmw2eQjmZlLTGuFOURGo17qObH4IP99F6TzEnG6nSsjbfLGHqzdQDp4CGCDsvQk72oEiAGfyFcqTA0TX/hl0eiRbFO69TGMTPjfEXgEzL6HUeBEF4zbu7EMg6MtkGp1zKFwdPkjTpv97Dq0msNEVqGq0OFQZKtU8BKSoxj1JqVTlCeJ4A9WDfwXLaGa0iiCJUPktib+HrTWYyQymtojyKlo9VC4RfkvqOgloJoIXTJCOSiQNH8ZbhuFDPyzlxWXtAGE+Q8lJLTcIR18g6FxAYOZiesD8BKakb/c61Nku8mqKsHkFRjM1wOn4AFr0ZR247ASKveMg4a0EXrknsJ/YVsgZv+PPw+gZBxVUocV80bHrO4NVMYKojnJ8V+BSOlqHTnegastyCbL8/KumbDK4nQ9CDTudSuTZq7eE0s7Ju/UC5ONncmkIoz5MNpIY9v/P0pv9WnKdWX4rInZMZ57umDfvzXniPIgsUmJJRZWququ70O6GjQbsF7f95j/AMOAXA37wmw34zQNgwIDdbbfLQktVXe6SujRTFMUpk2QymfOdx3PPfGLYsWMb6zuqepEeSGXee07E3t+31u+HvV8JvM3d+AdAeoh0+98gWv+BRDXzlZehOLDLDEw2EEAe8oG8oOgrR7AuLyYz/gxqtANLdQ2d7ayZEBzKA61bWbx4SS+2XZR2iJIkfq8Hxy/lwklCOiYD+Bduy89NEzjJoS2Hnsku3MqlBfzPjhZ/V6eEipehzz+GK0DLC7BlicKfQ1HnVDqw/irc9LHAmJiUKPpfIqxcBdxz5GMCdz6GuviDRSIhn4tdQnstIdkqpn4s/1MEPxvBqS4LPI8v7ZwXTSo1aWZhTYhJhbAhOvKUzBS6qIMqioKXRk9qTtaEyIafImIssl6V3qHlM6JzSyBx1pDQncIMvoFbvchrDjLVQLn7M6jWKhBflal6oQ+hCJjNuSXgz7AOW7u0iNlmz2D4exmTNk1/+YEQwm37JXizEzmY0NIwffpTxJf+TJR/DuOHo3vI05FoxVhBMqUv6S3PAqqMoVnxKQ3S4y/h0aiw/G2Y01+LVoj6SXby4GrADaEyi6Tag1Oew3WoDB0J/M5wkOU24VUC5KNTVMYPMCZcbuW7AnsTrRCHFtyEVhXycV/wPU5uZAAedN9AdvC3UIxL05Zz+CFsYxOKkV2PALaBwJb4bhY9W+8VMYyo5ASzzEGjew3pyccwZA2vvoWSar/+IyjUkYU9gZj5oS+dQrezAcdUUTD+Cl+2tub0E6mOxe2bKFjpYVIkIbH+hgAhk+QAKiaQ9wAl2Tbt12WApd0YEQf1fB85tNWMoLqdhZ7JbcAj/JLvougyDxoAFZ+E/NH3TBgqzxIEDp8+l3cSuQcuk2b8LgYK5flzqRRAEaAVoOTwTJ/Bi5sozFygbkwlaQ4BAj5/Z1DxFoqiD69swF1Zwujuj+DHHagL3wMm3whXQdsVeNO7KBS3pj7C5mUkhYNw9hh2+UUUOx/DBAqNze9jvv1TqLAjz7BpOUVj7U+gD3/K1Q9U5SrSwe+g+F6sxJiTW+Dkor8jcd7p3oZiLdHRyMdP4BasAL6EnP3+DAumDKGtxVR0Vnp8LICukP985xYmu18gIm9o5XVJLxSOhXfwKdSt/ww2PRaNHastNFJkJ+zbNxHxWU7jUKUrvmuXvB++Dua7C/ZD1YXZ/xiIejLw1UdfoRJozHmO8SMopguZxuPBfr4NBBvwCACmDixm9cuDM32Gcn62GBq1b8InL8O3AgAsDn4Np/M2ws4W5vPnAh3OC4OAKU7fg+HQaDpETKPT4QcwbiQw2PnhZwio48jJfuggc5cRBAk8Et65FWWSiXH8eAXT/pfSZ+cWnLFeHrBVvIlk55cS12cMfH78McKL76LgQHFCxs26mCxk2whXDtw25yC+KQM1Pv8Kk8JnFS010HmGgKmcPBfujVfdgkPrxoDDv5YYjPht5AbXOf0YRm0iajZkeChfbtbGci20cNa5dP9reH5bTAHpwS+gVB3u2luy7eazkcNwpEf0e0CjsrABzJ/DxJsIWa3qEjpaR3z2FQwd9s0XRIFHJkzy7GfCy/F7b8OxBiblgDNCoSwUldJnnyCq1mAnczEqqPX3YaeP4fIzYD35vOKECwDCiTeFm0CAqJw5qy/B1D0EpLBb6mU1UF9HOR3DUwTyri9Sq9QqewqzvQ8RNDdQ2fhTJOku8vEZYpOI8cRldz0/gKX2LTuEqdSgjwnwvAI7p0qwgLFjeITy8ZnHJJ+NEFDxOOGQ/URAdj6rg+ku/JAX67YMJUqag9htT6kifFeqlH77NRSzR7CVdXmPkkfFz4HL4cj4SNTo1t/ALNmRpAf6D2TJAS6Czh/BrW/CrV1Dxos7mWLs6nNVw366WxfyPRXLZMuw9md3fiK2J6f7HkouJloXUZK/QPhueAHZ+ScIaeSovwXXI807ESBo0LqBYkIzDwfJqwtLV3MTxfgRXH9NoJVcGHleB6p5EfnJI7h8548eCwvB8O9VMNX3IjT/Dqwme0vwWdEglDkfSGqlokvkPqu4F2GLsfCICE6nMlm1bqC6dAf57kcsP8qlk0Yyao95CS2YgG7egTvaRpImCDjEKY5EnUwguKTTsjlivm9CngOpiT9E5lThEwwqtg8Pnkpg/TYsa5jpkO07WF7YiwOpmc2KI/jNl6B8DsczOGePUHbXYTXPLIUsOcudv4Vtk3GzCbfRRn6yLTWAYPk2Ai9AShCuIW3Bg5cXfHULUDk/ugd/89sCL8+PmSLdknSiUVwbzWFOWWmswQ2Y6lEoJs9g3aokU0x6IkMnDskMmQmTx9DBTQShhWNHkljJyhocgqLn23ASC6ysQc3H0D6NaE8Rtl+DHR0jaHcwO3+AsHkNRUZrWh3uvERpxjKYDhyLyeAR4gv8PvvQWQrF2vf0uTDhdEZF6y/+S1sMTxH1bkpUShMuFbZQ7P47hOvfgmU0yRgUjPP44eJiF7DTdBEeo77cFjK6ys6dyuHMJtKF97obyMfnyIoJmktXkY0O5YJHYr0efIJg+R2UrkJ+9DvEnZsoQzqSV2RKzA9AyGnuyb/HzLiISRMNluHP9wS6RrgIOzzK8QUsos2BeNEJ2uOvgIc/MEYzG0hHsKjfkk5TbjIUyXPRzYWbb0M/+xlUpyfRqCwt4DXWZLJZDr9AScCOx1jYEbzmdVH8Ccl+foDQayItNFRxDJfd6NAXmif75k50FY4+gc4KBJwUOlTfpRLhCLgh0PvSzwk2/kP5sDtZhqJ/F0V5AAQX4IIbTD5gtuA6sRCmK2uvI3/+Q6H+g38nfSzE3/TZL1C5eBtO531os4988BCBG0uknaAjAors5nfhTZ4hn44RrNyWrk2ujcRYSJ7PJnfhNt+Ex4kavcfVmyiTJ3BzLQoq1g0YpVfZNlJbhzffg1dv84QLbcdCHi/lBbUGx5sKPK7IY8A8h6saoE1I9IaZFqiLUKKLvsSG5KJwvgu0VuDX15BQOxWsI1i5trBEhKsopgQvVaFHXyFwXOTDCdzODQRuCUMASuM6gihEQTVMvIRk+hB2PkHj0l8gz0cy2Y+o5JidCeDQKWPkQQ2+7kOrBqK4A3PysUSF3Rv/BM58DofAS8skwHM4F38AxQ0GO8B+BMzPEbhV6MkJTEDVzhmitfeAw7+DCdvw2StLD+UgMEvPUL34A2SP/2cEtbcECuey3kJYXPoAylaRKZLkV2AjJit44S1RbV5Bpkei/FJmH65/BSWp+iU9sO8I3C2j3nDCWPBVAf6kTLvQqUx9Z3QD0COk7M5xCFTZhNVTBHoGjRnc2qvA+a/lEBUuvy1AnYIgxbNdBN3rEjPSZ59ILJNbEFo+OOlmRN3LrfT2HTdHNt0XTkgYrYhCS3rNF78HPdyHp8bSZ6RqhOs7Alnc7ClQvY7IKulpZ+xo88LILdj5XdjVP0M4eS6fT5/9QsdAs7cNhYygqWIGP5si5zCHg7BsIHT1LFxCUE5R+G3E1oW2Qzg81OcaZTmC9lzE/hY0zlm+gMP49c4v4a58F0VxBI/jGC9eTNzDqoAmkezD5yCgcWHBlTg/g+efwBYuNLf75amArYr5VxJNzjgkpfJqOhMIGjBaROc4BE0eIXTacOM20kKyBfKCsNQsSfCI0JwRbMmpeIQiJ2eCvBIFh8MMetODDpTZQ5lqUaWyR+YxQitpGkaIqxLhd0pewJnO8KV+VFY5AZ/CJb+ktgmvyUPSAbQ4zacwhBY6bYDf+ZJ/Dg5LMqjlN5Bv/xAmvo4oiqFnI0R0bGeJxMfc+nU4aQp7/jncy/9sUQFwZ8jb78Le+18QXfwOVGUNGXhJNvK78TLCHROkrOXwbVqcI+SzilP0yQBF8gy+GcjzqEiO4XhzFGVdKmWWCfdJApXvIg978Fa/J89J+wdFHvujhZkt6Lk8cDQ2hSavPYu40kaWJlDzfRROUw6YJWnt9FUffyCDMcVN1XwC45xDxVdke+sYH14YwrAbGN+EJniVppT6CoyyQt+11HRVl5AxOVeW0s/UMx5uq3JoYBfZnn4isCQOP52MFgC+m2ZQm9+WoQMvF5IiaG4AwTLKwR5cpVESBjp9KMDFJNtBOUsR3PqnApay5w+h1CoKbsJUIPU8MAl2fh8BtVKr11AefS6R/oIVJn9VNpf69B4sD2GqIgehktui4w/hUs1Zp+7q5yirF6GaGyiMge+VKIoJXNpUkEDNZgLB8ggw4rD45FNE7D02XpABEaORXvddqV944w/gmTbQuoZCn6IcfQOjLiJWBunsOdB+XWp5QbUjnCHWH+LmRZSiTezDVBryecknfbhM43FjxCoUrT/8PsRdFP0vBI6Ki/9Y+tQq/Qqm+QZMdgBvsgt14R/BmGPoMQcCJEQ/lkN8yS7l+p/J5cOpUOeUwZ0eoyQ0M6Iz+hiFnSOudmASgpRSWJKvV98RR7czeQpn5R1gniGfPYUrzA8mBg2y0T683hUgM2IjYo2Eel/f5ChOP0GwRmXvc4SE45bUxHrwOeCOe9CGisNIPksF6362gmB5A6XfgGFENthYpO38CCVd5noEZ/QA3tI/FAq1HQ+RN9YRVzeg0yk8Lg0qy7C89JN5JNW3DKa5BTPbRuC1UBBmt/9buHw+aL2ImVZZN+pLtZCXmKB7BU59Hfr4I7h8qfeuw6GmUpVIyyaMPhHmSK55mYwl7m1o0OGlIOzA670ujAKELXjRVXjkWez9HmX3BYRLd4Sbwp5xgQievwI32yXqedGTP/0SwdK7YqmiltDGW3CphybLiTHcZBcgLXv9Jdh0sfm0/c9RVq8K26Lc+Smc1ffguT04409RVFfhkcjNR9DgmdROc2pdmc5rbsBay6s9cp0i8oxAxlxuEUFeQleSCNaL4Mxop0nE2+6l2zAROQ8ZzPAhojDELEmgLr4Jyw1eOoQuxkDzNkLPEYU0h4tekEJ//X/D1K8haBAOS76IA1d1kD3/f8W6ESx/Dzp5CJWyarmCgvF7bsstzQFzFMfPYItDOEvvw+emNX0u9RNC1DTtKtOn8JbehPv8R7KBTnipI2j06BtUePEZ7cGtvyS12Xz+CIpLtvYteF6AcvJEfhZYex/l8cdQ9hym+0fCAcv6p6gs34R1J7D9Q7hkKDgEho6gswQV/ve4jZyf+e4rcGtdlKz9ta4jS6lmXFSEo7gK7deRDQ4Q+1aMS6Aqj+djuUBN4FYa8HkumT0VSwDfm27yCFp7stjy2SVvrou/XoDTRkvknUNoHVHRGiOlWns2hcn2ZXFS8S9gOPgMlfollCuvYHr/rxA5JYIX/gXSp3+HqBLJ+59JWsU0Casm9VgWJeCyMwqlWsflGz3zAen+FtCGJPueKGNLEo/1kQzsw/o6kp0v4a/fgdd6ceGx58Bo+BxugwPtCmyjJwYCZY0AWMl18JbfgeeQyzSCpzow2Y7YMGh5Cmjr4HM8mcItWOnkZ7Qq9yw5txOCzBTA6CnqrLMSjDrqI2isQWGEnEMSLmVZIaZp5fwp/GgNxktEQ14ykcaBMVlEhGlOHyFaeQW6tgV7/hhl4EClJYxbA8wRDNPMTAKf0iayKYuaqL0FNNahxmcwrMxk+1D9hyi8GlBdWliKTr+Bra8jIBepf5/rMZjaVRlsR6weTWZQHpPpLblzOtM94baheRMuVemGBP9HsPUugJakHYP6ElyyRMg04LJj9Ra8/mNMcoN69xIyKnWnx1DN6yjSY0k6BWRe8f15/gUSE0lFvMx2EfC+y3rr7Bk87UsFRrXWBbJXUDlevQMvPxKuFpXRYbUJMI03Jtj8IryyLwPMsLKO6fbv4CKHYm2rvw23zBbPpPbLKA5+i3z3p6hsvgcQItm9gmx8LoDIKFxDWcwwTceiNo7Wvi2mqDxsw50eyXvK5XeXNbpoCZrmMScUU15y9giBcy6mAVZ99YjpLcAZ/Oy/tvSFo0Fa/iEiRv6DLYR+gZRAEfYpMYT11xZKOD9HzheLugA39lCePEdRqyAIOzLxIdgr6N/DfPld+EwSnH8Ohwf+anvRP+MBanSO4MJt2OoWdOcKvO2PkcweIeSX1lFwqhFcbx2WSiChL2fyZzDTPlR1A7bO6XSOyJbIPVcuvfnJp3BbK3C7t5HtfoaYqkB/Bf7wHnIzQnb2GBGjWvFFpPwBhoHontzhLjzG0HQG9J9Ard6WQy4PaozxcALFCR37eqpkX2UGt4jkEiIHStJKl16Gs/IyfNUSivfs4FNUGksLciYVdq13Ubrcbs5Qtl6BGXwGb3yGREWodtYw2/sNgsoaVO+PEboGs3ICn5srt4np6BAxidSzI4mbF2oZzvAe/O4L8u8r2OGhounkIwQX/xzp2SfCcKiuvSOqE7pno41vIzMeVHoIl506UkG5XaxuipnAdepI9bFs2an6wtxKDBplXwYpNn4BTvIMqKzJhpYUSo8X5CKVrg3BeuzQGLW2SHzYM5TThb/Way4jMTlcui67W7AzB87sHjIbImQ/hZAWbtSnGYLe67DJQ3GERqWD3GbwnbockniIMJPn8sXz2i/C2hTFYB8VTrQJcOPhLqhAnx/CsydweuyfEhJINdJsUREhMLH/RA5s3tK78PIzFK07MFkqsV3+WSwP2XoX3gqn6hEfB8iP70m3FHF9AXYi2TcdoGxswZ2PJa2gSLG1I5T1l5GNdxA4kfThCWoE3cKMohFLGNRQMHrLGC4rItVLsDwYkxrKS6LDHuElACmK09/CD2+h5INk9CmS0z1U174N1YiRmh7U9B5K9rkrVEXtoMyUEFp5UPcjC2vqKLIzlH4X3oQH/6uSOLHTZwLlSQWKOJDvJ+iwddgbZcpmFzk1k603AHaxGxuI2NmcHkHT5ctDJIcMs33o0T2Endfg1NaRn30qAzE+A0hbVnEPBcGBpr9IaTgVRO3LAo4xk2040RIMUwtWI2eNoPNtWCeEN30Gk2/D2fxnsLs/gandEf0fo9ClWpI+oZonmKdfIO69jNIwQnUPZaUpP2ef8CemMkhR5lBkeh9FeBVVb4gsp56qg2L/r+FUr8vnI5sThDkHohU4pYEftKBZG5jRQ2/gUXfq8/e1B7coBOZDU4ZmB3/wFJHvwfFb0JUYTu4D1EjNWXVYgwoCZE9+JNG9oHtLFKVRi+o7JqVO5SBh+bmcnKEsDmAqa3DnmWxYXSHVH0DzuVdbRun04OljSQ5RncQ4l6GJgOTjCiNic4SsWRQEKWVweKlj/8tti8lCtkH5BJaVKh4ioiUkk2NUaMngpq3/jbiZGdksfaAyZ5f32mLrVwawfgMOX7qAEGY1/y6uEh4LL91ykd3+Ibxr/wTO+QfQwRb8+kVg8AxWRdJhy3AC3+FGhlG+Piy3C0kmbBLFSge5EtaDa6vwuGnPDuFaDT08ghtG8k7JeTFgxzxqw3oavuKzfrFR5+cMVNdyeOhQbVWHfvQ3klRSHIQtXxMPsUdtKbuBnosiK5HrbQTBkmyStR8hsD7S468QXXpX4FmzPIGq1eR34lZ7C4I/YZvkPST7CAg3bL0gf4bi6EtJSLhbfwYn60v6QTkKmd9EFC7D0LQweAbdfQtO/wO4y98THoiviKS7AGdwF3kcQHXeQvb0rxFuvIcwbgkMiso9Dmi0U4Mfb8oAko5yN6hjfvxr1FbfgC3sogZX0KrRFGChSw0VieMEpzkh3MYN6OxIDn2e66GsxLCGm1H2ci3mp+fwA1+UQ6Q9h42byKImPH2O7ORzRN3bi8FDzoHODJVqE8mY6SumdPhcYU80RDLnpVqjcf0/RskhWf9DmJUb4p4vOYDf+BMU1KoR8Ede0OgebPM6ovgyMtYTMsLu3AW400mFkePV7kDnOyRlysDZ6CF8gr1KJQfiMjlA5vgLIJY+h+deALKnYmMhKIxDXD3+RGLtNk+l6lScfQKncxOOv46AINXhlzDBZemfcyvob70jA9mCG8FWF87gEMVkX0wXhQDc5jI0d7wm8rCFMN0RLSp6Lwv0zM7PodovAjYUiB5Bk1QJCoSO21Spq2zCTD8RXVdOqr2dYzZ8hppfQeZuQLEWwC3g9MHi99Z7C0j3MDv4EF71KtzmEkKyTYIlmOQx8lmKqFQoL78NL8+gn/wQav3PkefnAonyxk9RYIrSLCEgLHfOwdOSdIOZZrRoQ2VHmB7fRW3jO7IE8smLQB1TN4dTWZdhk5vdhx0fCHPIzkbCgPH9yoKM7dGuUUc+3YNSHko7hRPSRb0Pb3wIZ+VVlKxd+Zl42B0ZNB0vKpOEaE6fQ59+I6BcLiO82hJ0eAGKgEx9JsO5cPVVFPSa9x9CVdtwaSLJjuS956fPYDwyolrwOLRPv4TTfBdWGSimfWYz5LQO+QzYR8KREWgv+7ZkXcUdFKVlfgDZ4V14zTuw7D+zo8sFlOsKp8APHZQ8NLktgQo6J18jtyPUrvwFMj2Gd7oH2+zJlrUYHkDVmZ504FE5S1bL4BjFCnlbT2Corws7XJki8iuYUEXH5xUhcYSCjfeYuREFHsjTqW4Ae38nCkx/67uil7b7v5ZnW1B9AanZFvVfVF2Hba4IL8h2mERwgcF9WTIFrcvI0wEqtUuYz/YRzh7ARBcWKl63gFYWcXQJ8/OvRY2mLn8HxcljUVJaO0I+nyOorMCrVFHODGz/59DNlxcXJ5vKcqCsVlDOTxGHF0Xfq2iCat2QZ647PRQYLWPujtdGaY7Be13R/1A02FzCkY7OqmfcuoLcoUqRaatNIJojOXuIUi3DZ+w8JVjzRY7ZYXm2P3sonAyT7KNS24ImT4NDNjNC2FnDXG3ByY9RrXWQp0xoniEmIT1ckyqZSSdiMsvPv5Hvqx/VkFtWoKpydzAcDK6/CXe0h3JyBm/1ZZS6gG+HYqpiTB00mU1OoLhxblwRvljEc4XTQj7elmGdzyQMmRYgvJbcoj7M2TMxr4leuraGgIvNdCC8DX523PwA+XwC1bkDcCGZGaASopzOFxU7z8BrbKEYDWDmz2BNDRHvOAVBvYSeO9IXVy7J96vQjiN6Rp1xeZFAhSHy8ycL6HqLg9pcalLklVWrKyiql1AOHyC8+hcoh6xHawRkMyzxXDYVzlZpxyjI2jm9i5AVSm6oucBRjN1bFP5FqamxElsGPVFoFie/FGCd4t+BQ4jKsgx04vQUusigxchxAQEXOkkfCTkjonJmpWIXZWLgEp6e9OE0WpJMpqCF1XbbfyJa5fjKP8B473cIl6+gyAz005+hvvYCMtrRGkso9z6GWn8XDpWMiqB23o1yuNQVMkbP50/tJfjeBHqwT/STpESiuA3NuL/JERjCXTuwVsEMnkA1mih0IvUd1bws5zY7PUBG60uVScVrAuesNFdlyGnTGKV+KnyQbD4Sa06WTVBtbyCfZ7BOIZyYvH8Gj8aLfARf9eCBSciBKNv9GvkTPAs5MIdfI2DypnVBKs3O6Df/rZWfDl/I7ILMx1CEcGh2wGIUopJJRLfFKSk3ld78UL5Y/Gd4QXLyKbzhI5SVa/C33kD6+f8G41agGiuwlY5chkxjGd7+b6BBl3QP6fg+oszCbhEK8yWc1ioU/eOMuk334WUnQPcdOHobhXHh8QtPLYw9lCk98lRexvHF11H668iyI7jzRDqDQfsSMoJJUqqrehKbK8kPIMTMLxDW70Cf/U7SnuCWEwHM5JFEQqP6DRRHdxFtvIKcX3YnR26DBTAtZ3yM2+mxqPrYJyQEzpoELuOj1a5EqCPCUzgNnz5GMTqA33kRitumfB854VMSoT2RLRB9lnzRxL0/wiTbhe0/lC2PPXyI/ODvUbnwuijggs5lZPpQImTcYOWnz+RBZDuXUI6f97z5BgAAIABJREFUw5zuwrv458gf/Y/wdAD38vuS3LBJXzr3vNiQtptweOMYZDnTe9RUjUVPp9p3oLh9Kgmp4IFLwR0/B0hFT8rFYTGKZTKdlwSHncKz1IgQaEh9CyO6jkD+qOmiKkexQ13vwbCHrgfwpjmyYoRg+dtIZ08QjJ4g2HofMx0jPvt3KKkPmnCS/TaK+Q7U4YfwVq7D8S8gjXwEk134tevI8yFADU2tCh8VZMUY7vApVPe7KLOncFzuEhi1PYdxuN3VCzWU1qKyDDu3ZKpfpqdQWR+ZTaDWfiBxtYw/j9hD5DM+GKD4+n9C0HoF/vJtpNwC20Q2sJVaG/PZQMjBpe/CVrYQTs+QxAHKb/4NPMbZb/yn0nurbL6KZHgqE2NFsjERBjZHOeBQZZH6IFXXq/Xg2QI5J5bFCbz2S1I9YE/KxKvwKy9DH/1f0otUrTdR9O9LTSWsLjq2NFqU/WdQ7E3Gq1DDL+XBqZhyGO0Ln0E1X4S7/y9R8uXcfgElY0m8jGcTeE1GyUdwJwM4nYuyfdGjHYnWi/Jq9Fx6zmbCA+1YfMsmYde6AleViMJNDJ7/tcCxvEpLbCIFSawEd533YS99j3Iu2MOfSILEX7mMcvQYJWLpb7MTx78rY9M2OZeHFisfLsF8D3+EqLsMW3sJs/QRIk6k46vQtSbU5Ew2fj5rN+UEZaHE3ODQ5OGvSjQT5TlM0JUDrh3eledTyO0Wf0+MY5OcTM+37qM8/gRe66aAPdkJK4Ml+OkpLGrI8x2h3JY2FuMFydQWJUoOeZKpHKw1rQGuQty6DD07Q3H+hQyPnM6rsMNHsh3jIdrSXRvF8EgVZyqFZGfVhkuNIQ/Y075UB9x6W5RfBONwMOm3rklVyzv7WHpcHjdGzcswonQrJa7Jl4wtfSHIM/ZPmJXQktNcLrCMlDPGiGRbOvhe/Q7s7o/hRG347hry8WcwK+8hpDM4OUWJGiytLiTFsys42kF48S1RDuW7P0Hk12FX/gI4/rdQrbclnkxxldfaRMZaSHYM01lsZhXdtLMhorU7KNMa9PmvEdY2kdLTG/oISJEHO6S8S7agHA/p/l/Bbf0RvySy4Sj7Xyz0XmEExw2Q8UjsBuL5Zk0nDCvwQgIVz6ANY6mviYe8sLk8TzDfgZk+hd/YEu82eQZWD6EqMQxVtKOnKFlL6azDz3Jk+z+TnqLX4fCR/bapMCKCuI2McFczFm0WKxIEXGVugmDtHwOMuFpeXgeilfMIQKquoqR2iYRyvwIl6tW6pGtSwk4Jr8wOEPN7ze8LVV/jPWjCdj2NaPW7gD5GzncPhz9hD2HnsihTQbczelBrt+BkWipqjqP+oP4DfFLMJ3uwjTW4BNvK4DSA4fNyfgoTdaQeMjv6kFdN+Je/i4IEYf47+LPjIGp6COWSrUNWzA2Yo89RHP0K8dV/CkNTwsmnsATvjS3QaMOcfYz4+r9ArlyYp/8H3PYt+PXX4BEYfOFPULBLmhHU2kZZW4FbnKDc/QXgVwEOPNkTzlhtYhe6DicvoJ1ThG4D2uXBkXySEMbswili2Zy73Rui5ZSLWvJUIJ9e54ZUA1LNp5Arl0mbnME6uQxp+BnWpMpzddq4Jf97ycHHiJbfhDd+Ap0M5KLICgGXopZQRnrM/QrK0pUhj2GMmGCy0UPw2lhEdVR5ecn3kU5y1DqbsqElGA+pgkNu0vi+1Bx9VvT6nwOsHlYviL6P3xOPMfPkCRBQz8vtJw/NAdwJa2BNBDhDNpjCrtyCKrkVb8MdfAFVvS6pFab2nOZtqfeY6TNxmBunApcUbL6jGYUOFPx5gYSGJ+pakyl0vQGVZHCrC1MSB/3GWSLSBOWjv4Oh0pnJOrJ5Kj0wpkPwKNV2fEwoeyrPVJuVKFxenLooxufwqx1Ja1q+pWdHyJSF23wRJaOyvFQH/HmS0A/4fG6ysz48la2fV11HSgArI69REwU1utN9xKx9UA3LnwsTXpPHsgG1kxM4G+/DSU8QnX6GlFf55VcQ6GNkswlsaxMV7jqmhOnN4HWuw683UYyeIjAK09PPEF/9c+jxmZwVyvYm9NHXUpH04ppYdfT5DrzQEygzU4DRyg25NCpWUicjgDroPJFLW1DvQJ/ScX9FLqvuZAdp3JZhscfv3+kn8G78JcqMS4sjFKfH8FSGGislDjebBzLooEaP7xRP9eCqueho7ZiE+qeYD48kVUMwIJN04+kJAgzgrP8l7OgLIYWb03sIX/zPJTWmojVk5w//oL7ltrwiKRzqDL16FUq+Wy7U6B4yat8I1R3swIy/gbP2BvyUctk5nKiJZO9XiNe/hVI7cOwcgUlR0Mhw8lsU3XcQT/dFhc1nPBWtQa2HjNDEg68R1lpAuC52CCq7dZJCdW7B5QLvfBuVuIMyGyMtZnD9FtxsB1h+DS6rp8MpSt/IpZKDGNGJkiUz3UVA1Z9DtklTgG0EtBW16/D9FAX72dSKHn8Ml6R/Vh+tLxVZz+YoqHQM1CIF7AXcB4hdgM/qLJgjCqmO5aW4A5PvoGCduENVc030e8rzRbUXrL2B/IjQ1CkM4908E/RegiqGour1EUFzAM86ot9FkM2R+wWCuIfs5AG8Rgde/UXMnvw/CJsvwuNt1vUFmGyoaw9ZkeGwf8TYBxBvwpk9AQlzNITx/WLJY6HuthjAQx3lynV46ZnoVPkvYhrKJ4wvmyCvXoEKAYc/n9qSLDIlRTQ6kyUtL56sNxKAzEt8GQRQ0U3YZlX4EaypkbnlNK8uErVpgnL2AH79sti6gToM70qq9gfj1AxuQLZFFW7nDvx0T8xM/N5yMOHXlqFne/A5gObAWDXhBx7m86HUozDfh1r7jgDizfg5VPdN5Pk2fBpTHLJuXMyZ5mbCs3cD6fZHi7oYhxzZXAw/frWLnKmPjO/FKZwJgY3XxNwErwNz9pGwgHjHNHXWb2fwmIicPpIlAo0sBDkyqcz0b2wLFOGG1JzczRcQlinylNrLGryjuyio91QBzPavEay/AzeqIz/5fMGo4L2Lit2Trxewaw7bfeptEwEDh2Fb1Jo8h3J5UuTHQLiEOOhCl0yCeqJ6z0ZMruYw/gaC7h2kOz9Gbe0tFGEddp/WgN//d9aUdRTTr+ARfBKuiI7LnD6ADZYRddkRstDjPZTFOTy0BCbiNa7KpYJ0/5LTzsljeBdekweSdMHZV35C0Jor/vScTnF28LhZv/AGyucfIF7eFHo7kmPAtGAZLbcKmgDBwUPoPIW//Lp8MM3oTJR4XtxG0LoCy0nYyWfi62T/hwcsfoh5EBaA4ek9idXxl23pz/Sr0Kefw2lfR0l6cUhk+aboJUz/PtK8RMg40+AhCkaH4hb0H6K41gkWtHyqwOjNZH+UsKd6Ex7/vJx+13qi52Pn27Z60INTAW5zkpuSGFvO4Dc3kJ19I75bdK6JJ5iHB1PZhBsYzLd/iai/C33jP4Ez24PZ+zmCF/8LoVPGmGE87SPEADkPopkvl/uSl9FKB9nkUIi4dEWLfYWX+KOvUDauwS8IKiNR9LbEbMtJH6a5gqh5A3rwDZSbIy88xATdgVCWRF6OlaWbQoa26TnKxtvQ2/8n3PYd+LWL4s3k388xKeazcwSc+HsNuegz0kOYG1+ChNVwChcsvYIiOYQZbMN3U9jGFbh+LLEi1ic0P1v1Tfj+shy8XLros1PkbhVerYHy7KlAubzqJkJDL+9QfvaM8TruGJo9IFNDwQ5Q5y15GaWnH6HCjR6BdFSFKB5KMujZiZDyo7C6iEdOtuGRCGsGKCfnAIFBdA6PngrRmRc3lQ5hDn8Cp/cG8nAJKiWP4Uz4Fk7lOpKzX8hAxF+5I92w/OxzePGW1AbocWa8lVtr0tmlf9TuwR4/E2Wg234VRbgikWXHW4LxeGmgH5afl9/AIRQwG8FPnsOUEcraTbjtZTjs+HZuLLb0UR0KXaT9D9BY+1NodpdGX8NNj4GlW7BFLg8Wbk5npkTQewH+4Amc9irsbIKEhzFaNyqE5hTixGZEz2fsiH92j5HIE7jeRQRKI9HsASbw6WVuLEmfCPR6133o8zNYMiTqqwjJBnEqmGz/DSohFUcJ8mQXYW1J6M2MgPOFwo0146xeawXl4HChLkJN1Dg0QODw59BhV3gfQrJld5SuVm7qqaxUnpghLHvjJEubgQwwqYoUYCM3+C55Sk3kZw8A1UPQ3YDduwdTa8GaACY/QFC/TvkjvKCJgh25tatAQuDVbxFSrcYakc7gs7LB0YJO4QcKWaIXf9bRthxiDWFis7MFKLFkUmehH4rCdRTzbbiW/2wAt1GDGT6RmgvTF+zaM46dj0ZwfcItE/gqQbj+l8hHHyHMDbL2K9A0arCO07wgapjAV9ByQK+JvcPO+vBr65hPD1DhQcf7Q39REaPAioILPTuGcjRsbR2WLzu+NOKedFw52Cjmh/LnpxY1ksPPObS7IpWArP9kUc3yqsA0Qc7OXaMFr3IVps9+Kb0mMXTowTcxsjk7m0vwDGtPj1A21oGZlpesq8Ywteui0nN2fwJ0/2SxNRjvoNK9Cc0Les4Yek9UizXZkDIOvg+V05axBMukgMAeFz39Yn4GK4dXhYIAUNLU54/hUytZxHBqTFrswhBmG3XgFSV8cwrtdGV4Uw4fA3UOd1zyIkVR65w9ROEQEsk4qJLtiO7fR7D+Noqzx5LIsmEdjrsKk30tmr8sXJWDks6o2eQ2XstGrLAN2OQ5fKaqMEHh9IDBF7C8JHTuICdh/PwIavmyQC31lJC6Jly3grku4TEi7XYQtm9A6X0MR2eICw2/tSQKOwJv2SMNqE6zBk5pkfsdsMVUEqjq+4DqIjAT5HyPGCs8nbzPPnOBWvdFzAafQHVeF0q3KU5lcG059B7ehbWExm4t3ivhFtLjD6GqPfjtF5GM76LCVAs/BN3rKJ7/f5JC8Lj5TTjEbsKnDzmdSXrFqbcAbpjGRwChWEdPkZ99jPDKD0R1V3BAlZxAa41KawPJwaeSvqpHFzGdPYLfuwlL6Co/J+xp9r9CWWNkvQ2MGPHnUqyHMQ92+TM4yRSxa5ETiETmirbw25dQcMM8e4y5Q8vLBmIyGSbbsJ3rMKoGn8Cv6k2kBL1ijKByHSnZOHFFNJFaKj0JfIIb8xOU7LxTizveQ9T7FuajZ6g4VEgdouy8KMkLa2cwrB/GPcBXcMYPUAYX5b3u9x/C7d1caA0ZDdexgEGN30DFc5GMDkRDRqAe6yaGtcvBPUT9E5TVjtDGGZsP9TFmToi4egdp/zP4jFnPp9B2gnjtu7DT5yjMRHS73iRBSZNMOkC0+V2hbCfZYLGFnfdRMElDqw5TKjQZVZfgNK7C5XuQ8VPZ7rkCrcrIHdEDAWeSy8DUXDEfE1MLX/SaJG6H8PMDGL8GPzlE4VoY1oW0hVEaZkT7yMKCYMnUabVhM36HDArLoYsvB1+u9/gz4tkTLuFjj6FqbZjqOvyUEe0+5rsfobn2JnRxhvxsT/SLmTuEz00auQRliDKlFeg6CDyg2hCjHajeq9DHBEgzVTiBSY5RujUElQoKvlcdjZIGGBMgGdyDSoawF96DffxDmM33ENCIo8iseiiXwyIfIe6+iClrH+MDBFUOAa/DnH2GYnAfoPbLKRFFVWSjY6hWFwXPNpNv4Fc3UJw/ZwZLzr6O5SU3g1p/DxlZC6N78INIOueWKb/nv0K8+WeyFSdgmqk7qmz18VfwOh14WoFZDzX8eKF87u+jtBputweTFCjzU3gEWTO2P92XjjuTqL4N5f3BszUvYmbnE4TLt5EQoj3aF1hgEDcxHx2isnobZnAKXW1ADZ/Ke8XrvbuAbPN5020DZO1wQRGuIR89k7SX5ZDHZYS/Kgs0U6Rw8jO4QXfRkZ7uyyCOFRYOyEFNry2Fq0RGkx1+g7DakVqfoZpSqn7zRT2Q7JWS70vqoKnQG8HOh7DtNlz3Itz5MzjBMozvikavzAws0838fBryQ24jHxCQrcWxbiYHsPTIezGys9/C77ws4ERVnMDmx5imLUSbNwUcXXKREngo++dwWj1hkZAlUQYhkMxkaI2KEjOEM+tLLZkWCqZNDasuF1+BTXIU1Jo6NDMwhUHd41D4YIg6wpkSLg8taPVVmCnrMwHA3v7ky0UVh3VdWjBSQuoIryTskeyOFZTk25DJQltblcrx54se/+AxPP6Z176HnGlu3hhMgGz2GOH6d6AHj+A4BoHTwCxPESpC/9ah6k3RJme8hJPrU2ugyBX89qpUG5jasxyIHX8Mu/QyPA4VuQwbPUe4fEcGrN7gLtC6Bc1qafJI1L3COEvOZHHlSY1Sw+tdQzllKtnA8FxYbWN6/BABgZyegyzsIq4vo6DuVTXhRBHsySfwaKfjs5gXeztFzs9fbRkeGXXpKYpkoQNngtTK4GQGr9kShgATPXZ+Is/kKO6KwSDf+SkiJt99FwVtPq0r8IIVSX6WKRlWG1DpWIwwJXW8q+8jaFzF7NnfwI1cBP46ilZNnsnz/Y9Q3fqOnCMJHjK5h6AYIyPIubWFoLYMOxvIANtGm/A7SyjPD+G3L0If/AZh7bKco6ZHn6DS+ha0O0VQ0Hbwu//eOqNvZPLCLw//5f7Sq7BeAWdygmT4GNX2RcyKKrzjX0FdfE9ehuVkDz7BM8mpkE5dbgTm2+JXnGzfhb9+BUHrNhxNZdnvoKrXYFtLgCbwbEpyEYLWVRSTXYFd+evvI/nif18cIkmMxxCu1ih4OU4L5Ls/EphBMRrCKU9gq5cQBBYzRttrL0HpI4nb5skM5fB3wNJbCLwlZJMHgD5FvP4DmYDpZCRudU04jJ/B5CX0+BsovwuVz5FS2da9BUVAjS5QRm0htmbnv4LXuISgcgXp4C68ObUgnOwnAksjECPFKXx3GXb4DEV+KJMxp/uKxE0deqYrN8Fvajn8TBQOAbsYTEgQZuGUKMYPEMXXkZlduEmCytafQp9+iPnhl3AIGLz4HyBGFaU3gkOghyYUbohy1kdw+5/LC90cfC3TSAKPxBfJjt/+z+B3XwIqHelbs15ByBj1U+yfUPfEjRYtD6Kk4IkJZ3DKOvT5Hmw4Azpvw+nfhV+7jJxb3eIcbnABJqjCmR0irvUWBzpCdfQM+emHKLt/hLAaQw9PxCFPhRspmfPhPkL2A+nPpqKEmyjqvmrXkBz+AiDJt7UCL1yHE23Ajh8uqLaMmJFkzoss49pUf/Hw2ryAEBXM6F3lttnmMBMSsVfkZetVXgHyZ9JPioMWRk9+LJo+z3fhBKtwJ89lYJJXbyKYPoZxWF/gpXYI1XpBvLCEZNr2dSi3DRSnQDIViF42OpBNMUGT3nQHmXSFNoF0B0YtM3kstQZWTwjQgx3LZtep14DgMpLjjxAGFUnW6PEhqpxWc9Kd83vBLYKBaa3B48R8/5dwl95GWVjYWhOWm7igDeXNkRw/QcSXVXcLKS7DHPwVFOPbzL1Op/CWX4NjE9jtvwdW3xF6uWePkIdb8rnnVpc9LnI9HG7S80SI335lC+np7xHyoceBxvgTqNoL0klij489spJOav8yNDLE1TbSxIFryEFoQ7vcBExRaVxHlu3INjXxLyPMD+W7qWqrKKsbCAkn83tI4gtwk21R3JFCHoURZmaESNEOkKNwJQAu/WSqbQg0c70G4BEg9wUcAovKhkAnOfzy0ucS9wv580+3ZctIjSX8gdBzc9KZua2KSE/dlYuo43Zh8/tw0UKpZ4gqXelTcfJaNtfhksPBLh6NHUEMaG6ET+CQSk++BmscjMNHPsrhrnQWy+wMwdIl6MEOtNeG31lDMXgK3+9J3JYReyaqTKGE7s6+LSPFBNgVZh9+cA3O8APpiKfNi7AP/iWcpduih6suvSwxVW4zvagGQ12QYVy2CkzmKH1P0goJI2QeO8eRAGucgJ/TYwScKs8SlN0XYTggVL4MKrLDD6DoMz6/j4KKSq7kuQEiNMtroBg/hMPDYuMmkJ7Da/jQB8+l3+a07yBnyoCwUOoEqfxkpLvg82oMp3NtAXabnyFsbkD7q4jLDOnxjwTmw6SPsQoKU6TDHVQ3v4/0/CGC6QHKS3+KYvgNvOm59ADd5gtAfiydNs2Kk5tIrYVOdtQuQ0UR0t2fIWheQxleBvKHQG0L5fA5PL8rKRNrQxQ8XDpMS1RlmGvG9+DVvyVpJ924jnK0CzdWUIqEcJKe63D7D2TQxeRlWPeQzQGVc3CyJD1yTSd77MNvvLaoUZgz6PHv4Lfek8+K31yRzyAGj2STxVqH6zKJcAOaTnL2FO0JiviKHMQdQ0hkE1r5UP4A2tmCW04kEk6Anhdfh4kc6XKXJSP6xzAcYCsLDHaQd64j9i/Aye7DWHa3DyRGa8sJivwUcdDEbJKgurqJrPCAcgBvNkGZkfRsES3dkUQJD3KMxZbPfg678S1xcqf3/gcEtVdksJax4oIGgphptW/gOkN43T+FO+8jT54s2D3KQzjaFqq8UJzLKZRHAOJjqAt/LAmM8uRXi3c9+9mnn8mBn5uSggP5oAZPJzJgYxSaWkjf+pjnh4i6r6JkYvDgb+AS8BgwUptxYi3DLzPeRmIsKtyk+Ztw/T5sUohRgYO9IiU74UwSS25MoOYSrB5ANVehz3dRuB5iDhjSI+SzTFS/VFYF7SvQw6ewNkZYiZCR7h2HsN234Z59KmkT/v5slfVGspVO4Nc6gGaNpkDOqomqQM/7oniNuq+jmDxYpNaSFJg+EH6FYXLr7ADe8gtS1/OS57CVW1C5QZ6cQpsnCDPqLLfE6DPd+xSR66JUGm7lGoJSISOHIazAuo4o1ApWceokcAPJ2V358wUrr8kwIHAdpHR+5zPMZgkqS5fAjobtXkPgL7z1BbfAp7soONQKS2hTQVgkwmuC4ka6KnYKXbmEWA+R6tFCsZnNoWkDGhHI+xj+0h8jJy9o8hBR0JJ0VRlzME11Hjf8LWBKjdl4wTqyAVS1JdtIKqkdJgzinqQMXA5taK0hi2TSR7n6jlQ9Hb4LeBmiSgxzRL07yPn3KU6l7+y1N6HojHdaMOUc+e7fIrzyvjBvXBvBHT0TE0bOy3NvCeboG/hrbwgbx5nN4PCMwvShGy8UlZbw07uotqgzTFCke7IBJ8AXZSpA2FA2wkDSZ50tQFwSEDpGTi4Ue9j9e3Cv/0fwCWY8/hXKJIJdugJn9DWMRzPRGKpOGv4G8pNfIeT5qTyXswWHW4RMy/9V2U830JM5osCiv/v30g/XtXUZ3JizJ9Bzg8rSBlL2zlkrY9KOS6zJPnR/D+hdE9J4YQhE3JEeuQq2BLzp+x40ae886/JnxbsEtYRc5PBSpueyAIrGhM+OgdoF+ASyctDKn5VfkyGQOfklivQclQuvQhcd0XOXg/swypdFzLx0Ec0OYbI9RJ3L8v3lwokpsUU9KYNxEoS1DakiGg5qOGSoLMmzvBzvi9rWVjZhJlNETZpPjpEf/AreykvCq3JZYeGyw6SiY7Pk15Qu/O41qcqF3UuY730KlwuVP5icUg56ll+BGd+HTX14QYlsdIqgsQSPN/JKG6Vqwoy+AKg/ZZWA23tWJofPRcPJ72U5pZq8Ap/ngtCFySYIU7JSDuEw8VE6KEd0y1+C40dy+S2MDyWLRS5vKki0I0mTIqU+dxdB/bKkvmho0bMpvDq5DY5YxHwO2WtkBB1Bu4WoagsOEtrXYA5/A4+GqtX35Qxrh8fwCQCvrsCZnS5SDNESUjJCKqsIONRFRVTLhfXh11pIiwhh9xZ0MYIzP0YxeY6wcxOWg9fWJXiZQT5+DLfeQz5lUqgisE2XXLV6G/aEyZc1qJaPycHHqPTehp7ty9+FdeJk8BD56V3EvTdhs1Nosuo8F7XGBtK9D1BWLspFnGlVd/k2MN6DMoVATOX+NSFboQ09fgTlL6Hs3IEaPUFBoDw13YRyt1tA2YR151BnX8O0NlBy+cWlS/YYvo2RUm1cDKDPFwM7LoNc8lTGT5CkQ8Qcirc5DBrJ0jObzJE9+SGqykFeW0al+zIcsqaoZE8n0Iqpt/vwDROMLTE7ebVVmLMHCy0uF3f8/5wVyCnczquYJxxsnqCkztyrQjWuQE9PBfzseAUypmOcBpXU/42l+o2AOK0TlF//K7itDajWdenKkHzKaWfYoCf5EJogg/X3Mdv+G4StLZj+Icq4Cnf1JoKzh9DcRBLUxzgTO9K0KkqEfRXp859I79TpvYRytA/t0vtch8+ex9V3JcaueLGl/pO9I77sGdELlqAYg8vOYKrLsAcfwNIXuXIH00/+V3iXvgO247x6B1YtI8vPEfldFKNH8Cp1BoDhjM/gLV3H/OlPEGy8IVM/TQBJUEfB6bHOMX/wbxH2XoC7+jbU9JuFNSDrC2VRDpO8HdMPS3+riuEl+9AmFDokCsb/DpH0n6C28grQfUEomsXZI9GaaDuSyxEzRPNzxjVchIwK8iB0+nvk+hzh+lvwvVUYRnc4reMDLybYRAHDR1DtdeDkvky1+T/qcApV2VzE69knkz7qBDZgLJKQmm2ooIvZ6Vdw3TqqGy+i4OGCLu/iDJqRnjq9xoSFzJBRG1YWKM0p/OraIgJruY38DLG3CRszKkolJA/0h7Dc8NPdztix04RVCq7DCFYDxfHvEbMj1L0KtyQ04xQlX4ykiBO+12sjP9pHcvoAtdv/EJYfyMmhbD7c4faiatBcQkCwSTkSeJ5a4mfUgZOfSlyXGhbj96ROYQ0p6gSk9KH4czMViVQijmRry9+NQ2BdGUs8l2A7wh95cbSOh7CxvoiGjRaDAkXID7vU5C5M7rE8BL/3pqiN3PED5PzcKvZcgbJyBWBMR1s4PEDMz6AqESxVGyS38zJdzkV/5ft1FDt/Lw9JkuBzOrzDKlT35oIGzy0JsXecOgexwJ6KLEdJHQsvDI0NZE//tfASmGSIejeQmxQ2Y9zwHG61jpA/p4PP4ZFgXlmYW8NoAAAgAElEQVTEf4NwFfngCzj1W/I5Yr2E21D2isLWBbjRCszsdBHtpl6lysTMU3jNDuzwDAU3NJWOdJBnPHCODqVaouIVZE//DmrpMtzKVRli+Z1X4bF/NHoIzEcwVBgtvwWVa1g1l7qBbVHlNxafO7c+dNUX04eIwxZscwu6GCD26kiyGQJdIiVcrL6BwJJNMkFISwcnv9RDhR4w6Us0uIgrwhTQ+RB+dVWGWoQ8Gr7QGm9gPvgcUUAd3BaS/c8RtDbgEFKWabjsAUd1eWbNz75EZemPkcyfyRSX5HPV/wLeytvCSylOfiseWrqJM3qw6femkyjZA5prQFGFUimS8yOEm99FOfgUpVtdkKMZE58N5fskD+VGVxzkOPkANmgICdiMniM/+R383qvSkTSFC5s+htN4Ea524Xt7KKvvwJnuiJ5OBWvIp+w5ByiLqSSSitlAoFV2tgNT2UKAVAYaXrSyiH/rTOCMphKjUtaRje4JnKpRvwTN4ShWUO7/FG77qkTgXMaTe7dkkBDVe3AJHypK6P1fi8XEv/R9lNmBqDRdRoLzYnHBYLd7dii0ZeOkKJFBETjI7CJrGbQv8OQ7GyN3fSiSnsGNLj9ofHhXAJfazwOJdBOmU3ENSjqigw5yR3OPiIQ9a1Yysl1Rr5VUAPIdlg6B0Ieq8pB4JkBMrkYs9ZJdEnWPJDoq/nN+B0kWxhBZ5qFWqWM++gIhh0IcqKAp/AIeYBy+/8g3oXI0KmC0lf8sDBLaN/jnMyN5ZwU5uVWkPi+imhyccHDOFNhszCjhUwSr34dTnMP6Pgw7k5NHCPi7GH0N1XoFRT5EPtpG2NySalBo2YNOFk76zgUYpwW982N5VxqvAqfqId+/j+jOP19o+05/gbJ2S/53wa6+VvDmZyhZyWOSJafpZQMO46S0QjCmuvIaytMnQJ3wMf46NFBpSqed6avQG8HMOP1YFYozh6823ZZnIbun2lOI0xxzXtKrGzIs9otzaDJ3ahfgOfysXEDe/1wuzery94EnP0ZapKhWr8MGPLQ7MFNaBe6gcAOEHIz4tDVOUdaqMJMByrgBn/aQPJXfOd8njD8XHERwQ873KJ89pil8BqYN9cm2ADIZrZeXOPVm9R5KMkb0EFY1pW5GTbDREbRfRaCmXKmxeYq4HCLjOzC4iEr+HFnrjqTlNHVgy69CZ/soB0MZKrCS4Jx/Bq9xU6KvzvwZcrcHNz2HW39BILdhpwXHrkv3t5ieyVaa7m+rFWxMExIVixU40xFMWBd2T9Enn0bBjyMB7TKQU7bfEj4RE4LkdiRHXwi9HWTAFGMUipWngfATyPhhh5YDb8OUm2sWSVDXE9UnN1YOqegcUtVvIyoMEhkSU1pYgzn6OcZ7j9B67b9CMfkCHi8hvTuwj/414qXrcOuXcf7ghwLjqyy/joILE5e/p7FAV4NKDzlieedwjorzr+C0N2CzkTwDfTq+VRNzRsujDmz1soBcs9E3CGh2iNooz+8LVV2tvw43Z8x2H74bw42a0CcPYCu03/RQFscAK36ti3B1jvzoMwSBQtF5Ex6fE/M9SZaYU5LfCQPkEoBp0RX45L2MmIBi1Y11obn4tTmASZ59CJv1Eaz9CczRjxBv/SNM9j5HJVCwza7E9S1Bj6ZAFrnwEkJaadM5Q2SN8EsKavnKc+RHX8Df+r7UM2jQIRCQqlKXSbrhodQreLFysxHQXYZhCo/1WxVL7bRsLS6zZOJE7evQzQ7Mzl1EzRXRyXIorSo3kY3vQp/soLH+OmYZEF57Dfnn/wpRi/Ykg8z14K2+CHePZgIDr/W6aEDTcoD8vI9KzMont88u0lItkn7cKJ9+CZdnobArqdCcDKAyhz1/BEUaOU0SwQRKtZHs3ZXkm1u7LJC8IJ2ibK4JxoW8CNYPabFh5c7wC89BBM9WoYWd8hwaoSAsOJ1LwtHjmUsXMC6TQF2xU/HiRgNLyXoqL7u5gTd5Cnf1TdjJDnIXABlyTKqoisB3OYT1bYqcJh+qzP0eyuF90Tnbyhql5bIkyyePEDNxnJ1DrX0b6eApoId04sB4tHsEMLNzYeR4zZ5E89k9d2L+O6wo8VgnMoPHwpBZmEN+jqB9UUDnrFyW1RrczBGLlfiaZ1M4xRn82hKM24RTkigFgcE5swHM0kWgvwNv+bYsWhWBszTljJ5KBZD6XKYnFAHZhx/BRD3E3Q3hDtjkGDY/EdB6dfUtJFyMcojS5WWVcLwq3Pwp8rQUsBzYgw+WMGeNhMrHWg/Wq8MoxswWdoCgcRnzYgg7PYU/vA9Ey3BXX5PaQZCeQQ/+f57eq8mu9ErTe7bf+5g86Q0y4YEqAOUNWfRkk5x2MxonzcgrFCPpYiL0ExS6UoQUoQv9BYVCFyPFKNTjutnd5NCzq4pVLEMUqlDwifT++O234l3ZoQte0KEA5Dl7f99a7/s8z6nEaXAcEkFsJeMb6P25RJ0s4WU7BtUmvnpuCBjeox72iZffsjRg9uW/IVm8g6N05tkjW5iJs1Bo0CLweOCSjpRqGMsjRCPGVVLiODPkx8+svu2L1yZ4oRKbOrcoli+7RV6ZAcNrzkGInmoQskg1ng0sgkJgRqXnxjRKmWoZIVWs1KpRQKYUr6qtTmUwV18J6+EZ6eiQSENhAYHDnoEu4/gymeeR7//OBlZitOkZVBw/IG5dtlqTroGT0YFV9dylK7jjfUv2ZSPZrl7Gn5mlHm9Syyw1HeEsXaPcemh3TSUuk0qa2ceErTuko+cgs8npb/6nphg8xeuuEgu6pEPd4ATmBSeY4NZ9nN4rlIrVVX18Jzynu1t0vAPL12lE8sYzlUwzeWrAkda171IMK+ricxz1dRdfNopvsfnXJFGbNLpMtHyD4tmPCQQkSA/NL+rM/wFxcGaRMIFF5MbMi4Z6fEC99RfMvPHfkApUs/MhjZyLTUCirVZ6St4/IV5707Y4o4OPbXtSL79C7PtUaUM9/BBv7iu4bsRk62ck828TzPdohurmd4hF5R1KG5VYL9nRF9vxyM0NnOI5U1xngcGzvya68F3cTFRpRbXnbVpvXsuJLqPH9mVBMJqTT3Br/XeC87TIRqfEbmDDDSeetc4v0z27gFnVYbhJ0Fmjzj2mj/6M7hv/LcOz5waH0xS+nB4DY8KwR+YtkCiGqinVcNv6sgZo0xZIm4VaB6OL1m/WwSSPuzhPPiVZu4Kz9DrZ/idUgaBES+ekV1KL9uuQgBRddUm0+lWqg3vU6d55DGxyiq9ectI2z3ax9THN0hW8gSbnfdyFSxavCkR5P/zYJm7Bha9blMtJfNM3VcNHprKpZl/BO36PSi6tIsTvXac4/ZSoe4lGD4DhNo5Iq7oAKrGqyIoeLpl8n1Pzr7rOIs2sJrUZ1f4Du6w4kyOIW/gyMLiOUc8F2mhEsZdHWhR18RF0yR8d43baFP4c4emXVPkh9F4zhVu6+571w3SJkpLQF0DNVa80IJ7tUhxtCUZLXU7w9eJNpwYXcvWAUF9QSktBG9Un0kAnDEn3f2/bXy9epR5sWpxT3yeKLZrhFKc+pRTZdLBtVHN5nAspZYafE4ZrRvdUDz2evWVplybfM2q0ft6O/GMCdbUC6pMjU+N5fo4rCM1kzPTpj4mu/DHN7Br1dJfIncMV7bR7HV9CcF3YNK3Pcuv0xe1V+ww4Ez1Aeqa31IVLcWY9DAVzQv09QXzUd1Olw3GM8B0vvGab73zrry2SJiI+XmBxOMf6YCcW26d7jTiMmey/S3zzHxj0Rq5ff/mrFg1rch1+C5rT+wS9N6j1WZnumCa0GQ1wpZibHBM2Q8rem7hNn3LwBM+UX4v283SkCEzE3p9BV0V/+Ni0ia4uhP4ZzukWaVHTWblD6ZT2c48v/WPq6TOr1DRFhSttXeFQ9D8xbgbLd4iSNbL+M7MrpL1LBOkIZ7pHNnvTIm2tdI/h818Sv/rPTd3VDE+oesv4w22qyQmeKkfqW2rIJbDkdATtyAB0+nuXYih44Y/JP/+/rKPWXryuK/y5w1X0b9UK4jX8/vlQ0Clc6qFqKxW1lKN08KVt0+FAUb3OMvnJY+r6jGD+bcTLDgRBE1OjmVjtQaosJ1S3d1MtfDNSTLfv45QPbSIuLWHSaCsFdVeb/yO7dEm/48g4UPuUii3qiBPIGnFMrsqJLvm9NyHUVnmCn52RzVwxToMO/VKMqv6gZ24qfoivbblD3blAoL686g29W4TdtoFXywf/lvDCd5l4LdqtHpmSF4rfrn2LItsiSnco2m/iDh7aZclvrdggTARvfWYR3VtDw06XsHYMttbqLlOc3qOZfYXQEXjwGSy8QJMJ1pUafMgLWsYSobdKpcpXNSLQJVzPiHJKoIhw4xPkp2ReQhguGqjPc0emqCJYx1u5RXHy0GJ66dOPibuz5rTWiCA/+JBW7yZZa8HSDuZ9FnW6nRBIOaqDYLtr8DJVHgo3JlCqiNguOFXTOlexyuSQnUHvOqUOioyISnW8M5x03zYB1cwVG+Io+RK0r5tmiNPPCRQL7l0yr7B/vGkGhcDZpYkFzZObvTA9UhNoA99QOQNTsGrDWJUTHD1LRJeebhvIvfFeI4jPqFORy/XcHlhHV757f08XjDbu+lvkpw8g2yeaFZenodn/yC580nRKl5bLjDEQvHLO9JMaOMdxRKpUYJVJCkkweIS3+jWLhGvD53Vv0uj3Mzk7NwtMhoRJi0oXhInONuv4gW/+60gMkCs/sBh+uv8IZ+UFggKDXXZ6F8ikph3uURbbBMFlqym5LY+66FLrojj7CpHSf3qvu56Bb3UYFYyxOLtHI7q5BqQL1/CSG0Zz18CE6RllroN9ZskfZDPSmWdy37gWWkjUB59adafS8GZ0RN2MFTmxdBXq/CcaJn9MPaloL64xPtulpXqVYrTHiue+TDnVkGcLlu5QDYYEvksZzlnkNR08MD6FM97Gvf6HlNOpXXA1FFEVCdUdvQW86RG1aneRT6NoclZSHX5EdPEHNhwXIEDJzVoVsu4L1rFVdUA/s1zVUB2GRyfGsVHXWcNxJ9/Ga6/h5GdU0SpOoc3X6Tk4tyU4/RDOviC+9H1S18WTmUhsFm3YFl4wGF3hTElEOdc7WNFHVRIFsMx2LFnlLH2HYPTQlIF6TlW9q1bDkjFF3V37Z+TH1OWAWCC8fErSCm3bLzNBOnxOpM+dqkPTTepIQL+n+O4MkZcw1UJC5439XxNe/p5xOcqzJwQ9QdI+pCpmqKLAwMOyLIRSV4+fUO8/hGafovUyoQZR+ZC6e8Vqfa7qYxo2j/epjzctaSQgp86XlB1cDff1nfBrktk3abbuMTz+Ka31P6Ho3yVe/Q719Jh0dJ9g+avkB58RqzLkRaT5HlE+JitPaUYj4hf+Hnme2meQ/fegrTOY2BsptS563ZcIAqX+zojaqwz3PzbldywIM/PkosP3lnDiV8xGUdIiFgxYvAYEPpO6G7JwBmfvM9zuOv7SDcrhGZ4o/Ns/oZKesTOPy4wB7XTjqfQkGB9CvG7nNXe6j6sL22hKVZ3gSVN99CvTQIbxOnkp2PaAsHfNbEKu/n18ifLsCyP0t1sz5DO3rEo7Pd7BXVojGIyM3B63l5lK1+h7hOpUL70G6RlpPSUMu3j1rC3LyrPfEnU0fHrBANRO9pwy8gnrnl0YNcka7b7L/IVvMJECOR3C/GWqE2m/O7jtm9TFc6stVCfPCOdmLfmnapCzeMcAoUrxhctv4Z19zqi/Sburoa9gzVqYRISREi4Z5eDIeEfT0we0L7+JM4mYTreIWgnFpMRLd/A7a1QXv4M/OSM7vUs1fE6y/l3z0iuFGCkO73dMVR6t3SGdHOMef4kjY1e3R5GJkaPUwDVqQVGznGB2w6CMbrRErYqmUjWK2It9MLlHMPu6+MY0I1l5XIJ4kSpWrfZzEOAz6BC2V0j7R6DncjMyi1qg4ZRWr9p+K+7uhqR1YTU8b2aZ6uQRtc7uwRyBM6EcnhBd/D6llqFbv8RfuoQjVfXkBMfz7NcuuxtEhUOuarHOccNjMqc2i08t5sHBR4T6mej5KkV02qf0UvvzSqtcKwVdnloKMgkvUEy3zQDmddaIoh7DwSGxBoJFbiwQnVW0KJcG1xvsG2w4C+fotFoMD+4S52d4az+gPPyYaum6sZIUGLXUq5PS1oDo9FN7vzr5gDpYhs4yTrFNWagO49PI6rT4Mm4Qke3fI3CkG13gdHJEq3vV0p9lf4CrRUcliL3qDwnFUOC/A+q5C5a8cIa//V+bVCCbybFtEerBM1PORKInj3fPI1bqccZXzC1YBw31kx+bBsYXRVlxn9E2ceGa8s/Z+AaOCJXHn1OMNwnmbpIPdmnmbhBmGdOzTcKVC7iDPcpw0SiaAooMDz5k5tL3KNK+URzbK3/IZO99/HaPcPYy6dOP8KKayl80z7UWRn53w6b5ZRlR7n1INTtvL+Wwc8mATOnBF3SuvEM2PsTXyz09pZmobvAq1fFzMikN175hX/Y8lSbuOq5o89PneOrBUtlGqZLurAoNJtcE82bYyo+PaTuH1AvfomoymkIXsRLPv0ih2FXlEGhjrq26RXt28JzatBlOd4MqHxCfPaUQuVz986Bm8vRdWslVmllpjhbwT87jkgKGBfE5cKxUjB25fjdh7gqMa4udoYtq1CVlHkd01MalllZE2sPuCo0IzGr4KMqk6I5gO4miKhPy0Q4kPl7rJRpFmVuLNtFqDv4GT/FnJyYR7EQOTKn3nvw50crb0JqlmmwRr/+pEeCVotDABqdDhUvj9HGkxvJmGO/9DU44TzL7mj50pugpCfHSAyOK1+MpyeIa2elz8jomvvptfNUmFH0/+z1eGUDvmgHzbKM/GeO1ZijGT63H5i2tU549t4tNI9vEYJtGAwfvCm759P/v31VOIu2vbUfU+S6yNvHqHXkOaaoZ8roiaelFl0K2h+fO4onroERLXeuIbpcsaXZUd3CnAkLK0z6PM+3b36N4DI7XIWhfsMm1oFauXPCRZ1FBv9OjksbIE8m1gOkJhb7s/oKw17Yp18/X9wOq3gW80bEdKNPpFqEe/vES2WCPsNWm6lzEFegsDvELTfhXqXUw9TQBPaMWpZQj6ycVk138pa+Cfr04JHBixs9+TnLjT6nSk3O7gSKCrXni9ktk6su6HarBXSKB1upZXEXlk1Vz5gqo6Lj6uX3b4rL5UGqWFkkxomn1DMiknl0Q36IYfkmQTinbFwjVp9K3K9ag6xSH1BSOvhvTpLukk8F5/3bhDTvwxH5D1rqE7ydMt39m3u/KEbFcfdhLuPkBTA9pWncMktIodt2aJVP1QUEa9aDHp/jiYug7Ph1QKNkzs2JbW8XjBYQUmTjqvEhdSem3QaFeeD2i0MZOdOda2ytFTvVda1tiQmA5gTPd2qXWIcH3DcpXpnpAFeR792mvv02uoVRnkbAckUvZ5kgHKJ6AaxfyUEq57m1q9diH2yAHcyskaN+gOH5EJWp32KXZ/eh82KQLth7mTc8ORIXXBdklBs8o41VQHFqf7/4Af0bwpGOc5a/QHHxCcbpPcvUdiuMPcNsXqeoEpx4RTvbJmhp3VsyLTdKsT71yi45c0FI1ypgSr1F09H5YssOLDtqC4ZSheCglVdnHO/gdzuV/YJTubPOnRFf+QxoRq8eH5/R8StCFPDvG09+f4prTAbW6+JWMMzM4wZx10wOZWNwLNNV9CC9Tju8bDKk6+Yg4SM5ho7owmq1lhDNS/LFnyZQyk6FDDmL1KrfsJWoXr/5n9i6TpqiZ7tgAzp2cULdmkP7AlbmyKiiyQ7yVr1Eef05++i6t5W+T1xrlZVTq2wcBo/GY1vwGTXlMQw+mU0o0UPEJfM+GFuIXCM6nSH2gS3V6apDaeP4d6uFdgwk6UiGJ19FatDi0p86/YtL+HIkuAc2IeqwDl7aJBY1imMNTQg2Za7Em9H5YJaJvG4gimLUNY+isUJ59ea5o05chHxPMv0SprqQ3JHv8KdGNr1PrffHwX+GsvmO08Gr/5zD/DbLtnxFe+pb1cet0y2jTlWB9o4dWdZGWyAsCmsnUdK5N2SFyBTBTv39sA24nbFtNoVFax2Ck5xc6Twmt1jKlhqJX/sR82unzX+O1NgjmXqDof2ju4oAEf/YKjVIfgx2LbXvtOZowIi8nBIq2S8UlNWA9xRP1Xcrds99TnBzQXVpmkjcGp1VtMB3sEqkSd/wBTuuqVXCmRUiiWsjwS4rnPzEIYHvhDoOdn9Na/R7V+Il970SvrzX0m79NFczi1wVFWuOe/I56/eumF0t3P2P29j9kmg9xxgO82Xmq/d+QnR4TX5Gu74mmCji9NRxFc3HwW4tU/cf4Gk5I5ySTgt/BnbtMU/QMQJVlZ4QXbhAMxqSnm4RSDWogroTh9k/xFt4Bwd68lkWNDZZbVESRQy5y/kCx9ZH92ml/i+DiSwbHpX9MMT0hWnqN4uBDstHeueJqekoYXcPrXSLrf2TMCDEF9Gu7vcsGnRNzJJltM9z+lLB3yyDLTVnQxGs4qtYcPbIzYq53f3VAKVtI0KNVjIROpVAE2pmjmT6hOrwPa183xkwxemg/j6oRePXYzhFhLD6H0iC7Bpes9d4rfKvA+UoTKZ4sftVghJdvmQLaFH4aAIkxNdml4JRm7hbhYBOvc4u6NUstQwYCLDpkGl4mi+dsFP08ootU3Q712ROihbeZTjZxjz4TX55o7Ws0Xovx5k9MeSfqiUC8AjhWR5/jLGzg7H1OVlfEi7dxdaYcPjfN8fRw254ZgSB22a5VW2rZVARTFmDQayj7jwi8mDTPiSIZAJYosx0iDdR9j/GjXxjMLf7qP7fvq6uesaxz69/EffLvCNorFN1rVAefUbkT2guvMN39vegv+GuvnlfdRgfUqhAJihx6TI/vES28Zeeb4uT3uLVj/njvgi4bgS33EFB7NIa6b3XEYP4VA3fL6lK2Qhx/BVdmjMGXTJs53FCLvFXqTCmHocHBJwPBDSvcWXG3viDw5yhG+7aVDIKI3Kuoow18JafCHPf4iUE3nWSVWjBOVQmGX+Jc/sf4gwfkuuB3XyASWE2VTg0jtVirGxyBsuN1M29RblN3b1gVCelA9T73wO9ct/NxNnxgyxm9p6TBI+6eJ6a0my4a0oMPCJI23uLfpY5PqPcfGcBZ9onUFbvq1BJagknH2RETWQ9UT9D236nOk6jSyeITUJLlp4RzX6c4/pTm9Lf4638fMZEbXV6rEu/oGVl+Rmvjq6YLzY5+TzxzxdJgznTH0mW+zizq+6eixIuhIb2oljkScQRWw5NK2JlT3H5IXhzhM0OTb1oCQWmkck4Mi1kbAErXnUsxqIrzaM9UsUrdCLYn3a0SMa7++YL2OX2yZ78gWP02rowAMsaJU6BFlLrqg33c7mWK0TNL2PnzL5Of3ac6eYK/fscWVQKzamjutOYNjB0t6LmWkz7+FcU0o3Xr+/iFT6p0bxThli7lWNy1VdzBM5y11y0BKw5DsvYtquETstEjIpkI+s9wkw0qpbFVL179Ie7BZ7gbL+AkF40z0OzftRpsNbNGUY8NLhx3X2aSbxNHS5YGDU1hvmLVCqcvZoqD31792yHZ1BLElVszefK+gR+D3nWrLAWtDmMlRycV3sbLuM0ibhyQaZA63aWzqFTzxNKwvuCah3vknYRy9JxEdYxCC4sx6WgT/8JXz9lonmw5+wTSjy5cpZD+sEwIlq6bLnzaf0q4eNsYYs3gC6gXcYIJ+fFTZdmImpj40jcpB49wRh/8b02uh6unyIKLe/KJuRbVa/YGTynX3oajz2g83xQwNnkf3KXw1vBW3sbXw9lN8PyabOcje9gl179PdfoljUAsCy/SaCIzPSVyD0ilUZi7jSvitaIM2vbq4XN6/7yHvvDKefz77ClJtU0pgJsgP9Nd6s5lvLMD8vEjvLlrdnBTh04TfE2fXPV8t37KeLhLvPpVfCY0u/coIp+ofc2ii9PJGcmSLnwl6ea7+NrNxjNM9JBrLeJH6pIJ5DVH3FUs+ZRickCy/AqlNsTSeYUzZO0V0+jUhbyiI5KZWxT9Z+Snn9G68Z/gt1uMv/zXNLok+hGhQBJuizyTRz6h9n3S489pLbxCefKQ/OhnRC/8p2RZCEcfEl3+qvW2ss0f0Xnhvz+nmJ/+Dqd3BS++bGTxSgOX7jxO07EHgPpifmfeIq3q9Thr38I7vUuz8IK9BDy5r1sLUsjSnMlbK/CNdLsxleAk6Q4hcwaYSwebtOdv0j96RBzPUh1+SdPKiZa/JwwqTOSf/YQ66OKt3LHesqeLgvqE04mpYfzObaZSSMXqljcUOvhILaPYjaK6esAmLaQkELlZm+KqL0iiEjfqF80TaBo8F+ENDsBZNzKuXpx+58p5LHV0SnR6lzwtaJZv4/4tSKXwYqJWDyc7IB+l+Et3cJ0jssEZwdwrOJ7ujJ9aXaA1+yajo9+askyx4mDylFydOUezyNDUidpeixlRjtQRdg0UltUFobb8uYCsLar+lzj6PKufrm2jouyHn9klRsCp0J9QVr4lTJr+73A6t5g++wX+jR/Q8Ttkzz+mXr0GIggvvEJx8oRKG7HlW1TDE8JQ6YUFisljCjE4ll7Ek0aunuJ0X8cb3yfL+6ZQCvTzVMRYlbikQ37ysak7i6bCd08tyVJ1pBz7GJQC6b1MdvbIoCFhtMJE6kPBjuqcaPVVpoeP6PQWmejBE2iKPUM1OT4nwJLQaKvcvmVQIANbjU7x8n0afwF34SWyzT8n1DZk6Zu4uz+hWb4OeZfm6KfEK3/ApIIgk3rrAu6wsMoIKy9Rj49I2tqCPKU4Vj9szWLK2sKX2T5BPENWZbScFepKoMjYtJXoQDK6BxruFFPKQ/XttTeKcGcvWZ+9qcxhYhWIdCql1CmxQbVC6wy2g1OGxZQkvmxgwGqyjRtr6rtEOn1sMVZHILRwAcgq8BgAACAASURBVE9gwlYXpo0ZRZpkAbIxwcY7NGeb1Hs/sxhwWS/QbYcMPYdm/z6RNtr+BXxnCbc5MriloJ1iXvhiSyiYE/oQrJAq1SMbQWfJIq66xDa6MEsZNTgiTNrkfnhOnJZqRgOr6T7O8lWa5Aae+pKHv8ZNrhL0XqOafGGRRxGty0Z0c896j742t1LC5KdUo2fW7w7X/g5MnpId/g5v/m1ThbmOEishpKpz+YSRhiQR7vgLXNHhmSfb/jOi5T+w4Yk/+AwnuUbpB+fbmuPfEqy+Bf1t08UF3RUbHqq3qoFLnfZxw5JyMjLyv557+dG7uNq2bfwRVeaSdFqUmoa3F2nCBdKHP7YetuoWUaRB3jFuIPheYiAhJ71vTmn7tQSRyg+JO69a9LnVWiWd7pIe3iNae5EyzcxT76Io6zOSmduMT58Qrt6mUfqm/yl+e4W8WTG/ctRaJZs8MuOK17qKW01pygnl/EvEg8emBEx9OdIFVZ5YMiNcfAN38owyHxKpdieFYbLC5PQRbnVCFMzi+DNM3FmiSh3pfYtQu4rpV2f4tKhdl7izRjqZMH765yTz10lmX6GstmiSKzT6Pct44bs4Z/co25fOYZPDHYpiSOfid8jVNZ70jd9Qe3NE1SllPcGJOjiZSx1fwOt/TNmWjm6Fqi+NZ5uos2CE7ubsIxuWVKMRzdmHeLf+S9zRkQ3ZAw0Mjz+g6qxB0CXQpV8cINXWFl+m3vutQezszyOmRusmRbpJPPcqeXZGkA6ssxgmJfXsN6g0PBgqvt/gxjGVOpeKg4ua/Ohf4Sy/RbDwOuz9yGCvwex1c0xngwOCyRnh4iukqikOf2fkeK9zhSpV2qKDK3hrvEapA21+cl4XUW1reNe28bWrIccIN+pYxU8O6mKyY8+jYPFl20w5wzHF8EPi+Brp7LJ9L8vjE5rJXYK1t40E3Qw+MfVfVXmEMxftGTzZ+8jirLXqFUEXdIFXdUK1DLeg2XtqfJpA/3sdMMcn9h0VVFbvmWj5JpVi6v0twhf+lHr3Lt78mqX8pBatB59QujXR0g8pRQLv75DFSySyxqQHNtD2/Vm7qMikow102b8HM1+xg3YjPa0WHeGcdU6r06dmF1Efo5xMLYkzlfLOX8DxhzjTFGf22jkUtGkTrdwk7e/gxwsw3KFyTswcU0SRDbubIrTLqM4QvlIEOgekj/HbF3Db66SnD3G9WUJP6QipuXqmlhNHpT6+axF3pQH17rNer842+Zha79v9H9uwRHWNuHvBuApOq2f93TrbtIGvzqR6J2qA4JaHeLrgyJRz+j6ezCFxi3Lvnp01fW0oO5fIHVmwVMFcoawUzb5O/vhf4Ygt4ujCtEO89kcGkR7LpCTquPrbW7+yRJB37Q+py+c0M69Tbf7Glg6tjXfIdf873aIaHxCYXm+eWrFmix3v4s+/Qeh7DJ/8a+oyoXXlZapJSaikXuUz1cVr8iXBhT8GpUo04D/8mIZ5q3d5siVIxeq2Da5tUG1/jqBSjaRjdPxasfgwoQh8M28F7hx+KVZIH1+JXm02T+4Szq+QacDq6z20jdNZNRZNMzg2+1cgO4d3C9wz3OkWU9XjtEUbneFFAuc5jF2PUHBlgXUP3jWooqMUwmQHX4rbvQ9oFu7gBCHl7nvnOrmgh6tUniL5+ZFVzWQnc8YTKpmSFm7j9p9D7wUmuz+lM3uRuvEY91WNnbOFgpgF2lR7rQ6NlM2tOUJfF8bCWBPN8B555zL+QJwjvU8mJAsvMh6d4ed7CpIhVIozdwmvLyZFhttdUgmAdDrFb81RCZCerFldpdj8Ob4GhaneH09suCbcsdJTOltU2RHN+CFhZ4HmLKdaTIA1S9CUR++a8czRUFWDXt1FRo/JwwWzYSl9KttZtfOZmdzcjT/BGT6mUF5mKmhsSCtYoFLlNW4xSafnKm714oOSatLYOTjqrts7uw6V1Du150ed1/Y8cPPGjB5+vk/JDEHUsYpBXp4SSZeX53hztynyzJKvxdxNklSVpi1LOAjKnKy9hU9M1n8MsSrUFwgWruJUBdOd9/CdBEeQ35OnRGsvkWugrXte+yp1HFsqhewAt33ZhnRaGjO7SjT/MvXpscF+UU2nqvFkQNDyMG7j7t1nuvE2sTbvoyOrWuRuZPwTtt/HW7xqKbXUG5Msfx9/+9+S62cSRsRiNijRMtTdyiWsBlRKvuYF0sllZUHUXbFF2aSaEjrLltQNO9fsfiXrj5YTSj12Z66T7f4NftimrlwypdZaa4Szt2j081Ja1BFbSnDSFdxiC89vG1PMPfsCZjo08S3yo7ugmtTVH9o9Ns8ObYlWjXV+08lWyZYR/ux14qyg1Pv35CHVzAWz+ej/65z96n9pNAXzBJRjite5Dk6fop4hytUPXCGXD1oe93aM371Gkzc0xz+hXv+jczDD3EXckwe4orVGc7YhFdSmufbHlE//nWlVHHWGFUfcfZ+8d5uulD7q35/do4oEkDvEP35AeO3vERQDhsPH+ItfoeVNGInoGLY0IsWdHlikS3S14uipUZMVa1OdW71qb0GH/yd4eil2LzDd+ZR2qyIdZsTLbxA5JYOnPzHXt7P8depE8eUYf6woVmRTt9wfE0Q3KXLB304MXOfFNy3qk+vSkBe0195gdPSRHfLQD3DjezDtUwhE19Jk9QwuvIl3+oUdaibRqv0zvLpDqQ945FskLpy7jXfyIcX+B3jX/in1+D6cPaKgS7imIYZLdfYE1J1VxaCa4oUdKi/B7euwGVEr2iIIaHZGHEwpKr30HcJ8iykJSesqZXFEYzd/TSEPccMVvIVbTJ/+hfUjk6jLdPwQNy3wZi6Sn71PuPJDi6SnWx8TbryB710lLZ6axqk6fEQoUasmWJt/Sbj+FdLTHSJ5ZbvXCXtX7fArloPiOV54lXxwl3jmEoWf4Ac64O8TuDGTKidprVtfMxe9Pa6pj7YMtFKdPDXHPIIGbir2+22j5adHj2nEcpicmULOaV20aKn1VdttQnXSxsdkgycE7oylPnBrirNTvKAkHRzSXnmLRget/iMyUvL9D+itvmMPVFUuPIFERFH1pIfas46Yq+1StoUTbpgP1Sn2rAuHlCKjI6qWupkOzebPYe1V6wzrkqaeppR3/sbrOJVqBKNziNiTn1Lf+S+ss+eefmqHyPLo93D579iU3fGmODMv4uXPKY+3cNSzOj2AOCRJrpE2m+ZmdQoxJpbIphP85Yt44ylNHFPsvS/f43kNx1vFXZCWZMsmk2UZknvz9qCrVOOY+rjdWSbDIzrliGjxRU52fkFr/Q+Nbl3pARMuU0wPCCJt+BN78Vbqs4TzuPm25sR47Rv4croqPjnZovEcPPUoo1nyo99SF7kxONSB0nTe+sr6TI+3z9MtSlPkIzI5ZeNlnCCh2v4LnFabMn6BujikM/cqxcGvLFVSnW3jLr5OXR8RRhoI9CB/jDJ/gduh0KYsa/DzExzF7bsdPMVNBYmabFvfUVHfPM9IVjcoVIU4+BCnvYE7cxVnpEFMDp2L1rkzx2pVGEjOPX5Is3gTNz0iP3lC2O5QR7M40saoiygOR+eG6Y3yk/fwtdUSvDAfWy0g8y8SL1xjfPp7vGPpfq5Zkkj8gmnWmKUk3/2YSPC4ZInA06H3ol1IffV3pVMUYOf0I9zk8rnSa/zAEl2hHLMt6VpDU7G5fkxWVnSTWabqeMpu4ydM9BySljKaxVcPc6ot+xv2LKt2f0Xr+n9s9a6y2McfP7GLtpRI8l9X2alN58tYawvxLgTsWseZnuEHIQblVoxNGkFnAt3LOOonN12c+tg2qZO99/B6V3EcxdY+M/c8M1fOaf5+iK/hoLy66geKcuxVFPkppUjxi28z3fyIeOVFi94hVoWoxY//b5i5bLYLOcobDWe8lr2nNBx0kxXja6SChBZK8Xj4oy3KxZcJtInPferZNXQ6tEuxKPlSPB5+QNi7AxZnFPl/iN/ZIEvHBtxj7ls2QMnUpdYWUbUOQRl9h6rSn+tl0PcnXqDyHbLTByRxjT//TaZ5RfHFv6B79YcWV3VCxUlVt/spjruEv/gWTXNogEF3vCnUImFbOrk+tZ+ZfaQWbCsQ4XpqijikgaxOqBW13fgOFCfUO7/FX3pJJE3ItuzvuJmMiFb+yAC6tbani39IJV+8IJTDTyzpop+3vpeE511b48z4MvOt4o0yO4i7gokKcjr/Er5X4kkTKQbIsQbQPRwpDSMNr3RQuWedT9GMMUiqYo5bVi8qJg2OepJyXLcXcN0O6fFnBl4Vw2Jy8inkGVGyfr4lmV+j6N8nCC8QxKHB9xxtZf156ySbSjBXLeEZxcwF4qymKM9wc5eg3WE03DTbStySQqegqTwyMVa0PRRBW+A5cYBo4eS7NCKHBwt4UXB+MA7WmPb3caYPSVZukz/+9/jzl3HbF2wIEmaFafOa/jbN7Gvnn72TTwjKnEYXA4HnDCzpEyy9QT14oBjKuVO9NY+ruokUZY5i+wLtlpRHn9gAJh09I9r4I5rje1bda9IB5fZvCG7+AM9fMw5DnG9TSXgXqAZ0j0bJMtH5dVYyZdSEtJFS8IxG9HEBUZVaIyXUuyqb4C28ymj7l0TFALd3zUwYjZ6VSrz0rhvfplAFSc++QL3qienNUBLM8SxyqhSclk1iSNQalo81YCspzjZxZ68SqtKx8xv781QyVYy2aZSSaC+TZM/MnlH3LuOnB0xOv8SfV0xXZ3BlVXPKo8f2vejOX9Us1pKgAktLp+W3LhocULFeJfNkP3CSWYOXqX6QKZ4fLBJWGYUTGF27HD6iKvRWa5sFK3IqGpHISyW99ki/+Auc+cs0c+8QKq3ZvmRwZmfmBgweUImTIVKtzqsaenltqnxkycaw3jeiuZJCqsM1h/eMOh/1vkI2vm9Q5DQ/ICp1rriJ51WUJzvnKjt9fycDnCAi3fsQN1kjTtoU9ZTi2a+JX/uvqbwePP8RzuiAYvFrJElhtZi8e9mYWcUwIexFlHqGx20q1bcE0q0d/N46btijFjRMl+7jz/HjC5ac048lHY8ItBnvXqTRmVwMLn328glh2CJvSopqSHh6SNYUJNf/PpVsIIonz16mePgviWZvkamWKSavL07MQCIAQiVjBGx9+mcM9g6Ir3+f0KlNP+11NhDyJ9N2X885vZfbcziFh5/etwWFUjNeV7rSnEJR78lTqkRLnEv4zsS+J8nKa6ZOVgVHPAUllfJmTKCUhgbwB7/AW/kWfjKH31khV21huke19JYZhKLBr9CHPNdCIj+jEA8hPbGL+iRawpts0gyeEy2/QabK22iXRsA3tyCoZ6Dq4zoti2Z7k8eUUouqpT5RQk5x95vkeh54S0TZLtOTp/adjcTlco4Iujdt6KYlRDN5jt9ZIhPDzV8ijLRE/Jhm5kUKhgTBEk3et267Kpr16NDi6bW7RH36OeH8S1RK4g4f4F/9JxRb71I3I+L5y7ZpLr0IP5KlSNU5RURDmunkfInbkl1oSrr7oYE0dR/TYLMcfIIT38SrTsnHnxEkG7gLb9JITZ2VFK3zO4t4Ya5UiMPdc0BiR0mazjm4dvjQ0iJV0aOJ1dufxatOcPw2uZhoYZtAS2BVlCaVLT0Ct6RJepTpGW6mTv46jpLTw+e4pbS1LfJqlvr+/0Hw8n+Oc7Z3rmieuUg5OsSvG/xmAOlIRwCKcmK2l6zcxys9PM8Vmg2/02Uilked0o7mKP1Z0v4DooU7TIsTvOMHuL0Nyv4u4eIl/MphenxM0M6pg3Wqnb/Cm38Dp6cUcEyWZzSnu4RrL1oFppx+afdJR3DBtIaZm7jj+zRKBRx/CjPiW/lWz67cBaKgpolXaGT2mn/x3C63/wnhrIxCAsw/xpl/i0jP8jDEOX12Xl85/eX/0Pii+ivy2P8YN9qgiS5QxW1iQSHkcT/eMh1c2L1mahdPoLyd985dwnK+TvrUh58Z+MYOSaOxvZyCO//IXnh6sDaNTxzO04xOcZe0CRvSHH6OK1Lx3FXKdNe29c3sdfz5GbzxmLwubCNfne7Yxl9RQwMi9V6gdkKQF1bb6WDhvBMnOFwZEi7cZJzvE46O6Fz6A6POO8MHFjF1w0Wq3Q+hHRLNCFq2aXAbN900oF443GF8+juipe8CU6OgdjrLZMWQcrRHMif1VQRysJti4wKVEVYbi1VHoj6mp4y//BfEN/8rmkIJCWFB9hkdndBaeZ1q8pTJ3sfMXP0hhWKh3oi8mbc+tjO/Aq3bVMfv00ouUzQOuau+57wBrNxqHzpv4moLfbJHpumn5xhcUb1cL92iIrGJWrn9CU3k0rgCuC3g1DPWZZk+/7c0C6/SFvjOSfCaMzJmTXEoqqTiW850YH2Ycv99/NnLOGt/ahqOuv8Jrr9qfUhPL8k4onzyI1q3/hnj/lOqvb8huXALv/cKU/18oxpXX1xR47WJWn6ZfHhkgxhN7arDx5ZkqMIecadLUXcIGlkOJqAJs1Phh4JWteDpn+Fc+/s4RUhx/CuLozbMkg3fJWzfxokS8qKg2f8FwcLbkB1an1S980kxoCWyeTGyh6DXWqcW7X90xGTwmOjCD2D/11YDqZOexYajZpZMFH9B3voPoH3Beo+6uNnRonWB9Pj++UQ18q1DJN5DRot2J2Y6GhI5I7JpRrT2HaZPf47fnSNqdS2eKaNAke3jaYM7emydatGT3fGU0tGDyKWUc7YYkrU3iAMNn0rcmVXSk4c0E8VLV8/jXNoEOwlBb51s+NximI463q1ZSsFbBOja/whv/iL5qMKPI5qj+1ReSKjNxvx3cdPP8Pbfp9FgT97Ys2ekg6dE66/ipWOKyT6eDnqTHdJoHk8DEEfE6iFBc0QjRaEuvVKbVI5NGVVE0d8Zch0XZ4g34qz9AHfwGLRV8ufIzu6SrH2PTFwCApzZdbJsSswZ+ewdg+N55RzO0k2DN1b6/3aX4fg+KM0h8Jg2SKrpDD6kJCFsXaXwClNTGQFd5b1mbJTXzBJJTy29ECZLNpAIDKg5A/4S1envCeduUKo7Ok7BHVGKhRJfMeBmVWSE7nmdQDUVRZMdHciRe16rGznTpVG8QLb9CwIZCdyGKFkmn72MR4A7ObTof6mevr7T6mkrqVAc4bavGbjKHW3iqePlSXHYs89LLavK+LnpGaU00mcsbq8bXVk07qyv2paHP3sR6llKZ3SurJQiSS+IUhfF2C4zii42cxu4I8UhpzTZqaW5RJ2NFm5THv3G6OsFM9R+Q6DInCjIzRSvKu1ZoQtwmT3GiRXbm8cVpTy5aC+acTogWbxhphj8DTxFNeV+9krqYI463oAmIyh2SEsNBWfwSsVKU+rOnBkCAkWXyzMmvm+HdP19iA3h6tLSW6MUmU4R8uU7xhuoE5lWTpkOtD3PLHocizxvismX8dqqLjzGjcNzUNTZxzjaZC5+hzp7YlsBp04YHH5Me/41SlWmIo9CkB+3bT76qtgnDFYooiX7vTeBKlOFXUr0XHRc6bWGxrVpwnMqM71XzSOvPjuilus5MnvbVEaFOsujU5xsx+C72dHn1sFNZq7YsKgY7Rnbwu9cO0+XqLKQdG0Dq3qSdEdyqsv/Hogo3YzI1CnX1j6fUIw/t/e7v/w9XLFymtR6srLb5Axxo6t4zSl1pc/jHH41Mt2q5/qMs0NzQ5f9PsmiDCgxmdvG9xS1PrF4oiP90sVvGC9HmtkmD0zB2cRtA37qAKbhtBMI2jhLMXpuvBDR3c37XrepnYlFpJsipQnVw+1Bf8fYK+pMo0WBxbMXqFa+ArrQiW8jVlr+lETqOm8O98LXcIoDam1//Fma/kOrRAnEpiuiNpM2eJ65bok9VfJ0sBOjRIdw1xngTxWL1qHxMfHCi+Tq3no5QdgD1ZxqzwbHuhwLUqZLQz74zJ6/ke6swz7tlVuU7vy5fqz/vr2TBRuVTlbbO0VI1QPPJw9ppkNjBDmzV/GKyDgUjjvBWXjdKlGK7YfhEtlkz2BwtdS123dJLtymVOz48FOaNSVJtuz9JfBa3b+H07oBEy0gZqnii/YeYHDX+BwyUpTDL/EW3wENWF3ffu1o8Iy88micnNJPhJszTZxiuu78bYPEekoIpCVuEpNluR0+awEb82OLi0fSoooLGXRNISnq+lSqU2dCkNwmq1K8+hRXz8PTe3jS4O59QOT6sKiL7XM7M4mPE/bWycdn+E1oij5jIEgjRw/Xn0K0QTV6ZDoz/8IfUB99RNGkhE0CoWuwuVKfs0mFU+5ZdaQuRDwqLQHU6slLnpJmOe3Vb1Acvn/OUeq+SDMeUCsGv/FtM0Do90V8wS52qlHIRT7e/h2ty98gX7xCePYFae4S66wj88X8ZeL2GhODi/VwK33PH9v7yl95g/Lp+zidWer2Jdy93+BogTZzh/zkLsH4mEKDNccxuKXgyNm0bxf1yF8i7X+EK8hv9yKOGCmCbYy3aXqvkJ98ZjXPZG6dtGzZ0K/Y+y2t9e8yVFt0cs/YXmVrHc8ArNKdtgmdqfW68/Y6sQZ1zanVTnU/sJRAoerlCZ5qTYXSTdumunOSZeMyaNDUTJ9bd7w++gS3dxFH7Ced5bUaUK86um1g4uzp/4k7/0O85et4gz3SYJkw3aRpKYY+wYsqnMwhH4uV8gq1DBIC/dWZ6X9FbQ/GO2ZhiKSlrkeknjroselE6+bQKiJ1aw3/8APq9e/YYELcpaYeUTk94zx51XmlVN/DeP5rpMdPcWPZZ2TxuURxpJTXEr6YKNmA9ORzguW3cQQ9ff4jXFnDutcohg8MkugG8tU/p7X2TTLBd2sHL4zxn/+MtHOT1vKrpOJSjKUHLPDmruI7DrlgwIzxFCVnxbSnvpZ5Qc8SH57bwleUXYDv/rZVrBpfg6me/Z2F/gzp5o/wNr4B7hzBdIdaYGcB+tprZkDyxg1FJ7LhvJs2lH5G0Jojzxv7PRTBPF1fW+MhtT27NVz6May9Q6sKDMSqekGwcAU37Fpisk6HeH5kYHSlVJQK9bNNAyXnWUm9+55V7fzeq+fcLVUNvYzsbI/g4tdxy5r0+ANLHwVlTTnqE9ggQcmzPsXhXYNWq7pr1fLpFk5TUbghTI6Iu2sUM+JsPMIXl6p0zuuQjixAB7gzAhIGNKfPaFrLpis1C5lg5zf+Hu7RXftXvvQyXtImGJ+a5UZLSjeQYauPwwLVcPucLWKAwAO8KIa2Er5fEC5uGF9IvIOg8xpu0iLf/HOcKsFd1MJCNUmfevyQZuXrNGd7dk5ylr6K021TTyZUj/+Ffaa4/k8Jjj5huvs3xGtv4+hZPz6jntnAGdwj93SXTOzvrRGzR/fAOiEdPsFfeQ1PdzClX+Zeod7+nciFlItvEJ7elV6EUsnk2Zv40qRrKHD26/+xscO+YijtKzSDJzQH78Hi2zjoIO+bCzSIQvKyTdLtUqeZXYwVbxGYwVVfuvEpsyFF+twubLUiHM/fs6iwt/CGOW/18lB8s9I0yVuyTqH6q6EzRyZKdu82kSdgWIYz2DR1hSbozeQ+2eCYaO2ruF7LgGfaWmdHvyG48m2j4qrvLpJmPXpKFckxLpeNHIkXKLX9mxza9lTEY8Vx5LptBEPKd/AXvmExkyYKTM2UjM+YZs9sg1bGC7RaC+RTzZWla8mo6hO89IzaU5xbG8qCStHGIjXoSj73Ikk2JDt5gNe7iOfIcTlDZn3wsW0p9dBBQw+5R7tXSOZWGey8RxK+SOkfEwXzFLo4ZYeEPWlQpI55bFG1qolx5Px0S4udanugg5M0WereyCPt+CV508ZXAEhaIDs8dKy7nD/7Pa2b/4h6eJ/ak/v7AlWRmkszSjStd2wymR9+jOMv0+ldo3/0Ln5/C/fit/B1QNfBRH/m9lXG6QGJJv7S3uSe+ZhFSNUNo47miXShnnkB9+QL296ZQmz/VzTrfwdPg6Bogebk0fm2Ch9/5U3bMldnD0m0DZls4mjIosuEAEL6swsiWKVUZ/dwEzlv9XfrWt+oksZDWqlG+YmRAXSaucu4ZWFTR1VFiuIQT6YH+WLr86FRXUyYKlqvF7Eu5+PNc2aZ+ljlGKd1ifLkLv7MDQP+RboYpEOq/IwkXMZpL5KXA9xKXb7KDBJe5yrhZIds6UWSMidNj3DSkT3YI3X0o2WCyS7jumBm4zXGz7+ApcuEhx+S1wF1ME+74zN1NCBZpdj7wKBPwfwt6nzHOlN+Z4HS2aAJBTZxme59ht9bwK89yvkN3EHfdFX1WJ7tV2nCijifMpULVhf0zU9wrr2CO0zJh9sESxdp1A/MNgnzUpBcmpEmi+8QlBWFMzhXVwq8xoiijHCbfQOZiY5bnN0l7GzQdC7bd6wZiw2wih8OybweQVVT5UeW6ojkatZhQtuDY8WKJZBfIpc65tm/p15+g0D/WXiJIn9ol2u9DAttmhXPOP6QeP1rOJGDE66Qb/4SWhpMJDSlYCuvUx5uEhY5mYYWE8Vg14hcxy4XhS4Yeskv3rbYZlb0CaQp0s8z9PDyXcrkJqEi0apv1IV5rB1tnCqHIlmgpQvq8NzL7rdmbRMuDaBi783pJs21/w6v/5eU+RwVY9zt9+lc+w5Z7zqOQDp2yZwnU2ri5Jl9ZtAhtrXMRPTk2etQZgZCbbqrRtw1+uvxY/ylRRil1C0ZRlI7XOr7q5dkrUtL4TDN1Te/Zp5yb1b6ohNQZ1ADtKNPqRpFr2/h+hMaufqqv6X4u5XVJPL9jwjmr1oSLChLq1DUVYarvqDo2jog6hJY5TTJHMlkyDA7JF54w7Yl5dl7hMmcHRbksfW0tWsiMimM0CBRTIC58yqLhtH9PTu0FKMdnJZL5bZpouu4h7+yagQLrxE4MhxoyPlvRIfDvfoPzcAgiKgA2v7FH5JnR+cE5c4MwUQQvyN7/ikGW0tTefYYN1jFX7ltzyoNUH1PgxixYvbt81GfabjRMY2tPlfarjZS1+pg4JFM8AAAIABJREFU3F2y6Xyz+1PS9iqt1VdAZF4S8q2/ovJW8S5/H3+s4fIaYbnHpBC0tk06uGfGiUCA09Fz2vO3cdqXqbSBrQTvmbHvXaiO+WCHcrxH9+K3yLTxkQLN0+d3Di8QYyWgPn5snJ1GADVZBsqRudeVoJk8/xmuqj2KamfSNb5oKTpxOQg3CJ0x6fGH+OFV/LU3qbKCevoUr8qZHulgvECjes/woQ29g+6LVpFRvNprJ7jqZOudM9onswi4IHhT4jIik2Zy8YYdBpugxm265wchVU10MHI1oMjsoqM0Qem0cCebVI7ipRrIVbYh13Yw0CayGIMqKdMTJtt/ZRe78O1/RiOGkYC942PqOrPkgUBI2bBPtHjL6O+kX8DsW9RnD6g6V4w3IUo3czfxSnUtB+RRhFfEBDMR9VSw0kNa3S7T5Jo9t73+59RKq/Suwv5dGtVJ0iGpjAm9F4mTCxTlNmkTkTht4xSIAu2ORpSMIOrgT0dMyynx3ItUVR+cZRwRzNMBTllQHb6Lt/Cmwcia4UiyBfCWrTKjqGh68ohgZo5o+U0mD/4NrdmXyWbnYOvXeOEF/OUX7BlaHXyKM3eZui8QakXYeKTDpzgX/wOq8gvq+z8hWLlpZzwBp/zuGqVSSOKprH71nJOh89tki/R4l5ZfUcbX8WZWqSePbNAaOL6p+bTQ8SdPIRAPY4SnhEGWM9z7a4KFb+Goez13m0jPgMk2VbRMIp3pcJ9pOsHLt4ku/xFZ7RKNn5t/XFFY3/FtM+3aEO2iRZBdr2A62CFZvE0lG1J/k2m6R7jyNciP8E72cTqhxdSLwaH1jb21t/G8gmJ4bHaaWIMEMygdMj15ZnBdp9vDD3uU9SxesWMDY9Vv0PlWtYWZdRwNxfd/TdC+jDd71RINkZNQ7n5EcXIP//o/UVvQBkXiolSnSkQklnB1Zy4SNbL7rFKLO5MPCNvdc+vI4Xvki1+jHco8Ja/5yPzzUfeKdbaLswfEArvO3yGfTvFOf0zVLOHOr+GmU6t2ukWKq/FOa4HyaAuikXWYi/mv4Oz9Gr+cwqVvgsxesvOUDk67Y4MbwT2DmTUFRCmyysQYOhPLCCJVoc745fCJneek+ROXIBZvo3WFvD2L98X/S7XwAvHMAmlZ4E+OKVUFSOZpdMba/nOcua+QK9H67C8Il14mWf8D0xXmg2eEF75hy8CplxDXQ4r9e5YmdhdvWyKjVEUl09DhkNrV4jGgTPdxVt7EefQb6tghKHZxln5IqgTy89/gXf1DkvkXqfyG4eOf0Z6/BO1XyaOSVtlntPsEJ8gIc9VYXEuOuqWP6wZMyin+4g2LmNu4SODYmYu427+mnlklnHmRuhgYaFd8F71LCtl1VPcaH1IqNp9uW3qgKEoY3sePNsxYQ3SFRNWU6JCm7pqJo8z38f0rNHqPT/bIB0+s+lkqEaR6Sf8e5elz/JlVKlUXqoBECc/KM4h23GgBocvulKr/yJaqjQbySrf9LaE+H90nnnkJxI4aH1F6ehYdnTMv4lnS0T55/zGxWCutDcpiZHVQp5vQ5GKNeTjDAdnhu/iL7+CHfSb9A9qi1XfEeBOxX9W2Y9yVr+OlfasGxkwoVBueTimOPzdIqydI5uYvKUlpX/gWhQYUyVXy8VOVbnFbPXInZPj0lyxcfJNJ/4Robok0HyjTTKm67uhI7h9G/V1inbtnL9tCKfByJsMdSwLqu+sVhyipH2y8hOP458MqnbkqpVQTquyAMooIjvdtGenKANK9TCLrhWCoKgLLREFmtaamdYFa+mi/RdTX9zyiUGJBnaOwRdTukvrLeEef4rZnqbyugU/1/BFgOJg8OY/5R+sEZUp69KEl7MKVr5CNHp9ziYJ1/OU7TB78S/zesqWBmsEehQwDMuG1Owa3Foy3lu1q+JxSCYiO6n2+3QUTpXDaPfyzQybHX8LKO0StFuXWX9p5yRsd4py99z83jvQwUlKMD2yLXgy3Cbsb1DN3KCePSIgZi06/cMfUVyIdCwA0oqItYv3kwKiVXikN0yqpm+FmeqjU1rcUybeaPjJndaJug+fjL1+nTBNKbRjUxTrYwlm/jJNPDdAngJET3SBxXYqkTbX30Lr8yfwG+dmpUb3V49BUqBIQSRvrvKC1cpNCE1cnJJReKDuAZBY3HVp3TZHtrIZIpPP2EkHnBll9SKKYX7p/7hZd0YbdpxAwZU4Xyn3CbotJHdGS81JbsuEzWsuvnEe5+4cWUdOkR4Rx5q7j5yMK9am6G6S7P6YsfDqXvouTHVGMBviLdyj3foU3s35+qFL/JbqGG6Tmi8zzRaKFZRzF2JvMaI+KevoLr1KrcyiwolFi52hE8m7adun3atntpua1tp6MDtZZijs9pQxncLur1Lvv4q69Y7CsRs5idcGl2qgn5knVRsCrU/LjB7Re+I8oN39F2ZIGcmJ6wzheIR/ew1HPPAxtezEeHOH2PyLa+B6N1HnjLUI6FJMB7ugx0Y0/JZXy6PQhSKWy9yne+rfMiy3Aj9+9xHSwa5TXZvZVvFZNI7VbkJB+8Ze4yRzBK/8ZiKo5+pIgWaMZP6dR3HDuoik2ii9/TiKzRKKL4LvE3R5isemS6Unx4iZkk2c41Rg/vk4x+dI2vo1Ac4u3TB9VTXbP6wbaRmqDl50SJgvkh4+JVm9SO55RwHPF3ytt2cUrcMAbURXqtyZUAvilGeXK69SZYqZPafzLRLMXyT/9382RHb7+j/FOtsgVmYt7Rs8OvA7jrX9vfzZ/7qXzmoc4FqrH/G2Uxzl5TBNtkCwsMNz6G0JPXeCcVnvxvN5h09s5nEQdvC1Lf1Sa/E026ShafPSQqqjwVt8yd7PMDEpyDB//a2bWv0lVd2D8WE02g+FIVVfvf0k0fxEUPxeFvxrpnUUt3HijGNEObtuhdBcJpbV8/O+MliyOQTX+0v73XveqTU9d9TyV+HDVdV6nGe1SDge43R6Izjx8QKxaRvcF6vQZ1VT7pynEM4TaoJzdJ59/mbBxyU4/IupdJAt7uMZsmOImlyikBWpG+H5jTAfn7HN7ePtzX6OpJ0TBKpNn/48xH9zOZabPfkS8+ndpAnXehlS61ApoJ19ufAm32GNy8qWBnAS98uVGV/daijfZPJrQJrEugX2GtAnxpX90Agq5YRUX7SziRFdx3CHZaJeorqnqkKLYhgt/YttuRaGbUJURdeYmROppCbAnXad+vd5F2w6Zzk7RxXSCE6qfN8CV8SDdM0Jz6sz/fyy915Nl2Xnlt84+9nqT3pY33VXtHbqBRhMESBBDMwiORIkMSqEIPepB/4JGD4pQKEKP0oMUfFEMZ6QZBl1wSFiCMI32XdXVXd5kZaXPvHn98XtvxfouXmGqs7PuPWfv71vr94NLZsjoHmzzIoLuVTiDu8gKmkQUTLkjB3XNIQYHF15rpu2L9+SQS16LU2RSu6KCUNlAEgRFSSfxLow7JzFh2kBy1knIYFEdgVcZZYRCT+1loLm9dBBPTlBZvg7tn4WfP5ADXIkhnN5dmGDWb6TGjYdmUhoUHdocbnG46jWgqH9lPzvScNU6TK0G+/QfpZag6EenD725CKfTgbn/kWyGsXwe8XgLVUIOc1ZXPOk45sMHktxxXAIYR1D1dcBfQJinKNLHKA7vAetvI+pcQ3n4qTBVNF+yPFybHhy5lC4Jk0XIvfFTBHkGLL2E7PBzgdr5C6+i3P8UXrMmNhOc9lG6OYLGpjzDGf9MBDQYQtFpzQHn3FVo3UL59C9QmX9NtESMSZfdywismQ06qtegGpdmlbJ4CwGJ+94ydOTCGzyFU21A+wtAOYYhCChgKP8MXJck7o5UEcpiAFeR6r4JRxtYak3Z7bVH9EQgO70rPyfNIaza2HATzvip1AEIZ6SOSOjxp7fhBItQ8+dgezeRqE1yaOHS21yfl8Go9SNkR9uo8O+mNifQKE3I5PgJ3GBO4sR8LmsUcMN1ODYRnzSTFITIET5sGKWk47zZQcmkEfPHqgVboT7rC9HxMuCTqypcHUsioCB8j53n5muIQo2kOIHvrcDvnsVk7wYCRvYrazDTr6A1I9ebyEf3hO3B7wTBYfn0GAG5LD6TInU5aNGGEPl1oH8TeoFb0KnUYZg4Ue4FaNtDSBike1E0oXb4EcJz/xo6WEbOCzJTOGp1Zv6Z3oRrh9DVc/BO78r2JybhnVUuIXRnMPs/B+Zfgs657WnCc0oEPE/t/gxZMoXa/C7CZAtxcAnB8CvoORpw+gA4HB3D0gvf/QbK6RHcxhJcO4Lp7cGqVAYsHvVrfI70PoXTel5gyZbE9+Y80HgBnp0K3Zz6XjIk2Jcux/eQF0Z4FYQ2snIARsyzY6hoQzaAZFe4C9+AwQj64PHMaMxY+eq3kB3+Soavevl1ofgzkeHwGc/tNSGShJLlJ8iLHBVuP7MjccbzPAVCY0tGgAM5YxSHW/DDCZyclg5G1evQQR1Oawm21xdauju9LcNvu/o16cfyrDE93YLH7WnnbeiUpoo2Kl6E5N5fiM7N1i4gnTxEENQkrUcwsdTVFliDZF3mmcDjODSy9eeQHvwCQX0FThzLZdppXoAOHRmGc5jqVCycQV+AgzyD5jy3emN4RYq8ck4qg6w15uMnUlkIm4x3cyjBCksdhpwJDttQ575dLmCFv4S6TWDbl2BC/s6GckFL9+7AW1yCCpZRpD0EjkZuW3LZa9kE+f6nMGsvwF/9bZjTT6UqJsmB5jpKbsUr1B9PBOztmgZMY1G4M4Ul2PecWHfcyRDO9AHKyvOAPZF6nOJArVIRa4nNj1GpXUKGXditz8SCUll9T4ZbWSRTPijqOcuDWT2kDKByopSH8O0AieogWnxnBikrXQEfOu1V+KqFbPAQLreg1QbSMQHBdWSETYcXgMEtqMUr0FSe5kP4fhXFZIg8O0QQkHlQA0jcZ4J075fwl16Goo1o9XVZhCR7XyHsNKVyyaUM9j9FuvH7UOOv4HKwu/g1GbKT+eFycdbcROk0JWUULJ7lQwjxzk9Rn7uMnIT7ow8Rrf4u3P5j5GR0OQ2oakqqIbTK4VdfA6YPkU0PEDoZVPMqEidFROUehy4E8DH1GTtQegeqewUFq8XjXVRW3sY43pakVX56Bx7hkpf+HEXvM+TxU1Tm34NhxYmmDj9A0DiD7IALPcL2ZopEN1iHzUeApj56HdnJl/Bbz824E8I1uIr46Q8ltcyEdZHFCJavQR9/hZJnyMYyqqop0XeeVcktCerku4yRP/hLmOoywo2vw3VcpMMniLx5oOoLr4h1sjzZgccE8+J7KPufw62charPoTh5CDvpwW/Mw7Lay2eZHcgzO+/fFXWo5cu3SBEfPUK4+qLYlwxVhBu/BXP6AOX+Z4hWXkEZLs2S4aqKsNLEZPBA0mVcggS1EKXThifvg1UZfiherGOD/OBfEF76vRkcOBshHo9RXXlJwJecJpTGwi0PZ2lKwmf9FuKDm7PENwednUtQ8S0Yf12YZ9m9f0B49fuwkxx670fQc5cE4spBGSHAav1byAc92Mf/zyxVtvQ8isoizOGn8MNFWC7UcjI5CsSxI4YEnh18kyIpSvhMq7oG+fAZfNY+eY4rB8D+V3AJi6duV2kUTDBtf4Lo3Bsox0dwRr/8n21MxV65hygxCM59C5NJHwGBcPMXJP5ZcZuY9D4UMmg+PYBXX5Uv4eT4NqoqQsZI3/rvyKHAb3bh06vNmEpxCsUfpv8ZSqYHls4iKwO5eGJ8WyZ6OmhIj8s8/vvZBX3+LTije8ijCoK8gtweww2XES2toDjZR6lJCfWRndxEfeFNARdycyA0dq0QdTeQGUJptqA4faquirrEy57B1i7DMHbjsH9L53RLDg152pO+rx0dIqrXkekAnkqFvq8YZ0sG8NtnYQgeou5s4Tqykyfieix7x8irAepLbyLr30Vkp7D+svS4vaXXxVtpdQ3obkr/tOQOml3kMILi5bO9CZZKitEOwpyWgEh6R9qnjo2gUkZmjGxQ6AaurV4VzWF6SNDWGWTshNEDXt8UGBnKIZI9XozOIPMV6uysK1egOQ4p4gRJcGuU7SM+vCW6NnaeQKCI4yAhNTdsyhSUf4dBexHlyT249FuSil5RKIcPZDOi1r4He/S+9DrBlxAVSV4X3twGwvQYicReDmcRpdo6ysN/RrDwiqjworlrSBhRp0JrdANq7i1E3oKwB+j/rPptTEn/tw243cuY3Pq/ELZXEVz6b6C5PWM3t7pIlTW8PIXuP5p1vtffkbga+vfhBk2UdNcnfRT1NiqqhZyTVM3VGjcbjNSFyNkRnn8LASf+ZR+aB+P0AOi8BNfrwGSHsISqMHXA7XB9QbpXpCR77PcRisWJehELCd2fu4T06LakOtLDJ9IxCy7+IaY7P0NoCjg8LCy/AnvyJYo8nR2YuteQF5yWDuXC7Vx8TxgG3nQHaeU8fNoZyMzIqPfqSY85dFpyqIDmYXsJxZi0/pqwNdiHdqg5TBkLPA+nrEidJ3vw1wiqXTib34bz8C+Q7G8jvPJfi0YptCFM+zmU0xuwx/cRbrwpvSTqKqWnOj1BdRojaXErMoBrNdz5F2X6zR4/vysgqZaHZ7eKsrkk3XhqeBz6ZZmYIfWfPlqCEmu8XLFyeyQdV1KLMz9EwJgt+3GLz8EdHwhBn/3XqvKR0LMeETRIp+5juAtvw04OUB7eEN+20zgD10vgOHPSUTVHn0G1mzDoyuCSwxLdOA9veAua8cL2K/AWXkN8+qkkiHz6WM1ULtCgB7bG4Rgp/9worsnBmt1tchd8V8+AYOzT19ZkEMcZBTcGTEeAyjbyDJiecVdQEjTA7p9aQl4JEfCF07ggk1t99Ll0mxnF54u3KI/gaDUjnJsMpWPg+ityuWOqhZt1qlJVQHjRI+lBOxxcpCcIajR31GcVHc9FdspI+SJc1klo/XBc0eyVWQInqkJVrsDDMfKdn8PvvIgkaMJXmYCr+GygoksisBGJ5Ex7HQPuPDxe8PoPpEOs6oswxQD5YB+qxgMoBxn8fiSwtdfhmBRp/yP4VHfWNsW+QOqvSnjBW4DtrAEHN6UqoQgonB7AjSqyZVSnn8BRLZjGEsPLiAggIimdlghKAnpPULoZvLlvwGNMc/SlPAfDhXeQH38p/dSg+yq0lwrUUHFzWV1Gyc2bywg7nRSZQJ/w7AZsZwGVxddRHP1aEmH8flOvqcdMqHTEv87LDTuchjWA/BkKfk+I4uHm02evtoR2S6ismDEwEl4MrkPpbfEs8+Kopo/gaQ02pU36DNHqG7BTagRDOBFf7hplzs/rWUkR8NKjylRYAhw2qaAmLATXXYAKNUqsAMOP5eJiFr4Be/SB+MRZbbNUklU3ZNPCZz0hlR6Hwjxkb34LpveIfyIsB5hT9gR9hKqBkr7n4VPY7AC+aqAIODx4GQ6BYsMteGvvotj/J4SL78C21pA+/bGk3YKl51AOdiTmHQQ+SnYOtZKNiImpE12QNIZxI7ERFAnx5VMZUniNhviaWUlguqEYEQaZQBGANT6BTvfF8qEI9WpdhN75qaQSvZCK4nW43KpO7ko30iWZgPC/5rIMCK0lZf8QXkDuyDzgOyj6TwV8HM1dRta7C2WNDNJNhWYNC89bQNYjS6WO6sa7AkTNnv4L6itvSPLG8h0Qc1jYgN9akmd+HG8j0AYeqeSsY1RWgXhnVkXc+B7ACx7Tlb6DLCvlIBdwAIIG3IUzMAm34iPoYg+uvyAcBUxP4NUjGNpYWquwwx5QacEpjwTuWm1fQvrkZ3AtL9uvIh4dS3KJal8z2hKgXdBcl15uWXAAW4Umv4PR8noAlQ1Q0kRDQCqfgdWaULS1bYjZotp9RT5/pXTbG3BYb2E9cnAo3nSnujAzWkhfmJwUF9WAur8lTEe34fotBJMtgfIx3cH6DjduJFk7zgJK4TrswAZ0fvsyoKJ1hXBgLoYMa1is7fA5zW8s2UK2IhpaXn5NWiLQp8jIm+GEOuQwUiHnZ8KMoHpfwqkvweVZiZfh6QSuSoHmJvzTbYyzBGH3giR8SNpm5UtgcKotFRwuTrz5l1HU5xFFi8j2P4RvPWgC20KyBCK5fOi0nNVNnXiW1CJnpH5e3oEcjGI6gupcg3v8lfTDw7W3Zs+Z0X1ovi9qSwgmhyhojIpIEx/MvpujJ1DNReTjHP48yfR14OALIa9TFRYsXkLWe4Ty5AuEi1ekPpXxbNcfwW8MkCYVgXnXWLnd+bFAHf36qjyzdWUJUeAKx8ltLAgLi8o5zcFac1Fgd4wi66CAMTU4TBgmE5RMEyQ7UoNiVYGqwuGTn6K9/gIKGnpG96C5hMgmUNxUTg7hrFyAm0yRUL259i6MH8A3U5SVJThc/tHO1ZgTLbUzNbC1qmiKdXUdhr1l1s/490uNYriGkCo3VoHpr2+uIBtsSzqOCbqCi8vlawgrc5ju/FrqA9XqPPKjj1FZ+RpHjzDjbeTxA1Rar8L1AsRmIKwu6cknw5lKEC6c2hpyM0RIwAVrNQS1hiVMWUUxd0m2+sOf/09QK6+j+vx/AbP7CzGlod1BOhpIutYufQvm7t/CcCGQ9QXy5lUrMmBGaeQiSrMZxo+RaReqfXlm5hrsw1n/bRRcSJ18Ls9nW7hyAeX5jFXOkImA6ViYLlHQEZsazwFMbTIWzgqKHdxFUT8Pl3wWqmCHd0Sv6IcbUOUBTPMiSrKMls/D8H2x/ylCpondNjy3DUfHAsxV/ByD2viJnOmYBAOZIadbKJIdRFELubcinCLe2XguJpjPYc1Kj2RZKvrXoIvs8COEK2dQHg/EzmDa1Rkf4uT2DFDMhFDUQMAh+fAAme/xsS2LPKbhvPkXULB+kU1REvrLIWnBxGRvRtdndbSYQvO/o75w/yGiagDUL0uqhYmKaPUtTI8/Bk4eIFr/HZjRQzgdDqE7CPv70LWWMHV07ylcGkj6BEAO4cy/iqL/RECZ4bQHZ/kNaHJVnAg6ORKOVRg25HmX8h5VC4WHkJdVqDAVMHGYDWG5mQdVkjF0+xqcwa7wtaaimCAMfYws7aPic6G+DssqYjIVwHdBAP6E77Qukt0PxVhR23hHhsjp0Rb8xTNQnVeFHTB69gFaZ76NUmXwRvtwRu//b7b0HIEVhW6EpNKEyy2JE2Hcf4za2pson/w18tZV1Fbfk9gxe70ExATxATK+tE4+Qb1+RWiG3vJ3gZ2/gT77LoreEIHvwqmuImFMvHUR0IfIegcI1l6CPXgf8ZiR+AKVxa+jOLghcRTb2IDf6kA/+DHy9mV41FOFBrX2WRRuE2pwMOtihy1Yv0ZmD+z4U6iV70hHU8UDoT9ySKSoIgobKPITmcoUxw9FTxWuvIK4fwifugxeGKlWMSdwq88J6bY43RItFDvHdO1aVBEuPI/y6AOZ+hKvroZbEikvO2clkhwhEcVXJaqgcAM5wEvsdftv4F/6U+lzgB7qOIFJnyD0ahjt3YS/8g6iqIrC1cjp8W0vy4QXT/5aaJre+mswpKqzpmFGKJyG+HjdaG2mDAlXkO/9I7z2GxKbsr2P4M2/ieLkHvwwmkV96qTIWjjayqGP01SCu5TXgDm9z+ElqqTw88GqHDgEITGuRUjJ4CkMo167P0Z17TUYchSGT1DyHbt0EWbKzSXgHbwvflzFSXGdEd5TieI5k1ggF34UwuV2b8zOmha/tb/4EizdwNkIIQ0MTAB4FfjtS0imY6jsMUzlMpzJPbjFUMAmmr3V4Q4cQ+CeBtpngOMPkFXWERLcQ6I4I0zZKUpuWxtrApr0kn1aP+D4Cprpj3gkTmMCeEh5V9MJyrAk4QYeNUXcEBc5LKsSlStQjTmUvS8QCSOjApMPZBPrBZvSA1c0ZdS7SA8eiR6xMn8ZJV3M25/QEAS/+SIKbn0GVI/xsunJg8C3h3DrryAfPJIHrEvVF4cKVDupOpxLf4RycAO6dwd+eA7GTQVGBz4oJqcocpLBc7h0OjPGrk/gTQdw1t6CPb4BMx4CjRUokqR7O1J1cC98GxZ9qHEmaQ219I5ofGz6DLBzMNSdELAXb8k2VOsYyeO/g43mUG88jzJ7BkMd3txFXq/gRVXko2NRXAWuC80+q66gVAGC7IlQcyN2xCrzcHgpy0t4Z35PNgk54/YEpNHFyzh2/wQpJ9/TPgJeJG0sMTq/TcMFL0CHQv9W1hflUslNV0aI3Qac8Q04PJRFG/BdVyAunklRcmBwfBdulz0w9rsW+b5F+uifUHnp38BOT2B0CcdnrYEuays8AwQLQP99GUJqryGaJk09D59TuZW/Z/bKgnpTLoPpyVOENhbFoUByfGo5d+BWq/I9yYtdhPNviIaSPz+/g1ZF8IpYIFY5PcTNSwgQix/ccKPWOScXcTM6hOmcgyLBePgQWf82EK4gamwit7HoO12+5PNTlKQnR4sonUL6hIWtSIrA4eUqOgs3KJHd/5k4pKOL/5V8T/yjX6JYeAFedB7WOYJyl2A5PGP0jd1so1Hl55tVGnb08gzlgLHCM8iDdeD4QziBhqZGsMxn22Z/EU78FIZMiFoEX9WQMibO7xWViX4dRRnA06ewYVPSNLyIk/QuXXcOHU7+ZeasXfwmEJRA/xl8r4Rtvwpz/HOY2hoCdhSTZyidEjqPEa6/BZNXkY+/hOu24cthqAuXnzV/CuvOSTLFcy0KRmoZU7S+pH3YNS2TPTjsnJ75XTlQ+6STBwRjtWUYUvS/RLj4Nfg6RqpCAbpW6HFnUosHOGQwqWIQTSLMbqUjJG7DSHLnIrD/Pry583J5UAcfwOm8KGkmdrShGsLXye79J0Tcqm3+ifiASQhWLp/nCp6voYfHgFOFM/8SnPwADgf5vFBTy1dbgTsdoiynMrBiAq50aojWX0U2egA/57P2vthpaL1RJYd5byDe/wcZREWdl2HHJF9zscWhAAceKVT3VeDwx7CNc7KJdSZ9OYzLAM4pAAAgAElEQVSz7kO1UUisnxtIbZDDD6ovxcCgIvHNs/PPqAB7qJaq0qKHIjqPkAPXLIYiu0YArqybpLIBdQhBo0Zz7g14toeifyLplCIbosINGKsdc8/B9eaRjg4Q8TNAlSQvXJZvGtbSCnh+YwalNAlJVii5VbUpvO7XQIShw14m60XpCUKdwyFoa3h/9h7sLEH1exLxZO+3HPKMwTY9X5cVmL33oY2SSLbvdREsvyIXRy2ckwQF4ZoEDbYv8qeRf75U0XiJVKV8p8LueQSVFpLTXYR+DuOtIevdQEjdLoF5yoObjGYASEKJuUQoT8XaYFQMn3Wb04+g5HP7h8hG9+FqDS9cQTl5DKV7UCF91wogYFJTxFDyvo9y76PfXGI3pJbgtq5A7f0ERbABpxHBTfrQ3VfETODTDlI5I5BKffwhjFqF6p4VBZrDuPv0FC7reF4CNdhD1uG/V5vRDBiabNjjPr4Bb551k6fQmYbyI3jhorCC4uMPEPjLMjjwJ58iiy4LVFZbLTVVcJA3OETQWQUNVqrIEHKrxz7s8CmSkzuwfgt+o4s816gtnkeRO/JcLA7eR+XinyKfnkANPhG2VNrnBTsVKLIbLWBy+CsEAS8rjJrXZRDvm74wavz5N4XxJKlNniuTpwgrm9CxgV1Yk+2+z2RW1ReCvh1nyNGHV1mVoTU/b7rkOWMDGN6HYWqrdVkgpBxcqWwkwxlGyKO8J7pRTaZINEs9uPGJaA115x0Y8lb2b4mNQLFS6llhU9jJM0nYKC6lTt4HCDAm/PHkDmrXvovSvQibbsMbPMGY76uz34PiGff0M+jmJYkR5zs/kTMfB2Fquo9y5ToCk4qy25k7C8303tEXUoOgCYuXci7VVHNT0kL8HpF+7mdHKLxLyHs/g+svSe1JebycccbApPEG8iITuC1ho9Tn1jbfQBFTz1ciPfgcIePP5bGkfTn4oi6VF8mCIGFWjnN+B+qSMqF+2qdSM2rDNwNkx7vw55kKGEqlzK0SeO7D6V4HCIEMuwJIYyUNjVAsGr7rQHfOz1Sd7syyZIdT+NUqkKdifnDJe9IWmktAL0AtWMR09FS2yV5A+C1ZLwr26GNJI2PpCjAYQBFgq2MEnSvCoAjDAIn2ZOOO7FCe317rdeQ7/yzcNX/lLbgqQH76BdzKBgzhusUBzPxbcpbOprsIWqz5PIXm/57noXw21Jb0ck7ey4AL4FlqxkxFmVky1dOi8jyB9Fx7d6HnX0PYWEC2/4Ek2artl6Rmm+79GF5lAcHCW4i3foBKs4uSVi+ylio1sUFQ2+gTFEve2+gY3vzl2WCIdg1TImM/vrEuAFmPvCMOsqfUfAewVApGXak7VOtNpLtfSMee9whWgflscDn48x2xkZHTY20FxfHHs8ROOUK59z6cyhpUtITs6AuEc+vwOPgmcJPvo2xb6sxOZxUOQazDB5I+y/RYzt7WjKGaTP06s+QtuU8n21DVtoDKiYnhZ5BJXpv1ULF9lHOvoew/hOG5xjKt2ZcUOpPUVJDKUHrlReRHt+BOn6JsXkDEanJyAo+w6iG5eksoy6EMyg1hx6gjz/ZRIdeieRlm+6dwAgN3nqrDHMXBLWGLuPUF2MkuPIJYqxeQk423dB7OZE+Wd87K2wJX5fk6IVjTX0cw18F097ao7lVETbiF0//lv7UulSY87GfHsw9gMoZ1Y2gCmEiZPdqHffhL1K5cRhFdgDPkD5zPoknOksCC0OqiZA+vGqFQDvyjE5SWk415uOwN7/4ARe05zK2/henWh4jOvo5SNFwkYnMSUgDFEHmaCuAOy28g4DYTdLoWyPMTqH6MQj+F6rwGZXO4DfbZ34cz/4K87LPeE3huE173HLL8GPXW8zDFoVxYHW4Spj3YbCC91fyAG/rLcKlGKgLRl2lun6j2C9jrJXl2DvmUsb0I4KQoasEWCmFzDaitIDE9RCV74Dty2ffaz8HwoMlt3uIr8BwruiGyBECHtpegNDxMPYNHE3r9LIrxIerd8zPndZuGhYmA93jRsuzaM2zcrCHTPsLqEoxXgbZVmRB6noPcrUj3xqYuTK1DsxIKJ4TvuNDUY7Hz2lyC7zSRTA8Q0SeNAEX1rEz83HiAPEvg8wFFqFde/kYhlokCyV14Vdzv5dFdiRhXFt9Blm7BUMnW5eHgHOzhZ3AdT6BHjDrrjA9RQgF48InhdgjO2ecxCnl7CZ4zL/owbtm5DafKMSz2EE9TBGEE07wA5/Q+rB3DKTVMfRWV+iWY0T3Rp9UY666QfnxH4smqfQGhjmcvzv7T2ea7xovHjlgOCZIUcwSHG/EeirmXRadBaAgvlm6bXuwpAuWJWszk9MA3YPy6AMLKSihblbxM0KYyMj79zdYwgd9agXbX6ewRZVt2/BCVah1m4XVkJzekwxcoxqcJn9pGmceozr+FYu8nsIQykRFBvaZTg0ofCreAf45nItjIRWaqsDu/mkWoM2q5FuQCEBDyQmq7msLxu0h6HIjxJDeBywi9oJvmkE+2xFbA+BSVK+72T+CwH7r4NrDzQ7jn/0sUyQPoJ5/IJo6aHHflPdFL8XPOKoAdPZRJZY0xMrrW8xFKRvKDNeQ7/wjFjOfcGbgZfa4+PE/J59ThJpztCAyF6u22z86c8QefiTHERO1ZfJ5k2t6vpE8XRvPIa/zePoaXMdLPBIuFV7aQJ3sIO3NyyEnHp4gaZ2GO7sAJHGDhbRRP/koAU42lq5JQMeE5AfgU+x/A1moCGCxaV2CSx/DjMcruVdjREdzuMsr9LxB2LwutXoGRMw4Gc+ENpPu34M1dhwlD4VJQv5Tzpe1bGBvC82vEGIumyYkPxG/vNa+hVBp+rpG4Bt6AXVCqllZh+aKKb0GR3t5+XrgCHEISImayHG7kylSeT0duU8F4X1BBWakB7F6T5s3KBzkk/TtAh+TYQP5ejO3DKetiieArmvBVhwwLbrur1H5yS+pCj3ZgqNnhRYpdw2yASmGFacCUg+KW2e1I8onxaIeHdPqwbQ2Wm0xuAzjMyjOZzBe8DJ7egg3m4TXXkfe5affhmAk8Rg7THCVjui4BYxlcU5E/B1SKMR5eHEEbOs27QHICTA/gtK9KgqEgIC0eyDOfQMWEKqpkhNCL4FbOQ0+34VctsrSQoUoeRkJd5tbGHt2Dd4Vu4DHyeIqgMye9QOsXcD0mUDw4k/sI2leQcHjFZ7XHHvOhXPZssi2AJqd2BZFjYQXU9zbirf8If+F5WG6yK4R6niBUZAIcINP8O1qEmt6SOCn7eCF1h8d3oQ9uwr3CA7cjVZ3yZAuV5jqYA2A816s1EDAy2HgBYesqip0fSCrCaTEKSaXdNYFHleNdYaEw9g90ZcvLAwj1pCQoBypGNtmGT9NNRm7AIwTdFyURQNUSn1uuO4dSuohUAt0HoiX4fgfoP0R8/Il0aEmdp/3HTDSKgx8h3HyPuh1kp7fglVXYqAEn2xHVp+G5Ic/htZblfVvmBbzhHakDeGd+Cx7fqfEYWWsdEUeuh19JMkRTi5XsQ5lQNvZZFCDQ1MMewJoSllDM7AjuhCRsKhj5sz4H6xSY7vwStfmLgN+Fcn3pv/K5HW6+DZMy8XEKT1HnFwgt34uackbghcs6JYzuwz2+LakTw47veFv+c1anVL0Gl4NyJhPCUIwMuvcjIDfwN74rP5NDZsDoQGwnOtiAX2nC+gtQGcGLHiZHX6Cx9CLSglBXH9HmC4hv/RWySoRW0EZZPwNDcnWh4JcjpKzklNzYLqLkJSUu4Y5uw19/XZR1rIrp/An8aQrjTWH8TUTVeRTDu1Cta3LAdrnAiJmIoCLzKWz3ItwyQZYeIZB3J1NtvAR8Ab/5HFwEyMn9mR6g2r040xqaEaBmtg8OwzxersImvMp5ZEe/hM/PpN+CNr5YFwq1gMBLpeIiVSCH2QnaOrREsckMCfi7KadA1pPhSpqn8Eidp2Wn2hC9MllStFCwlqKZLOShmMYdgnPTPUnM8FxCNKHqvgtr+oBsGHMZovi1EDb1pf7mhhmKU9oT2E2JEMy/LJcOUrD18CEiv4k8XAOoLTUuimAOHskbfHawFpklMO0L8Kf3UERnRDus+o9QHn4o1SNQ7TbdE/Ws1+pCxTnS3Q8RbLyGkqq+xlmU4xNUIgcJO8KE9lGtaxPRdzL5WVZW4LC25xaipKQNh0YEpnVYrUwf/Dt4m3+AIKogO7gPU47grb8pQ5Ty9n+Ae+73YaoRyq/+P4Tr30Yy5TvyEtzm7FJYUOPL5G7vIVwqRQk+rlXlLKNjF16FdpIRKrXLKERN2oNrcviEe4PvtiaM4yEgJ4BpmukUftSBVjPALhceerI9G2iQ6eHX4A/uoywn8LixnT6EKQNUFjaQ7txHXk5RW3tXFmGaF6rxLtyAv9u2bJ5ZG3Jr86K1rM+/iJR99qgDVJZnf8cnO1Ds+zPBZVKocR9KEsf3peqlxymi84zWJzLML8cDgDaW4TbQfQFO8xzU6T3YdgfZ7i9RWf4OXJWhZK/79J5oscsyR6W9JtU6srdCn4q9mlysSaxn3SEfHwrIlGlTglZR5UDcgSawm/YFWdblsEFTBudMknLBWMSleOCZqlLVLlxvUZTCNCSpyllkvS/kLhOsvw2oOvL9X0llqLZ4HenhTaQ0nZz9Y/h2BNXfFutDQCbVeBclLRaNywjz0xnsunteai85zRylhVddhq3OSaQ+3fsU0dxZ5NF5+A7rCQHK0R241ZcFlKmPfwZNts7CZbgTGpVoNwqQnNxD48x7sExNcJnGoS6V8execfDgNVE4Q5jxAby178BM7yDyNmRAWbJySp7R8DZsOkZIc4GtI3Ri5Kw0B6v8A+FQ3XfwSMxnHHKy0hEus0aeIunfF+5IZekVuadoDt3TGMYZwzavAoMteBUNo1vIyF2wdbgNPoyWBYypIheG6WHWiXSC8ZOfonXpOyh6D2CnxwhpysmOkTz5z1AX/xSBp+RMTUMU+SuiQLdMrSkUo6dSp1PhHLKT+wJRN3oMjzrK9T+SOqhLsCWT6VTfzl2QOyjfl0WRI+KSenKCdPBM2Dt2/xG8IIPbOI9Ux6Kd9doXxayhueDJ+F3dk2UUQSNMfuXH27K0DQIP3tr3UZT7sOkpXNZiT7aF7eK0G8gOCThegRMEyHbuwl8k08aFM/j5v7WkppJEzg+5XOT4D8weo5GeitINy68gvfOf5AMf+RVMnnyO6vU/ENe8nh6iOndRot/Fvb+UA7O59j8Cp/8C06My6QWZxoe2hiTZEl8hWnPIpn14/OEYtya5U08QJEDWbENFDWDwVGjmUec5ieaPzUD8iZ49RJyU8NkpJnxl5++gl7+JGh+cp7dhwgqUdUVxMfNAn0jsVWdDeNyetC7LL4vwtJDxW+q2er+GF4/gX/5jpB//r3AJwBEiNR+QVRTFIVw1jzKswk+NbE44ofUtt8dWouCWfXDlwDavC7imyLcROoHQ16eFB2f8BNWFlxBPt7h0g+1ek+0EL/XFw38nD2hsfA9Bax3Fg38vyhp34SUYbjfp/SwmMsXMihhh5wrKww9QJrsIN7+LcnAfbmNt1t93Q/gBCZgGaf4UUecllNOHKMN1NJSPfLwPwylt7wOoLIC7cR0m13IQk8gzL93ULknJO0BBGAljMwgFHkPgSBAtoCA11Sf0LodKJrP/D1Ua+VC+DOz08xJd8qXMeyn7mdwc+AuIWmeFTE2/r0m4XRwI4djvXoFXWUHBzwJ7RUEL2fAQ1fnLEiHL6V3NNPToCbzz/wpOtA7fz5Cye0v9F7eQ5anEsB1OI6eM3FyWyw2HEaitQT/8IUI+wEwfhiogVhaiGspjbn94867LJtWQW0ClJbdxvGDG27IR5RbNCyJMD95HvfYc8qgOV/VR0ulLVVOjMiMF5wYYfSoRS+fM91E8/QfRBNnaBtTG78KO7sA5IQn0eVi6WA8/mqmDqmcRnD5ETFARIWOdl5Hs/wBOZRM1QgBHz4T468+dkX6bas6Lk50bpmB8F1mm4XZfFpe6PnkE21hEhZCWsiLROvplyzgj1Q/OdA+en8G0XwRGW5JWIFU6HNxBOfoK4fybv+F3bEGTqNt9Cc3IwWS8A5dcD3a5YnrVaZOYIuBLMtUAX2wouGKDoS5s/hqc/i3YyiZscQinqMILfaRU3tS68FUbuTWIylPkwy+h1r4LZzyEPf1EYKTsndrwDDx9DC/cQFmtQU32xIWejocIqBkLDTRJqK2XYEtONx/DCZiQYcz8EE40L85VmhDUIi/zroCFSDs2pkSZ5bAOqap1uG4Ml6pGyyrIKbzOBWTxHqo8yHJiTdAOr5c594ajGbGfsBi+aHmB7VyCZ0OUk0eyyY7O/7fIT36OIm/AX6XO5QmCaBPJZFsGMzR3FNMD+BxopMNZB79WFyq3qwMU+bF0V0ku9rldCDyJ/CvKnBhz8j2OueSiB8sq3hLi8REqjifsjIygTHZtCwLYnkhMnQcO2jB4IM/ifYS1F6HDI6BsibrQ4fbC+kL6nlUFauI6p+KHv1P++3tMClktgFSVU1s2J27lsuDGtQe4DdmoFSRfEwxrS3gBIbKk4zOe7aOwhbixHcYdOZzUoajJWJ8gkNDoCZzOSzLp1tx2lrwA9GSCziQLNxvgZmf9a8iLCkA9Yq2Nsj+Cl34Jr3sdMQnX9ALv/QKYfxlO4zz0s7+R94HTugQ4CYoskmGzySbwo2WJexvaAYxFwAQRD4jZDjC8iaz5KqrtTTj9J8jTHYSkLZspbMZhViIXKTrK1frr8LMR8sMb8KpnhEpOajY3OWVyTy63HC57bih/R0G0ityvId/5AF7zEppn30FCECIHInYEJ2B1og8dH8jlgBsgh0khaiWp5ktigOmz0YnAQAV02rkAl2Rkk0gqQ+lCNm68nJjAIHn8U1Q2vyPPe4KuKnPPo9j9kVwAvfmvI+OfpXqwwRmo4hSJH6ERriA5/Geh/pNxQKSAri7C811YS93jWCj8HBJ5vof06AGMOUbozcHWu7BTRteX5LLNob9aehd68lD6tHxuOIzc+itQPHyNniEd7iA8+y4Uv5Oegh49lDQYeTRkTsBlBLaGYPsfUegRvMo5GOFGzCNod1GMSdyewqMujAM118K3CoWrRE2YfvV/Awu/jfr6O0hHdySp47OWyEFLOoUfH8FULeAuA+UBiqJA5FVRBFwDzwvsiiDMYP4sytGBPNuzUV/0Wp4fC4DKW3oL6tEvMBl9CXXxz9AKBxjf/jsEz/8pTBnBzbbgOCnS8RSWVHgOEcm9CNrIRkwBrKGk0pUGlcZF4OSfZHPuVbpIn/1Kou3h8lty0XZGW8gQCPXc9UqMD5+h/twfo+r6GD7+AdzF6wgIz+ptyza5SqWfVqJkNq2rcHmpbW0KgDJjdDsvUemcxXT8RECFHg/qgYuiv4Xq8jkUrGsc/Ap+dxWaNo/6AvIyhS/R8KYwbdIJ6d1Mmx3C777BqTzM6S+gF7+LGqneg0dAWJ0NhYsU+vhTeIuEiPooDm/A7zwP8JlF3pNpQDO1Yvj+uw6jR5IY0fS7t9ZFd1mefIaApPBKG3bnPkpyGjbeheJg0bEwMqS9KgwnpInwbGh9CSxVpWdh4wzu4Y+ROARCXkIQLSPj5dvynzWB6mwKLbx0i5nijTBX/oyVNjymRtiv9iPEPNyHTUS1JnJq2tIUHkHIYgMJZVifUflJ0wcTXRykNmm8aghQk2cNfoC0k8PhkEAxnh9LMozPQqZSbekh7/0U3vy3YZLbAK1X9U2YZhNermDYUWYlo7oIc3oTdu8BCmVRWb4M681DTe6hbD8HZ7IP5Vm41I3GR1JrIYMmjZmwOS82jsD0UWQ+7PgJfMLSnC706WfIWbNZfkUuzRjeARYI9GbXfRV68Guo7psy+LWPfwSzyioJN+UVJEcfCuAs6C6KGrQY7cK1TeR+gTA9gepcQp4+g4r5PSfgNoRfW0B+ugVQO+y0Ud/4pkAjqS9EsouiSCXtUygfXmsFOLoJw3dY9xI8Wsr4nE4eQ49YzQmhXMiW3bcuivYaNCGSVGtTYztkAnUVDjW3RzdRUBNJQw0vvlxeEJRoDbJ0KHA2xwtl2RSEDhLS5ueuI93/ZFbRdZlPcETZqPk7R1uqjXUmUitnkO5/LGkgvsdseQKfnzEOtSNWs66IQo+ga3fhZcSP/wMwPpLFhA6r8OotFOOBGEmojsvjQwS85DKZqmqyJCGIjlVWhzrXyIc+2pn9nbFqQ7gxrQ9kvYyZLNPwvDnRWjLdyostAd9MBFA3Pe19iWjjbejjW1L5S0aH8Plc5TnL81E6XYQ2FeCn5zuw9WVZjvlUTWY9BLS1MEWrjfjsydWiWn367O9QBBdQqy9CT/eFU1K4Fma6i6hxQe5Zhsh6DgemPZRMdpF7svI1WSR40yOMCQVcvALbfwzFgQeTmIVCybQQB4O+CENhYw/1q29C738M4y2LpUYIwpUK9NOvaE+GWXwdyA+hx1uiNwVrkUzL0Kxw+AWqF96DifuwwyM4K6/+BhT9DIq1q9YF2EMq+5YEoBwpBctKDmshnU0wQk2oKOuS2pZQvivWIULNzfATOCePEZz9bWS8QzHFy2aVG87UwqzQNtagOhfhFD2pfjFJzQEX+RmTJ3+LKq0Xi+/AP72B/s6vsHD9T5DmAfTuR2JgM80WnOEH/4slVZcUYfZl3OoZeCSH8xJ+8CUswV2NRaoboeiTtLvidS5sHV52AIcavN3bcNqbCBqr0iNldDZafgP50R2Y6pJ8yN3BgWxyGINGUIE++QImI9SgCttchqeod3om0/kkyVFtt6BHR3CyEQpdIlh9iYM8UQMyUhvWFlGQShkswuSnEsPl9LssfOj+TYT0I5PSyQey05LOqEsXM2sDcQ8OtWj1K7DJQxhus7Z+AHvmm/D8Ddj0AVThoPDY2VXwCsZTqTZ5jNwtUJ1/Ffb0K1i/DcUJH3kB1H+MvpKeG8F+JJsbdwVO9gAOt0TFMxhSobOJ9DAtQlQW30IaP4RTZgjcCLpUs/RCso1IdRAHJGX+GJX1r0lkhlFtQ/BTc1niftn2P880MNGyPCQMWQak8PLF4ZfwnAWMs5l2A05TNtExv9zV86hXDZLKCoL9D6VvrSuhTNNsViBobcKlFUDvwJZzcM0hDBZhx4+EH2A6V2Gln9eEGVGd9xpMtCibCn6Qo/lXRPemGcXn7ycmAfhFKMdCD+5ILBoR4YWxRANpfEi0RsAtVzIVDRh1eQIASfvSwS5GdxA1zkG3rsFyQ5HsQY93EK1+Gw71IWpmRShikv4NnKApajTWASr1dRgVyoPMm54gSY8RrnwNNjNQ+gRGvMeHcjFxwwac6rpskqi5E5sEzQLbP0HUuoq4Oo8qu3qVTZRWwY+PhQTscpvH8TGhBGyWeZz60uSwL5epcngkvUqS6hnBZFTMGdxD0LkmW9di7+dwmxdk2q6PfgFv4euzSxv93ez5Z/sw5EXEE+TZLtz6i4AXC8WV23V//gI0oY57P5fvK3hAZeeocU5gh1XGuam9ZF/u+MdQmEd947eR7P8UtnIRXjWHtctQ6aF8xtLsEIp6QwHRpdCE0CkHJbWV7RV5TubDHTTmzyE27Vn0y8biCtakWXPYwQM9Y1scHp3cRnDmt5AfP0DAw1/UFK0ghy08bOhoHkGwCHv8GCBjoL4mhgxeCr1oQwj5DDhkMbecPIg1oEfsi83BVzmUs4DU7cDVBxQJA4MH8iLmwSBiHKv+AvThzwTK6Jz513D7n0lM1CVi2yrkzhhOnCCsdZGVPbiW2xgXRb4v2xg9GcOQ4O80JAJGA0pBRVOZCseBML6g8yrS4gHc4wPYBr/z3Op+hOqVPxDto+4/RcSUEAFyXPob2mpKGEXYXhXW7cDL7kpkXJgFFUdSUvy5TLwlnfqg803YRlM2WeRQkGrLtBCTLdySwdlAOf1IVDG29YYMK2kscTrPQ08ewMt2of1NGVK5zSbydITAaNGeQVN1Qy9tJhUUy219/9FMcdc8J0NaibhWl4XkbvwN2cbYtIRje3CYbmB1hL/b1W9IWoAxyygdCMiJhzVSx6nh05MDVJdfRDYtYKcP4Hauy5ZHKM8jfvfOyUDGxPTep/AUhzGZdCJl6l9pCuyNyZ+cHBh2I6luHPaheAYjVKo8hF3+loCqXJLKbRUp3w2Ewo6OUYR1RDzw6VAsCxwoUUvm1ZZRxn0Z7CFYlmfUlOCr3n14q+8K3Zm0bQ60/OQBcirJGBEsBjCMOycJst3/DHfldwRi6sW7bLMirF2Czvdkk8+fJarVhOrPWD91mvr0Lty5DThMxHEAOjyQQ0XEeP14DzbqwnNS6FOmXs7B6S5Cj/pQ1Hixi0aQa/0qFA7lsizgvfQUOWFokzvI4hR+95IoldT4oeiRyrCJarWO4pixaSVeZv77muaLcHUPeY+DO+rIjPjHQbjVs1/Ls7pYeQ/e7vsz0KbLA9UJ51Awih3MAQI/hGV3nc/xjP3nSOBrZtqHafIZ4sEOdqGbi8DBL+DUNmRTVkyPZTNt/ZIPGXkXpQEhmwHyk3uozL8Ni1PpRqs8Qn7yKcKLfyCAWK1SROEy8v5NUTcyLgpjUZgCERkZ4TLK0W0EWY40mhPGAGGa4IGT5O94G+BztHEOhsR8y+pLJucSZUfIwsvwqk2YweewmSdxeSYKwdoCu+OHN+Fe+/NZGmH/c6jOdXh6gCJqQN/5P+AGy6he+COMswJ+4MP0n8r2jAdhLkYMOFB4Bme8B90gNK6NsjAyxCnz+xJX9ZwpSuVDcZgx2uJ0Hc7SFSjS8wluS7d4owG8Vej4GSqeRZJ7kubMj++h0rwEsLJEBSo5ETVqverQfGZqgyJLBDbsOiPZvrpOgdPDu2g21lEyglzzUExLiWMTHO3y8MzUCyFTyRHczmWY/hBB3ZG+PvkK1mZwcoUgssgJ2T38aqZHbZ+T7cvPyFIAACAASURBVLsZf4qA57SlF6CS3ozVxKpWGIqukLBcUaEpTzSIavQUJbdvTh1WZbAO4XUxgnQg5yenfR22fgngsySKxPbg18glcVCOe/A33kWZPJX/D+rPwcu3oNMClt77+BB5fQ4RM2wcJqkCxd5PpacdLn8DNuRzNoXeuwWf5o1oDsn23yI6931opwb/lDUeWgwy+HTeE2BIIDYc+CaHUb4sFXhm5DkDegrFJCV/R4RKR1eRPf73CBafg2q/Dn34L0B9E5Y97XQfavIMptaVvr0e7aKkVjTtiyqPSQFC7ZEyDdGSmgZBnFoncMMQ1YU3kNsxbKrhFqyT5giSnsCSyRRhfYgJQTP5Erb16gygxgEkeRaM1vP8csS6S4nq5h+iHHzFmbP8fHyvp/u/Fh2es/J7wNEnsHWu/KqieeNnGQOaoBzRN7Ieq2rUuaViHPA7qyj378DpfQn/2n+HsncfJowQzb8gaSaHsEKeFwZ70uunjz0uBrAnT+GSg6DIH9uQlI/JT2AINaTlwKmjZB3GujM+BRWXuoKosyb/DKu6UKyUhR1Mjz5Fg4mc9kuSZCmn23AqywJbnuz8HYLGizK4IHTcLFyVOD2tLZbP4NEeDPv84wK+U8j3y8v3EZ8+grf2KjA9hp4OEc5dEtsVh1au3kFZthh8AeIj1JZfFhheku5JOtkMnoEeJl78SYMvJ4fC/fCCFah8CB1U4NO25dSQF8/gczjGf/b0BAFr1EwcezUYgj79xkyhTtgnYc4ltY7PEDbOCF2en1Gq6dz4sShlvVpL0gKa0EOnJtpeTY5XaGGj5ySpMdr9ENWNt0UHLBWfXMOS+xMTvniA6ubvQbPaSrZ/awH24BbK+jr8zhKK/c/l88ZklY0gzzM+63UxgGqvwPpzktwgQ4zPxyA/RBHOzSoETNeVAXRrGaifRXm6C5ffYacLJ3kGtXAVmqrhARlp81DFLjQTAJZQxXi2GQ8K+NEaprf/AerS7yDUGhl5N90NeFPqJX2klqyEEiabwmc9YcCz4VQq1YrJ9PpZeMUUef8jqO57opa2TD9oDqBD0fk6vJeSmeNXhRNEBg+rNdSWM1VO5oxTDIVZ46dH0Ky4kDuUDIX3wyVktdlFOjmAUzsHnN6SxHy09Jqw8Nz2FRl4Uz4S5x7CwMjPqxZfgTt5ioJnZv75wTIqy9eEhaHI/yAUdfTx/2650UJRIDv+TKa07rk/hy32ZcLIC4Zc2Kd7qNQ2UJLKHDaR7/0z/GgF5fKrCHoPkdke3HADHum+nELWL8lktDQxbOsK8sPP4Dt16FCjzmlq0odhpPfMt1COjgXuQWCYJrBMukVLcOpn4Oc9ZFoLLIxT/4DgO1tAjY7kxRh1lxA//hGC+mWJuLr1Vb7vZdLCBww7u6QLu6Qnl4dIowaKpzuw/Z9BXfgOKipDPrAoBzehTVc2BkHjLLK0hzCyyE73EXRfgI0CuMMjlBjLBo2RVndyBL3+jVkMt9KBZ9gPdOSS43Weh3FjOGkB3f9SXLj0RvNLV/Goavs1nM4ViViRL8AYFqM6QeeqxMs57XXcEI5TIJv0EDbZUxnCRQ7Ni7RpEh0lk2vP5/n/JqLlF+AqdjufwRI6xA4zGXXaYNK7J9E/RWpysY/p4SPUrvwbFP0b0Pxw85DGnhq7sL0dBAtXUZzchUctICfvcR+5OUGl85Yc4Fj3ILmdW0Bu9V09QZEP+RaR6bXQha2HPCW4iH3sBMZWhU49PbiJztobEvsreaFKjmUzGbUuI6+0ELLXzsO/HUMFS3Am2yiSMQJGYumTjTKYwTF8dpoI8muuw3gRlMvN/TZUoGEZlx4cgSAI9o8V4/5MR3Rehd79JziVdYH20Fvs1s9gOrqDevU8ssGW8Ax8HhrnriPwLJyJhSm2YRhr61xC8ugXM1/40lV5MSp+R3xS1Hdk4EDXutNow+t8Henhh0KNrpz9M+llcxPhzl+WAZMhiKf7Girda0jzPQTsilfOYbT/D6gsvAuE55A//UuUjYuoVOpISAE2U/hZCtRXUQYp8p0vZ1C/5rzAUnz2v6tnRMmG5Bh+g8ONKcb9X6My/4pQ7R32ooojoL4MSzbCdB95/w5noqguvgTXb6LghZADlXIq7ISC8MHaKgJaLDiB37mFaOM6QHd9mcItC/k7UutviDLITm4BjYsIyfCn1mrxNcAswMT3oTxPnLBe/SxsvidMBHQvygAgGT6D5xTQXUYvR8gId6RuaOG6TIlhUrh+BJ0fwjVKoFUqYnfvAC4PzEYLzCrXgQz5GMMr7BQBLxSnN2HCFSiqJ21delc63wfol2UHtNZBNqamcQqf+hY+cOm4ZXy1ex1F/ysoMkeov6y25d8XyQQBPcv+HPz2OvKTD+WQKZ7n5BQhIVTshbP72LstffNg7R2Y/k3ZLisOFrnZJnyTcMOTB0DrGhzOuZNteJVl6cxHZAXUXphVpYY3BKzEzz8HtGAtiJc/sgm8ugzhmKxiZDpnN9KtwW+RlVCd9RNP7yLnpoaDy8qGbGDM9v8L031N7C6lpxBqKy8qw2oCGRM8sBluGEJkyQg5I7SrL8F1Q5jjL6WryIifPAvZ7691EUabSAvGWTdR7LwPp/sawkqIgpCsoi9KWKe2gpyJn7AuHTeEVABdn9HiJ3fE08yLdsneMOGS1TZK2jpIrx89kv6me+l/QNVuI977CKp+BX7jArKEqS3A1hbh8VD96G9QXP3vEQ0/x7R3guq53wKqtE5swYwOZLBJgKQ9uQNdXZIXcU6tKbdxWYJyckcOY+GVP4OZ3JNDhNc5K2560lr9ykU5qJnBFpzlq7CDZ1DbP4Rz8fsS9896twX4aIZfwqPeqv2yXOKY7HLINCFY8vAz2NyFd/HbcLWP4vQrKG5Rakvwyibg9+ByuFC5JFre9OSWdGw5fOSmRp65xRimdlZo+GRa8AKExReA04fybmQcnx0jXyXQ1KSuvAgcU/N2AzasoKpqKAY7SGyG6txVGTw7dR8muiyXRScp4Nar8CsbSEYDqLllqMmupG4M+2ceO+ebAGtpPKH3ecG/Jq5w9hENFwzT/ZkrmQO0ypxssomKp97NJAcCc9Ls0Ues1/Vh3JaoL+X7VDxFagO4neelBob4FOmzH8FdfhU1Mgye/r3U0rz6eeTTXTDITAYB48uI5uUSQa2r5cbe5dA7RnlyBz4NBQRDxTm85ZeRMSUxfALVPi+Ee8c/L2mz4tmHQHsD1cYyprSf8FlG+w+fqe0NlHvUtBI0Nwf39Jei2COkyeXwmd1erwlv5z8iJeB184+gqMc73UHYvoCS/ebdX8p7GoUDtXIZ+ukncLtXkRMCGvegbTarOi6ch89nCnuiTOs5TajeJwILrrbPIx3cl+pjGIZIBo9Q6lJo3k58B8gtCncV1blV5IwSO7T19OBqVraYXNuBO/oUZvW7AtfKdz5C2FhBtPRNmPIRCkM7TQQTeXDHe/LvKhafwTNJ+qjyGOXxY7j1RThzV1Aw+tu7iShch23OS2LID2NYtYxs5ycIF68BXhPm5DNo/wK8sIBDdbENZsDcaBFOfih/d0gyFK0mKtG6DMTK4b4sf3QYwc0VrDOCyU6hgkUBoQ23/x7uwtfhkedw9I9wo2tQ8WcSWY8651GmO8htU4xCPhcglSX5fRKsaZMHcOpM0PQhp2t/E8XpPRlsgYN1qjKHj1CQGt+4gGRyAHf/F1CNBfiLryLZ+hhm8hThpT+E391A+uCvECy8CU244/0fIlx9AXmVoLxbsC2mGS+hPP1YNJeWutUoEmilVzyDDTow/hr08eewjRaqNkPCGtzy15D0bsKOTuCtXgP8RVRQIO4/gVo6C+doa/Ycry+IcYvnDjW6i7x1GR4XHzGH0qyAnYiJQdepS36GYv8xwjO/D/g5ypJO9kdwigRq5RtAmiPb/jGccgDv4nfgn95H2rgGv8ku+YnooPks8vMjGcI74YY891BZRJmPhO9kyYo4oSnlkoCXHZ5paku/sZENYOussM3DkKpOjk/Ugom4zf8INlgWq0NZniAc8p6SwZMhaIxsNIFHs0CRAJ3LUMMbyDncPP89hNYiy2JErkXqVBGFSyhHVJISKjyFar4o0GCHZ9XBSNgBhA/mrAW1XoZbDmAGT+DMX4AqHeh8V4CpZu45KGNEdU5FYjHekvN5tHAB6eljsX8gXIKZDGEjskh8lJO+GFXIoKDerzj+KWpn/gR53oM7eAhNxgrp/HyuqIacWQwrN2FV4H2evyKJFA7l3ZKQYAceB0m1JZRZKglYVD1JSpKBVvb3EZAFtvg8ylEPmtq9lddn9abhCYLKApLhLYT02Z//PTinB3I+cKVyzEEblar34QcrcFw+U33odMLcoaRUmBy1ZGSE8/L7zI5uCI/A+KyC8n45hHWXJaHk15ZRJMcCwTWqDrd1Diofo2A9K96HKbjEK7l3gllbg7f9EHbhMnzCr+PxrFpSDOGVpaS4LAHTRw/kuW0qZ0XvbeavwPb24fKM0eVwrYA9eQxn7XWpDJVk3nAh+vBDNJmCbhKM+QtJtbu1a6IVt2TBmCm0Wp4t1fIJktFDRCqCWXljZu5KdpAfPxEjEu8DznQLJWtZXoSUzyta0lRDzGcEwBa8yDoF/DhByeEyuXDJECby4XJRVl+BjhMGgWSIwnSnV5sXjo9D8PPkEG5ZIsv2xQaV7X0mphJF/V+FTDSFkgPU6QjFdAc+azmNOfiLL2J64/+Ed+Y7/z9Lb/Jk23Ve+a29T3/7Lvt8L/P17wEPLUGCIClIpEpyqbWiylVy2R544hr4D/DMURONPPDQER7ZEY5wRFWEpbIsyypRpNigIQgQPV7fZL7su9vfe7p9znas72pOEInMe8/Z+/vW+v1kaRQgQJrPoAYf/IU12QSVCrdspBPzwjNG+vQvUevdFRiGR1lD/xH0pe8A8QWKwT4C0lebtYU6YTaUgyz7f5bu0eV/DWuPZbJBWuT8+NcIlr4Pr7WElD5SbubYOZofoNJZR3n2DCm3TFETTvsW7PRQLv2adBrPFchFcXoPxfwRyvbb8EFq/lMo+tCXXoMzfITR3i9Q2f4zUQISCEKYjM4LaALEGEfTtHdzy7MkES9N2jadzuMLoFkHkrGo+Mbjp4iu/jn8yRco0UBWzBA0e0jEYNqCS2ru/Dl8uhapw6ksI8u5PTySw6zqbAOHnwpYji8Jj1uRbIjYBNJTpZ/XOFU4w33Y2RGilatI5qlc9ulMLakvcgvkO5/Bttfh164iT47gcBNNt+fwQNQdftBBHnly2bbFDKUlXI9auWMEbl20jKgtwVehqNvs9HTRhW9egrk4gDn+OwTb/2pxoY5ayPZ+KV/0aue6wGq024BhNSM5lOSF7d2ALl3EOz+G44Zw61uAy+HEEOHyTeTnn8FlRMe7jOT5f5AJU7TyKtLBC/iNS8hPPweJBu3Vt2Eu7sFUPbjhDZj0VB7I8eFvgJD1j6tAeQTkXSBSAuqgQsuSByVkYPpoY1g9EoK7OftAOo6lbSNgJNPlF2ci0B8nfQEdREgzHopWkTPiVruCtH8PAdVUrKuUCjY9kJckB1tO6iKbPRBCsRew68bLqpFeu1PdQvzib+Fv/b78/efnT6W/6BcjGYCFHkFxbRk4YXwBu8SOYA63QrPE/J822McSPSRdqxg9k4svfeo0WHg8rOYW2k2gnTXMxx8jKhyYlW/B+6dtSDY5EEgiO+O0RDAFwL91ULkEVRzKNLlwU3hJhpiTyMCH07iKnN1jblwIP+ysw0xnUCdfw22EyMNLQlNO830E0bLElIskhqV3mnAtvkyq64DZg42VTLl1fwdZ92Vo1k86L0vsTE8OZOqLIoDPDjoVbFO63adQ3gqK/ufwolXSL1CaMziJi9xNEXbegNUBzPATuHTXhj2Ys2+gGK+vX4VO+uLdLocPUFS2ZODB51FYXxMyPexwAaVEKOouJwwwN0agpozn0gfvuT6Kzkso2Qk8+gfoKz+SizHrJFpTu3MdeX6BkFYCplYCF0X/K9lOsR/nMGLNe4rDbUaEoijgzQ9RMkJeXYLhxu7RX4lWMLj1h1Dnj5CcPYLD3pWOARNB0bOcz1GcfwpduSr9Oupu+P0lHIpgQvlXWHbyHMxiXiyX4JGJ4jeQn30h+hp36TUUp+R70N3NREkVevIUebCFiF1y9hTdGpLhU1Q2fijdxXL0VIYZTJg49Ow2N6B2/w5l9RrQvYZ09x9Q3fwODB2pVJ/xxZeVMPkpqjSKlIFoS12mg/xNgTZShUWtHnQV5doPEfZ/jLzYRtC9guTsQwSM0kc8ZO9CzR8AnR8B+TNoQv8qHWTpGA7ZCY4HN5shmQ7gVXhQ5UAkgRfyYE7w5xZcQvgkMu9D87+BL2HGAYf3RE9lezdhj38lcCaHL3yngnT/PbjU9Kz+MZzhbxb0+Wv/AsXTn4pXudpdRlq/LlAoY88kVuuzHsBDA/uNNEAUQwHiJrQ9+BEweLHopYddgdCyUydQ0wpBVUyszKTfp1d+hOLg58KL4MaGEKcKP3/RCpKLxaFQOdQnVuSlXegIXIYw4pfEA9Q4WKlxI9yBGXwMnccCnjR6eQHwIT+hqMDYGDobwiUt2uPguw+FllCC0+kINTIwKhtisTCjJzKscLkZYeUvnaBUMRzWA5wKsmwKf/l15PtfAExUtd4GshcCnipX34J3/HOAloJLvy89yOLh/4Lq3f8e85P35LsSbf8JCg5hR9/INszZfheWFhhuBVtvQtkTKOrJCDZLBnJoQvcuIjWWz1dROPDIhOE/U+zDcZdANlaZH8M2XpfeM88fjN2WrE3lE3jhChSR0IRF8jNy+FMEq78ll34z+HoBjyLP5fgjeJVtJLMXCOrrKGsbcElfTsgtYa8zlTqDR/6I2YeitUGV4ExK+0xCbSAdEww5hOLvmn4Asg0iwieZJIsXh12nBcsIdGsTOh4ip2aQ0MfxMzGpGM9ZQIy5LFATZEzoSZSTm2Ir/6xHjaIxCE2KWdqXz5DrZEimHMrxWb+CnM98azAnHZtbVTEahALF5UBWVopMhWQD+fzq1ivytzBmKCwWDlZ0ega39grm/Z8D5+8h2v5vkVcvw5k+kc+jIqtHnaI8/hWC1lvIG5eA809kMeQs3YY+/hLGrwONNoqZguf0gbIDFVCHOpWLje5x4Gyg57wENWDCKjQ39hfHUNQ/E9jsFlDLP0Ix/QhQa1I1JW+ICTRal6gA5TDf7W6LUUNzgKEN0uPfINj4ATyH8eQSuQAjCQpcQ0y3vLcA8ZVD1g8yUffSJGF4yYqfwNZfRlBtY77/SziNm/DcAFnBrm8LQVFKbYHvFX3pXakLWb47MIIZvoDb3pS0DS+E/JA4vcuwk8dwm9eRn38Bt/42dCXD7OjnqLbfErNUkO3C1Lbl5+aWylm9C13bgB4dw158A9u7A5uOJInE57/jB2KQIsBMJ1Pk1RacpC/2B1Ppwg8c6PotWW6kdJjrRC5d7uQpMrJolt9COKCW+joK5cqw0LhrSJNd+KxSqCX5HRfNDnL24as9GGcbYTlCPnoG274j51HduAYdtFDMH6OYTYQ2T2UoaEQiO2x2COV60FzjOqWAUN1kgpx1FJLTmeLztuC2L2Pyzf8Gj6ae9XehT36JAgT2tkTxy20/U2curReDe6I+rFVZMx1LoinLZqg2meDhNlcjbF+Xszd/BlYzmFzAZIR8tiu1YhLxA6ZkaIRZfR3x3t/B6f1ILvhZ8kwg4WF9A9nxpwInZS1KYMmZRrL3t/A6K3B67wg0XF3sAOt3gaMHSOdDhJe+C3P0a6hqICpWJhzz2pZsze1kR5YfYdRBFk/h8vfuVYDGDdj5c1EPGj5zl95gWBSO7oOtxdzpwE1Is38OBqdyZ0nAeUx5OJWuLFYyNZR/H6P17M4XHKqxGpJxQD6BdTm8CiTRA7TkvKADH65Tx3z2Jay/JkyOdPBIDGlcCFoVIJ/uwm+xYlbA9T1kx78W2KlUD8wJPBUt0pDdV6Xm6RZjFOR5eL4oj6fDExnS6NY6NCsppx/Dp+LchrBRAJe6nvom8uFDQGtRjRp26Jncab+MrL+HSpQhzanEZPc/QJEUogDVpz+RBHq19aosP1Nzjqi6Js9I3/MFmhpuvo5y9EQSTt42zxkp9MmnAlOnVc0mOyg4vOl8D0GjJsNK11+V50DJ5CEZS8kZIm8JhgsZnncE+L2J2fA3iDbfQG5b8GvXoO0Q8/GOVEZEB1pfQhjeQJyNYLIXAt9lhdNFB3E6hl8J4ehl5AGXMjQoMaK4AHrmGEBNY7n4l+ZUkpmudWGUAy9QKEdnUr/kOQAllaUEUXeA+WPhq/nBEjSfSUzejlm9vilg39nzX8JxLNz1t1Ec/ifMw2tYjtYx3X8f+eYtRNEVmOGXUINf/DvLiwElQoQYoHEd2f7P4QabcOuhREuS6TNUSJ5Ohsgr16T/7gQKeZJKnJEPBwKSTLCBYv4UevYIedmC37uMfDAFvIlEaKO178lWLj95BK97SXzZ9ujvgY0/RHr6DBV2Mb0qHCJ6giby4WOZfDBp4IXbSEZfSuzF3fxDlJzi7P8jnN62dDwYTQ6CBuYHn0tvLmj0UDbpWTyFCXvQWQzHUKtDRZiCw61j92Vk3BrOnkGhDcWoOOP+VJolD+G668hyDTv9Ar5qYFomqPBhOnqCnIqt2lU5cAWk2KuG1Auo1VBlEwqc0CyqAHSVs8uTzHbg1y4hHe/DDboS3ZwPn6HWYO1hInR5pXOgeh353t/IxTbUDTmQGuoHq12k+19IHNd6jnxRCkbyCx+V9hWkZ1/IQ6By5QcoRofICOOZHUjM2qOz2TUgfjUvaghdBS5eSGZ2lYcptyC8FHM75ZGauQ89GYmCqpg+k95PVn0Zuv8ByuqmxKBy0uSLWC6i2ZzayJfkEp8dfizOV/bbC0IXqaJzm/CaV+TiQt2L45GfoFDwMDE/BqqX4FcqSJ99irw4QvXSO7AOo/tzlKcvAH8Cl4C4C4Ktri56/YhEs+PU6vLiT+kVFoptnSQX2cSKQ5T1sfYG3MEeYu1CcyLOja/EuXfhlC504w7m8ZF4cLnVZ9QM4yGyi49RWbsrFyPG+Zgw4BZWGw/WYzeKZl5XonskXfNhy21K6GpQD67jHaDzOhxyBswEnl1FUXJqPRQ+AB8e0rmcHshGjpAeft6L3ivA5KkoXAhxzA5/JR02O5pC8xLV2IJip9bzoGlvoJrm7EPRThWJRcELa1lIp4z0e2tGcG/8c6Gpm7PPgNZLktYp+t9IP8zvbCMdkNoeQWfnyJMMmTmB37wlPtGQ0eGjT4Dua8LYsODvnw+lfeTjOdxqJJtzdsQ0PeaM486eIHAdeBvfQ/70J4gj9lRflZ6W4m5ueA+qcUkgN4wZEmyYda5DxYlE1vTl3xNfMGNivBRFvi8XppQvUWcZJSfevNzWGNGjr/kBlB3AX3l30YGL+8gqhJ2VSEd9+IyVhaH0jIuTx9KPh+7AlqcLmFyyJ30ur7GFIh1IN8sQhMmDWMKOlpIUiPTi0jNkwx0EHNqN91HQXx2FC6vFxSPk8QX8DcIUeWGZCNHX9TpSKyqP7sNd/4FcXIrpAIh4AQXcOIftXocz2Qf4+bAVmPQYPoFt4foCcJkdyHCNCjuBDzV58G8BJoSyx0jn53BzDshI6L2OzLNQ7A63GPPNoIyHHDQoGIm5l8VI4o2qvQq39ASiaNNzOKwvNRsw/V248v+fQNUrKJMY2eApwuXfgRp/jpyWiuoVObB4fMmGWyg5XKU3Kh/BaA1z9hiB6wKrdwHjCbG6THghugqnHMG66/J7LYZfItj+I+DsE4DJBXbiqQyaHkjXn1AzDnMV6c/svZOUG/lw+gei+XGrW0iqbeiz+wKWZCxfkWDdfgUgIIl07s5d6PIZMm8DzpBqzRhK92QroNILlI3bAicsg+riUkx1WIsR9uqijhI5MJM+NFkRrR6K+QylUMg9xKP78Je/Az+dIKazl1sVVmYCanhLuOkMM6+GCtkS5gA2tTKcVRxIs9fHd02vKd3CklrB1h2BZeakv5s5HMWt4HWU5Q5A44ZuwPA5MHoErQzyLBdyc05YHg9dKX//IcxwZwHSmk7g9DYWii+3IRuQYgqUgQs7fiGuYOq3ytSHrdUFjmXnRkj++vwb2AYPF1sYPfxf4a18D2FANRK32z6K+RBqti8gKt26BTunWzoCVBcmv4BDNdPkHHp+Ctt7Sb7vWnkwmrFIRv15RngGt34HBbvW1SWU1VtwySEyI3jZM2Qlt/Z8aXXFk82YvCEfo34DfjFBkZ/K1sau/g4wO5JLPBkjDA4xOWVYV5wO4HJjkhskyQEcbgKbN+S7lRbH8JdfRUFqs9hmDJzZOQIabdILZLqKwPWlg2oG9wSAGa69BU0tJb/Aoz0U/Nx0XgKXKoTeahKz938D1K9BMRFBt3ewKgBNt/tt2P2fQFfaKHigffwPqPY2EPNQ31qHQyvSxm9DTZ8jZeKtXpWhBJW6M5NKDTJ98JfUCcAl4MxaKMZz4zGU1tJLpn3CqzSQ9Z8Ljdsyju/VEQUBEjJi2sswx09Q3fjPBIxZzO7LVs7j4GT4AGX3d6R2Eu/9gzyv3OV3oaePUWYj5JMM/toW1IT2iRqKCV3xfdjKu3D0WNR9qrq60KVVPIlU+wG1wk+EgO4tvw4VrCAdfi5VHDvty6CWqxaVB9DeSMCSZVnCqzaQexz2juUMYwdnUqFQvbeQ8z3it+BgvFjaXHwNt7oJf+mGDEWyB38JSzBol6rfFDG3YozZlo4MJNzxI6jKbVjMUBh6SCx8a5AHDXilh6I8E8Wcig9hem9AT0+Rz55LXFuFK4tn4v6P4dS24a28CXP8G+Q5z7vvwgQaePxXCzDvxu8gO3hPBlmV3l3EHnvl78Mh6Ktoo+QWUXHbvYJ0tC8/u0N12dKrsiwqhs/g7teIXgAAIABJREFUb/xAFgAWJbKL+7D5DJHnoOAFnUNClxvFU0ki+l3WAn1oG6E0Fyh3fyyXcLv5X8I1e5g/+wnCzXdRUNdJZevqW0ImL6t1gcfxvKjjEbL4BHo+QdG6jNDfRD74AOXkBLjyR7Avfga19AP4FR/25B4s9ZQOQY4xHNZKaKQoFRJqRP1VSauSgk8Yd3n0OWyzi2jjj4G8jzKbSrKLKeOQaz6e13UFofaQhwFCSxNEFeP9DxC1tgTEqK2WVKGdJbAEcgZaqhKEV+LsEUAGwOQU3L6o2h2U/Qdy1pRBEhMRYVdSJEHFR8LvmM5gVr8jiwAytqQ37q8BZLYwwcpztDlFyecu6zcEhJdVwNKa04HNLsD9tdfcgjn9EDa34nRnGtaGa1BTQhGV6EfNaJEgErJ/62U4zVXojIA4DZfx75W3UA4eCXjOcphOfg/f75UNFNUeVLJIj5WZhsfhDevRfLeiCasnC9OQ24PX7GI+3AUl0xyQl3UuPDV0cohksovKyg+E5VbgAsHyD5FNHiM9/TWcsi5qWpz8QioeefsaVHws4OMgOUCW+fA3vi3MOBopwqiFpPCkHsz7AQfBfsTz6KFoCg3B2903YGtXAZ61Se9n8pupSp9MmG+gN/9EYHzZ+WdiGNBNqh/nUo/W+VxqfdpfRemSz7AntjGBH5NFo2hZ3gViphst3PoyEksAXwd6fITUt3CZXqqwznwfNryyqLiT4TKbwFm7LtXslInGSiSVQxU2ocjeOt9bwAUTVjGbAuNWVFxXuvKsNUw4Va4A0SVJVRX7H8FduQVv/bdQHH+K2dGHcDd+H4GbSqp+4i8jcCuSPIStIosP4BkfionjfIyieRsuPKTTPUkJevUlTPb+EWG1C2fl+1JT4vJBB7eRnL+HcGkT8d43Ukejlj3xS3h2wTPzpkdIJ/tQBN0Tdp5M4F36HtKDL6EufvnvrM5J9e4g4i97fAaTncDWX4E3+ASa0+Y0l184CHLp3YaKx3B46dZa/KD+8i3Mp1M4/S+QsRdpRnAajJMrWOpUihHsiBfRl0TtgfGuTAbhRUjOH6Oy9jZK+q1Li2RGWnYXilsfJMgpbU9JiU+QBNsI6KtmzO7mfwXv4P+DalFRRg3RMpyjr1F0V1AaCz06gNO7DUuPES+BxRSlPAhnCN0EuW3A2BnqzauYnD6Ca16gXHkX+vwQhp3TcEmAGewOevEFXOpnGFMN6wIGs9zc2PmCDnr4MfSl35PDbHZyH373EjK3JR8QPgRBpy+hUdwaEBgjIMQlYLSDaf8Y9e4dwOyjDAkRYl+GJoO2HBDJB0gs4+9byHd/Bcd3EVz71zBHH6Bk365+HbrKg/pTKE4fw0sycczdBgK6cTnwcDTm7L3nGopAD8aX6esmwCZaFUUf+Qgu6wWpkc6nixgpD6ERL9lSVoamoq6yIhtQ+ZKqOsJaE8n+e4sOdOUy0OCmeIwyceCbY5gGaZPnSG25gLWRxdC5JpciY+bQ7KZwK1K7AcuXHTeCRSQpCI/0zcGBwAn16gYcf1tIwNQukwLsRC0h42fHD+H3bgo9n58j9mkZ8YSeQ3DEdEeH7CC9LptLdujADcOlf45yviuRfULfCdayhO0QIEhyOv2mqoXC9Rckax4I3BpMNhTKatWNMT49QOBQWdMQV7jLHtvhx3B7byBluqEskGqLQK/AkGjLvxERalTDMF7N7WfQQp5cCACEU1kOqmZOF1UzQEzvOKPd/wRF9AknY2eedQiSmI8fSlSwdEsE9JNHl2DHD6Bm96HW/xhm3l9sBqcv4GYF/KVXML34RF7wfvOmbKUweIyc0JeyDuNORU+ZMXbXuCNUZ27g6ExF/z5sfICyfgUOh2pTDsKixWdcU3tZwKm1RS1TludyMJVEAyN7o99A9V6WpVTBDqPfY+iX+275b6cfVQ8KlC0jl08BjFLvlUJ6lUpNZRLuLb8ldFUCyfKL+yh5SO99R2KC3ISafAy/+4oQ/OPRvri9tY2FbZFLVacpFNVs9EgsBuAG4PTncOrbcCQS+KlcTD0/FB2dnT5GlpXwmUAoOQw8/KfJ+KZ4m+m+5rBDz3eB5R8Itb4sU1i+BOI57LiPcOOqfMfsnNP9HdjO6/ArDeTD53D5aSD9PFiBsodID75CsPV9lHEhwy9utgjOS4YPoRobcKrXUQw/ARpvwtn/G6D3imzIivFThIxQh+vQHCA+/etFT7S1JbF+XrJsHsHRCjlGUOMDmTaDhogpN6xXZJPDywijjJgNkPs1OHQt164BrA94jN5TrbkLn9uh+BRFnsIJevBDD8NnH6G6dkeiv5Js4CBktgfbeQ0uKfjknRCst/q2AHDI92B1h/8+fm9t/75Qb0v2/MgZGD5F4QVy4fLYyOWBgTA3PoN5MHcSUdn4VBomrtC+mUKjuSAfPIITELRlUWQEHzHIsSX8GF1OYbq3hcNRUB/JoFmyL5e0bPBY4GK2flfeceBL1F/Am3ipLTTrFR3pZ/N5VZYTOVhp/p6TGGCt6exzFOeHiLZvw8YcpvLzvgpjYunes9NqGndgZjt0vCwgjtyGEWbXehmVWleqCaBWrZzDlEzG3RBmBrJThPxdrN1FkWUwB+/D79By00E+4/OZOk7W1hbAJDXcQUrAVcnfQRvGrQBBF77NUAwvANcIOC1PmHTQiMfHCKqRfB7Zu6OGSzcvw+Ozyh0LdR75EG7zNkz/kdhAMDmExw358ScIOuzZX4POCYn7CC6/Qx1WjyoAa2Snv5KKkamtw3OWUFKTF3ry3eU2k2yN4vlfIy5Y9VqD212DsW1xs4e6QNG5juJiB7aq4fsryFgXbN5BOfkc4NKhuYG0oLuEEKvF34jxXm7fCKj1TIZCuv8cju8t0henX8FuvA3NTRg96JEnFhsz2UdaemQ3ihKWdHQO7RWVofw7J6eSjrLhMorpKXxW0QzPOg+lLyua296lRSVodgSn2hXVI6F4GQ/H1RpKbmQnT+FaBRstwYmP5QJhOUC3KTTPGW4DBRkI2oXihYxDFuoomQrLzmVr53dflWG2GY8RMP5a8l1+Am1KqR14xQCWXdHz+zIcdfmeDqtwTBXamcGSj5BdQA9PkBLazAi65WJjjjLswRJ26a8hbWyjjM/g06tdv4Uy34HD9VzrZbi+RvHg/0CxdA1+dE1ArgnTiQR4SRKjK2YUp7yAG11CEg+FsM5ULAdYrGVRVxh0tpBMuRs+E/sO0w4e6zYkuTMyS5jz/L6wnRxJX9G6UaIs+c7aRsmN7dkuDBc5K9ehs0Igwz6HgxwoWBdeg/qtHOXkGUq3KtT70nhw6j0Ukz7M4CsZ/AW915Hu/AQeIce1W7LV1rNnyGZTqMZl6EjDHZzBzXlxfAlm8lSehyUrC5MJymVWD14sIKSr34fa/Wv47ZeQ8lySHsFhDc3kwmMRpzOHVpWmUPSdjGcQVu7WYWOqCo0syHxLiOGZLBy8aBlx/2s4En3UCDa+hTQfCpso65/BbXXgBC50cBXl2VOMh5/B2f4hQj9E+vB9YPUawmwGw2pKpS32BFT4/bA8tsJdvgYMDqFwDj/oSYqi4BBvMkS48W2ptxZeV9JJ6eGvJDbPhBT7xdz0mukx3M51JI//I8yzn8D/7v8AdG7D778Px9tCUc4xGZ+j1tsQ/owuz1Byc2Kp9d2Gq4bynHMmT2DDG7DVCG56joznXEchO/xwYfFe/w6S04dwwhZKjIFZH5X128jjEyQvdqC2fgS/4gIv3geam4vzod9DWU7lLENmQzEcIM8P4RDqtvw2NNMqg8cwBGH33pZUkVdXMLFCwa1+/wGixisoGl3o8acAPx/kqzDdRZje4FAgfO7m70tlTg3vIVj9PuL0TMj4MA+QpxYOz82sNmx8C16eIj74UOqJ0eb3kZ58Asen1nUben6MOE4QOAZlpQurq9BMhU0PpVrsjXeRUdfXuyH6ZpWTv1IXo0Y5O0YGykyaQHIuRiM3WBEGgN9gYu8h8pMPUbvxX8gGXKEOO34Ivfym3BVsYwl+Vgqfh8ws7dIhGsAxE8yGhwjXyQFIUHD4VtlE2mrD6R+hdGL4cYaCl+iLp3JfoEZSGQ2TGRQpFbx96HAVxf77wKW3oGkoOfgAuvuS1CKTZCI1ZlSayM+fwV15bbH4mjxC7m9I1Tyj6jZchp9lyAnIvriPYNaXJLZuU19KsGOIksY3MhuqrQV4kykWl7Y5mpJoIGCCtIcsyxfxfybKuWgMtiQl4MwIruXZtiPpj9l4hHB2KBDmtLEkjKlo5U3Yi3tSZWAlxJAxF4+kNkpFKpcd3sa35f0TH96DS1sDx55+W8ChRU5iUCmsM6exBnO8A69GFt9dMecYnmEbawDrc0e/QHbwBI03/pWk2czer+D2bkG1t1AOnyE5+RBu7Tac+iZ000N+fI75wWcI3/iXCPbuQQ1+9Rc2mw0REHjH6HilBad/gbzYQ715EymjdFkuTmt26PR0B7nTRLR8A+nBz1GqOpQy0t8uGVsZENThwicxMRlgfvEZ/PXvEYMLhy+oJJYPVz57Cn/5rsCcSMU3Jw+QVtrwQLVUKDqU8uQhsHJZoiSKXe9oCek5D/EhvO5tzL/+P+FtvAY4W9JTdRpLsCTjOqTXJgKUKL0eypi6Bi0TWm46GJ+iV5WqHHXxHP7aG3LQkkgLo3yWEdkbkizgFIiud/ZY6Us24wdw1r4L16/B9HfkUpiXBg7J1qjB2j48Om8rdyQ+n/BwFK0gI+2xtwHPhtJnjOl85VQ1y0WBRRYAf7750fvweOIItslokk6d52rkVDGmD6FLDW/1Vel5O+ytnn+DTHrNC/AHv9y85NvGJdlUesVooeJTKUrjQLduyM9Ku4Dy16Q/GfRehokI6KBXnJdrjZz6Or6Y9RSZ7cBzIpSc/HZvU2EgOjKXQKiT9+HRBX/0sfwzlcamdJsJlETWR7DxBwsdBxVErduYD57Ba7SFfp4zxhrHi4hvPpN4okcAEyd5qYGnaDJI4NlTqPA6Ct+R6KjvaViCm4LeAvx48RBBm9GdqjysXQ6T2t8SQjpd1TzsEYZG8B0G9+DwxaDXQIsze21J3IcjHvW6aOlKHqjmD5FmVmAcBGI6hF6dfQNHrcJp15Ge3kNQbwoVltNa9ttkMmEzUTrl7LXROU6P7PQEeXUZoZlK/5ZpFV/xrVVHkQyFVMoNPTIlsdD0bEd6ZmpyABA+pQuYyg047nyxPbVdAZtxK+tElyUNg+lD5MoiCkh+ZQUmE20eAXPchpCU7LKfGZ/AEPDpXoVz/n8hb/82nJQPfE+66EwAzGYz6RGSajzLJwgJzisZ428jJlfA5aU/hFcogQiRAWHjB9CVlyXpUBz+FJnqwFMGTvMyMhJ/+f3iII+DrNEOCm6ZV74nqYiotiZ9J3PxMdB9FcFshIQH6s4WDOqL1AnVea0rcrhgL5177HzeB2rXBDLpk2dA93B2BjOfQXc24MzHSOMRHCo1MUd6/BmqK6/CUjeajoXuTNUeR1+8LAfpFOnoMVyVwtAZq1vwCMrjQzuLoUMfarwHkKvAi+H8iai3SnrXCeDUGsXJA7jt2+DkIo+ncOorcAZHKBpNoTmzXuBNYxjnAgXqEvcvnSW4rQ2Ah3Nl4Fe78r9V1U2JhFpC1kIepsZwqT7SCRL6e2cvoHuvi4/Yaa6gnM1hPOoJPZjZmQDM5OarqxLrNQHVZgRtnohNImBcrHMDKTuOU+oLDbylTeQEZjEeSFjhZCJVIAK5WKGJ1l9HxkHd+VfQHL6yLjF5hoJOYI96KVoeFILGZZSus6hg8CKmEoER5oUj8LfCHMJhdTlaXaQqakuyrZgd/BzVRk/SF/H4TBSDvKSp4hgmC+GRdsyBVF6RKDTd3C41tsEGMjtD0X+MYPPb1MnAJF+KStVtviGXcFobjN+SwSJ7wtQW5Tm3OW8gYIVF0eRSomT8X3JoJGMx3m1hXVatjAzA5J3F2kNygTy6LsMDa89ReNfhuhmsuQCKhiQQjBfBC5eRkHFS0kwykYoOL+O6uQI7nqOgQpTEdx4cCZJqvQKHEcuAZMEq1OQ+HH8Diu83MjV2/1HUT4agUcb95w+gCPVhlJGbHC9COU8R+DHi8R5UeANeeY6Ch01+/tNnArMsTQ63ekmUQw5jCmcfCTBLLjbzMygBU5Lo7ECPPoNeehNOESGffA2Xl2+vBtdGKMafySBRkiDTA2QXDxC1LkM3b6Mcf4O8+Qoc/o2piWxdhSoy5GUKz10WO4woH+uEWXlQlTVhEfHCYnG2gL0tvwlHrcNLHyOrXIGXj0RlK0BcpjzqGzKoLFQMj0Oe4Vfyd3adqlx2wb9HbRPp0YcIWrfgV1eRnT2QalTquPBpwuB7018WH7fiBdytwuWz+OIJvOZbKHWC7PhjuOvfgZ+lSMoMYecm8v4DGRDrwhXwruUQp/8N0LwC9+yB8AICVmxoHeBGn0ahzqsoJ1yCUDlpUUxOMCfngwm7RhsOe9OKpXNWm/owoxP4K3dlk65sH1kSw+WAh896smNMCd26AzN/hnJ8AksQWp5gdvgpGpfeFehsMpvD70ZQ8yrK+TeorW4hPR0hL3J46y8h230PaalR3/4BJuc7qEZ1BH4X/bP7wg4o+58gVg6qro8ZIcpZhO616yjmB4hf7MDZeBtOdoRseAx99btSG0z3v0bUNPCD25iZEr7ZgSmqCCtronwroghexG4xdaA1AaTxsq6iHnS7BS9YRjZ6iiJqwjMWdryHbDoC1l+BPzmWsw6HGtKT5XYVU6THv4KOrkA1t2BHtELVBHbp+i6KxIEzeSSpM/JditKXi30ZKdjjY7gEmtZayKcTuE4NJdkykyMEgUKWsQYYwmm+hJymgKMvoOpLcM0UaRYj6N5aEMKTQ6B1F045FEitQ6MQ+UtMALZfgj36CM7WH6IYPIefnqFgqm+6J0u2wClQCC7UAfyWXPQNEyyEyDmusJgKRsqZ4qzxEhUjcusYW57f1wU8ZqIK1JgQ0QeIkaG2fBWl2oRiXS05hbt0UzSyRf9jeEzfcYDvNJHu/Fj0ayXB1qyy+hpuRvBtFaZU0LUudP9L2MFjYONdOASHpxNkO38Hp3YFavl1We6xMmfOHy1SRlLXilG0LsmoP+L/nmBGJr3m50iu/jnU+ecoqXENfRR5BXltBR4ReTZFWWmgSGaw02dwGpdhpwp5PYDH2g7d8dE2ivgeXG8DZroHHVXlnZ4X7K4zBZrBjQ8xv7iHsH0bRdCF4mUjTZGX7OBvQ80fi2GIbCHq93T1qvCM0vFjUbySo+U4TL7NoFQkZ0TqfFWhUHJJQOienhKaL+BTG7Ul8UANrupeR1BaZBzk2zr06AsYmraCKiLeG6igrqwLaNCXFGcC4y8hSF8IdNnSElCryjCQCk2cPsV09gR+74fw3BxFPhYdecmaBwvcrAuyIjFbnAdt4xZ0sgcbXJZ3i5lP4RO+Nz2DRxA3oa9c2sz7mCGHH1SgbBXm4B/g3/gzFOPHwlQCIdGuEd2lPfsUoD63vSapaHv2C6RpBr3xe1LZdAi7a2yJ8tLDDFk8hAmXUbExYg5HeD6e7sGlLtxbX7BqJhcoJp9Cr7wNd3IutQX+LhSrJ/W2qDf5zVBM7DYvQTtUDv8Gs7MDuPUaotVvC1w7M2fQF3soqCDvvQaXuvI0RzZ8DqdyCZr1dtdBZANZcJVeG2nQRTihwYh1Phfz/gkqHXKzBkipTDZ9qaxntQ78eITk7D6cyy9BjZlYfCHVVzQuo9JaQjLlIG8Jhnccws0ne0itB8UqiakgnT2FJhgySZFycM3fE9XMmppuvnPWUFw8hcN0Iw0i5w/Ar7239iYUwZlMQZocycE9eKvXkPePhC/EpFTReRPO+QFQi1AID+ZjlDRPcNjJZ1CRCXjbcGmx+74syVQlgBr++H+0QWcVKePY/R2EkxeYh7dQXb2CjAfhZx9CX3kdCpG4S3Oqw9wGsngfgS4xPe8jbFbkZW/mj2RqyQM3oRT5xTdC8HYvvYTJl/83opU1qFmGZPwU9Wt/BlWvId/9AGrpNubjQ1So90INRvOH7gh5HWkNuPG29CwZoZ3t/BKVm78vPSA15HbpFst4KMaMTG4KjEO3GblPYE6+gq3yQ3YqdQVG5pDO4ROGhASYJEB7UzR5vtNFRl6p6SMe7gstnbFnXVtBPhnAD1tI2bspUuml8KCT5loIs4Spmb1/hL/0LRRysBwJCdnR53Crl2GGe8hUKEMSc/Gp9IXd5dcRclrJKkO6Jw+XomDPnDGikcA3UnY4SEzWLXFNc8ucxIeoUN+lfAFqlNqF372K9MV7cvkM1ulbHiPOpwhKB7qxKrEum59L9zG5eCg0zmJ8CK95HcnOz+B0rsJf/Z5snYrRnjyMGAe0RSQPxdHp16i/8W/h2AD5/vtQ7K3wC2cVqvU1uThQC8iJl1DjK1vIzSm8YBWlZ6FjXoxPYcbsPlm4vTsI0hlyxmL9ErllfJyk+SNE9WuYm5HE82gvMLWrsrUxRz+Fbl1CngWoOAQbPYDXWpaD8Lz0Yc6fw5l9A0vNI33d9S4UneD9rxH4q2RMocwVMpfdnEyiqpXqVWTs9xOa5rcR078cH8phsaQ1np0e9k6LAbSzyTUhCq1QUo0Vp6C2nMqctP8RtNsUbUpOdzw3dMUpCpAyTzo2tV1tFIQs+mPkZ4+hGbPsvoRscAq31gDyI5i5QrjEiskJFMn1Til9aU6xvdU7i57qdCAHJ3v6QCaeur4qUXY7OUGeFwhrl5AcfwzlDqGrdxYAoNET6O42NOrIxk/gRyFU466olDA8gsfYXnQD6e6/h19bQdZ6E87kK5j+PeigDX/9+0gmKUrGFesrCJffQjZ9BF1WaLuFyiaw5KI3VwTaaMiNmOwKPM/pbiMwDqbcblEzFdNisSWWDg6hMDzGJH6MqrsM3d6GqaxBM3p38QxOWIPJAzhqvjjk82DO731tFZr2EOpjGOfkpHi+i9gsFJX8m/P5wQdmdk7X9Zp0fp2khGregrGMFB+idFck3cLIIhI6veso0UJRzOGHrnAzuIU1/C4rdhs7C01Row1F2E2eSj8xcHty+Mq5JdZ15OYMUdjA5OQRImrP+ocLFzdBcDf+FPnZRwsVy41/A4/I+rMPRYtHxoUOVv8pIVFD0LyGgs8L3YZymwCTDISsRZdQHP4M8KsIV17D/ICd0gxFsA2t5/CibaHCq+QAJaGfvNFy08r/3uW3YOOnMOQ6jB4IIIixXCaTsjJB0PoWlJ4ixwSu8ZDxvx0xyHdLj+8JZMihw70WwfEY3TcLP71HHuIR/KBFRS0mg4FMnX1WaUafovQI3ewiZ++fEEZWTXgJHRAMV4NXpc4uRnFyD6iyX7sBnxUwjxG8OorJRLbIQoKf8FKwiaBIxGftV6gnasKpsOvTQ/roryUqHtz6N5gfvAen8xp0doGS3neu+2cXcDrb0JlCHD9H1LhFfweydC7L+HR2jpCDu4iH7AuU3LYyqUFWAzt5fBlXeyjnY5h0H1FlSw5HJQ9HvbsIqELi34qpGKexADzOniNzGoj8AlnKVMAzMY8QBqijGorYh7X7cPOSvSExHHhL34Zmd/PsN/A0CeVVuEvfgnnx/0qVxe99S0C3THnpIkFB0FB+vugqr5CvkiP0M9h5gcnBz1DbeEcGkIiWoJjkIWqJelzDoEMPfnQZSXKIvH9f4KdO91vy38pKSHL8FF5zW2KNln3T9ATB7AymcwfFhFpGD3p2jjwIJREgW6LmFvTFV3BXvov0+EOUowP4Gz8U0GM6v0A1cJClsbyj/dzFPHkOr3Zdnjt+fUm+y8mzv5F0ilO5hqLoi66WiTYm0hhtCkMlQFtaX6zrwnF9icL6hNlVtyRxxkg3lZFu0EGhfNE0mtnzhYaYAzRuA0kNZ5KQv8eU1gkt8c+CtaLK5QXk7exjGZiJsjDW8KtkatApzVpFDu17cpHTPANYTzgiJPSTem5mc2gM5flY1lnHOJElSVxwGDyEw3Qhh64ETZEP1H0dxQVhs1dQuKznEPJ6DwEmkrbI8gCB28CcXXeSrKfPEbYsjOG76xRRex06p66MS4YhAhhM4wJhs4UiqCHe+RqOOkJt87eR6wCT3c8QtZso0INrmQYBZnaGiomQlBxCHy8MHBeHUJ4RVgU3ftWoKrA+Tc5Q0RZ4clSl6s6DGSRifmKFreKMUKQKqfIRhC6Sw10k8S5qSzeEhs/LrCbhPRsi5yKjfhNusYd055cSkXcrpIK7sGTsZEOxS5iwIgwBz6kKeBTnX6Os+nCWfoCUz5n8BJpJvtQgsAoJD8EJCfKEGc7hTF8Ay3egihz5+Aju7AxY4XeEi6C52DmKE0b03xVl2fz8U3hhBKe6jWz6HAGrs6xtui2BkXp2uvj3Nq+jPPsFHH9t8fxCjmDpHaTcqPI9U10loVO89apoA9mx1C9TJ4BLtW5lQ5ghBFh7S2/CElTH77YKEbgJzPgIJZ3kVLQevQ/tbcLffA3x1/8BESuAfMYPHwHUHOcxPFoq+ActgGS6B4fDhdZVGH5fTIwZuU6TE/iv/FupXBSDX0JXWNFtwMtmcCrk11yHHj4T5otqvopi/AXc1qLKo8a78JovwbZuoOSFvsYKyQaS6WP5jBMsaQk15Xt8dACvtQ7jdUQGEO+/j8bVP8B8eIbAiZEzHTjtw7n8Xeh0DCV1QwI2XxddtEpPkMQpdHqOYOkmSiqRB09gapeEr6KHL5AzOeVTr0qzViaLPLIfNM0XrEUpVpZHsNEGisGOmAEKLpoIYNPcYp7J/w9qlxbatiorpwfCnTFnn8Cr3gSW7iK/eLBImaUnsqhwfYOSQzou89ZYIygxY1pitruAluYzxC9+iXD5ClC5LoDixGYI+T5kDY11Z6dEPBlC6TqcSKGc9+GwUnT6uaT7WF/kZyXf/TnK2rpoVsuyBmWVDFZR66A4/QDdaMWMAAAgAElEQVQYDuDc/hMgeYbi5LmoP5mWDWsdXvUXKQCyArjkC2vIplyyNaHmZ7BUMrNqMv4aKQJ5rhfkrNSoYS9FR64CgiEn8h1I0hFKn3BxDRUUKGasssxQgMunZej8DPmI1bCrkvhzCYdke5zv0/aq1Blt/wm0yRDc+JHcgyZf/Xv0bryDrPSRDB7JgiFisjA7gKrfRBnzLJ4hZGWIA/3MSDw+nxzBMUdSydK1ddjgGmzyQCwqrBFafo49i9npN6h3by2++8mZ1G8DqSlxoVugmJwioIo4GcEqC01AcOWSDNiputT5TH5vtkiRnXwFr7aNMtAyLBIYOhO0fk94KIoK8rKB7PinMvz1onXkwy9RRjzX1aECmgt24Rc9xDRU5OdwvR6CRktsG/zZ+DyNDz6CrnQQuBESrwKXhzxa7Wb837Our1DmU9h0Ds17bRGCDPfs5EtoPofI9dh4F16ljnT3J1DkhvXf+58sLx+yXRhnSA7/HtWrfwpVaUhEijFXTS3IBXvaVYm8muEufL8Ou/Sy+O1NSc3KC7ikGpfUQBi4S+8A/XtQ0wHSZkuAfiXJ7FT7BZF0zLgptk6G4uQQilt4XlrVGHFlSQYFjpfJ4Ye6MurPRnt/j0rnJpTTBrxCJuiKiqP4FCnjeIQ2cdJ+fl+ikIsu1R7c7k34jD8qDzk90Wksh12nzg80P0gteTCDfRwe2pgE4Ia50pBeJDtuliPtChUjPSBPkM8W8Ud79hjV3h2Y5hbKc3YAfTiMnV58BuV78Db/JQyn0n4bGc4ReBsSR7FhSyJbhgRTbmyCJXiTE/G6z88ewad6qd1Dev4YXrWKcrwHQzpk72WBdrAWgdkziZaGvLTxMp2nciBJUwMfAXI9gc+4LF+cozl0i9qfexJnDElH9wIYo6BJZOe/w18GAsZcToHRPjJGSJWFx5+jfwyHFwgyBy6eoagvw+VhSk9QBGuLocHFC1hzLLAPxoukYzm6JwdJxmtMMUTQuIJ0xPheDWhdF6ou1wVh4zWJgrt2BlNM4FdIcR7Clsew7e/BjR8hYzyz1oPnOCgMD4Az2GAb0CM49D4T6EcgDCE6JhZKJxWJ/BlomnCvcBtSgxufIM4JJtqFSzUeJ9wqX0xQT79Bucyf5RwOD9bsmBWxJGNcZxnF2S+FARBc+hcws/uykac6yKsuOuTcDkhgmV3lsIeCnnR23uNTYOU1ATKp+EimjTljQUIddlFc3IdaelW2VapMYSzhHhdwwmXRv5VMmzBlwAoAe4d0nCYncrE3x18gvP3fIDv+HGr8HGXzMkq9Ar+1iQJTZAefwil5KAtQVjYBauZm/I6swNEeMnMuqhRe5AmCJJOBB2qS5lFfh61EKPpHqOYnsOvvYj4awmOHW7eRF2cI2TFobiAfH0s/GzUPyDry8xvG8pbXF3YKJom4b4/qAP32yS7K+fliKlq9jjg5kd8bHdOsyZUc2lWqi4hohdtCCGXerzcBtQozeSCTXUUCMKP1Hjt0ZyzayAU4ZtqGMfbsDLpowm1UBF5UFC6c4kxgZODfy99EQG96tg/XcWCia+K99ZMU2fwF/OYNIVHnww9E+Rf2fgtm8CV0dQmFuKMjuMUpkoy99JdgD34Kr7sByy7vxTcwVMMFCvMnf4/g8j+T33O69z507x2BU6bn76PwN+Wiml78Qg5qojmND+Ri7rS24NL/nM1gK1VYdRlQR7CjQ5TV9cVG7fxLWMK3+DeMZ1AcvDHaxu80N+0kIp//VJJFnhcg4eehyk3cI7lQ5JUleIxLnn6BsEX3bgTNSgCBk7y0lDOBdbHLV2SOxPEVqnD9uUQwLVZRRs5CYaeASv4CqcM+WgPl/FD67Pz5y4Iaq1PozjWUc967foZw+R3A5eF/F4Vtw8UEmRfC1y3kBJS13kEU1JAPv0LJaLpW0HGM3I7hdm4CWSbdRw63GAtmF7pUA4lkuq5FNngiB21dK5HHCZzmy/DYJ43P4LaXkJxy+1cT2i7tGXSiuw5hQ3yJV+SQ6OoIthzCwhFzQuFx+25hkjGczjvA8AsobuvSHA7j8rz8zQikeiYAqiCJMXXb8AMDc/ICXmcbJjVCMHdK/lwH8Pj+qWzLc4EbQ4+pg9E3cLpvyMY46X8Fb/Xb8AoXcTmTw1uRTxExzs1OMPu2XlO2PeWIWs4B9NrvQtEaYWtw/Bjp6AKVzneRvvjf4TZeRTx6Cu/qnwKMtQeuVJyYdFCjHRjaX9ovIcIM8egYxdn7KP1tBHx3EeLprSDr/wpFeBVRk3C/mUBrZ6efw22vCR2em054a/CzoXBX8upVibsX558s6M+MbsdD2bAwSq4PfgF9688liUezb8nn8sVXErEsWDXp3kDefwzr8LBF5dbRQp9GyCCVXWEB65PSPZb0B1NWhqkGUr4d0rC/hOe14LFCNdkXN7mXTYXpY+0UShNc1QfG96BXfyipQBWfi8ea1h3q5iS11l2BvXgCrmj4zKNJJ/SqkpCC6cNrvATtMnVXovRq8vx2KnUBq9nTr+CqOVJ3GX7NQz5KEQWKVBr5zuVKo77xx5jt/CWCoAIdsR6UY3D8OaZHh+i9/C5c9oyra5hfPJCItZ4PYflZPz2F274m6cHk4D0U5TqcqkI19JDoVbQqCqPpgdQhl9o++v05mpe3RBHmjPoCEKXhQbmppJr491JuAv/iKUaMJZuqxNvzCdV2TGDdQup6mB7swO804c0Y2abVA/CXllD6XSCto5x8DNt9FdrfQHzwa9SqrIzNYLhVjTpQhZEtK+wUTrAkKRaqsmTLGfUE1spoIKuHYWcLGWHO7KGThaAzZDRC8PLt1ASs6FA7ySwHk2G+B0wfoTCeAPv81XcWA1NevMk4yizcqicb+yzNhKpNzgAvEZ5bSgWJG16mndiVT+IEXn4AZbooa3Xkg10E9a6Q1DMmGNpXUZx8IHwgp3MHNj/lNUpixVH3CqYXX0DPR9DNNbhUqwnrOhOODLeHmoM2SzhHhiSeIiCJfsaax6okbllZSfvfIKKJKOD28M5i8HbyY1k0EJhpxo8FgljQFmQy2IOP4K1cR5llQOkslMTuElTA9EoJp1VBWTCZ+wzaNgU67akREi6bQMXdQ/i8eHTeQMXvYvz5/4za0veA7k2U6kK+i9mUidkL0Tt7lSsyjM7dxaDKcJlz/kLMNn77txZJyOSJgIId/nNrW8KacUfPUJYGxm3DOIDLfjk1l/GpfGZpOxJYNqtcpMsH11GefwxT6cnglYml8vQzpKUDz+UFegZv7VUY9xJU/kgWFQHBhfkA+bgPp7mJwOfv9wR5WUN58SG89htQVM/Nz+EzcUeWAs1cbh35wT/KxdIluHj4ALp9FSlhyp5F2b4p1QOq22glM/t/B699E3ERQHMB174rGj83cpHyuU/oaWqQuSHS/hNUumsoyOMhYDU9FxCenhH0F0o1iJUgt3IDGTV7homULkyyBzTvCPvDnw8EOmrmO4iYKCS5n7XD/BSFY+X8zvqTGj+BZnc73BaWkRMPUOR9+L03kTJZSo1rWsDzXBgOUY4+RNS5g4z/H1w88jOYHMNlRJ2qRFZCnQj25Ocoe98VvlA6eQ6PgOZaRfhJrp7Bsho83IXX+z5yns3nTISPxNYQdu6iOOPiyoWpsn53jPL4S7jr35U7nN9aEWhfvPe3UGoJZWsLUZGgrC7qs0zmhU4dsdGw1Q2EiJEPn0J3XxYopTp/KKYL3byJImhD9T+XpQ7rWQn/nkTds8o6eA7LKpO3AT8KkPYfSBqMyyiPrAFapqxF1n8GZ/0tUSJLupu8l6COjPrb+lWo869FT4wGL/dMejCpdyK1dx2sCNid38+yaC7q3+MjGI+GvTa8WhtZkSDKHal38txp/XVoAgBZKTAJfKY+adAYP0ZMrTgT3mSw8L1Y5jJwKicPgTqr5wnSw/vyt4su/x6ykmyVFGbwBdT0o7+w8dFD6Yh6N34Xtgyh+k+QPv+PqF77M8wYn0KMcvIImh7Dpe9CsQvMvqnahFP2Uai5bF5CqnRmQ5jG9sLLSWUJnWobN6DjlkCyTD6Bb0vRlHjNS3Aqq8if/RVU1IS6/C7K/i4CdqjYew6aSM9/Bh3dAFpbwPO/X5AkpyOEXoa0tikHA8/jv/dcOvDgF6hPfcuq6Aft0XvwuleRZQkKc4qacx3p5D7SyRHC638E6zeA3fdhnaF0fgvnCjSJzzwgOhG8ygqsnSA73ZGXiS4vYKgl8hnbHiLd/xR+dx2FaiKk0iXl5UlJ74NRlfnJB1BGyZffBlR2hfB4weOlkvGaOIYbUbWhYSbH8OgXzyYSJTW5C5dxzNorMHv/D8zsKSpb/7nEl2w8g/UUPE7k0pnUI9j7M1kMr/s6zMFPARoDtn8oW0yKH/KogVAR9AW55Bn2f8s5nCxHUQwXEeD6ZeTmHOnBh6is/S5yn6qfE9koxOwx+l3xkxpVlcuoshWAOo/pKYLWbWTpIXGScFn5KAcwHKakCTTTF15FLmh067JnJL17Xlial+BOHqBkDLxyHUHkyGaesVRCR1B5CU5nFcXBhwL5UV4VuTmE5hDqYg8lvZzVTXjU6Z1/Bu2G8AktyWKkL6jb+Y4MhlCM5UtbXNDTeSEvdM+h+u0rGGqfOq9C8XdFwGGWyXS1yHhw7EqMUhNygxyWm+7qMop4hMCpITHnAuTjxR7caDU2oSNSOR/CIy5aqOx1Ue/Y+FjUJDa8BsX+ptJw+PIePYVb24ARNkUKj37YaQKwTuLx8ncmPUJuMMvcQ5HtIJ8PEV35A7jjHZms8vJu6fvNE+nf83Dg1htI6fyNT2SDSeiJuJQzqrDOUUavwPIyG0+hV+6K9sicfSlVgMzGCIIu8iSRhRv9tCo9Rnr4nxB13kDeeRV6cF+0TwVj75MXQqUVdduUCYVtuZjY+rqwLPxsgISKo8GDhcrPZyxLw4tnoq4sKz2o3CKNTxF0bsNVLjKSqlUAkw7gkDTMoROfM/yUzY9RRi7M0VO51IW9q0jY5y0DRHSk547oarS7uCzlxoNrB8jiMbSrod0OTBBATV7IZZgsEcYDLYnJXoGiRid7LL1rsRhwsDTZRcmHrzlFjmWpwRTZc6jBAbzN35ahE9kIpbsu+pmy/zm0XkI2/RJ+8BpscYiiuwXNi+jsOfJwFR4VR8kMjhfDFhXZfheT5wIrLf0llIc/hdv6NvywuoDiOUpUS/b0MwRrvyNxeurLvN6r0ivnIdkGywiry8gmX0AT8nTzv0N8/lPZBObuGkw5QeA3BdZZcMtN+m5EJ61evOCYLiJAavgVguZL8jJToAlhDOs3EVg64g/EW58lQ3jWQjNWxhQRkyrxgqLPUb/jKxSkWTOW5kSIKmuyQUNjDUXZQsD0GYfBIV9ufJ48g1NZhhd1UIwfoOTAxmvCpGNxfru1LagZveNazAbp5BCqxpoSNzmkIHOAy5TCOjyrYC4+gt+5DhOsi+u49IYoeCjh1nK2g/TwS7jX/muhiad7H8C/9HucBcMMHkHXb4sKi6BL9h4LhAuAq2WigGyKULzH+cnTxTDi7DfwV96kb0Y4Bc7sgbAHTPZUOvl+6y4M/5l4T8B+BX3uQUsMB4GzArSaKM5fwDD149EOwG4idVARVO8VlMkLiW1G9IJnA9naZPEc+ZCply0oam3NBEHEel0GdXwfSaTgNm6JG7ygWlIuHQuatDf8NYrO94DTr5Flz+FW3gCqLkoyAWg6CCvITz+GQ35KmcDwvV50ocwRbLiOIKxL/3nGqoPJYQafwOu+LRFgM3kBzSpNxD7vOpzhM/nv9AKNgqBVdiODmgz1NLk0xqKiNFKaKMpd6PbLoiktpkcSmyxnj+GucUN0ISYIk15Ak0EhUC/yHPiM2FwwG5LnyEwFETVbE3by27B5DaYYyVCIHARhLJCLS987gVo6X7iyHR/xfCbQPg7ACCdzGF31wkVigpCutdeQ9h8j9JrIVCEpCSbJWPHJgzV4BKFxMubScMEvQ4Ds6CfCuvE7N5GcfQYnWhfKd3z2tUB5s8Z1eLSJNLag/RLO8Sf/P0tvFmvZeZ7pPWtee977zFPNVWSRLM6DSMmyJdlKD3a77aAHoBtBchEESDq5zG0QoAOk75KrBDCQAMlFGwm60enJ3bZlmZI1WBKnIllkDSxW1alz6szTHte8gvc7urMBkVU8Z++1/v/73vd5KLV5ytzzzZw3JpSiVSaVZ9K/Npl1LojAa13+3Uc/4MLVVeKl751D5Pya1uVXrYrjypvdf8Pi3ySqKCxS1H0bxjA+hGbB6OkDWh3FnDdwlEqbjm2YMn38bwnbfYJ6ydgLTn4A83q2q7feE9UFcvWDd+xSVp0ck2x9SlLUeP1rBvfTdlP9+U44x6QcmxZZoFDV9SZSGovvMdok1oVVCxQvsFpaPnxMvPIWdXZIlhxQjHbo6oLmSe+qZ1ZItvsZ3qXvI3+vtLK+KYrnqVMHpFALZbg5oBaXyJH2+b4BcqNVEd7HBuTNRBRXT18bXyWipDdsrVtvOXUmhGHXTDuKkbuRY2fgrLlGoEN9jdXuyPV/V9SCk2YZEbtmB7H06MN/Zban6Nrfw5FZKPuKYDIjU294+/Nz0KbqUMljS7f5foeqismHXxP1ZMY4ogi7xL0rtglXAlKQNtHu3WZkFTo9t51AHWefINK5ZESRjM9hnZneo4tUgxVwfYqzx3YOEfRUkNxi9x7OwlX8Skmjmkrmmd0H1HMbBFWb3M/wiso2lap6FtWEOFo3+FvpX6I82SRqq2Z7jbysCXTBdDWM2cRTVFIA32DBdIVlsUs0f8F0svoe+0N95i+Siw5fLkAjgWSE6yn1VlJN7tnAq9Lv6+izc3hoGVgaM4iVke4xffoz/PQYb+O7BtoUl6yc7dtSwsul727jy62ugUYpJoJvFyNX4HINfYdfULslga/FnJA3l85TjdJu+j3CfIgfJKTjHHe0SxHnBuNVFWp2fNugg1Fj9ZxBU52R6Fx88Evc+Us43bcNEhd2lsirGVFHvKsdGEuVWpnBqxbLyB0wVZKns0IduLielH8zikTv9ltMNv8j0dyawil4030cDSZqJekw5kARtHCPPjUmic6gzs4nBGuv2yIq1xBeRhCJxP2B/TNWO9UdStrBsiJYeplk7xGNlq/XJI6qllHXANVoqKjBWnKC110mP31sQ5xSevfn/zHibdfDJ2Zys8VuOj63LJVntnBsOh5pqc/dA4PZGjtFPC4Ng1vzlG6HYHbCbPrAErtKfKoa5UYelUDJvUVC/fOqaOvu443wF3+DavPPCDa+fZ7AU1Igd2guvUVRPyObJGaQCgXRrmWVU/YhYpbuUZ3eIei8SDSvP+eUKgyoglX8vT/DEWek/xJjwcnHI/p6h8xGZDpXVGLPxFTKYqjWVCd26Rf0MT9+RsXEnj9SvNdKwElpPjvEi2q8WOrQE0sHB90Npgf3aK6+SibO3OljypX38JyA6ebPLIFYRV1LWishVlWBpb4dVaSHD8l1zmtfsqShqoVllVC1LxNVBbk7NKVynQzPWXb+gGz6hGjxhXOm0P5tGsvvMDk7xTn76T+r3bim8hfIHr9PdO03KdIZ7t49ijlFClPydERr9V1KXeiOd4jmrpMffI6jv5TIkzpEK+rR6JHuf3AOM9DhR8qZBZHgJ2SPf0Bn411K/W/TgnSyS91YxXPHdhHwTh8SKJY0+phq5uBe+hvUsycUZ/s0+13SMsCRfkUau6BDufVDg4rpIKiNmrf+HYtx1rs/wV16y/QibP17i0lre6fouS5vgl+FK/JMe7ZV13TYQy+kd6iKZ2TTA9zOHBSVpQBEUZVWLxe4QYCiZGzk4Do9Jm/KQ3xGGEfUemhXOcnh50SDN8xjn+3+JfHcqwZukT6I8RH+/FW0O0J0z/5zuMM9KgNvnU+7PT2cK/ArgUb0BSnIpC66+tt47QvnDuviKzJCGo0LyvmSzQKqapu6qmg2lkmNXTA1QI7+LG90aJN9r7+OX5Ukh7cJFbu7+KZ55HVxFxBIkXBPUWCnazquTL7K6sB859HcNyxlgNzccYzrbpCNdw245eXb5LPMUiGZMyVUReR4n9IZki++RmfyyDrdUdw7V841ehTHX+LVOWVjgbD7JsX2v8ERUEoxIf2MRcWOWqbxKacjZkFFKNK9l5rHvpBHtHWFMp8Q6mkWzVNqcNO+ZF0sps/soVrqga1JanvNlD7aflaDV3DHD8+hKIPXyHb+o30mqtMjKiUr1DcvDdWHo14wUjYlFLOtc+95fBH35Avq9d+j4oBy82cE87fsEFlOnxgvAE+bgTvWs0uGBzTX3rF+D92l89TJeJs8WjqPiJYjOxAZFyNoQ+9tytkzIsXTgzmqeIrjtCgPnlgXVZPcwJ2QS20Z9IicNun0gKD1PJx9DIwoO9+gmt7Gkx7SKMp9GxLIC25bTH/BDri6LHvOxFzzQff6OXm0OiXUA246tfiiEmOySggQIYBR6R5pUYPXCynG03Ntk+JVAhi1FwncAVmybV0+++zLw+6vEZx+SCJCfVcWiAt4XkmRHOOrz9vs2YEEOhTaLqYZTv8i2XCPsHODMvuK6mSfuHeRRBYGwcXUMVSU2rtowKdAGS95c5EWU+A7z2CC2p7pIqIeul1Qfd+o0a7SOPoMzr4yKrrI7nKkkhxTTgWbDKC7ch6B09Ct/U282LcXqaONgXrtSkqcfE0pbeTyc7jJEanXIRBkTPR2PZ/m1sk3f0ncXCIPOmTdFUJtu6SYm/smTr5jlzlNzf2GuAc1QXaC23sRNz8hO/ucsve6vZDV66+LiljU8OOPqFuLONJISfE49yKO+tkimM/2TW84yyMaYhekIwP+lbOhRfx0iS13foKz+jvgFueALU2SuzfJkkfn/I6F3zpP6ATaUtcG3VSnTokY6bnMGT73DsH0iUEkS22OFXE1FViJ58VUw3sGjvJ7l3A07FT/3zzNp3jxhrEMgvFn59aL3COQgrN5EU9e+52fkoXNcw3h/ic4g9dMkaUhq21kPA+nvUCl53T6lECQxtZV0tEuUZBZ+sf6szLFyLIRSqu6RPrVv8DtLuP0v2kQUNfPqf2L+IkIx4VBx4ymK7Wi69mm228IuiQGwJFN2alCPAGrat/I9tLOzqTwmn+Jul6gfPJ/El7+PQM8lQcf2kEN3yMbPaa18jYzQY6UQLr2j+1Cqi1coo3EiSK6MZ5qAZmc0dp2fUrlr+CJhK5Dkb5v/dcJhrcppBz0AlP4NQevwfCeJb70OXPGe1QaDlutLMHtblDqUnD8kGD5O1AeG5naHd6jPNsmXrtFIYJ4XhB4uoBMKauAqDfHVHW36R61qMuBKNBnFs3VFts9+Ld4zXepB9eZPf5/CRobFMwT51/B0jdwBAsUoyA9psz2qMRHmL+MlwwtNaFDudI++UxpvRdwxpuUB18b16DqruMrjZAcWGLMzTOq6QHe3DKu0yXN9mi0XiAbfmj1EK//CunRr0zRSN2h1KBFqcT+TYvmSxFa2NBdcLQG2bNf2jbJEh7aIG79kDpuW+qCyT5VGRjk29UOV8PQfIx/dJvS6xF0ujjZlCQP8QUP0JBANaSOoHljA7lVetbkE6psaiTwsBmR5KoUjexg7jp9ktlX9t8VxG2mB7uE7dBMG/7gZdpxj4l4Pf4CUfMiJ5uf05+bcbx/RrPKaNz4LZoXL1h02avvG6gYWVQEaD0OSRKPyfSY7Ye/YDJtcf/pmN3jXeZinwef7vLVqOLjOxO9IvAL17gTcaRnvm9so45YnUOJRjzWewFXl3y+2h9zYa7F2vwi33hvlclwj4XlC7z7269Su33mbr6G0x7opSHFBPXwATReYnrvL2B8YkAzJmPOsgnNWpXRgEBptSqknh3bO0595ELfZw1cqgbT7BlxY42qMW/PIum1WmHK6ebntJZeMXPR6OgRcaOB17xhxHFv4w3c0R7p9kcEq+/heSKme+TVkCrXwK1NVezYEkqWIvusqJJTnpi22GsNQJym1jpe80Wq2c+skleXNa7OIQvvUR9+YdW8Iha35ZR6/Ah/8IoB2jzFBoKAXD3w3U9pr7xM0e5RPP30XIUoboRSW9Jhig+QSxH5MV5H6bEB5ekOjcEVsvSUXIaDXMPsFGeUwvJ187pPzg5oRhPq4QnJ9Iig/Ry1f4qHtpYB1ZEUdNpuVmTqgicnBEqx+j7p6BBPZgidgcdfkfRewjvdtSVIuPGW8ZYUX65pUCl6rhjxyWfMZlPCG3/HPivu9oeks1MagY/Xe55EFPbOqv2OxM4SgFaATy2Kss4cDS+wSLdLC7d/jeLkQ0LVyrw+s2f/gbD3Mtmva5Reo0GSVoTxPMlsD394G6f3tj2TG53L5KNP8AX3DVeJ20tU+z9mlrs01t80GLCXHlE76v1jGlcN27KdD2ioLiSFsO4g4jbojKdKRbSEFzeoNn9CpYWkNu9uj9zt4M8eUdcebksE+oGBEMvR15YCi6Rg662bVtXYRurDZRlhY4nMjQh9nfekNtW5xMVprOJKA60Eje8S+qvkZGTTQ3vG+ksv2jtNUfPAXyHryAZxDGeblOGiMSwM/jlSl/46+XATvxmdV2qFgxQsWwN+sb70z7UbFFPfqrF5a3DOyyhPSdMjAilhD7+kHLyIq8/i018RdxuUgxcop6lVS4PeRRzZuJweiRY507tES++QFSFpsksUdSh3f4Z/6e9avQpXg51zHpOi+W77KpWGqbWeoW3q4oB08wOc/mWaveeZCnwuNaeYMzpTyTSXHZNUDZoNHRVOCNwxJKekbhf/4rdB6s7lm8we/4hicsjg1f+O7PC2pb/DK+9Rnj4lXHsHtn9hCQnyI4NTE+YWzVfSomys4muho6SfPmtj1VAyUimbpQfM52ms3iCXVWjpui0hmJXkYu/IJGDmmrvwSFC9/5I038fNfdJnn+H5Z4SL79m5zg0dq91k4s8p9ffrEikAACAASURBVBEvQatD9fDfWaK7cObN0hFGAUk6o9maoxg+M87LZDzGdT2C8ddU/WVCKTJF9FfNOFqwuoAWzZ4qd8WR2T8yLzZ9uFIfqpbq++xVgsj27WftdXTObZlS3Rn//J/W0/07+Itv2VRKbmJpMjTZn+3doa6mBmHKvYpWqA7syF6+vh7CbmG6lGJaUuTHRALAdZZxhlskswmt5UtUoxPy49t4Im7q0C2tmYAScu7qy6DDzOguae9F/KOH+KIUB+JTFOSJSxHpgl6BoCcHXxGEIUncwSnHuE6DqILp5DH0ruMmgl/cNfhGfbaFF69TaBI2/ppaEWzxCHSAdHtkpyKnDnGctsW7g/gi5XRMnh/Q7M9Tlh2zIVRygJsi0TMSeZ2qE9SnLE5wq54NKTTlr+feMMWIoDGaXgULL1Idf0zQfYlytmVx3FTdxGCJQnGedBe/I51fl1L9oiKmVJRQHAV9uNw5XPWKx0dGWxXVUtouVQNq/T00ZW2um7LKW3zbBjLEMVG0ahoPKcvS3hvU239CPP8GriaOfR2O9422HYjw3uySnO4QtpbwnJyq6lKHKWFySum3DD6mDoyiIoXrEPdfNtCjSOGVDp6zPdK9X+A11olay6bvcT1t6DWJLikOzgE6Rf86zlRRrhR/6Xmy3Q8I3YokXKfZXCTZ+zGedFAX/pb1+KQ9FPFYHTZtkk6f/JBBNyC88V+Q/HpyLQ6DHS6mm1ZRKQU6evTvCUUjXnkZ59lHFL1V65sH0rWMTiiWLuKfHVMJOpeNTaWhbbsGVaz9AY5i7ZNt3M4r54OAX8ehBJOx6Xo9JKtj62eVZ58Qzb2HBr3VVFWJAM8R4DKg7F0mO92kocubCKKjL6mu/C7+0YfWK87V+ylGBhELa3nfT2w76Takn3tsMDg/mVJf/C0cyWpLKb409hUosk8pxZmAg5OMyk1xZ09p9J5jONqmPLpHY+UdaK/hHfycYu4KbiVnetPo5nl2Qtx53vqInhdYb6+WSz1zCEUpFa8g7pAkJ8TtDaa6sPSvwegAPY1TxWsPfkDsLlD0l3AmX1HEz+Ea8f/Ifo/4Odn0nM4upWZ98gnV4HVz3PvHoqDfIs1PCMbPbGOmfr4u6sXRIwMQNeVdP/3I1GHa1muo4IZXyLQNWlgxSmqt9L7gfUpxFAcw26RQXNUN8KeH1IKIpmOrVMihqgupqjth6wXrvQtwowy6OpKEPXxVCQQHJMWX7me6Re3FdmkLy0qVNdyJLpEtfKkRBYIqROkeUBUnpuRTL1OdaT2IdRB2hvsk6Ve4rTdpzC+Zs1ibevf4c5yVK+bMls4uT54RNVdIHF1hHKrTBxBrA94nFf1foEl1LI9+SlGVhCJiT8eUB3dwF58jnH/HAGD5wYcWc3b7rxsYzgvaFPKMz79OoRedI82kLBkdsxwoGRLKY15MLEbt0/v15Ty1DYlo36ZcU8LLcc3pq3y/bwaDZ1TlHqFSK/kJtF7EPfjYXpzOlX9IPdujngpetUBlcNllPNVq6tAOtBruqULhnH1OMa3wV9+hmjw610F6DVKBOdsX8Fo90w3Vp78iXnyLTMMyHUodzy7c0gsG6hAq+ppPSdvLdiHXZD7X4SpcN5ifvuuiqRcaaE0PDfwo3krVWTZSejl6QN3cwHNL8rH4BXOmnYvUYd7T9zbGCxcpZoegupO6jJND29Sr0xv13yAX2XrpG6R7HxON7pIvvYWXlJRduY1lvUnI96SYe5VAerLsyJ6vYhI4C5eQICcb3SdoXcdvr5J5c/bucibPqPvPmcpKG5hKBPJY3civTT1U91dw4gsGb9LQy139FtXex7Y98ze+RTXZIT/6DMdxieekpi3On2E66DcuMNGgUkmdxpIN5GLVNsKOHRxcN2aWPCO2Q5nYNNowKDlW4+pdljyww5avlM/CN/F2/5x6fIei+zbhwjrFztfn3d3Vtwic0LZZWeBb7zXToSSbQGeZerSFO900n3G48IL1vMXb8MVfEATSiUkFMtVisbNkUVJPtbt0aoMtRzYYASjFHmvooHmFOtm2hIWAYkHVZ3ry13he18w3VgEUxVpWDFHmNazMp7jNRRv+Zzvv01z7DpVo99rqCHilpIoSaIk2u+rY62Zc2GW27qxQTo9xioQgWLD6nSendnuZMoyoDj81L3TVu8Ls+BMarQ27tM5mp3YobXhzJMeq9MU03AbTnbuE6xvgXyBXBSWvaC2uEC76533wxdesApfPNuFgj8cPvuCjn3xM6s7z0c/f5xdfjpiNa07zgPEwo9d1iEOXJ4c1vu/S7xbMt9WdnzK3MOB4eCwmGMvdrggf7B2kvHCpRa+rtFhFUpd89mjIoN9kOJ6yuSX1XMnhEBajkNM04/rVgNFJZd+hqIj45msRc4MeL7/Y5+/+Z/81nZuvKW5BPt3HPdmBwyeMqx7V0UOyao7+9VukSUZ9uk2RHeG3L9tgJddgDi1Jcqo0per3CFWJ2rlNcvwB0fP/4LxCMH2E762T6iJeHBAuv26X+vTJTykHr9FqLuD6U0u+1LVPdvrwXI879ypBNKA6/jlnoynt7gWCpkcxeNsMJeN7f2SLk3D1+yAdpD6zddMO9jov+gLpNZYJxQLZ/5DpdAtfN5dy2QY9iuoWVUItIvvsBEZPrU5aR028qE91/DWuK6DbVTN4GGywtchMBo7OKnFTOj2BdD1yQdakPu29QjbbIeosUx7dIR3OiJav2VbQmx4YGNE4TwvXTTuYPvqJASzRUErmknxk8F6ZmbKF1whTAVQ/NaJ8GK9QDy6Y3g1vjOMvU5/tEDQDqubz5zajfEwYtsjcGF8LMKegmBS4oeoFqqKdESpK7c9Z9UtKWFNklhnp6S5ef8XSF6XeT4PnLVXHmWxO32J28Escb0i08j0jmUuTmukZ/vT/w1/9A4p8F08Wqs6qdfqVsBDnQRv8qHuDUhDQZEbRWjEItt+7SpkODYCbjQ/wJruEsSqOPrPZjFZTHbYWuc4V6VeUs5qgv0zhdYwp4mmLK3X3smDh6mTvW2qrrOaMRK+IuMCh+m+vlFjScFuXuvyhMcDc6SGzwidWjc3OJn1cJY8nqrQOqF2P9OSxZm74g3dInRl+nlOdfEEcyQB0F9/boNx4Ce/oEbnn4BlYNzOAs9VBr/yO7NU4pUs92sbr98lnOcXRl8SDdQqdb9KpsbXKyR1jDwXrv2V2jHLnM+q5C1SnjwjnblG5mdULxFypZ4L1RvhNn8xpmeI6aune4lNu/ZLg4jdg+1Pqbgu38yJ5tkudC74tNsIpgTgvZyPjvkSdFQqljfQXjQZ40sQfboHOOFoA6bsQX7C6cLb/viV6tciTwcXAePEFsvQ+DfnsH//CAHnNjW8xmt7BPz3Aa71MrvpFfUbiq3p4inPwAfXiq4TL7xJMt8nr4nywPp2QBHvE679DPRlTjZ/Z+U8AzzI/I8q2zdQT5sfMxKRoyMY4wwmkuUwNEOnpOeP2QRWLWmu1GKe/gh+tWJVH53tkVosX8Ee756m7+ecsEaMzrLb2Xn5mQMa6J5jjXUpxA052SbJtfA2P5mRqukAx3DQIoVIFSXJEMB1RLVy1NHnlNSnONs04oLOiEruqN5ShhClLeKTkR4eU43u4g+u0okXyRkShpPzwx/9TXcvZGm5Q79+jaISmz3Fb6xT7P7ToTHzxHYonH+A1YjK/g4uAOk3SszF+VFKFIkJWFCd38Dd+2zpRDjO8zlUSURUbGWl8xfpUXhEyPfnY+shOa5FaP1BBSNyMYPWWxcrS8WPK2SHNy9839WBSzvBnRxRRF0+bvcEliu07BO2IcvCeKThyab00DZMqZzqkjOeIpfs42qRqOThVB0/UVS80N2QUejiigKYjcm1iBhdIhyO7SMjNHoTrBmrwFXALFy32URTyvk/wFt8l2/kpVXpEtPCqaQZz5gnqTWrFnMaPcVqXDCqlzVOweMl85tKA5c6QKGiTlRWuLnKyJ4zuWiwTOUAP7llnXgeH9PRDIkX7vWtkZ3cpihPa0szVHYvD6vCejk+JBHGb7lM15kDxJoEgpjvUUg2681TVGeUsJYwET2vB7DFOZ8VgFY4fU8hDerprEAl3Uc7sTfv3dvs37Oepv1eRnWsNa0UTG0vmiY+6A4r9O5ThAG9ebs8D/DQzc0QkevquaNGObXKrXEobxUen55sG6dlmj6mcJdzpHbzBLYtiClokYIu65bW2p8mY5vJFZnpxZqmB2LR1rYKIfO8OsV6qghmWR3gHu+fKp8FLdtlqNdXpeWqAqyIXPT2wQ2598JmlA5zBFZK9D2n0LlvfNnN0ePGt+1eKi+Es4lRndvkx4I0e/upOJ4nFHvVSCmf71IrZxIqvn+KELapoCVedNT3oBRXUoUUDB0f1mFv46dBUk56/aF11QRtdbQoFHpqcGuhRhoLa6+F0e/ipf/4ZFWAluIbjpOg+mwYlYeZQBSJzb+G3+2SVICvHxuQgWLaebakth0qh8unKl65o+2zL2AWKUIskG5MxPnlCcfQpgTgJIgSLbKxokvgDa28Z5NFvdakPPzbtp3/z7+MdfmpkV5HDRTiX0kNqH2nEag1wFAWc7BM2C7LiCu5IFo8GhduiDvo4UvmlKeHaK6ADdHPOLlCm1KJFGIfMypSGIxtkSkkbV4o0T67yRXz1HKczqnSG01uGs23qekrcO9eD6jvrtZZxprcNeOj0LpI31qmyUxQCFA3eU7xQ9SZ1t7OhEan9UF5ZVXWmVElpKjRt/t3je+Tt53G6c/iTbbKzHZy196yP6mRPDJbkZAWVhMduRZ3s4qXjc1/63MtUZ1+SHW/i9K/QjhvMlHRQpUrT+7XfpMr38HWYFUxQ//zskflc/f5VSy7kqSBvGaEOxoFnw8myKCk712nmexR7H1G2ruH6qnhIT/QxmbNMa3mDbDjEiyuymaOPtNWGdOnK6qZyQnixe35AErxTfeLt9wkXXyNoXTsH2xx/SdVqQnzRaLRIozaTn71F0FHX1DGYWbV40Vz2QbRh0Trn6Dbexrep9j43t7MuuIUm3q4GWNJuPSZYfN2GtAKUOUlNOf0CN1gBvUyrA8JmD3TRF6hLQ+ZZYtWaQlCfs8+pVE/JjwzslvtKuUZkSUIoneDhRzTCDungNfyjB+QtVXvUoe6ZhigUETg7gtY10pOfE7e0gZEarWmdPEWEC31OujdgukMQyf0tn/scTLYh6OLE6zjpFrPZFo1kRr7xt/GlsvMrZkefE6rSsf4blGVAON4i6y/giV+SHVMdfEYSdmgEPcowpBgKxHpu/6gGlyh3HuDmR1S6kKgWcPbI6P3VyR1L0ekwqkNVreFxvExduEaHV+xdwDo38/Hay2Y0Id0ial1mmsjjvmUA2Wq0a+8nr3eVun+JUvDFVLaVvnVtlQqIb/4h1fAxxWgbXwBRdeMFW60rq8mVOsSJeZIdE5YtigV5sjVQPaKx/h7TzT+1C33UuwKqPGlQJTvO/oc0e1dIqqYN06PmAkme4jav4Va7tpnWuSLSgkIbJdHz1/4TiqOHOM3aQGv16T28IqNqXoPywHr/ct1Xu78k3vgumbbOyRZ+5ypFNbPaHFVOWgQEGmxJgyeytHdeb9Nwdbr1M5z+LcJqRq6fd2eDYpYQqvN9dhd38bu49SHV+FwV1YgWzJ6RyafevoajKLgXE7gJtUwhp1+RbP0FnZf/G/uc56dPqF2XoD1HlcvacEDUW7TodZE2zFqh7q73xjdpaShRzay/znjK/V/8CbcfOvzV++/zf/3bLRINswLZvyvr3m+PPS53Pd5+p8eceBqJT0rAxvoKReLYNk28nPub23RaHsura+ztDpmbb9NtBmzvTdk/mhkFO4xrkv0jbr1yg7tfPeHG5ctk6RnD5JyVUSk96XWZ78H2vsvB9ohLN2PufaGhdmlLnN0DaEcuV9dc/vBvf4eXv/cm3/rOLYLBBdDlIC05ffChMZWi5nVOH/+YwfI8lTsgrWc0mx3C0QFHD/+K5tXvUMVLxvVox11LK9VpTLD2FvneD/FoG9RYVo1CiSRpWXXRrxxTuZbpDlk5punOM3VFKhcY9IhSPIY6sYFr2LlJOXlM3F8mDy7hnXxEqfNHfAmvFZNqYVIobfYMqiWCaosqkFt9SOVkuM6AOvZ/DTi9RKN4wrQeQD7D1wda5PDZsYHrQn9C2XiRcLZrcGhFsuvQp9bSQWBfXTwvvAujrww0WTUuEbY3yKfbsPtT6vXfJhg/oQjEAuhANrQ4fh1fxGtoCCBS+gpeMCCZbeP5Awg7VBPFwVW908X2DeqzI8pSasO1c/7VcA90KRw/w5u7ZalKrx7bYkosj+rorsXCI79tpg1HYNFkQqjviefaEMcJXByxZFR5lTlI5+fpqdVK46YAvAVFGFH4Gen2fVp+iaP6kFIzUsA2Lto5LAj13+VQzR5pW2KcFVWJ5a/XO1lJs3R4l7IMqXprRNmpsYH099TfKTv7iHBNdwmlj6YUelcPLplet1bqbyL7UUAVKdFc29bfIJ6TfcpQOkPH3jFZ2LXNq6DCpQbUsimI1t/rmeWE0yNyvecZG92/OvoSd3CDqqysuuVoGytbiurKXssgfLX+HA1U5jfwAo9ydkq+85lxbPz1N2xQ5cyeEnodJo0+ni61itUzZ+DcQkNe6cezI6LGOoVSnlIo6hmlwXlPm+qEuNEmefYzHAHaiawyK/hnQzD0cJFseo/w4GvS9e8Sza2TPfg3eDqjrv6G1XiLcoBfSksr484ijL8W2tI+V/XhjyibN2yRaMDbdIu6+7Kd38UsEtdBXITS7+P3XqI4+dIGZIIAlyMtPC/CYB2OHlJpYFpPCKUQ7CkVBJ7uV0rHLrxJfvghpbS4nQ7h4BLJs9uEYr+lE+U+aSyu4qQJjhtSnh5YmqsaPTW4ayiFefd18snnZp8Q1DDS8FwK7uZNnPFXpPmQ5uI3QNwWVSSmm3juGkWoc8Aj06/6YyWqU/v3u0uX7aKej2WPWiArT/EG13AmSrd1IFdtcaDWDX60RKF3q/gPUv21pVHdhMENktv/N0HveaLnvkf+83+Ge/Ef2GDfE9PLz0iKNtF0k7xzCbeSueEuNS2rGPnBlHy0byBO8ckqqcW1wFVlb7hN3F9jdnQb4nUCx2Hy6K9pvfiHlMdf4Yx+9j/Xfm+ByckZjiZDUZvSWyFoKG54Gze8TD7ZJ5i7YVG2YnaGG0b2QYrImMqt27hsOquzoyc0dVE6+hSn26WUmqTTh2lBpqlvQ6CEAfXuEzx/QtW6ips+pI43qI7vU8+9Q/rsfYtIuu7ENkfZ/R/grb5O4M6Tnv2SYOWt8x6F+ueF4nXH1LVDdnif8OLfxIuakD7GoUuR7hjwb9a7RFPaucOPKcaP8eVVzXOjQVp0XV8SKS6m23ZJF8QquPgSniBVIpx7LdziELfVoTzZxymOz6PnjSWC5deYnQpQo1htaH2fevgF2dkzwuVVqunUutOKhqmj4q/eovJWyGdf03K79vOTjikWFEvdnNFd4wEkI9F0WxTTlHheU6c1ssmWUWhLRZS9iMDTPis2ynHy4E9oX/gdi2UmZ3dx5t7Gn53iDC7jJ08onWUKZ0Sg4YornY22tiJUTknqCL8uyTklTH2yIqHdlvPVJ997jNvpG+BCFQN9Bhy9LFqaUq/jqoZQHJIPj2zo43AeFVKsTWAMTcpKAcTCtunktGHK59fxky5uU9DFEk99rvTMBgszUY2rGZXfw8128QbrTIcFYXeVID+gFOjEb+JKzcYYN6utVqIYnzrdtTOjPvkCN17Ga5x3gk3pFTepDz6lOf+80YBJUnN3i7rsxKtkyWO8qmUQR/dYB+mQMl4xMEhy8BjPS4n0QKqFEhjhNKTf0BTWsyGSCiaJpvfO1OBTUldWddci//XpI4rjT6kWtAXrEUcZE9NQ3bDah5+X1HMXTU2kD5/iXb4iZbORrncEvWtkGq5EgvalJJMhfrqF6y3i6LCTHpxvFZZuwtmJTSP10nW6V3CcDCfZodDhIXUJuxcoih2jnLrq7Staq6Nj1KRRnBoFeOZGxP1L59+J/Al4cxYl85U2Wf42idSCT/6IXFDI7ks4ttH+pm3xKm321QNz+xZLrfZ/gbP8PeqzxzTjFrkSDJPEoo+qQkw1jBsdmGe2zNWbFiVeB402obriAl6qXnD8CTTE/MgspaGHmW2EsglOb5E6yYnrExKR8OWDDiq7mArCJ1BPVTUtdeM25qiNkTAjL0rC9iKF7BvTpwYUVXRPh5Kgfcl6iIqZC/5WJRmuVDyiEnu+JaPUbXUFreys2wVzNnpIVC+Q55vUgnhq6l5HVOM9G97FAnOdPrXuYOl1Ccvh+Z/dXz7XO7naNrbOgV7lxDabSl9VZzsGRFLk2Yt75m5XP9LpzFEcbdplojH/vLmi5VTXxVQgJintlIyq9+7ilId2uPTcefxmaMMU7+ShQW2qQH1cATkaFmFWDDI5uI8/UbroVWhfwZs+Zpbqd7uAV+ubnRo8lNYKuQBo+S5V9wVTPboZuJ5P3tB2TzCgmLK9hHO8ZT3Zui+Pbxfv6JdmVJFOo3ZOcFx1HksKP7KeLKIL63OfRQZd87w5suwM19eAc2yXXr+9Ysog4gHe4QNqQUqdhvmYQ9WHFJGTSrK3YZ1vEezVGMpGh8TdviW8lKyqox5uo4EzFKhQ6qkdi2+3V14iUfJBdGoZD5JD3LU3qA6lZCvw22tUuXamY+N95HLX65k+ukPZWLJElKwYDacPjRa1hpCTPdK8NiWTeBd+6ypxe55870tmo09o9m9RNS7gSjkbr5M7kb2by96bRHV5zkXQ917KrckegenBRrjtJr7bJB0qFSVKsw+9OUKpkOohnswbmYbYI7zs5DxJFC3/Or2zixuvGSW9Ulqi+TxVo8adaHis2sGKkcHFbgmUrkhPDQClHm/UCCl8bcP2COaukLk1YRVQnn1K7vWB+HygMf2aWZ5C84r1YZ2jz81jLRq0DsbaijlORDX6ivRsn1DwpcFVGD0giXrEK+9RHT+imn5F0Lpof3/97oybIz2saiiCtobzNJrzTFVxCUXTvmJKN3emqLsH1Q5e0DVXualSg0tW6XOD/FzvqAqk+enHVJ5DEF42/oDqf2JQiDgvXVoVyYx0riUl2iDIBNFzac9doCgdslPZAh4SDW5Sa1hUDSnzEG/0CPQ9zvRg0zmkQeYVdKTpHHQJFl6HbkT16FccPfmUTz474Y//+C/51V31UKeMzhxGSmBU8E/+0U2VtviX/+YR/+gfv8Wjh5sCUDOrEsaaZQYlzW4D3w/sEr65n/Nk+4xXr2q42uQ0SxifFrZNU493eJRwdS1mcW3AH//pI/7WayucnA1ZWh/wdLekVaYcF1Our/SJ3YwzY2o47Dyt8OOal19cxitD0jzh5HAHN5ynOUg52XG59+Ue16/2+LPPzwSw5/tvrvG7f/gGf+P3/3O66ytwtEs9vs/x5z+jjtZpr73B+OhjquZNAlV63AGh6hDNNcaT+7rGUMWr1tN1fDGpinNezGxEPnxCY1H+64skwy2CcGDe+HT4CDcdU3oebu8aYb7HLHFwRDnX9/Xgr/GWvm1gx4l4Hkp3XHmBsO7b5aMYHYESZPq8CZy7cN1c6GVW2lZPgNqyauKL2TBYxXUipnsfG1sptgtvSOn4uII6K+Y/U1/9b8DRD5mNjhhc/r4lGIxnISjpyV0yr4UXrdtlRNXHcPlNW7IFitf3L1KOnkA0Z4d+U6hJS1v5BreTZSrPMyK3Q1GJFt6jqD2y2SZx4ZGJ0/LkL6mWLhPMvXw+AJ9t46ch+cK6DXoF15uqx6yUkDS8mmEEPtOzp0TL36I8/dxo/EqkkKeE3ecpmNpgXR33WvpbXVqk3OytkeYYH0qR98BZVm8X/Cae08VprZELHO06FI1l6oNPjPGVOT385UsUW3doxDFFQ8/9A5y8siSZLu7Zkx/htOaNRcPxNnV5jL/+JpNnd2j4TUvJydSld1Z19gnJOKG7/DzZqQBsNa3ua2RMSLd/RujF1PNX8LNd0krDihF+q2P1ZQ0uNegs65GB/JROEo+qOPkcGqo3Lts53Kxe6sZHkQ18am3Exeea3bNKkNKE3vFDqsPHNF79J6RK6UqzOLh1DpWL26YnjYIlxs/ep63t/eIq1ekh/mDDPqPp0X2ClW9QHN0xIGm7d4HU8YyTJnyMn52cg2/nruJoiF+eEjYuWX1UkEMleqVS9cY1TldL3VP8/jWq8T1b4NZjVYk944jUZaXG8Tnt3o2tn18WDtXu+zi9N4gabdJoYIT87OwDGs3rJIeC/l2nqip8mQekTI1CisnE4MBKU1bS7QZN8uEB+hq6bVWtddc8oDH/JpkU7xo8aBBxdICzcMHePZ5qtlOlSWTbWCAYfUKRTUhPZAwqCVZ+yxg2zvCI2ckdiniZQPfN6DpBs0EhCGaZkN7/Y5rX/yFuHJEcfEEsHfvhT2jPv8JsNKVqtPHLEXWRErQvMsnPiGnYebAotwia71FqAFAdkKm6rHR7ekDRWqYeT6jC0iqXofTqWsCVY3LBevvP4RzcpnSXqIf3CVuxpVakVVTuPWw3mWzfsdRGsHSBIk2IXdVpN/Ca82SlkskJ9ekzY4k5HQ2dPsZ3SpzOBpPxMe3uAskwJ44FFAzID57SarVI9T7S3ejkR/99Lc2cen6V6O91w/ojbuWTT7YJBiuE/gLp0QPr+tetS3jq3Ku3mB6SuZeoQ/VDG5RnJ0Z0r7Wt1ARMFFQdbscHtrGtjx/SWn2HmSKnu7+gnE0Jlq7hypvuefaAFgzCl3qnpwtrB7c1j+fUZKdf2gFQPfazh7+iPejhtW8aVTQLFm1goci93N1lBGz9nDqYJ7zyffLdD8+hV+11gsaAQmDCXPAGafrW8BSR1GapCggvvkVy8Iz04C/pPPdf4RRnlMd3cfUFyqd2gC0qQmMlCQAAIABJREFU3xQKQTUhk/bh0b8knHuTsDPHZHhEc3CLtE7wDvVAaNnByQ6Y6ji7nvnK9StuVDVFLv/5j6H7HrE7te5x1Xsdl9SmX0GzzWz7Q3vo1JrQqoOzetPMC56o4Nrg6mBbB5Tjx9ZT0fb49OghcyvvMBk+MKCaKJSz3Y8IOs/hViemTawHl/AaN/COPiJTfUP9HaUtGleN9u9PT8nmLhgZ0wt9srw21ZEjD+jBF/gN+TR9Il3s9BDU1jtoUSn1MH1KtfG7dqkZbr1PWMW0rnyXajQkr8eU5sTcsMl5FCn+0yY9/Jhg8UXqrdug378MBYpNi0y/9BrZ4ZcEg4uUoupnp7jRNRwvIXMbRM0B2fjQ9FXZSDH2BmHrOetkzRSXLob4Q3EmLlN2b+BO7lH5Swb6y2fH57aAsEmlnn+aUXU3yI8e2XYqFVFaarvxGcH62zadl/M982uC9IxEYBCnbS9bR+V4R9PHJ/gLV8gnZ0StBQrRU7NTQvVIixF+dQrBBVypyVINu9QrXKIQbFPqosZV/Ibc0XoZBlRzq9S5ov896vTpeR+t3aN69lN8TRIX1He8Ty5cjhRkswMq8RlSB7fpmpfWVQ9VH6rec3ixSO6e1Vw8GSGkTZEHuz+gyBUdu2tR/Hz+GtnwGd5giVrQEKM0Kza9Qx2IDp/aYcjTNllcBsEHe1fsQVemu6YOKzbfJ0lmdC98E0c/m/SE8YO/oPni7+NlM/s5+nVofxcnXDRIobbfbjAAp4k3fkhpLyuXcHCdUtEq9aiyA8pCh/DMTAVuGZMdfmgXM72QqJ7iaAstZYo2QZqsyzGtDWCYk5UdHK/C8+dh9uS819l4jsnRB8TNCwZCTMRWUKfPW8L3ZqTaaIz0M3NJo5DIDWxok9Y1cf8y2aM/pfBrGtqaJ2PchRt4pQY5bXPzcvo1XPxNQvoG9VRU06m65NoKjvT5vnkOMRpctdpDfvJzvOZlqtgjON0i79wkY0iki4scs2GbIhvan22mjlj1FHmTb1JxQnbylChcIFi6ytnuR7D/BcGFbxG7Oak2/50LFmVT5aFym1Ty4voupXR0AuElB/ZCFz8iGrxI0bxy7pCeDamku9LWMRXh3SEbPsJTLHrwKghGJd5DPiJQpDTXsyW1LrPUbFqCTYuSSDWmuiSZHRMIMtW/iKPnYvbMfp+hDqudgamU/LIDOlgpnlf5ePMv4GZD+7xGrZuUxVM8HfQEFjp+TNC/COp26md1/Ihw+RVSbTEyFTpiGxY7eh4X2ipt2XezdObxJucAMym1anXldNjLFCW9YhduR4C8+WtMDj6l1VijkHry9L6lq7yoZRveKh9SiB0gnoHMUqVDOP6UUlwHkeubS7hORZ48JfAEmk1wtC0pHQNcFdk2Xj7GXZRed4YXNgwA6skzHq1KSmh1uuL0Sxve+fPvUk6/xvf6Fg0O/MiGSnWrQ13GOM5U+xrbEGXPPrIto6dagbg0K6+Q6bPj7VofsVlOmB7csSF7NP8aqej6uuB7sfWKJ1//FWFnGW+wQdC6Qbr55wQ9/Z1827A5i98mf/Sv7X+r7U6tIWN7DTdLqVTvUhKtf4lksomX19D0qQ/uEa+8y2x41/S12uY7+SOyyZD6+DHOsgB2BYW6potvmsHHDScUB9o09qw/bxH8plR2Gh4peqlNi5wsoSR4NlxyNThIDilV70lOzP5TeD5ercobBJ1LVmdU699z9N8j7aCYP4cU7hJ4Gf7hL8hbNwj715iND2gUE0p3RtQVEb2BKx92MmGa7FAVGe31bzHc/xLXcwkL/X4OCRoFe1/8mPm3/w791Ys4S9ctMaT+6Cc/+QW3P9nmf/0//ozpzGcnya0e8u4bfdoR7JwlPDcI+OZr1zk6HPEXP3rE5ZtzNGOfLx4lvH7Vt+TJZw8z+h2XGxcGfPzFsRAuzAUh+8mMoQ78UnuWU1YaEd1OizJwuX3vkJevaRCu5UNCp8hpDdr0Oy1uPz4lGY0ZzjxevdHh5vU2nz06Y3m+b/DJu18c89KtZf7i50+4dWOZpzvHZKnPKzfmiVxVLBxGWcmTnTNGlcPjrSlh5eJlLr/1Gw3+3u99j//0v/0n0HLhNGG2+QWTzU3cZslg7jqpP+Bk7wGtxWUa7hJjvQe0IZb9p72EW4yYTYZ0Oh7TOiDY3cVZ+5bFulN1wZ0ZgX4/OkN+9Wcw1qW0JFp/gWjte8TDh+ze+d+JFt4l7qzitDLG++onN4kWL+EI8qeEp+NZciAbnZGUCf3uy6aEzoqnNOf7BlOsSYjnnmO8e4fu/Bq5hkizLZzRF0QL36YsRRQXyT2kODqkChP8oGMsAnGOynxmW8x4/mUDT5bP/so2f86CNJweODOr+Khi54fSig4pNZDW4kDmF1UOhrdpREtkvbdwlVZQ1ajRJi89/F6fShYFbchne6ICGfPAkXtem/h0ywjlAiX7rSa1EqJysucVTq2qzJqR3JX6c8KQ7PHPCefncDu3qPR81cB0bgP3eIuqI610H0cwy+oEr32RMn1mqYFK3eaDJ7gXNHQJ4eRLov4aqbNgBrIgblHMv2bpCvfwfSp/kSBeJRecU9F4vRuTZ9T6/ztXCJJdeVyp9R7MxpZsypMZQbtlyUbxA2pLyB4SbHyD6f1/Tawt//xbFKf35HsgXn6ZRIBPwSOrkKDhUE50shIzSWeHEGfhBXLxEspD3ElC2ojpdBfJx6fkXkCoze3Kd2H0iDLq4CsFsPMD6L2C11ujEHjP79tgSIYL6ZzFH0oe/MA2x+3Vlxnt3rUqbyyVuS7/Z5sUixeIihaZzr+FLtDPGX8sPdkzllLd7OJEAvvGBsCr7HdZEGUH5EGf5PRL4kt/QClVssxvZY9i9AV+3Cc5OsSfG+AEbYPlpYVAfbt4Sms6iZ0fa6dBHcXU461zNbMSB7NDioNNA7lHa29SakEjmKSqVZVDEYoPtUvQeIt8+Mk5qX7pDfs8ClYaDLfg6tu2HKsFVNWQ380pnC6cPrE6ibdwk0BJD0E6VUMuBEye4TSvkO7fIVQ6xR9QdxZt6OIpaeG5FMdf2XJSdhB/43Xbiidn+zQ68yTHn9JsvUAx3T63TvXWcEenBL4mVLKHlIy/fp/m0ssEnQukx/fxnZbViyolyIMlCWYtRVZULeJWk0SDq60f4k1GuKvvkaVP6LSes6Va+uQ/0Lj6B/j5GXk+tCSL37mEnz6iErtsuGmLPC1FapmlgmPj2WX33ydal662y+zwQ7UpSJvPEbuqYcUkR1/QqCPKuIk3HVn1Mpu7RqwEcGeD6e5tXA5xQmkMDwk6i6TiR+i7fPzj/7H2my3rWBXZiJAzks0f481dga62xDVesEpx+pk5rv2WlHm7FOnUSPT+wi1TZYmwHoiE3phjcvgJ3dV3yBUNaipiIXqi+vVT3N5VspMH1k/1HEHqDnBt2qnJZMe8qcHez8m8gW1odLE1DaE5rQf4osoLSrT5K8LuS0StHqkzNhhIMj6hEbvnOjgBeQY3TdPmyuurbbltY/aIvC5ltESV7VB688SJ4tquEYed4VN7eKoqUEtXKH3f5Cm+LojpjDzWB0y97JKaKflMwLSQevkl8rM96oOPiS98i/LZr6CuDVjYHGzYLzuTo3uWkaUnuIN5okoP2ACO7uPPP08urdtsRN1/Ebd6ZptpHSg4+9JgGooQFxquTCemlyhFOE9EXP8aOtfPHaZKaEw3bQsYbLyEPxqSDO/hRDdMTaWNl6+Ni/4bm5fxDr8kVeRm+RZ16uPlT/GaC+RH962nHTUvE0UtkoNNvLk1ivEZiETq+kSOJmaf0Vh5z4CA9eb7NK58g0I8ha0fweqLOOEa3okedg0qr0t+9AN8+evnXqS+88c4N/++OdhDeVxpU9z/55RzL+F1VvGdhDzz7CUt/VpUlGSKZ1vnRpfBVUqnjTtW9PaYuP/ceQcoqyhE2tX0bzzUcJGqJV2MwIPS9Fxn9vWf4y2/hN99juLofaOFM/ce2eSeAfCKrMRTBGjhFUoRaUXXHB3QWrvJaPsXxHHHYqr56Jld1B1HB+Axbp5QufK6zuNowp/s2GatzPaNMOxq5NoSQ0HbpoD07J7FYvPJHtG81DIPSCf7xEs3DLimCZ+GYiL6V9kxgS/Cqg7NItgHZPd+SByOKfvvGnip3v3cemuoo6o5siaGoxPC+VeYyBkcrxohP082cb054QUIG1dwo4rx5i9xNfgZXMStAtKT+7R615mNP8dpvI4nkvPpHZz+8wR6yuqAPMkpQ0ecOByvJtNGUxFpWSwmqV3qvMUBud4Cgs1MZ7jrtwijlnVws5O75OpY9deo6iaR/NGi7GeHFndXBF10aCVCgiAUxhMvz40u72gTJ/+t+eE1PFPapk8VrJALAiWPbiqQz5nF+9PhKVH/Kt7gMrNiTDg7Ofe4norQ+7wR6qXtCm2j3LMtlJMNmWXPzEGrC7KBcs6e2RCojjRR3qWotekY0mi9znSizUx9nsJQ0kAQt24f/9lPKNf/Jt70iGJ8zyBRFVIk+ZSNhqU5qvQANxQ5fJX6THUiuaIPcee+aZ3x6dM/N0hgs3WRdPYJTtGkEOm+mpo7WcApudBFPm705kgnmSn1RBL3w3Ujpk8Pf0rcu2ZbLPFPqtEj2476rRtW8dGEXk5ksQ9cRSCbG4TS2zz6F6Desj9P9fRf4QqsM/+yxcXFJBDAT4kcL9RL6aIp2Vy/SR7Mw+EHlL0XzMVdTj+jqju4cy+Yp132C+/gC+qWrBMVkb43ra7pT+PFq9bZr0cjg/3VAm6kDyjSjIZo+krjyHctDdxAbJGPaa5/w/r9Sg7UOgCJjOzlOPtfUumSGl+0y7YuyNJsFZNt/IW3SE63iBXHredw6zOq9kW8uiLXoE2KWFeWDQ+n2qGeKsGySCXbSXmsvyFVY4nQa1p1w58+JVcU19zwjXOPsLbZroOjYXfya+OF28NTZUh1rV8DNB2V2EVdy3LqxRfMXy8aNENt+Tq2Kdf8yo+06TzByUuD12pzXUQrpvvWxU4AIHXTVRfKqtQ6qXV1hCfrSOsSfmPDYvv6s41srk1VPrbPkA7ZXjQwlkeptJHgRLsfEmq71X+dcu8/ULhz0LtImKWUzoyydEwnqaRbKbBUcUSkn7VurkjD9AHJ6Jhg7Q0bSiA6tyBvw237HJm1Z6jK2Dzp6WPG02fMXfsHJNmEYHrfoIuyr5Q7ukjLBBIStBZN6+s0buCKp1Cc4TTOLwTawjQaKyRn9yj1vZp7Hb8ojcis4Dr9JWoNSIRELQLKZpPIUU1vn9npHsTLxJ1FCtWarBPbZTZ5TNS7BMfPKLwKf/4KxXifoJDKq2I2PGGwvILTXiPfl6IuJ2yvMa2Pqcc5RXVKo7lAvNAlEtB2bQWal+1d+S/+6J/zR//Px1RVi08fnZgn/u9+d53x7Ig4arK1M+N7b12n3Qz4Vz/+gmKWEQ2abDQjxlXG3knK4azi+y+s8ssnZ1zul1xe7vFgf0YUlNx/Wtrh+vJCxLXFmCx3mOkwbUyEkpNZTqTvw9Dnwnqbf/fXT/hHv3eBLx5N2N89o9uLCB2fm1e67B+lfLU34rsvXuAnH2/R7bdpxh67w4r9nRN6CzHX19rc3zqj3/c5PChwIpd0WDDJHK6udXjj5jx3H+3TbFQs9Of4jz/+mq/3a169FvDNm13+h//tf6F5YQOcitGHH5Ad7FOEDfr9NnWm72lEMsso51YJ2MOpB3iCA6cQzi1R+RHDL/6UZsvDWXyT2cnnxOEFgqUF2LlHWoiDISXzffaP77B66W/hOw5ns2PaUtbWlQ1/O6tXGG1+Rjj3KnVbC4Kj84GzDff6MLqD4zTsOSP2gZR22vAL9pwc7RDkz8g7L9BpLJPI+LH1J2ayyrzGudqtKRCtItwS/ghqfEoxOiAVD0ZmptERRWOexsZ37Pks2n1DjKn+KkWW2IXGlZqyGlO6PVPflRJKugMbVEz3f2XnDHW6Ky+3y6KTTM1nX7RepdGOrSZRz1ycprzkicF1GUo/e508VfpnnerkVziKUIcCT+9STWa4zVUqPePqE4KzUwq/Ip1O8S+/Bw9+RKMTkNPD6V8wbWzltpgN79EYvGqDC2/ylNRpEUdKcq0xHe5S7NwmFJQznqMM56i8Ene0xWz3Dv7qS/iyaR3ftioCkYOX6Mp+Rq7vuPgH4kKZRjkxno4mZ9PTI4NJ13O3cJRG1ZInmZKWicGDm/MvkAVNipOnxPkhdfcSnqLyuVJ+X1ulw527RLn7IZWGKH4LX2yxoLJNteoDuYYuZwe4/hFu62WK8aPzLbVsUJMnZhTTMlObcOleVXlq+in5zh1YvYWvz/LsLtVwRuYUNJ77fcrdX54/O9sXDQTrRBfwW0oTfw3JLmUloGDHKsrecBNHiVqnZwBrcR/MjjU+pFx4hcnJR/QXvkEm8PnRV1S9JTzpbvXu9loUSh8EDWI3JNn/nEleMn/5W+SngsLuEnTXKJvXjSWkPr4MbYIVy86Aqgi7n1I1Q+I0pQik3F22SmShn0/3XbKzL6yyFwv2OR7Ze8WpD2hc+C7HH/xTgtZLNC69TX3yhLp3kdppkj37C5yVb5Ntf8Dc2i2mBlJ1cOdeozj5OW7ZwNMdLFih9iJChhSzY9KJ/r2/TX12z2CPWsZ5Yc/UsPqdVs0lGrqQT3ZxOtdNeSrAvHhSngYW6WO8+d8kKPcoE4da0HPfJzt+RnJ6m/baWziONNdDG1I4WhAd36FMZngXf5v86c/wll/BY3S+pFE15/Bru/TTWseXLjl1qUtxMhokRRNn9IjGwlVmYgopnb78FuX+HYpsTDDQsG5sdb9KFrFa7KkOTndwDtpMji1ppWfT7GSPsD9nENvZ6TGef0R1vEccxZTzrxPqHKwK+Ez4yjOc/5+lN4+xK83P856zn7vfW/vGIlkkm0uv09v0rFJL1kiWZEljjyVosYMYCYwAAZwgQJAYCBwkAWwkToLYCWQYMYzEkhNHgCVZM5IszaJZu3u6m71yJ4vFYu3r3e/ZT/B+pT/0zwBqFov3nvN9v9/7Ps/gx/+onBw+MFE8oyPT2Xp8gq34T1mC6zPs7uAr32hZOEWH2Bw4OljGvbpBoW2K7Rqtnfzm+uHk1Ay8CGvcZSzdjn8R3xIMQiq4EZOTxyZq6refNx3yvH8LkHaoYjZgVkvqsITx3veptK9gT10k7T7G1oGkdZ5MPRd9qUT5Hu5i9T6inHn97GCpreJoC7+qS7JvDshJMqHITsyDUf0a0Sjj7kOcxrRR26XxX9YTcqkfJgTyBB9+k2DmJeOqzXQ4kdJmfGQ6ugIHWVUp0nK8ZN9ciDWts+Tc1gTHkQ5nn6KyiCUdXDBNpkGL/m5yKYsqv/1dspXP46KekcLeGU48MNEOJQ/c+jXyaMt0O+yTu0SKp+uD3NXloADFrxWBLCdM9OcqXqND2P67xvcZzl03/73J4T3y/h0qghqF6oZYWMef4HQu0nv4Daae+7uMykPs/acmrpvpy5tLnaZL8XXTWynLiYkmZo+/gePOmIeenjNWNiTTA9MqsfoTMmuC7UZYtas4yigKUHH6gLLYxwqWKHsPCKdfJ6pcI3/6b6hqI698s+Kpnkvy5Ov4V36d/ETayczE+fzwoonNFrbqJ5q6JdjNyxT774BUVeoN97ZJ3SZWU0yBhDTfMwfWcnBCzgBLkEinTnayaS5x5f4PKBe/hFddxBncNPHzorECExcm66ReeaZR02VQ2sl4SDZ/jTjODawymH+GSSQ13wL0pFW6arSIguUlogS357ClBExjykAb7pDJ0VNs+8TAzPCXDTE9HT5FeUgrt8z0X9vpNDmkUteU7hR3Zo1CfIfRkVHq4YRnB480gNFjCj0sB+rMxmTaDBQnuP6ceRF4yV3SxMapVknDVSpe2yhC3IlHmm0bKqqjusy8DBiu2eor8p3u3TMX6sK8QktKwcDqF/Fs26QvqD9zBp8a7xM0F4xn2C60C1b9TNWDNlkuTdC0SQ+INttovWhi/poW5+nAuJU9mQ3+sn/vHL+PowhevGOqNEoixUdvEyx+iWwyNDHLIqyT+TMEinDqz3daOFO62NTIT6UCXCNVpWPymHDx54iO7+PoElOmuOU0KHomE8Aogv5dAy4TPC6SP9oPjS4pRXFFx4DkrOF9vNnXyKkQyx9eO2eqI1l+jD91/gxodnSX6rnPkR19bCwWuV2nPH2I01zEcTQknWA3rqrFYKLChbZQelaWzbOIogwjGlJaEW7hkUUD4jimckFKSovs6BG2Pr+Zw2Ryh2plhnLlaxSnj6CxYECcuZSaSkqYocwZTEcdUSfqYjUXjNddfnGZWjJBLLNNstEYS5HomQsEzXkmD9/C7yxRzL5o3PN2VykLxQKvgQ6Yvfvk+YEB7eTFX26kgxZ57ymu4mT6GUy8e808180BRUkZbY2jHXINNdTrTm9T6PlTtkj7HxhivD21Qrr/kGDqWTMoi578PpXlXyCvLOMUXVJFsouEoNY25OaoJn7IjmGt2HYdK6iYw6Xp6debuKMRuapnZcWo24iHmsWatI0TTJlDm27RGm4LVijPOKL7N+YMId8PG3iNK4yTPk4uWM+AILxGkh4Y0KC2xHa6Rx7MEh1+RKUmLegS8e4nBO1VoviEcOplM+jR1k4qpSjqmyioV5k3TILSncdvLJlnfn6yi+9YjP2GSTS4gUvcf4g//ROGsyDwnmor6tFaGmL3Nky31NWFrdbCi8fkvS621SV3ZMcIKWrTVFAseYgdCbiXkg7XCRvXKBtNir1PjA7Mn7lkKnWCM2aq2yRKJAh7XzVJLdXVQv/sMJapClLREL5HKnVVEYNiiM0OTEamf6xhZ1jVgXLbVEpEGvfmXoe926RegVW/gptvnqmtcsu8j/LuI5PIyHybZusauZS18d2zS4zTNBrGcqRnXM2kgAQPTcT2qC4ZQrnSaab7mB9S9A9MJ1TCxkLPe/FCohj/3MugYXl0jC3+kFWaS54dhCYaWxQzEFowOjSXAlW/fEZmqKg0khVOYfc+xpv/KXOALdwuZSImTNU8z4LZ1bO4duJRq68x7D+gQDaKNezWErXpJq7VpVR01yvIRie89ccf8p/8vf+FeGwzKm2OsoyfvFrlXGcaahZTLZcPbh0w55WMA49HG12uzzdZXFvkyd4eh8dDfuqlZX5095QsdvnylZD9ZMwn94a8+WLLDII/ObTZ3N7hxcU2qytN3r93QuRXGAwnfHJbNUYPr+JQCHzWqTEexeZzMTgdMRXajLOC5abN8VDfH5+VRZtJOmCY2MzWHGpuxuefm2P36TFTC7Mc9kuTKhieZkzKkvm2azaskS4NjkX3qGC+IwKPy+bmmPZMyFwDpjstA7z94P4JH9yNDXT1tes1/v5/9bf4mb/9n0H/faKtIZMnD0mdQ1r1FTMozlSh0HDctSmsHDtp4rpDcsshOrxjKomBUp76vun9bD2hdM/hm+Fil6I2Z+BalKegS+XMJVM9Mu/a+AlUXofhfYq0SmENsJ++T//xBv7VLxKdHrC3+y7TzTcMmC+MjhnHfepL16B9kezoFpVq01gnBJgrgjZOOcbRZ15VrOSA0elT6vOXxLAzSwhbm+HqNF77Mok60dUp3OSYZHBCbeky6Tg30E0917ywYRKmWX/DfGcE9FPyZOJXzRkvqE9pUkiy9Tah0lBiu/Q/NvU51RWMIWu8TeHXsTTgFiDwWJTwqzjJPol6xN0Nwgs/TZLs4vYEb3XMZt3BJ+3dO7N2eG2j2a425kmDKvn+O7j2FNbcs2Q738da/WnyrXfNwM5OnhplskCW2oLbej9p/XrygUkxeqLun3yA25wToYe0e4gvxdroMSi94bXh6C28uc+Rhi2suItVWSI6eBcvWDBEf6e3R1abNto/cTSwNDitm6qYpYqaOFDeMl7/JvHUVfzCNzBrqZtdMYJOpdJbMbDMZLCNJbOBEkgC0WnzrLqSFoDijWmrvvt9POl/137ZGI/Yv2e242kxwCt80pFA4VUzMDH1CkcMEt8MbvROSNwWk72PqTTOG8C4XY6p5jmTcYo322Hw4C0yxyJc/owB+Ql+7WvQPtw4q+2pIqIsnpYnw8Oz8+3gEHv6JQP0y8eHhJVnzMCXC2+Qvfs/45z/acO8KcabxvyELrL0SY+3oLVItdJglB6bfw+p/Nz6CkUG+emneEqtahCTxaYqZzc6ZklVdLfxo11KqUtlOVBFEJdqfES6/BJWssvkaAtfKe2qdKsVw81CJqVqlbI/wo8OyJuLoDNZXlIo0aLBS3VGbsazJKTAqbnMawFWskVZv4o8z1amv8eItPvIKAgFfSybC9C9b86Qqn96quA5QwrvslmCanmoJIvqdH6lZmrnRe8DrClxndZx568S7dw1FSrLlu71FHv2NTIN6aW/zkf4+TSF7FCTY5j5PNnj38Wd+4JJBMqCVJm+Rm/zbXOa1qAqPP9F8sEI7Ryt1pphoQkOqUG/NNzmWaQ63nAdvz5FdrpPNHhMffUnyScO+c63yeoCj97ACSY4kxMS2nj1Mw6H25lh3N3HmzwktjsEWlbESrqFBFqsqT4qgG73AVb3B/+wLDRRKEc4ojy6NWz1APXCkxOz+5i8WcfOQgM1ylzXdCOlXct2v4+jA1xlxvQdw0wPql0DYHIDqSdy443WxlXbtmJwH1rPUaQHRIITdC4b+nwi7YIgIemRUf8kG183erLg+i+SdUXGbRu6ZWDlRINTvEbNuC7p7pCiLUgVV7CkYoirvm3YwIkOjWPbGT0hmYwIBB3RQTFJKNLIQM4cPyOfFKanlO69beJYztJPkY+OsTUI6HzGQFDUm8mtKlbtEk7ylNJump9HMSbPbpDUfKzdO2aC5rUWyBR9DRWTlmZBABoHW+CxqnrLvTOKsL5Yux9iz7wAvqL93tnhrRIakJ4mlUoZmA++FTPZukWgrks4DSA1AAAgAElEQVRlhSA7oOzvk/pnvVI/s0gG9whmnjeRfFfR8Hv/jkltjsbC8yCWwuFN093y5l+miE/JDz7Gaq/h6QWSWkaF4VspcW5R1ctVmjOjjlI3/S5+sEiuKOXJuwYilTemDeW8GDzAmb2GlcmDu0tsi4WwaLzNeXBGDldqoTItcJRihwV5T5aCKk5z6axXpN6vlRrVnGoIlYu/eHYoTbRFyU20yETvtE1vSGU1ojx4SDxSB+0VU6sw7lYNTRwPTN/PZTKaUMZbRv8SH93Fsktz6TOk5+EmViDCeZNCUzc3II0e4M//FEWUYaUbWGUFSxM8t0n04F8YwJui1F6aMtEkz05wBqfE++/jX/4VCsVwhg8MiMuo7coj7MmESdTFkQ6vMmfiaVaxbR5gKH6Num4z5ILqOJ6ZnNqeiz3Sl37bOLXL7W/B9A3csiATqMo6o7abyJw/g6MuuR5chidQYA13SD0fN1ymjPYpBWnUtDs+NS8M6en8SkiqP90ANrvkUus1LpoLvtHzSSNWXTVb7NJNcU42iPS9FnSmtmD+O3K6pmIWqAfcXjNQRMeeQOM61ukBhX1IUVvAFdQqeWBSFZYGWPq3lyZIvuap6wYUEz36I9zmmtHSZOkOhaBC2saiSNPOmXqpMYOtjXKmbmNfs2eyww2CpuArI8rOBYrTDbLNb9K48stkUh26I5wkJ1btglnwLezhA1K9uDrPU0jrVb9kYmnp6KHxriqZUEijEp9SUWdT29CsTzIaweSpgYvmihhOhvjpiInl4GYTo87M+geUrQ6ePjMiIWs63tvBVn1IWwLF2Se7Jibp16bJTrYMsNRnTOlouDUgWf83+J3XSSpVHLdJoAuge55CQ8yTm1hLnzU980RpiMGecUFb068RizQelsbwMTr5lLrTYDzewddLJlyg2Pwjyqk3KPKn2IMD3LmvUJrhyLEBT1Jfozy5ixt0sDKbrDmL298kV9S0dhGHCK92njg5wpcqK/WMTUAJnlidWkUu0RAEyvo0Vu/AwNVU15B2050RwHQVt/seuUj+MpqMuxSqR8UPyeovEto1o/QLwgUmpf57FZz8gLTxLO7RXdLJHbxzXyXe/gsqem7rZ9VmWlCe/Q+x9Oyqd8zhuMwdnDQjH29Q6jMbTGN1tTGukjk13FIbnj6FdIJhgJM1sIo9Elk9arMUZUTgVgxUNVVyKj1lInWSBkeqSAj+aU9w7QXGGpr4GnpXKaKu4WDEqYOjP/f0I4pyQJnPQcXD0eDan6WMH5NFIjMfYOVt3MVXiBN9Tm2SaM8cVmStGSUTQrnhB4ojn1L4F5nsfvdswOuvUma7pkdvt9QdLc330tKgi5pJoOhgUhZ6J01R5Dmuk4A1R1FEpOKWLDwL2tAEy9jxDulEiYQJ1c4VMiczQESxXlxVbsQ5EEQ0nCOMdokM8Rnsx98E+dqbCzgaeipFoktGc86QoytOhai5hH38lDLewG2/QRlkphZgoMHNqTPLiZWcXawDQXHvn32/l55nnHi4lo2nYanfID95YGwbdl39/C0ifZ/qAnBGMLcKO++RiFSuZ7ynTZwMDhvY1pSxkViZlIbnDeE6TzbJRSbX81gKz6BgdHwPv3aBQod1DYLmP0eRxmYrLE6PXb1sOs5e+xxC7CU79ynt1FSmvFyd4g71g0OS1WXqlz4Po3WevvsN3v7OD/iffueQ2xtKjsDPvFo3xo30NOPFZ+fZG/RZXz9ipTPDIK7QbsYcj8bMVBpsHvdZrJQsLE+TFwWbT0fU22NmwiZT8zan+zZ/8ONj5joO850mf/TRgLW2xY0Vix/clzhYj5+ASTfns6sWUzMWX3hhloO9Q9oN8T8iLs21GaQj1lZbTHoxp92IKKux3h0Y2JpSST9665CLF2a5uTfmvU9HlDL95B4LUxZNvSPyiCvnXU6GNi0pSP2MmuuzNF3l4cYhw9jhaGJTumPcuGR5qcZUK2Q0yOkORvheQLVRoejl/L8fnvL6asa//u2/zsWv/CblKKB3/xbR3gGNtQu4pWvOpN3Hj2idm2cgZpL0e/YlKvFb2Ff/U3zrLYrq8wrxwHido/0hTbuLfbJDX9tDO+B0/SHd4yPsMqXbO6KysEQ5crDsCdPzUG2tUAvrdJ7/PKW3isUm7K9Du0MxrjDaG8L4DlZSEk1y/NYqk949GnPXSYdbVAVu7jRJ44TexjdNLbM295JxosdiGFgTsqN1k3hwZl81kLmw2CevrpH0nmLnGe7cBTLBaY8fUk6e4lWXiLMmdnTLVB2S3jGuNuHtRWPGKWVccRpnz7lwzZxzcqUtG8+YS0Y2Gp6BDFXlE9NAAxJ95w8/Nspsd+FLxiwikLCSnzJ+JWmMt/Ta2TZ15ztYjVcpZerKh0ZdmGqxN32OfOeHOIVLOdrAXfuPKctjM4h3EsFTV0V2w3y1BrvQ28HS2WTpDdzFlyn2fkjh1XGjkqhUdXcBr65B5ZExJESqCOcDMFyVOuH0ReK9eyAVuRtindyE5hqWFkNjQdgqRvns2NlZHUzZLYE6e+sUDQ1GGmSP/xR/5nXdA7F6T0nsjLA6jeV0KEV7by1jDY9wgwapNHK7PzY67GDhJQYPvknVD8i1zBw8pOg/wJp9zQBS/cEuhfzrk2NzZxiJAxZWzmwzerfrIt1/RC7rilhS4z0ai6/SOxX4T1aDcwxVjT338xRS2vUeEc7eYOI4+JZPnAxNDcBKdgxfxAz764LbHhJYDnnpUx6Jg/QMcf8m/uwvkJ3epNpcIBb7RAo+J6IcnxowuNKUhS6n9hi3ukwhqHgueHeONdrFaV0xdcBs/zuGoWGg3Fps6LPjCR6cEj/+C1N7LZuXcNwa0fv/hMSq0rz+q+T7P4LqjPm9paOU0cYfUl37JVxplofHKj6rh2WG0Ek0JKydqUF1VnUrPmU5S9a7T2iWOY0zQ10W4QRNMqeOb43I8yrk+7hidKm+p8SsneJWqqRDeU2fYKluU1GtMyXe3yCYvgLxY9LqIr69SBbvU4YWgdLnWUref4Rd0xKxaTSVbvzkLLWT90kX/gp5tI21dxNn8WXcaN9UzFKB7Sc2WWvFfC8npw+oSH0phbXhYGl4uUR863eMTSELz2GNnmBpAWyYFbuEiz/BaPPH+P4xbvU6SXRKUAtJq88YTpQqt8n221TrDWPTGm7dpCabz/QzVAsVFCJS6bE15HQkLLhDsPAGmc7h+rN6P/xvylKgHl8U4QxLXvJiz0zlrMYsRXKK27pMdrBuiJLWcAunukjeukZ5+LbxCQbWhEme4qjnrP+bnFCbuWYOJVmen/Xnt75ttmOKIqurTXmMazskW/cJptvE7hKlpktX/hrl8MDENrOjLcLzXzL9kXj3Yxz10akr2GPAWHarY0As/dEDqoE+cFcpNcnT4WqwbbzH8klauowp5mRZZ10cKRCSEldJh9oMiSEonjeJg2jrT/GnX4OZ5ww1tJw8gEDTe/2Zguqt4eihL5p0/8TEMaxzbxqliZUUxPkJVUEJvSauHZNMFGEfk+vymcZY9XnjKi8bKyYJ4SC957u4517DjxWnHGBXz4MgMvExVuAaQ8BkXxNCxeTldgyNz1mX8lgqEcX5K8tUyoLR0ds0F3+CcRyb7qY6qRrGlNYcfqfFZP0dXBFk174Eiuqc3CaN+gTqdc9dI+rexzrdwvWqjImo6PDupuIeGd2fNTkkd3W5bBJP9vGKiomiaMKUTiZUpDoRudQryeRwt3XX1VS+cwY0aUwTn+yaWGWleZncSkgjaVcC0uOUvPsjPCmVRn2zVdMtT/2donUFTt7Hk/NaPa5Jj0KTz9oc3viQsQ6Z8q13D8nTY/yFl/BiEUtyMjvD6Zwj3XlIkewTXPwqk6338ZJHWLI/xBZVqQ0Lwaxs0y0X2VjxJZHCC1U5jt6jmPsCIXoBfWIGSKKzJ8kRxfgOzswbhgvgZTFZVJBbY6yTt7HO/5IhrOt3rAsSYdskUDSssp0ORf0K4ZM/IQmkxrxCxRmZWFE+VAdaLnOBLj2Kph7Wu+D2sZ2CtKKBwIT44FOc49s4N37dEPttaQUEcBTNvTmLI7hifZnJ5rcMcChYeNN4w+3OooFoyrmc7d+mYIy3/Atkm39gKhqFNrn9W5TaANsWRe8pTnOVZLhFmUqpc8UkT3QRLjb/Ars1T1k5j4R5YeUSyfCBjsfmsi/QyhkIp09a2NQrbaO/ckz/vs6ku01ZsQyzwx3tY8+9fvYsUCpGGwFtsxUvmHoFO9/FiiYkgs04Y0MzTve/h7/8S+ZS4juCuj010NFw+afITz7Cqq6RjfewvSFFUjGsEUvdSMsilFNeypqib4jlhZQtikO7LdxCOsMBJCJ217DCmolyl9Vpsu4+xeGHWNUqVpLirbxOHisaF5L2jqEh6EtpiMxKk7julKknoNSD+plHH1LU5/BmLhrQDqOHxl6Bfwm/e4vE6UM/MtFDbVlzZ4IbXiXeu4VTqxH4Y8qTTVInwJn6gonpWcNblOEZxTnvPcJb/QWs9ND43CejgqAcEbSllDkCuYStnPHOn+FKndl5DmTd0NRY6qLuJ9idS2bDnhw/wW24OPZl8sFtymJAGV6hHK1TmfsMWXKElTpYYgdEqktdPOM0KIqta4detgsvYEdDUyFx2tfN5Xbc38G2I2wxJi7+CkX/Ngy2cGa+TKrveuP82cX54BaWOrmNZXOpLcbqXPfPNsCWNmz7ONr0qDpirCxjsu4t7EqbsshJRieGT+Jd+DLFqIunqocjzJIDx7dw3TrF/Bdwu5+ay4QdDyg8ad8Eu5WVYEgpiGdlmrBxhSTaNH8/W8O5ZEJgxcbgQTwhc1tYlQ7W4BFFPDAJJU/boulzlPjkG9/BOv8lM1iUttHX4KF2zUQoS3G0isJwcyxnHuv0Hlb7koGoyrRjD9bJ9exZ+GXi4Xt4gWcuym4Wk3Y/xV34ObxowwyGCkH6SqEYPMY5+LUFrGCB8vQ985zT1kWwwNC1cNqvMom2cE7u4S68aiLs+XAT22uSdL9P6FwwIMhMqY7+AYG+l41rpIPbVFRHcacodv+EypVfIT7cIjp+i3DtNwlUsdOiYP87lP4Kfm3m7DCF0Bd6J9sU4x55Yxl766bxVftivWy/R3byPvULv8p4cI/cqtFoL1EO9xj2n+C2rpshXDbcN8DYsfGV2/jzz5qNVOrV8AUIpYUtKGw+Ii0FE7XxBWfKTkmtWYLWAmWSmA5zKdq57TMubPN8cHVZ0KHTaxHpd6nnUuOC8W1PTnXZn8NPVSG0cWavM7n/J+TNGzSmnyN78HUqX/o1ghk9G9f5B//l3+db7+yzvelwWPisrU6Yb1ZYnQn5uS9f47d//13Oz09xtNXjSc/na29eYpAe8u67+/hyuIc+rYZN4Lj0k5iD7piGnjtORi/2ebQ9NrWow0HIy881WG3Cp/cP+MLVgN/6GV1Eh0wvztNxT3jm0jwH3X1mFqexGy2yoQZYLqUgdtGRYVVoQNbb79FqVHBmBOYdUtNnE8uAzYJOg/hUauWAg1PoLE1xsPmU9z4d8sG9glOpOa0a3/mkz25vQncUM7PYwB8O+ZlXz1EnYmG2RcWN+Hh7aDSgvcLh4X6f165P092dUG8VfOmlJY4HHv/qj25x/zTgl1/z+af/+Nc498bfpTj6Hjs/eEgwHTI1vcpw0KWshcYo02yElM/9OlZ6QHJ4m5M77/KP/8ff40l/wtZ2xsZ2Tksw3Ypt3tWC0o05C79qSDJfh5MhVD2PkzRlxg7ZK1KUV7t6tcbnn11jsP2Yl155hueeX+ZLX/lrOGtfwOWANLXx+mJpjck37zLKHI5PA2M1OLn/MbPPvmaed7kXkBQF9lCkcgf8aQNGC7MJxeJzTB69TagErc5o0vCmh5C4xIG4KImBzukckIu+MuwZLSmtC0ab58R7hkekWm009s+Au5UK8d47+M0bFDrXb38be/onTXKzELxZ29jTbWIvxXPmCKZWiAVKHj4xG2FSi7J/l0xa3nCGMj0kWP1Zxlt/SjD3GqkArMnwbIu6+KZRYvtZRL+3TmXpWRyvQT7cJx1s4nSexYk90vg+pb+E3xJDYt48/8vGNJmqQjJ7LH2WUsnMdJ/UU1JlzgBKq9GEYXUBF21hFYPeN/VIP7xGWWtSCIynYXygyoYMZz7WeN306DNvityp4hlgaA0vOzWX/mLYpazP4wyUptBlPMdee8Woa6VDtBpr5IObcPgBzrmfJyld6llXVl+TAI4qizSLiNiu4ygJcbJuDD2OBsFdneMruAvP4QwPyEYblAJM19qGi5YVCXbtKlaxT3r4EXbjFdxmi3i4S+BUDCdMVd1kTv/7OaKdD8xWuUAAUcie/Ei4bbyF5839xlSY1RPT+7C1SjYeM9n9HjNrnyfzLtC987t4lWlc1RpGXfylV01M3qprWDw2zJ9Yg6LOVVP1li5Z9V2lSyutZynTkkQ2GUF2C70j7pJ1f0x16U0IWhS9PWxVv+tKcqV4w8eMVf30WoTNRRLfwzn4CFtLpEqHMtY5YRa3uUR8tI5v9XBVQ64JhCs4s0eh+qyAnK1p7PZlYkEP/Wm8IqFE3LJFRvEuvoYoSlyaxYa0iClFdGS4Brpr6EwfCIKojJF4A7ZFoJR48yKjrR9h6z7XvkrZf2zOuZa/iHvuFWOd0Wep4lfBGhLnDoGTE53uGiuZN6V08z6RH+CGHTzHJUoFa/YotGySkjKcIU22zaDG01npSMurGmnzAvHpIY6WNUo5ijaRnmlk7WKCO/2i/qWZDB9jjXomWeNlA3O20ZnSiU4M2FMMBLt32wzhc6tCfvohQf0KSTHGc9sUqgWLz5CemASf5yZYvXf++zK3axBFpON1gpkrBpIXClQ3eGA6P462QwJ0zb1iYivR+h/iV5Yo51+C8R6FNuIcmy5JoU62A1nvsbmgu7o55gll5YaJ8uX6B1I3uKKu6q4hV4ZSP4heqr7/6CH50l/BVoLgo989I6FOL+JEDpnlGArsuBjj5zlO4yKp1zFR//Lwj7GCVSJtX0JBTl4kHz/B0TRHUB7LJZOjPJIOLjTE52T3z3Fri0R6wV35RbKjD038hsqqiR97ivuv/FUi0TxrHn5vh8SXSmmPuPuU6tQaaThDON4lGm1QTN3ALXSA1BRWh4sIu3SJo20cXYpLl0k0pjp7lULgIKkAJ+vk4QUCpSsm9ykELtTkrrIEujRFkdl8qBZALLhUSjD7MvHJRwYG4bRvEB3dw569TLb/CUFZUCw8R5yluL1tvOaCAfcEAjvO3zDQmkAE+uoqqRtg5yfmkjgYrBu4itO5TCHY3NQ85QSK0ROcfEIR1AycK9UGTBHTSscMP7TNikfblIq4eg1qjRUD2XA6Iq3eN4dmbTOL45uGIB001oxb2Wo9C1uaIK+QeW3T+S7rbbJel7AcnNGlm8vk0nod3cJSF6qUOWIVS9swVQ6iLRLF0iqqkqxijXtkmoyWioSODa0+LHLi44eGIupW5sjLhLx1BVsR1XSMJddw4BGnudnmOkqQWAOi+hWs8RMTY0+tunnB6jMp/6wzeUpWv4AlzYwUH4J/nBzilj1yq2F0Qk59mmH/EGt0akjylfoi4+TAbFC11R0ffJda6wrpeIP09CmVZ36DtJCd4IhScUCnwFZy40SgOB0CQ0pn1nTDbUXfqufMpVCdt+z4E7IgpFK4FE5GWZ2lKGah/xZ56yWc7BQ3jykbl8hPH1ImRzizzzM5eoB/7hXcsajJ0njNYRcVIfcpdehQzCk9BsXGpfcTiVcVnzI1CjFt8WlfIxnv4CUj3OlnyEcnpNpU1tdMF76Md8lkm3CaZwMBebfFGhkPyeYuYsuyMTgx0X17+jmK7k2CpZ8mO1nHEhNj/jnS3MOKj3HLhMlwi1C0U4EdBod46u+dbOA3Z4gtafcOCL0G6ek+paMXpOJ6MbSXTezejR6eYW/LkETDM4Hp6hdNP42yTm5Hxj3rzbxs+Btl/MRsAETqVszcDWZMNEzTXyVJyuwUX1CjIKTQS04gIdWp5Pje/DNcfwH/wk8aSKY3+viM56CIdbVKkbjGUR5vvYUb1inbL1CM17Glu7vwcwTJEya7dwma+v5XsMOLpEffNrHiorlgyMthNiAZPCSP1TdewF54nvHmbazeB7iX/yaOtGg7P8BZ/jKJUjSCAIYZae05M+hylI2vPkO+9w1sWRAU9as2KZ++ZQ56TF/FOtkmj7exRF23KoTtZaJgCffobcrWyziObyoSiocLj+Vqf+Q0DASI4oDi5AnewjXSUYwVPTbbZOkeBctz9OcVI8rjdeJEXVCRvhXR87FlT5GmrXQp011sKagsF6f3LlbzOTOskzO3rNdwrAmppy3NtgHzGLO7Bjv0cC0xN47PkmqW2DOKdguyVZCPBD66YFJf+enHoLqVebdMkyuJJaiSbBjRIaXfOjswp7lK9oSNCtHm+0YzaqtuNjwy8KGylBqtYRIkVlVALk1Pa2b7pq2xO3XV1Kq84SZJ+xKWLl9EBHFkdF7l5NTAMxN7BIqqTh5TdD/Gnvsqk8HHhDJDzL9KufMd3M4NhH0vFVuuL5Lome+3zQAAuzQH4TSRKccxKSCcgOJMg2DSWYLthklJNvyUUpaFuEc4dZWkDMiiA1x1YgUdVKdf+l1xJ3a+g9OcoxgmFONtqtf/Q+MQz2sNHKeNG905S1FIFztOcCcPTTwb6ZV0oD5+B1/bjmDWDFLCmYtkMr7Ys8SVNm4SkYvb02yRDCKsfBs3t4lLh6CzSnnwDvnsZw3sVuYU11NceEhy+D5FbRZ/6cukw0P8+CnIYa4Uim1jhaJ3D8nHj/HDaehvkBZnWkqCWbJyiyAKyHPH1LlkFtB7pgxq5MfrOFVp/VqkGu6rLXlyyv69T1m4fp2Kzkyfe57CWYXJQ/7kX/5z/o9/9i79wZCH+xkJNZ67nvHCxRb5IOTu1g7VapsLszUePu1T67h0owGjkcu8BZ97vsXDbk6SlObjM8xz9vYn5js4yB0ORxFR7DBrF/z6Gw2uXarz7LMez8yJqa33TcjRp4+Yv7RC70S2CgcvbBPHGQeHUonmHMclTbfgpB/RbswyccUE8Ll84QK3373N+pMDnvvMmgHWtoJpNg5OuX59hY0HGsimXLiywuT0hMbqDNXpBr4reOUu/Y0uneUam4c+vd2EzcOE3/nzIx53S27tpoxsj7VOzELF45kLVbws5O72odFzzlZ8xpEnk5mp4AjE9rnrLd5/usV41ObW+gl/45Vp/vm/+ydY0+cpTrc4uLtBENapXn4D3zolfvoJv/c7/4o/+NN9vvHBDnHp8cW1kt3jjOXFJp2OY0jZg8MJVpkaYOmF8zVmlld464d3uHBZ4OqUXm/MlZU5dg8OCZoBN+90aQQQR7YZzh+cwOPkbGhwYTrgtVfnuPbMAtcunePNX/oazfNXcXIpKHtkJ4fYR1vsdrtkQ4u5hSUmkcDXIxxxZfRCmVljfLBOxdMS4sSAxcSooNIglB5U2+z+OkXzHK6StMP7hDMvEe1+YAaIwfxVA8/U+buoNChl0nAS0sI1xploMsSbesWYUTL9/+qSNeqSxAf4C182W9js4B7l1FVjWLEP/gJr7dewVOGVUiy1CE8+IdEzeeGzBDIs7D9C7skyegTVZXxVa08fE1QXzRnOacyYbrU1PsSpKu780DzLLf8Sid4/RcMwlDIZg3RGkEI4TbFG62RTL5hnsRSMZX5ozvK5dIejm+RTr+L5ttmYauiSpxZ+vWKMD04UGQ2nP3vBbIkL2RIU0VeCRZrpySFU57HDhrHdCOKm+H+hIXpHaUDfDMM1CFBfP0/VZR/ihJdxew9IfC3lzpGPtgjqS0T9+4TtNaPV0/lMoMZ8sI4jdoIqAd3HeDPnGU16hHq2h4HR5mWp0jLbJmExePRtGDyi/vxvksWyYTg4C9fNAtY+2aRsVMm9VQoS3DQzQ8Gy+zF+5xKD9Q/Ms1nARikI4/gUt3oeS1RTq4sVXsXNdxknGZZlExa7jKIKwewa9vEdsnCJMisoy0McnXWdEGuwgaO6YfUv74bxEMeKKOurMBb40aKUXaA+RxZv4o1HRpWXnXyEf+5nyY83zcXedls4Tg1r+WXS4V1ThU2kc9fl1fcNAD4f3AOdb4IWllRJjks2GED/FmnjMl7jIhRHEJ/KBIwfrhAf3iRszlPWloy1xdEdk4l5L6tug7SBWlwrWS5zRTBrFJwyTwSrr5rqoswM6C4SNE033xhfJn1jO/JHqqoE5pyXezVCGePCafM7LbsyAV0358/89H08pQRshzgdU53+rPleatFVWlME9pBstHPGZnBco33Fr5GP7lGePsVRgmLtr5I9/AZZdoS/8jVQvTCLsOtTxqw1djp440cG6JlVZHKKSTe/heUt4nklSWZRVnLKsmk6/gbCnB0wWv8m/uoXzHO/3PuIpC5mlUXe/RimnsGxA6zuu/+kVMdDm1VdskopN/bvEXauEGc9wkrIaOc29tx1AqpQdkm0zfR90zFNBT+y5Rb8lqGe2vVnYHSLwd5TwpWXoD6NvfU29uJnyTSp1/Zbf5LnULRfJu6t44ci52bEBw/x3AruhRtMntw5I8cOD6G5ROCkROE0riLA6SlJUafSaJDJ39yPSN2csveEyoU3sVN14idY2lTWFCW2yHc/Ju8s47st8p3vYNcWzRTfrcTkvQSnM0UpG/pol7BzwRyYFOXXRT57/1/inbtB2vkC3mSbwBowyWpGOWNV2ozWf9dMqbylXzyDvR3ePzs464KuL4EiV8nADB6Gx7eo+CGOO0dcpliawtQunMHekhinehHYoxgcgds0k7p490eGbuw2LuKoI5x7OEFuqgXyzpf9B/iKeyviobh34RpPZzHZxdK/Y7+Lp5rCcAPr/C8b0mS2933cmc9TNjvk0vplCRUdHNNjUy0QTdza+rFxvVrG2yzQhRPE1SEAACAASURBVOoMiUmAaOKqmMokOqAyjg10x569RB71cNyG6ZgpchML8iT/bec6vqKaUglq81k69Df+HZVnfpNyso61+xHW8udAPdTaMp6ouk2wh0MG9/49DQMUnDawFisanAFy1P9rX4DeLk6eMrarePWOMQSkuWuAeUZR5gf0Nn6Mv/IS/swiyaP3DOjQn/8s2eQYu+iS7b9L1r5IrXHNOGUt0falWnLOQHO2OsZyp1supeB3niwMPTOh089cuFUTkc1Gou9fMltDeXnLRKtrOXYL7MMd8ukFKvUWk6MjnPk1PJlzlDLob1PxIoq8JC0tnOZ5EtkUWs9D9Mj4fIvaBeP2FTSzPLh35vwWnVj0+/G26ajnSneIKF42sT1F2ftY4z3yc69ijRtg7+DpoZeIvK448RS+Ol36eWU2yEWzXqFwOmd9uargXLfNi9eKcop6y3TqVNcRf0OpmlIvadNBdymqdYoH/5as/SzV5iJZmuDVpkxVwDm5ZcCajj+v57TZ5mZlD1/Dxqdfx556ES9cJSsHZxNQ1Dc+MN9/E8NXvNBV7PsiluwQhVgCAVn/wdkms3GVyPewh2IttMzwSL09Dn4M6l9Ov0Y5VkVJVEh1/U8oBDUKWxQHn2KnT/BqL1Kq+y7uR5ZSCNw07uPWa1juAknZw570SK3MkGE5vE9hnVJmPvbiq9j9TYLKHOPCw+k9xDn/JolURvE+ef0lnHif5OhTrOlr5tKfDu4SZBFUb1DUQ+Kdd3EVfQ8uYc+/wHDzB/jtNm6wipN1ScdKp0gbhqHA6vebTJ7itF4jSA+J8j4uqq64Rgtj2eoHC5wZkYSlqXkhqGYZ4g0em0OQElNKh4jkr7RL6VSoevNEySbFaAdbmwv3EsXRj3DFuJh/3VhgBL6xqFDUmtjq3/vnzVAq2v4u9ZWvEQ/vkKQ29eXPEt3+P00Nxl5+0zAlsNvKxZBoTS3938a/NypMd+FNsv33DbQ1dhewNOQadik8xeallD0C/4Si8QXs4/cg97GnnmVy/L5JMbmekmPbWKsvkA77uFVPbjPsIoXWK2Sj+yS6dNYXTXXBmrlmDAG6GHrm994x/XzpjNz+fSxXrmgXJ9E2rkEhRanfpJBJRg5ypMo8xs1rOFOrRINNAtWRdBgaP8Wd/QylNsZ6oXfOm42z0cZZAWVlSmB2vN4DYr2k3SaOFzPYe0CopNDsDezxKZmGbYIX1aYJqnMmzZKPj3Hsc2TFU7zG82RJF4on2E2BriIQASDepbTCs05v/5apFDn1GTyBT9PcsAMG3VvU519kvPMOzuINU7lQb9f3NVz+CXI9/w4/JJx/lUn3HsHUVXJvGT/ZZTjaw7UalDULRwo3wZAqF7BOH5DUm1RUq8mb+A2BJSEeb5tKhZIXjpIVuU2Z7pDlAWHrHJOTHTO4cqZfohQDqK/NUM0Moe3qjHnX5Uxw9OFvNrAmsXkf5aXSDjpUr+JNNimQ3aFJ3PsYvzFDlvUoc9ck77zamY0g8+sU1tD0TG1/hnSgfyPXJHdCKyIupw3gzG+EFEWFfNAzsLJITIXmReyjj8zmrj2/gH3lJ0j9aR792/+V797c5Lf/77f56GnE1arNxRdqvLzQxvIdbt6RajAgKFP6g2PD85mpOqwfDZhtuayd0+ch4eg0Mpuj7X7BIE555/GQ+XCG+bmYr37GI0xL/uZXLprv4sPdp3z5t36WfOcpx6cJd7+9y+L1GdqXFnl865ipTsr67X0WLq1x55OHzDYKrr72IpPJhP7JgGQU02yGNDodPv7gNs1alXPXLzAzM8Wt9z4gdKqs3zvgMz//MvWKwzd//y1ee+MScZQwGAyoNWaI7ILH7z/i3DMzPPfKs/zwu/dYmra5+NwSJ/0xCysV/NQ3HeVv/PF9Prmb8fUHEW890jA54WKrYK6R8sqzK+xui6KemEWKHOyPN3tcuNymkug9YjE5VfWhz6enJX/v11f4r//+f0fz+hfNO/bet/+c3/7ff4ePPj7h5qNj6i2L11dCKrMu83WHmc4C/TTgj7/3CX/j566wc69LrdXloO8bAvulKx1Odrv8+MMxf+WLs9zbPsDu26xeqTLoluwfD1k9Z/P6Z27wL37/JrOzS8w6EV57im9+/wEPj+Ba1WNrXJj3XcfPePMz8/zn/8Xnef6VL2KtvWbOgaPb75r05fi0IOwolnyIK4hTq4UrmO1kQNB6jqHgoEoUVH2y4ba5TNmtC9iyWBiY7B62gNT+Mk5oUY56Rguo+XZSVvGKnoElUvqkp7eprT5PIn3q1o9xO8+QxAO8+oqJkdtKmPnnDdi63LlpzjNl8wZuvGuOZIXsAEHDPINCccH23sMRcZ0KydHH1KQPVwdZaU0rJxt1cS0pxfu4zgrFkb6Lc+Szl8lPtsgOPsCfeY7Cr0H3AXYeUXieSZmWelbnkE69jHX0fYLWJQol9cYj7LnnoLcNjUWSk3XD04nSY8LZzxkdoedqWyyI84k5P/uqBFQg0bm1aJpzg3meN9ZMklPWMMGNBXAOvFXDI8mUSnOmsI7fZeIt4C9cpVh/i2DpdcVdiPc+MEuVcX+f6tRniSdPqM2cZ9hXwnXFDCstUkajdcLpz5GffIJd0/lhnrzoUToXcTxttJ8ycWtUKwtkhz+k6A7wF16kqLYpoj2KzdvYM+cIKm0iDVeGj5kMdgjmP4+XDUniPuXOexTzz2PXxWPTwFhquvyMESDuhmwoSR+/fY6kd3jGSrvw1419SXBlX5YFO0MpcdKUXOq6/h6T3T+htforJq2Y+3MGtmeqoqFsVql5Ttrjgbm0y2tfekrrtimjj0xiVRp3qSgpxakoDbTUxcWyjgxjydLP6DSJyszE2FOd37xp7NOPsSbbJBd/A3/7WxRhi6B9nsnJNrYYLXadzA6xjm/j6hxcX6Fc+BzZ4btInuXZqqdOyPpPjUq2Nr1sKoZZcmZxUDJGSdRycmRA2boH2J3rxHvfxS+OyDqvgewUvScGQO92PzT2HV/nxNVLlEf3QbXFlZ8g1+9TSeyZZylUpVD1URVnDTOkfdfidOYGzvE6dq1OpoRqlpJanuF/6T4oyKPq1orrBVqE658hksZQ5gzPMMFUiy7by7jdXZPSstvXiK2EQPXlw+8b+KXdvkI+3Cb3Zql4JaPNt3BmruOJz1VfYLT1HpWOUhWrxj7kWXXGvXtYp9/7B2U6WqdWWSFpLWANT010QFuPODxHpaFOyJhg9hLD6JTw+A5puITfEUE1P1NQuTYTXRbU8W6tmcNIOTgynSJFK/TLiRptgp4uR6KINsgPvwPB+bPukC71zUXcQi519aPVV9C0PcCWWqNoYEcbxLsf0rj+W2db0ZEUO8egh8PhbfzZ5ykUfS37huyujU02XMfqPI/nCMRxhJOpp1QhrSxhn97B9QIThZ1si9g5IVQcvDfCDROK2iWC8VPj6swLh8nxBvXZ8ySKFzWXKDrXCQ7fIi0qFOE0QdghHe8YhVscZTj1Bl6RYXeeNRcAW31rfUldD5IeGfPYozvQukLZv2fAbdJZuUzI/foZDK7ICb1pJr0HOHPXCFJpErsUI5E1r1BW26T64FptisYSibakhUey+30DLHQ7F412yXSXOq9Q6nJou8SmenCEPf2K2eLG3SeEFZuyeoPk4C3yMqMWLjPsPaC+8BmSk/skrk3QfsFQt/Pi7MMqtR2nj3BbS2bzFUv3NDzBb6+QxGNDULeM33PHRMSrU1cZPvhznKkFAxTSVlsH63H/GKt1AxpTWBu/b5IcThiQJprQT0xPXhFdbYGzk7t4fuMsKpZolORguw7Z4CGOM2OAZFLQiX4tDVmcxlQXv0gZ36I4OcVffJUiGlCMH5GpQ5b38aW9C+p4GhxMv4EnaFh0i1T9dR02RxvEYZVw6g04ehdLILFAX2LF1h2syS65v2zgLjIu+J4+44f4XtVcYtDmDY908NiAZeyVn8Yd7DB4+HUqF76C45SUvY8Z5zV8GQfmbpA5FVw507uPKKvPkPY2TdddWo9kMjZKOkWxlDgoLQ27Ilx9vvSC00NyqB6wGsE1qvVpuv0nhAefYl37TbJCNIdtMpbxJ0/JpfATEMutEo2kl9nHbq3ialvmr5p/V6Uy0q4OA5qWKso0xAuncBy9YAqc3iZ5WMGqPoNn64ITMzzYIegsUvSfmH6005wxOjynkHptYA4bUkDGJ0+gLXCMjdXbwVUG32mQNGewjnfIxvfPCOTqO+cDcveMLWF7OWWW4fY2SPwmpZURVC6RKx0wukNmz1BRV72hvlQPq3/faExtbfsEBA3PFKC5+om6sOtCoc2mwGaqzSQluR6Sroc9/bqpC3Qf/H9Un/ktY+BwxPKoLGLn+xRSCYpsq5gZFpZo8NlTiuYyRewQOgVxqT76ALccGC4Hw12cmZdJbN/0EdU3rTSvkNbWmGx8m+roLqXqSHMXSE52zUHCb76CVffNRT45uW2gaNpa+L5rbA/qehfSmYrtEakm4+I600T979LwzxMF0mWdkDuuoSsLCkhz+oyuG08MwVq0+lTT+UjbGHE0Dsmmnzd6nPLkxFgsnMoU+WCfQvFEJSjUNwtt7DKkOLyJ05w3zA8nz7CmVcE4NTYWadSkzxFgTsMSDZ6savus9lFk+PLTj/aY9E8Ill400WxOt3Bm9Xsc403fIBrs4hcxqUj9wn6bQZSulSVxkVDxpsmy7lm/3gnwpNxJd7Dcc+aZbyKHotkP1g2wiOEjnNqagR0pEaJaUT6OsYpjA6h18sIcuCl62IGe4R1yz8JTpUebaa+DM3581o+c7Ju4olOZNtaPLEnwfY+odx83k13os/opKY5vYzdexLcnTDTYFkvh0f9D2focdiUwdZ7UDY1SqTJ13VyApSGivopXmaJY/yPs+WeJT1Rfm6OUsrCvn3GMLRhRbRW3TBkev2u0Zq6v4Y5n0lDVxjJJu4N1oHi9g9vvUsxdN0kzW0MmqTwFlI1PKMIlY3jxpp+lPLiJ3X9M1jhPSJdYNglrHuvwB5TuIpZfYqk2MFBUtEO6/2Oc+RfP3jHVBfyuDihtvLBCJOvB9AXyw3W8QlWiBYru+3idF7AMS2Pz7NluNk0OztwK0ca3DaA4vPwrMNkz3xtfF/3uYwOlteuL5PkWcXdIqPqGwFuBTVr6Zwpf/W5qi2eXKTvGrr10thWMnxijQjj7JeKDD7F77+EsPU80EbHbx5J+OJgYfeTk4IiwmuC1ZyiXfxW8db77z/4p/8P/9m2+t2Oz3E74yRsOx8c55y5PE506bDw95caVWZ6eDlmZn2J799DUZbonQ/7qGyt0+zG9CN66P2S6XnI6gUenNqGf8rdeqHPlvMNUmPCzX1mg3ezQeySQE0zPO4yjJnfvbPLBx0d87Wsv8eTOASeTHiuzi/hhyMnxKcNxxuXri+xsiCvTw6oFhBWPTrNJrdPh4SebjPoxL3zuGQMeu/mDj1g+P8OVF8/z6OYTpham2d7dY3aqRpGULD17ne1767TCgFPGzFZbZIHF43u71MIQz8lotzvcurfOXKvB4WGfRidkeWWeql8w8+oc6cMDvvv2AZE3wz/6w10e7xSMuhZ2I+FnX59hdBSZ784ki6gFbfrRmHOrSk8csHbuKu++c4fvb9l84aLLf/Qf/Dz/+g/f4Z1bOwQ1WJwO+epXXmH70afcWY+pzzfY3+hx+dIUO4dDuvsRr77YZvtkRLsSsDzbJrZcvv6tdV551qPTaDA6zjmVHnSQ0J5qcDTQ4C5mfkHGg5CP1rd54cIUbhmxu+1SbafU/JBGTTbpGkV3SOZ4/MF7e1oyMteB66sWf+c3vspX//avwMKLUO6TbDylu/UhDT80l528n0F1lnjvbYKFL1KWXbOlVIohEGslnyLUGXD6nAEHa7AtvXTudvDikTl/lOpOL32e3FMl4gGut0wmIKwSSq01vHxCrGfLZGAi5LY/RZlskw56BCLO6xmt1JMsMafv44SLlPVlOP4Bdv2GOZ+NPvqH1J/7O0RP/ozwxq8SRymu9HtKC7gZXvgsE5nBeuJ7LJIff0Qa9yha56kpvj7cIMoE6E7xsglx7Ry+4IXiG2nYmuodHJINMgg9cm2kBbgupMQU06BNPN7BcduGcWD5y8QyHjSvUbbq2HGs6yaTcc9UYG1PSSxxtQZkfhtPy0xPFaR90723KitkQYl1/CH2/JsG6m3d+b8Izv20Oc+b0GARU7ri+S3jCG6t9+jJh8YIEbY/Q3zyrbMhrv4ueUKcdAnxmNjOWe1skjC49ztM3fgSef110uGOqchG1VmTWBMEcrj5ZwSdy9jBDMXp9yjKOZNuzWUt2HmXyuKL2O15s4QN3BqxOFHNJcOpKsV5muh8cdb7lntecRBr/1PKyhJWq0V2dB9r7mXK8Rbe8CFISZmJnXfHbKMntoubjow1IY0sxNXzQ6kpVT4WaFfWsxi8WTIrp1LGjMIOxf3fw58X3G7PJN4caZkNnPEDnOZVnKkLsH8TAi1lAsaTR1T8RQpngl+/YN6vGr6LB5aePDB8skLcpd3b1Be1ya9TlBXDlXF98dcivHqFye49wkt/DXvjD8hU01wQ42hkTG8pCUVydPb3SxPCoEahe0rvMe5kjLN03WiOLcXrRc9PTox9rHCq+JUmpVOSarseNLEEV8wzUyWXOljv53y8Z9Kdk0mfGq5ZkhW3fw//pV82KXpr81sk0y8Zi9pAusP2VcKeKuVVktImO/4Qd/ZVU0FxVAMV12ruKtYkMZd0ZGawfaPQpLpC0b9ltLNh5zpM9nErHRKnRkX1BjvGygQQl7EsobADXA3NnPDMVtQQEFMGogOKZEjQOUcmjeXRd//b0h1sUMqNHjjmwKSpRLT/PcKZF8knh6RJhlvRRMImiE6J1RFyImJFafxZLEvbxhg7WCE//iFp7wh37WexDj813khFTe1qC+rXKfobJoIst+I4PAeTx5T/P0/vGWNZnt7nPSefm0PVrdhVXZ3DdJi0EzbMRi7J1dpc0SQl0KAtQ6Zh8IMlA4IhC7AhCYYzYBmSqC8SZcGARBCiSZlrk8tdkrOzcXZyz/R0TpXTzeHkc4z3LcLYTwvs9vRU3XvO//++v9/z5A62JZOlfaU1O06HLD0+AXQ1VslHA6x0h1RI3lV56KZQyJdZS5OksuWrncPqPiCc3KO8/lUM6VtIjEM80dIDqpyD2jzWeJNU4rJlX2NA4m82gkAvTX5jSeEZqeXillaJD36ILR31lV/An22TyiUir+vlIE/6RKLvW3hdvzxkFWwnw+q8yOT4No48MSRyWphUggON5cgD2XXapOmUmVDSDQHcnVLirDW8izH3ssZNpPspQxS7VGcaFpRFqZaaJ1UHicKXarrVcAZbjIsytbNvYO19TBLukJY62hvKBYgpBFLRLVXl8DzGEDK9NEQHz7Qi4Dq+PhiyspgFHkO0h9O4RCJ07ekRSeMVnOJYJ1yiekzGBk6lSpEcYoQ5qUSCR0/xTj1PmnoYR29D7ax2PcWlbEm01PWx/Y72v4xcujgLZOEB1twlrZXIZ4vpEHvhPPaoTyJRbLuiNM/CPoupm61EoVoCgREit1Nf065REeYYomEPEgpPnL4u0USUggskAjmTi8HgmU5C7ct/FVMUPTOpOghgQyJd8hCzVUeVhLvKljC8ZRw/I02sE9Krt6Rb5yw6xpQB0niTrLQEMkQSF7odieRbUwsKphkekhd7+iJwOy+TDLcxxA5hCBxsjCmpEbmg+ibFYEuHNOHxfdVwmc1Lqh4sMkcjwcKAMKUHJcYL0cbJQGW4CfVzeolw9QIsB1SHWdDD86pKr07k+yFdn0weprdx1j6r2+u89yG2gO9EyVOcOFSN8TOCwR1K7Vew7VA7xRLXC45/RmX9s0TRkLQoq0EgnmwpeCb161huk2J0RxMEYtoWzZ41eYC99jXi7h55If/edQr5O88C3NYVCjMkFMCmRKosm8QqK7RHpt3CCUgTeVSl+gAzJNJmzil1nWyCOdsn9VtYEm2undHDfda9BaVlbKdOJmqTzFS9lVsVX7EoWGY6oHPbZ8mmfbKdv8A79YpWXeLJxyRZm7JbEEvtR+CKjkeaFtjpiFC2m83LuMUhoSXPnLr2f8OtP8KyVjBXXsId7RKLKkz6c5Ec6qUzLhvGqfbzUnl+mQ1NhCDbBjlE1DZU9ZlI/F3glklALsNOUTZmAVZ5CeHLOU5KFifaW4zzY5zKBkbvlvYRxW1uzq1DbKoO1EozZoOPcbzTuO1VYkn6xNYJwLOwSOQS2L6mz8s83sWWF2l7lez4A/DaWsuI5KDkz2lfTUjVeXkZp7RyEtNMIsz5q8QDmcL7WP1HxBJzr97AEchbMFAfvegCBZRJkZAefB/DnDsZ0IZPlaovadai+wmhDJKrq5qaShUweA5TLDOP38RdmGNmrGJOu+pflvVNURTkCy9i7r0F5QtqanDjA3VfUz6jfvUoi3RDIQp4+VllWQ9DYuz+vLIq0tkxxWQHw++omi1WRd4IpK+XBcSzAYUQ7mV7Ja9Mu0my/SO8U29or9a0BUJ8Rr+T8eG7lBa/gFNvEhw90ZpVFAdYlolTiO98pN9zGUQV3Q9xmy+QN89SjJ8ooNOUiOjumxTM4XSuaJQ0dMqUZKjlSSy0z0wguHaNQDSFjRVsaR1MHoB/WvuXJUl0yNYlP1LSN3YbRzYIgzukSYQrBwb5XS++RLF/T3/OhjFTar5dWiGVSoS8S8ptEABpc4V4JoqsZwqDFD1ZPpGUQU4hFcDRQ7LmNU0mGcN7qjmUDielVexWi2TzNkUq0KY1ZkxxygtYgUT5n2LMfY5CYGMyeJHzgFfHERDY8FNiv6EGgrj/kfJAJKIslg1xoNtJxrT3NqX5z1A018ievIVZjMmbNzTlZci7SGtKLnZrgejoIUiVonVRB0u5wKFkqCxa0HEXzBFmkWFKMu3wMd7CZYpAhpUpifRlbZOyURBNuqSOHIAj5coIZXkc7VDtXKCysk7ckj57yD/+H36H/+Z//38YzxyeW3E5v+Yymgw5tdRhMk7IZdDueny4PeDqWp2rp+p0BxM296YsNiqcOmNzsGPzk/t7zK3UONzM6Q+n/PoXy/zNn29RqzksLRh4rVUigaaOY0ajjO7hhL3+kKvnOsyinJrr8PDxnnJcVhbXcVwZOjzh1OkNxsMJ434fv9Hk1OoyW0+eUG23MGXDHs249OJLfPD2e8oz2rh4gd7xiFsf3eMXfvnnOdx6ys6zbS69dB0rMbn1/rusnz3L6LBHbzJioVbDqpVZWOhw+/Y9FhcWmV/rMOyK4x7G/SHtTpUszTh9/iJ3bn8ixk66B/t0VttcefE5jdG6nQq3fvwRlbmL/L1/tssfvH/A9bMlFvycoV2mjU0SRLzx6iL/7kfPiCOPb7yxxPZWn/l2lX/17adcOOPSLsn5xKUfWNRMWG3XSM2EOJyysljnnY+PCE2Xl87O8/BYYIMJC1WPH71/wIVzEhFOmA4jAjF3uA6embGx0qJ3nFGuiy63IJmmHE8yzq1XsMKY9zYLNhZyao0Wt5908XODYRgT5Q4vX6tTK5ts7gbcfXqkffE4MJmMcv7GN5b51W9+led/+esYrXWc4RbD2++TuGeZX2+z/dP/g8A5y8ryEt3jWzjFGZrnPks0uEupsc54+0cYozHWqc9iBI/I0wyRKQkE1S9MoukYx5FBeklElyTCDZjuq2XEqD1HXsqxi4FeqnKxWhBTnj9HLFXBOMTy10jyI4rtDyjMMt6pmwoMlkWa2ThPJkPOiXAx5Cwy1stG6J0hG97H6+9hX/73ySVJKTBZ14ZkiJFVCJMjSs3zGKMH2peXqoHYbLzZfWKjRUUSq4dyqZa0Yh18MebIgHyfPHmmWmmpIUpSzU7HWHM3Cbtvk9vncMtVDEkPpDIgq0mzg1ye409+iLt0FkuG05ZHdHgHpzlHVr5EKZ8x671L4azhWFVdFEQH71N67ltkR89OuDPZMenhFtROY83PQ+STpEfYk22MuYtKmZfrsVWRWPgTUjm/evPKaJCFmBhHXMskEAj05BlmEGKcuoEVC1y1QyLgYGGUlRbxDt8hq58lz8QWtkz05Lv489f1HqGV4MLDEuWjvFvimb5zRX9uZlOy/n2tzUZ5ii/gRqnCzvZ10CHLP7/+3Mm7050j81cwsh65nO+E9ZSVcaV2JgnGhefJhp+S0qJIJVEIie/hJhlR7wNYeFWHcpEsXuevkktVQJZS3e9rTN5c/CLp+IBC4KqjA+yV19QGZ1tjCnueLOphGpb27IUHlMRTikYbLxUbiUCrKwpNz0bbCsXUM5IYkypncDGJwq7WagXmmI0Dis4ZnKyPVT6H4UZM7nwfq72K5y6rGt2YbckNS6ttUdAnPfoQtyVK9R21RFmtK6QyJZg8w7XmiTxZ16akYUpWX8S1JIX9A+z+Bzjrfw2jWob+M8ZhSqW1RDrcpshNrFodY/AJ+cJndBEbPf0R1qWv/mWl5Vh8P7iGwVTMPkmGt/ISmdTMahv6rympbMPpYJUrZOU2juGSSVIBi1hYXwvncU3/pOY+vktWuUQ03sUXMGVpUYfe0dHbykZKvTrZ6Bmu1PRjAYQ/UhB/Kknk0hzO/PNEUq3uvvVfFQ5tVSrEEgnxPIyVV4i3forlyPZzopcF58zXyPt75MEutoB/BvdwRJMWdnFLbSVuStzTEU+922B2+ACSA8yVz2EFm3qxFQWTKT3tpdexkyOyvQcYC+cwcvHeFpi5Sy5AnsGRws8KiV9mQu90yI5uY66/jpFMySVqnTt4dptUoFPi/pYoYCyI4imYA+ylb1KIviUTAFedJD3ALp9Sz2M2/ETdldqBDHaxWhd0IyWTIHl+WLZDNnwKnctYux8w6t+ntfErxNPbuu0yZEM26WKIF9uN9XIQiDdVkgG9+2Rb36H84n9Kntj6z7fok056+rBMCzq7NwAAIABJREFUJvJD38I99QpWaVkVebnQtjOHMDjCzQ4xKxuEwRCrvKYxfukXpWFPhzO5pAqclLj7RCenVvm0wk6SvZ9id17BkM5Z/wmc+jqOTNDk51O/BNvfI5oeYK9/S7dNcjmRqE2epfhOmdgQynIJo3mR4OgjZTX4NbE7rJJt/ylm9SyluVWi3e9jlK/hVMukeBr5z3r38E+/gVHETB99j0prnaSQ390xRuezGlmTpII9/5wCNmRjKyT6TLaR8YTcDXRCGssQQaoG2UjhiIVZkFrzuHmPZLSNLXDHPCahhOs3yY/eJC+dppge4q1eIwtioq03KV/8NZDYValK1LyJLQTPyZhIojclDzvtkaY1dXBGdorrLZAc/gy7cp48fELsrmB5NazBp5jtyzohTgQWY85j50Jr95WSSyIgu4r2fBMzVE6F1BLEz+rWVrGOfoa5+ApJ/w6z/j38pZs41TWyvQ9OOvZyubWmIko56Z3Kg1AGWo6lPX9XorxygRTgGBFpLjqzzl+CCWdkkSGwDQXa5QIQKbsURlOngNimusGNUuXEzRvt4UV7RHNfIB/c0Yt1efE6gUyMZSs67pJZQgszKQSa4jVwPblIhdjymW7OYXhnYfgxef2qRuCt0RGOVyWV+octdNWAYLaPYw1wat+g8GKN11vde+pmlWeE0CSll68JDd02JxoplpOhOO8N4Rt4SxjD2xrPY7pN3n6VbPIII+1j1TZ0ECIVF4X1Nc7otDQOczU/SHY5k0GPZ+sFKrdcjNQgyY7U3pCLpi+anChd9LCQa8fSMXx9QJvSgUuEeSJbgTmy+kVM0d2I7aKyLm9CimyHONkn7z2mdPprau8wZLuYRSTiIRZ9YOMSRXkJcybKpirsv0lafe6k+65slSZO/Qa5eOxrSzJ6UnCcKZ+FtKfeeUtUckkfq/sueetlbCsklk205ZGlIxx7WdMladHDd8V5/gDHMohKZ3FFD5QOMBz5jh7h+atIExmhrIsDWweUC9hBoFBNsUJw9JSwmGIK7NCUrriLJTonQ6whP8Nwr1G05k60UnIRlKFwkZEI7G4qVg1xG9dUM6bWgGDvxKhgyJBAYKUBhjAjBnd0oCegVqtxGqtUJelukYlFJXxEGlRxN75CdPhD4t13qa6/Ti5ci2BPIbDy72z4S7iH7xGVqlr1cPMGxtwys6d/jGdVMdqXVJ1ZiL7HPYFseZKmOnpL6xF2+zr5aA8zPCTsfoK58Us4fwmMM8vP6SAhH9xVXkNSEs2tp25sw53X4Uw66ZMGu7qtllhiFuxqvBxvkSzcxRFNVjLEa1xUxoGQfYtkoBcDZWdYqZoOIsMi3/8JTmWVQqBV8gywyqqLshoXIexiVzc0Fhgcfp/qwusnKbbxDrY8n+URIlBWKyVNJ2Spoe9fxzCYieq1uqoXMIWZin1AYIlWWbW3lpVArkhdskgAXusYyTaR4WmaKXeXdEBYNK6S9R5j5l0FJgqPRgeZMlCQA3zjKnn/PpYxw6qfIZHUR7CjW3qsdZzOGnHiY8tQa9LFrVRVGSzGA6/UAhk6TnZ1SCDvS6MIoVIHe4Os+wPkfGLIz6KxRiI2iah7UjsSK+riC2TH7+nAv3DbOKIAlu+GV9IhjydpOgFBSpHeTtQSkDltbCGKSyUjSbUeIMm6dNrFKm/oVtStVQhFvXs0pLp0lur6OrROs3f3Gf/0v/2f+N0//YD9ScEXb5RUdZdaBa1anb9454heAK9dqtKpFhoHHiYOvuvQnYzIYgvXzdjLTO7fD7Eigzeuwl//coMbF1qqcly/sIBRa3Pru/eZ5gWNSouZxLVNn9n4mLnFBfp7x8rYWDrV5s6nm3zmszfZ3DxiFva4dukSm7tHDHtDKm6O41Rw6p4eOoPZlNXLF9l+9JCgH+GJO9xymQ4GhNOES9cv0V7u8O5bP8J3HM7fuMnD+/dolKsKnQzDhGA64ez1C+w822F99RSPHz9mb3uPN776ZfrdY/rHh8yCmDPnzvDk0UMmg5ArL90gTiPcwiRLZySxoeYZ2/PII0k75CyuxGS5y3e+P+C3fqePVUl58UxTL92xYBwkWivKxYrwNhM8uUC6pla1ylbIRP5M6fymFltHoiWs8FynrGc6ecwnbkI0jbh+vknvOObh9oyVps1Sp8lO94CKbPqPE+3VNpoNJoMxo0HCZj9kabnC559b5Y//4h71lksaloGIolzlubUK959uMppCpzxPbITsjuU7NeXG2QoVo8qkavDpB8e89kKbR5sD3ruV43iRSGn4lZ+/wt/+R3+L5ZVXmcqlbv890kNZlpzh4IPfpnX9qxT+HNHOR5RqqwRTQ15ZxPJMinoYYlwSHXYR4K18njwJlGJupQZmfRHCnhyvsSttiign6d/FkoutpG7w1UueDx4SjrqURJ1sZySp1Jo8ivnLmDNJBVlqsLKtRaLex9iyXe28jj08xqpUSQ7/X2JnDb/+ApFsNit1Em8Ry2lgG12N5cuSw3IMZuInNxKtntnlGsmugE2fYzbcwXdsHeoJgFZgff5si1AuAckAU6wx003y6oaeR400JDkWvlNPSfiZ+NwPHlLIcsDx8Y0asfTJjz7AW7xCkto47TOYB3eJHRlyzFPEPrY7I+nvklWrlD0ZDj/Q87oXdslO/Rxm0sMYb5OVLpBYEdbRx2o3cpuXlQUhkNs8P1ZVqyHPRak1mA7xaAtXLEeyTJPliBjTCgEiV0jkPSAVQ6lwpDHebEAsPwtlObyGW20QFrkCZJNcTGWSZ5AB84CZGBnKDYxEntEmjiTSgp0THZ+xoe8lJxuAUdahtht1SdIpYZxRaV8gGd5RZbO1+Cp5b0cQDmoPywVWPD7Us5mkXPFaZN33KFqfUY1wWmroYMiZPCCV5aEsbm2TVICgDbFiecrrKjmupuxS/yyU55SHZQhjR97HwrewZYEp0X9bh69C4TSrK5oUlcodRgBpqtrfzF3Rs1Vw/AirtQFGSNy/S6l+mUSA9f2PsNtX1boUje6rRSoqS5o81Jh9bNiU/CaJLefridospO8g3A3DmCNPtjEygZ1eZfrhP6V69pcoSnXo3SMxTLxGXc0W5twXKIwh2f3v4Vz4BsVYNMzn9T4qNjc5Z9vz53SgLJB2uV9Jijkd72tyOu49w7ZnCruM48c41QsnClzRHU7kHLFKXp/HlhLY0U+1ouA4qxTZQM8gZvsSSbCPdXCbvCUmppjSwlkMJfw6RNvfx137LI6/wXRwB/PoNnZN+GRLJ/cVqQw21pSJE935l9A5h20tYQx+/N8XmW3gzHoEokoTouG5b+GMpCuZaNdZluWTIFT1U64bBIlYBhiO6CZ2lYJo5ycquSgWgNFlHLkAetJnzrFEwSdApHxCsvOubp9siSHtfKTTCK99UQ+nhmy0ZCso7krHJzKquOM7xOExfvu6HvRkaypbqtLKi0TibqzMUQy3SMI97PYFwoMnlOpCMN3G6d7Fmr9GFI1UOZgJcXK2Ry6U0cZ5otkejhWQ5aLikW75kEI+iLMtTKFMrv0Slh2QjY7IvTaFOLlXn8eMhmTRNqa/rv5lo7OMKR1it6LxzFjUd6W2auLix3+Ic+6b0N8k9lbwbEM3l27zDLHbxpgMsGoOSWFhHG9jmwlF9SJFMcLw57DSmGDrLUz5GS5egZ338FsrJNYp/RBHg4+xBR8tVQJJOIz2SA9vkZRl2HKAu/g6cTpREIYZH1DYqxSi3LOlixiTBJJqiEjlAevPY0QhpgDKqhfxo20yUZ7s/xlW/Tqh08GdPCaubOCaYwpPHghnyHb+hCwMcFe/oO5rxoeq+HLKJQXsFN2n5NMx7trXCOXyKfHpbIptGqTlKr63xGT3HRyhaM+t48oDMgpAgSkNivZz+tmR3nrcv4VdXSYVkvXortoUxC0vRTVxuKbdhxrfid0mtiHxF9nQTykIsfIZdvNLxLMnIDHQinwup1CtkFBTt20hDk58kCl0rYVTv046+hijMMmrl3Gynm6qremW9lQLiQyXNpjtfQe/de3/10yWVl9jevxDHEPSD5sgU35TKNhHJ2pJ0UQahtK4ZcMkPWojmGg03pq/of5Z2bDZst0UDZfC+BIKodBLBcNfIpGYukSL5AUsUWrBYlmyXStOYvYCfbNj1emIV1y69Nb0kNxfwBKdmJeSmAuUw2MicQEHA4UOCfzOmTtD3j/CFJq2JFtKdTJRwogRQS6a4v6qndJLlmhhCulYOQlB6ikUUzSO2pvvfEW3waKLS1s3cft3yUtlrUwY6UC1fe7SNe3Z5oNPlepu15Yx04dEAvmrrOmWP58dnigCZcIuF1kzxDWXZCyirAXsBczpUxIdHpWwhdob7GMkQ8zGZeJoD1NqQDVJOpnEaa4bnMIK9X8vRHIZ+ilgUdJIdvXk5x+GpLNd0r5sJcqYC69hlOYxpjPyg29jr/17euASKI4AlQTehihkuo9OBh5iraiew5UonlmC/nvkrjighVtiaE0kFSGsHFpScMebJK01iuFjbOlUy4E5OXkmGOEn2K0XyTMXI3pGbiQYVkcTKoXRwEomBONnCssUeGUsELSigd08T2pKpEy23gWFsFgqwuvoEU/ewxMoX+1FjHRXu59yiJGFfCzPwVjgeavMNt/Ekj6eaEUNh9zsQPiQPMv1IIP4a40hSSaXR0OBSMboMWZdeCExxnRfGRziG0/69/GXXyESZeYsIBX+ifQ4F76kg1/5e0pMW7SHAu4TNoUkqMpSPRGIkxxOJNkwuoNFUynWvhDchaxsBsq4KBzRsY41+i0v0TyYYDSXTzzKlfkT7sHwCYWkRAZdqpe/Sbr9HQyB9finiWZPlR9gSjxwuIsrlo+aR3G0idVcJZ911YMsXAB5L1n9D4mNulooivIiQvIUr7nUIMzJbcLJLuWVN7CFObB/m6TcOgHRxQnp8I5SfEWBJ9rQzOtQ2CledYFg8gxPeo6WjdXbJqmtq+5U4rzy3oxEqZfPE4tKcfgpztwGcWyQj+/hNy/rgFeYIHJZFECvEW5hlFsYmadQp8yX79ShJuMsiQ3LpaEYaJTUGj8hTsf4p7+ooF8ZKCezKXF4iCeOaYnHP/g3ZAsv67uvSIY4mspYIzQbWPJ5qs3h9eWZ31YArSTARD9UTLaxO6+RSt9bFLOidhWzQ2CTZgM8IZw3nqfofajgR1H/pkkT08tgsKmaTqfzomrGsukTDFcgjNtYtdMYfhNEASU/J9FDmglWUqXk5gxnKVY+xFq4qJUUOZiOZGhSqlOzU0KBkQ1SCjenbAeUrt4AL2d47zF//2/9z/yjPztQ6NuLF0t86aUlxoMJ9zYn1LwyS4s5t7dT2o7FUr1MPwtp+LkeksPE4fc/HDDsWsx7OS+cL3iuY/J3/uMNVi+dYtY7oneYUfRjjGLGzsRge2eo56Tzl5bwSmUOtzYp1Vq0VuaoOh5vv/M+G+tn8KueDlRKvkd3v890NOb6Fz7D/uMt7ty6x1e++lm6oz7vvXebn/vG1/n4nXep+BZJZlJtVGi1mmRZQRSFtOfbHB0MePr0IVeu3ySKZgx7PVZWVxj0J3SPDpiNx5y/fEW3zHalzOO7jzizIcC1nK0nmzimgek4rK4vEgYFZb/E02ePVUs2t7aE67rs7u6yvLys0efxcMbauSVuvbNHayXjxi8+z70/ucev/S8PuLNdcP50neeWUvZ7sb7/nluzedaNSMIpDaNCIcMv0+Lh/ojnNmq8dnGOH3x4oIowZVWZBYfJhMV2mWnX46fbY/IwYoZJ2zN1sDIKTAYj4QVZrC8Y9GcW01FItVnhVNvj4/uHpMIFIuKNq3WazYLp7pjLN+fZfTZla2vKC6+eIp9N2O7POBrnnG771Eo2D7d6LLV8jiYwVy/R7U5otizWVpoEwxn/9q2eJH35m2+0+M3//Ctc/MW/I2AQjP0Jd976PS5/7q8z3X7K8aPfp3PhdVIkITiP58jWP4PQxPYzokKqSF2ID7UOU5RkCJyRHtzCLYlCeh5D3o+ZmJFckOqVQIMnA+VkCVzQCKbiesCa7hAPn+BufP2EKD+8A6bUXRcxbRs3OtCKxnT/p5TO/ipGbR2zf/ukGlg/RXF0R6HO8iw05TnrLhJPHmPN3cDLcoJooKkq0/GhJ+nXl3RAJM8GIaEXiU8u79Rxn9LcPKmYX7wVnPG2qubkjOKawqsxdbgradxi1tMUqLP8GYLZHp4pW9l5TGOe6ft/H0e2zYtf05qTFY0xSxalvExQbxHvf0qpc51YtNQC4m2+rOeU5O6/xlt8hcIyMLOEOJKodR/bnhcpgxpjnJawjkwMWdRI31yWd76vlQrb8rHkHpSdvEsyr6IKZ2e6pzUrsVwV1SvEw3ua/rR8GczMkUY7ZE9/gDF/Bic3sKtniKb7GJwMMUJcPT9HWz/Gai7gVOSC+BS3sk4aB4T7f05t/cuEpoG18z7O0k1114s9y/Yt0u4+qfzMzn4Wr3Ja72lOPMOeO48ZxvT338dtLKk9QjBXZvyU1PBxPfmM7JLMtvGa55lNtyjNXSCzK8QzORc/kDyoLiyT5nnM0Q5F4xR+5xWi7h3c/Z/AaflMRQqu1Z+KJeMkn2JyG2/uJnGUYsy2lRMjSa7CmOBWT+t5RVgFmSfA72MySbi5UsVAP8/CGNOzxsJ5kHdy0SeXM14eYfobpMVMQcKiui4s+TMXCPf38DuLWFKXEPaUUdPhg9wTLdEr2wuq+JU7pVD20+mnWOaiDnFMGQbRPOH27N3T1J3UMYLjd7BkGG02CXvvgpxLSnXyySZO7SZJ/x2tlBZJpKYkywqIgyO82jVyv0Yili6pVMqdWT53ooo2C9z5s2ppkWAPmdSP5e+6j1GUldsgPy9hj+SGsEAu4gnTbetNNS0oi8jMiSY5XrRJEXTJ3TLG8Af/XZEbY9V82L4oDjzi0iK2UIFLZxQcR/0S0c4HUPbwBbaj0AiPIj/Eqt8kjWKsIlAytyFUbUeAO1tMJwlG8JjK/A2C6jlKjk3SE6BRQOrGJP4ZStJDFQigUSKXHqX4DT0X4+hjzHoTM5INj0PupuSHd/HK5yncSEmK2oewXeLKKYppD1+o7qZLLiaD3e9iiatX+tDRsQIR0nCbfPdd7UuVlp8DgSiI5rDSUUVdvimKj9ch3FIVA1GB5VtYcxLl/lC7Vlb7JsnhbZLZALPSpCRk5IlcMPt64dINdtgnFyiWOEedNubSV4j3/hzHmyMTHYTEn0WJ51e1E6wi5fKyAhLDcB9PHKxCnxddjFUmGz3BrrZxyquEh7fUi5ynVdJ0B8ob+NJjFtq0ZowlAeGrki6WKVtpDmtynzipQ7iJ21jEcJpkAsKIE8y5Oul0hjk4UlWVbZb18iEKLOlhq16qsawdT/kdiTM0Pn6Pkt3UTZ8rMePgmGJ6TBwF+GtfBEY4xjyBXNosRz6rWEQk001KOiCRKFN8QtbOXH3oJKNnOFaG6W6cHL7rq5iz3ol/U6LkMm0T/dT4CX7rFYIiolzskcRSW7E0Wmi0ZXAyIw428dxVsmyCvfMdUncDc/UNisldDP88SbatKrli7mVKkw8IwxijcQGj9wFO47kTPZVwJiS2PrpN6jVxJW1SpJpwke2m/FzT6Q6JHNBbN0i6H2ELZXXhC+TpJu7sgHThi5jH72tvXTfXokjc+1Tp1nJpls1yJpyLYEzqGCck2nEfT4jiwRNVb8nvDGEeWCcpF+nImO4S2c53dYsocfYiNSlKDmZ5HUMgI+L09te1+5YlA5A+be5grH4ejt4mb6xTWC1NZlh+iVSUZYaHJUwO1yOZ7mBUToNoUOQzZKS6xU6NAJcm4d4f45fPETsCBBxjldZwiPSS4zavnaR0ZpuE8VhY7PqSN+c+r3YBY/cDDHlZGBmxt0ApGZH6Vax0qv8/u7zAaP9nlOZfwWiukEpMyZFLuS9dD7IoV/1PVlvDFMruaBPXNZV/IXfcXACAS9co5MGfxTjiOpcXByZG/SqFWC9kdSjRZ0Gu5DMyieLZJ452pR3Ld7Iin/eU9Nl38U59GfmnFr1PsCXR0bujvzsaz2FJzE0uxEZFTRYCfjGqp/UFlAy3BGFGUj75LMrQJUr2MZsvURo/UIgPpTXi2ZFeeAzpMEf7mLVXKJxCCb1FdU1p5ZLQktijNX+dfPdtMqukL+BsvInhCKTsLmn9KiUdljwkcSStYmFIB07o6RWPWWJihz1cyyZK+5gzcYNXMGopgdVCcrtm3sMoncUqN4l3fkYSDfDXvgrTWKf30s93GFC0b+iBMBncwsh9PIFxeibpwV39Ows93RRQaB4rDdq0PGxxAh+9R2X1eTUuxIxxhARfZKTCusBTmGF6+COs6DHOxi+AxPplcy1/jrmIkx6SCxDu+AmxNcNb+iyZKFOlNiLsD1FENhb00CQMENlmFcEYR2KNwR75k++RdW7iVmUrPdaDrycpgijXd585ua8d2nzhqupnw1lAtVzD8ucIe/dx5cJfXcYQQKzrkWYFTnVFv0PSMRXeQlw/TXL4JpXJLllDYLC+6jSzZ3+oKTtv4SXiYIjr13Flsp8Fqj/M5Hdhl/AqFmloEk/FLNLHbD9PEU0x979PvniVov0Z7N4nOjQwxMEt6015t+QRudK2F7X7aIqDPWso16EIn51oiCSBY/snQxtRZvbvQ30dy/aJiwxbvNECtJ1uMhVbiHYuPezOl4j238KsrYI/j5tNELKJ7zSJROMoQD2hZ7trxJJgcVws0Wd5CxhGSHh0G79eJ3WvkE/uUoQ9/IXPEvXeU6K8fJfNuavk2S7FLCSTHqkjm5SEcvs0s/4zvGhMWu2o39wqeiQyCNq7hd1YIq/dwBC68WSTbPXLWHkfYzLTRE+ePmWWuZRMk8S08Uq+Mj9kDWaEM6rr5+gdD8jDEVWBrMrg69ov4raq/Oif/WN+5/c/5vf//B5+UfAffeuq1umOpznbe0OqTYujo5xOB+rlMjs7U375S0vc2R3zw09D6q7L+4+n6mT+T/6Ky6+8Os98o8z6hTkYPyBtX2bv6TFHz3o8eXLAuTPLNJtl7t9/xue/ehO/Occ7b/5MLxhLyw3mT61z75OPsAyT8xevcv/OB3hWjVrd47A7oNcb8urnX+Kn3/0J7ZU2L73+At/9gz9jbq7Fjc+/QJrmfPzuJ6yvLVA4LpPjA8IwZf3KVT555139eV++cUUfjVEY6FChP5jR6czz0a2P2Di9zpkLZ3jvvXfw5Pdt2dSqFcqVCsP+Md29Hlefv8k0kMG7pLwKRoM+brlGvVkjiiKeffqEKy9elpIUDz7cpDVf1mH4YDRhEhhcfWGDlp9TKqf8ux8E/Ge/vaM1ny9fq3K4O2ajU+VOP6BkFhj2hDSQBm7OxpkWjtQ5rYLdA4udYMx4kHOQyHFD6kQmbT/i5240KIUZp1YLLqzXuLeVs1CZ8vrLy2o7+PDBNr3xgI3TiwThlGePQ8a2S718koD4zg8H/GRHtNIhWb1J1h9w9Uybl6/O0T3aZ9TP8Qybim8zceFwb8T1MyuUSgYf3N+iWS3x2qUWf37/QOtN509tsL9zxCdPRnRHOTfP1Pi7f+ebfPO3vgrHKdFwhdGTD8k5pN48sQ/Jf9J+hFFr4LsVYmsOo/8JebhN5qzhuT6JVDGnffyhJBmvkoY7WnW1258nDu/jDB+puScZ7inLxWxdpoiPdKBtFt7J0kk0zpLOUzDZMm74mNxbYTrao9Y5RSxa7t0fY3ZukEkFLNjRoWtqerjlNYgHZHKGEDJOcoTRfB3sCXH3IY7XJq9fIu/fVR1r6dwvMtn7GM+XzfYC0f6HlFY+o+o+c3hba7Gu1IzlHF6pat1OzGFin0kO/gJDAHCnf17rdtZUSOo9TGEW+UsYgUGWPFTwsEBzjfISjrvAePP3qK//BnGyS1meh9mIyZM3qWx8jbzwsSQ+X1k6eT7nBXajgZnYzKIDPMvX57SR7utQKy6d16piLrwFWdYNN8mlNlqepyRwOF9g3xmZvM8FEKdp3gLDOwMj2XBfUm5MbEWUXalT3yGTJaEhelmomKJPPpScst4LrLSLJbcFUUpXzhINt7HLPn6Wao3F7ryodxHhvsii1G/NM5WuuVPH8isKv3ULUOGpERALtG+6RR6HOJ0bJ9aYuWtkB2+T7/0pzsv/kHT2lGj7Fl5T2FY1LDvVZFkmxrTKHHn/ExDrV2sFDm/r78FxfLKFFwh77+POxviiCmycIwllML+nHBpZurnCwqrKwqyv7BXhZycSvS9fwl2+yXT3Y8qVDLN+iTSbKSw5nCRqOJGKrRDBCmFYzd/U1EY86VHyKkTBWOtnYpmQ5adfmieYyiBMzAZTMmsVw8gxop4mesRk5NZOM5MEpQz1ZeAhA33/5P7G0++pclOWWprKdleVTWZFj4j9VSxZBFXmTzTslfOUfJtYrADD+6QtqfmK2cYnrZSg+zGlM/8B2fAQZu8Tdzdx17+kP0vR0xuBqAQnRME2ruEQt25iiRp++JBoFCuLT86+ubyD3ZIyuuKwwC3JYEVscqdInvwMf3mdvLtHNLyHd/03cK0q4d4tjOGHv13IRTgTD7CAIqJd4u238FsvU7QWSaZ9KJUxxIVrn8EM7jPtfYpbW9eNlRDDjdocgfidzRX1nGd7b+GUFsnsNuVKi8SrM3vwBwoJcc69jlk+Qz7dwilvEB+/i1FdAukcdT+g5Lc0imSJ2s2eIxFi9c5H5LVV7HoLN+gSOx0cuahINHf3E9ylF6Bskxx8pP7ZvD0Hs5NoX14cKyTLsTvkz37ILBcj2AvMSi7GsWzLLJzmKcK9t0hnsoVao7A3MMpViCOcJGIyvnfSD2o8jzHbxBLdhFDJYwF+OViVFuZkk6K+RiZNcolwiCJsNNKYmL/0iiqgZJqVxPuU5187OYAk98mtDpEcMqtV8mhKHET4Temmu7ppKUkcp3lToRPx+DZG44Y+JKSvPo4MAAAgAElEQVQtbcR9LHGXCrnVkglcTz2l5vLXtWdtIw5wTzvfMhhJE+n0bOKI3/v4LmlNHoI+s50faIfUa21oZCQ63lOVkSXbpixRLzzODCORfesClkyNnTkynT4VGjGM5fAeTLEqc0THQueWOLbMPH2MWvNE9SZQw1Jbqbd+pUbevEYwvIWdyu7aw5SLnFnDjWfq9E27D6C6oX5YK+lTuBeVZBkmPa1X2E5BLpqRokU+/DGGRF6sUycvHEkORF393cTHH2Nadaz6kl5qxC8uoENLKPUCxrFMvFKHgDLm5DHprIfTPE2+9xFFNsO6+BvEBz/Ab68QZhOM3gFuRTgDO+Av6yTQ9i9i+DnpbA9btr5xhCkassmRdr0D2WpJpWN6gGWWdNNtejPCqaTBG6TbP8FbfJUiHxHsvk+58yKZbKOl6zvaUfpvMd6jYIh/6gukwyOy8Da2t0Fe5BrpTqSrHRxjykOsvEY0fnoydIsn2Es3iI8fa9zMlGn9WCL5ZT3A5RLnHjw7UQ4lewQHHyu8s9RcJjZbMO6SBo+wmhtYVl2ZBpRfJAtuK2HWmIzEsgXOIqlUbcReIQOPbKgKH6N9XmGRWSyHs6qmaoQWLBFEeZmboehbjnDcVcbyiUm3yYsljcGJGiXuP6LcvqYpGUyhuE4xJFYtYJgwwm0uMBuLM9s6icrlBrF4jR0bJxsT7T3DabQx5GVclf7hp6RGBXP+RSpGzGiwiR0dwNx1TE3DRFhiYhBXcCimiaWTrXmwSyqbbhkQFhXloiQyFJBh3fwlLDmY7H9KKtC26jmS3W/jlhZ0S5HnCYUQhw0D04hI44xcBq2OwCQD3YAbnlwoDVVHFmUT37+iw6h08hEiczcaV7CDxwrOEYClU75E2hNis5Dez2MINyMKMEoOziwmFf9xeEQ4neKKOlFqKrK5l1fl9D6FKKGEMzD6BBwPt3KB3EwVIpgkR5oWkd5jLgPN0Sc4p/4K1mxEJs/UQNzTbQx7ShpFmIYMEpawrIhiGmhkUx8BkqZw1vXzmQkzIh1gLn+DYvgxpiEecvGvFxidl4nDGc7sI/2MGoufIw+6REmOXy+pcSBpvogZbyHUHL9ymqlACuXv6MiLXCBPs5OYYecKxkQi6WUdrIr7NrYdLHsVgm2QzUsWYwjLIpHHfA+rbGD4pwnke9i5TG6v4GeHyjKRapJbb5M9+d6JzUaYKQJDkq1zKnwPucpMkeV0xFRjfkwONFptlly1UrDwJcKd7+HnKdbK14h672MJK6B9QVi62NEYq31RN/Zp7xGWI+wc8duPMVvXNI4oF3ep0KTSoTz+iLxxBrfxAtnoI90aWwsvkgnwSTLStnQJ5fP5kSoJJZEgcDKzEHXifYWauu2rxDtvqr7Lbr+K0fuRHpCK+jlNQ6VGA0+glgKLSmyi4/dxTr2hyQnXl23WBnYy1I2TDAby6Taut0wodSRBMPnr0H0be+4C0TSjJMkWo4tZ1JUILwArr3mO7PiWJg68uboOB9OkhrH1Q6wLX8UQXa5s/by5E3K1V8cttQjDMXYmpGkJDS5RDD8grd3QtJclQzwBrrbP4YoaNR6S1c8olTwRi4f8ztOn2FLX6O0SZyne4lnqSZfizGvYLZdo/wl/77f+Cb/9h59wbb5g/UKbed9nHE2Zn68RTRPevbfHqZUms1nMvGj3UoM1P2NklPm/f7BHp2Tza284rFWrXF6b8LnXFsjFONReYnN3wPbmlNVlSVMOWT17mUbT5qc/+RFL9Q7VWpMgDIiigvFwwMJym9Fohl9yCaYh7XqD1qllPnrnfZ67epXtp5tUGlWiLGH51DLbTzbxy8LPMIinIY5tsPVsj3F/yqXrZwmF5F1EuF6D7c1Nzl0UA06FYBYSBgnxdEQ4DvU7LFW8Rl0OxhaGdJWzhFKloZvgNIzwqxVlBdimzcLSAoPBMcP+iHKjTHe3y+Wbl/DqdZ7df0a96jAW1oQAhHODaRxy9tQGB8f7jA7GLJ1qcjRI2dsf842vrVGpSxy4zK//rwf8m7eO+JVX2mzMe9zen2oSr9JM6Zg1dntD1loNyks1fufPjxkeZ6wshvyHr52h7fa5eCbm81fWMNp15s80ifsTku4xUX+f9uVXNfSXHx0zOhrgLq/Rv/+I1unOCS+llcHRPkUsalGb/nBG1etwMJry6ZMeW/sOv/PmiPefSfrMpN6Z41StoNGW/aChetCtEczVakgmMXAz8Tri1Xw6NZ9BPGO55rA/lUC+wc7xgPuPUl6/WuFf/+4/wFtewc1Cplty3quTDTcJUkcrGpkhhP/HqgErl28QZjOM4UO9mMjWTxctws1ZFNj0BHsgcGCBbT/EmI2xzv0CiV2jFIuuUPhFBlb1Ejkh+dFPFdScO6d0SCtd7FRqejKMFItWZU4VaOY4ZBZ+hOee1rNUEOzjr30BSwaohw+hfVVZOlHa1Gc94x6FXuBr+ue6k21lUgmTI9/9PhEdvGZH028CJk4P72PMrYHbwAwjIjvDFy+95xAc38afjTAk2u/WmPRu4UilLywT9J7iLV9XLSsCGPSbmFKPFeVd+xq51JAffRdz7XOY4rSfHVApbZBYoQ7FfHG25z6ZLAkXnsO0W8Tbf4FdX8OqnyPPxhjybhf4b7KDVT9LMJlghUOMxoJYWMm7Oxid05iSvhOt3HRbF11F45oqKKXS49cE5HjMNLcoSxU4GuFJIlnO6d0PiYVvJgN6Y19tKtZ0rInqtLqmYN542NOzkgxOBb5czJ8nc+eU6yVpA3keyt0i9Vp49hxFdKhbbum6e9I9d6WKG2DWy2TDKdnwJ1SXfpGRVHSiEK+UEgc2ZqmCJQaF8TbJrKfJXHkGFMMjgt4HVBYvEeUulttSbowoEgVmXYxkW79JLv98Z4k8OyROq5Rakt4+VBZb1nubZCaD+htYJeFlGeTxDvl4gLvyskLaRfdslpZ1qCjkfDM3dflnNS/re0u08mY2OUlDhwcKV3cXv0CaxcRH76qa0s5CBSDL7yAsXcUUaKUVkYvBYBarzt6z6wrKliF2bhukAwFJpmSSKs5trOxQWITgVimESiBL1kLOsV0i+SxWFzHK8wqqlwSOHENIygoajiZPtA5oy6Bl+WWS3fdxqg3lzZgLNzGCHrYsGXZ+SD45wjn7c6ou95pXyPf+guD4GdVL3yKYbWLLIsv1cHKXTJaKkyPSURdHFnxhj3QS4vrOCbehfg6jLPfibT1feqdeZTzuYgx//A8L2VpFhw9wmuu489cJn/0JjsDqRCMV9HVy6skUw7A1emEtv4ZlrRI9+yPdQGSmjx3HWI0mmV0l2b5HeeOK9rmC8JhS6wxF/0j1V1ZVaL2n9ZeXSf6FKWYgZOgmmVx2xddZton2D3CWrxH3bhPf/zal1/4uvjvHdOv3MGnh2PJDO1ZNhikbwtEesVxDq1dJJU578CGmRP1qKyRyAe53KS/fJJBpqJDdL3+L9MG38aoOVnWNSMCWk52/1GhE5M0VfVBIDCSb3oXJCG/xJkkiGsMaODbZ+JiS55PNHpxA32Qr6jbIg2cKZIoyF2e2SyE2hGiiH/RZd4eSUKGLKVYmW1859EtM/tbJBUWopktXMJDomkU42scptzDtKun+2xRzG6qWk8mnkUxwG00wKqq5sCQ+G0lXvEe8+R5O55pe6vPJIaZsahuvKEl/OpKt9VkSUaYJmE6IpkJlFvd2IV38Ka6Zk0s9w/KJQ4HNCSk9186eKBJFpVIcPyCYdvF8eTCUcOqLOgkTHYg4uk2zptBHb07I7C3MtEsae+SehVdYunHyy4uEsi16+scY9SsgsbXe9gndXHrYc1d1y5rKSSS1KESnklnYAnyx6mRJjGtOiXu3iM3TlBurCi4zxUJQ6ZA7NR2GJHf+Febq13VwJCAp0R8pA0FUGWK8kEiTxKyG0m8rEVcXcEdPTiA69QWi3U/w5PK4eh1j70PS2WPc1c+Th2Id38FK2yTREVn3x9hzL5HlFZyiT1JdxRZC/OS2erZNJifAkdzXrqvQOY00UKdqLi/TdJdIolZppg5WIbtjR5jVC1jSGd7+Y8zZIcn8F7FcB2MyxHLlwS9xpTaG8CaKFplpUJLDuXwrppHGlkWlmYjWTpczT7ClCywPzfrpExf68BHmLMASn7h8ZmdHJLMHOCUBrbkEsl23F0hrTZKD92hVL1A06oTi+p7cJRIHuGx+y3PYot7MIo23a/dtcAepGuWNGxL6JBg+pVRfoyg8Tb4k0lOfu0gYFvjFtuobpRZgzV2H0X2Nxxmty0BMJBPiwS2S5lXsLCOOjih1XlQlXTQV2nushH9DJsyS5sjKGuGzgk/JvOcoogOcrEvhr+vwRJgamTiWk0D7adpNM/OTrXUu2JyM3GzhpkNmSVc7XXkWYk3ukRqiMLUxJH5FBTedkTuSiGoqCyAODk56xVo3kS5lFUe+W4VNZkWY4jy2TSxTLmklMrvAiLeUcktFXmT7uFVxKu8prFIu0uI5Th2JP7oYkuLxBdxqk9uL2OmAbPJMB1wyAJG6VmYtYArMrXcPc+ECRS7Jp2N93sjkW1gcwouIxk8oMyWQznAWYEuUPa9pcsea7ZGtCGdjhi+Am6mkd7Yxqs9jSrROlIz+aU2DkT/GLJ/CjHIKIecO3qdY+Rx+dYNUdHbdB+TmDEf0azLKPPoQGmewmxdOYudOhSKNiQuH2uILClkU5aOourLDx+TtZQX3WOOn2pFXdKTRPEl3yFrXKWN7LZJM4JkWtgxUpNMu3BMZSgo7Qei4RqZQLLEHxLkHxkTfK0KGlg2WbYQ47hIzgYIJHXiyrXF6LyuY5QGm1dRnu3i+bUzt6RbRjtAcyPOygi+Z7RBM7lCunaaQupSYJewBlmiDRFs42SP11zThkc4e4jpnKTyTKO5RjLYpNZ8jtSoU8VMFDErSRCwOMniWfnvqWpijEamkN2SQLgNK2UblFbxMOv4TjWcKF0DAl171AqkcpHxXO5R+7TxxdgTjfaVWt1pXCAOLZHpH6w1iFslSH8bvYy68QBZFONLtr6yTxUP9mQp0LsirWIPbuGILkKqOxGwFMCsa30qHYvuPsIwSWeM0TvmqJkTk3FAkz8jGA/3uRwOx4mxgT3ukx+/gnP2WQkxlrGItvIQpii6jgS008VqdXHS4ktTz58nGnypMMBe2h6SrpmKrOInTCk05PH5IeWmFRDqToqo1G+BZ2DJYDkc4X/p1DLvF9pv/nH/xL97kf/vde9rR/tKVFitL4qUP6cw1+P0/3WJjrcV8y8CNCgV2FhWXXhCzcxiw3yu0Ovm3f3WZ3/zaKXInYHmpqW7qnfsDdo4illcaEr6g0e7w0z/5kQ5hKxWJzC/w4PEu6+sdal6NZw+2qHXKLK0u0z/scrB3TGt+gclUos4Ohm0TTSZ0Fjo8frTJ+vlTLMytsLO3x2B/Xy/en3x0n5sv32B/d5u9zS4XL59nMhnRWVrmaG+H5lyL7vEh4SSm1RZDg7AdDA4Oj1lqtZlFMe3lefZ39/Fch95eF8mgVstyTkiYW+gwnYyp1psgPAUzp3dwrH83qQd5fplqvcbmk6eUKjUWlxaJ0hm+Y7GzdYBh2Zw7t0qvJ1FfEyPJSOKI1kKLNLT44MEOXzrv0/z8Bf7w/7zH3/gnh7y4nnLlbIk4c5j0Yjoby3z7/W2ePI0VmPVf/nyF3/qVJVo+zJ2rk3keo90pk8fPyBJLB3rDUcb8yjw7j7pMspj2yqIaQOLJASsra4yCKdgF7eUljh5tMzqecebyGRzHo3u4z1xH2AplrPKY5rkX2fru+/jNMps9+Jd/8oSnWwk/2PEITIPVesFCpcZyJ6ZUthn2EyaJPDEiBY2trc3jE7G9OaLWaXJzo8PxYMS//Z58/z2+eD7jH/yPv876l/4Lkk8e0Bt8TMkUMOKU0uI5oqMnJ1UYYwn/7OtYRkQ47uIlQ2WnCFi7kAtNLp/jpxjCLHEamN2HurCza+tEyRaet6rDHtmi5jLUrTgUyYhgGFJdXlX/e165SJYeKFAPSddFkvp7EdIxyWQLW/rvVo3MtnAj2a7aJIMHWheU56Ux/RTHXSFtdLR6ZSHmgbMk4TOM6osYoo61HMp+W7emxuiARM7K0YDUncOpt7BnfaJ9Sf50KETB1j2kOPyJMrDSuA+LL+B6ti573LkrBIaF+eT/wj//m8z6H+BFfbUFxBOBeL+EKZe0tEs83qIorSrY/KQSLGcCuUBPmA7vqy60tPYZsv33yMMUc+kzmpiQml/6+M/UQ++c/6taMZJsnWG2sYTJNT5UcLSd7p7A8cormPPXKY5u6XJQBoDx6BF2OsSsXsbsfkw02sJpyLm5qUs9a+llEjljC1i8+wBTzE/LXyHe+jOcxrLCWPP9n1LUzsoeHFtScaYoqpuYfplCIuPCBbJGMBgrHyj15qnWLzGdPsK2IwVnexf/GoQp08FdKu0VjP3vE4wKrOWXYP9nep4prX5RKysyBLWNscKnJT2VWB2N6dujjxXOGMuzWoxHvq32kbLYBMolsmCI6AWSUg07E7h2lSQ5VMZXFnV1mJHTUTi0ZXknSZvEwfFrmrIrClt5ab7YJWTzL5UjSX/L2UsWDKVlDH+Z7PADjEYLs5iH2WOtJWaxlCdikkzgcqmC6W0zw5Dfo57JhD25TLz3AK9c0QVn7pUx5fcZCUgj0vufDAZM4ZD1HyvPIpOqSxqTRQF2ySa1F7BCOY84zGSZ0jyPM3lMkdh6vnHl/Sg1NWEbSQKy+/7JslRSzPGMcPdDSmvXMCMXsy6sj5hg5xNsf0ZRtPHkHOcZEBnEMuihRrnVUZtB7FWoIjV1ARzK2aKJKQMfYUc0F8ke/C5FXSwhI4zBD/7rwvGaFPGQoHuA01kk8y+pEi2MjinLRshfIBzfxzFlct/Cb8t/PyIfPabIDVwBLf1/LL15jGVnep/3nP3c/d6qW7f2qu7qvZtLkxwOySE5kmbRJBpZshXHNhLZieEYSIIgQGAnSIwIsJ0NWeBssh1YMAIBTqREUawtspZZNAvNZcghu0n23l3dtdetuvt29hO8b81/AjQku6vuPef73vf3ex7puYxSjHIV25BJqQdBX7UZ+XRKLmRuRBvmkk2eMEldyuYJaeN5jJ13SGRa79hk/iWN5kaf/1PczS+Sesu405luaxJXHrhl6B8x3fs+Vm0Zp36ZqCM0yhegUMXo3ifz53TDZkYn2ALhkFaKHHSzicaBxb9tyXdDNtiWAICKmE6FcOd7eC/820Qypek+whYXo0A90hl547r+fSWq5pXPKclaXJeze39MUWJKxSXtE0oHNfFXcQ0hwZo4laY6xlN5YDq2xrfz6Bij9y7O1l9jdv//wl17W9VbiSDtu58r2M6RzdpgnywpkaWn2OtvI78n6bgLxT7zRAXSxhbPp1XCMkfaLTebr2r/2rNsJeRLXDIOAozwkKzg4i18jcH936YsP4/yBexMSNjS7akxk62VgGXiHQzxd4qL2pQ/dl395/LQF4OBa3hMpwON43trr5AlNnae6bRpNjzGrSzqg0f6vLNn39bLj93YIju6DdVzuhWNh/tEnY8oLMuE64j0+DbO/HMkkbiZE2jdIJkd4YQBwWCHwuIrxFlPD7V54SrJ6K7qHqPOLYziinYk8yghQV5EbVyF2wjROYDlm7jjQ2b9e3ibv0S6+yfkoqoUUmtpTTV+uVyUDA/PlA35RfJc2BAuWdzFDo4V6pLMuriFS2SejP/qRMEIt3+bbPmLZL0DknBAoXmN2ewZvnAoogGGWSPuPlBvq730FYzZQxJ54DbfUu2ZYfikgQBbwjMVn2WSl69gpyOFtUgEzJL+0bCr3XKrsEjc/jGGbCFra6RD8a9XMOMTEun8+wVs2ZSLP1SqJdMJWTkhP+liV7eIkwPs4RFZ64sY0h9MAqKd97DrLo6zRWYIAX4L07CJRxPcQqb0cha+pHyEVDQjeZGs875WhCynqi9PtXdUbmg6JbYGWIFsRcVyUVVvb16Uz5jAIVOlt5rdT84I7vLZCB8QHe3qy4v5K1iDOxgl0bHIQf6IVB6gAhotX9M/SyKEeuqk7W9jtZ7Xl2o22iee7VEQzZpcqOIueWphxUcaRRTqvoBbLIk8Ji5m1j/jEFg5tkSnY4Hfnce15OUwJQhOce2yQpYQzsP8DRAg3M4PseRZVrhIaEU6UXXkuy/DKWtCLFWqLCaRba2o6ewWRnAkq3Dt70l0PJNKi5hBpqd4hRaWVyQRS4h01RwXOy2QmiXkq4gwOqRSMHtKnFnYntQuXJJ8jBN2lfRr+8vMTn6AX1o9A6Ud38av3dTulxG1yYM9DENUTwGIykhcyqMnhL3HlJvXVMGazoS8XiDpHuKbDvHcBXKpFUjfbBZg12VYYpMlpzqAzcourrdJ+uR3oHoJ23f1OS8sEWduk8ReJA93MQRg9OSPVVNnLV6BgWgmxyTFFVLpD4oLeCZamiWtQgmYMS8skPc+0+k6pTmi+/8Mf+VfP1Nvuo4Cf9Kp9AEnuqGxjCFmfYtoKApJiayKpUPqDvK9SsiSCErntHKU9e7C/GuYzlA3E5JyQuB5sinufoq1/DMKmpLZdBSmOMLQkH5iaQEzlUv6A5ziphobMuERFJqqdVVwrFlSDadcdOOkrd1Gq3iJZP+7Z93ZsknYP1AYoYFH3niJ7PgHpFZCYfEtstPPSHx5RyyTR0e4QUDol3UgJXpFGYIkoueT6KVfJJr0yKyAogCQZJAun9c41J+rW1wkPP4YY24LK3MwhV+RTokNV4d4VtknOLylPBWxX+T5WRc48jxc3bAcqt+52HiJmfQTC5vaO4zCI8q+AAYfkwWHeK3nzyKbAteUwbaA3spLGOGM2fAjPBZ1SCIDF+TvUF8mn+2R7HwXa00O0AGlwiqh8CxOPyRd/oUzzdPODwgKCxTSoZpYUgqYngvdT4gyi8L8NdUw6QZEoFL9PrYbExfn8WOHcHZfVY/OeJdZdQ16h5QlceU9R9K7q8rSitSI5hs4S3VGH9/hb/2n/y3/5/eeQphxecHiz3/zPMe7fSbTom6g5P1g1eDxo4kqt84vuuS+y5/8sM9czeWbFw1qLrz01hw//zPnODw5JDicUK6XeXaUap3QkY2bbzBpn2BFHmvn5im3mnzy0S1qlSrNpQb9kyHhaMLyJUnfxHROOww7fRrNBhtb5+n3+gxO2oyHA9xCjVKpgulaDLqnZFFCvSnpgYD6XItGrcT2k8e4pRqtZp3hbMy4M6BcqTLsTRiHA65eukJuGzy+/4gkSvBdm9b6KmmcEIxHTCYx1fkq0+GI2WzK1pXLHDzZURq7bHyrc3MEwYzHj57QKNX0Mt1oNOgNBloPONzZ0dRRtd6g1+lRrEiVMGc8mimnx6+6PLt/wOLGEuurNQ6e9kmEVm5ZTCSoYJs04owrP3WR/+F/ucd//619fubFBYLhhI+2x+yPLLbKLv/NL83zpZ8usrBoYxQWGTze5XBnqKmRQXdGfaGBV5KL8ynjScriklQnGjx+vMNco858xaE7TXjy8UO2rm7gNOrs3ntErd4AWyB2tlZEdg72qbl1CnM+u3eE1u5z7fkNKtWcwcmU1S1BrxQYH4TcfXfAr/5wwh8/mjIYxnzjcoGw6FEWzlUU8fAgYKUp1Rz5XcQsNsrMlUwORsKtiPnpl9f4jd97wu7I4L/8Dy7y7/yHfwV//XV4vMujW9+jsdmiOP8SqXAxnBFxWMIQNsPadZLurnrKZUAqdT5hswiE02jcwKxIpW8eT7TB0T2y4kvQf8jUtSkVm+S9HSxZTviLzDqf4EmE2a+Sli7qoCQPpSPtkqYucefDM8K8Z5NHM9z5VSKpLEy7eK/8VaKdd7CFAr/2MvGzH2pf2164jBP2mfT2KC+8wOz4++QbP4c7PiHLYwytIo20+19srpOGRZLR51olEDK9xLalEigUfmfuKuGz/4fS0qukZpN0fIvcX4a4SXb6Lt7KZaKx6ER39R1tUlMzWVrdoCBVMWG1pMIrbhAIH6H3DDveJ3Cu4Mol0K5B/0Ms4R8tvI0hZ5DTT3DXXsPPHdUMC+TZnu5hN79I1r+F7Yjq9BRbAG/1TaL6NXxS0kiqR4eYzgLx4DGunRNaNezgzJwSy7Ls5A6Z1K5Gh6TVS7jTAybBMRVRwq3dJHr2MU5lkXi6gym8m8oVsKu65DPcMgw6altwnWUMSXeObhHPjvEL17RuZg4eYjQukpfmdAiuZ5dMwL8BRjJk2hHTxJLeeUSfl3KKEyV4zRcYD04xT35M3noJLzmWkLQujET/GLg2fl4lGd3DKZ3XM35ebmI8+i7W5qtYtkDv+mf1TRySyVMsWWSKgtu1iOwmxk+U434ii6wieWUDK4rJRDEuQyuBb8vWX0xsMzn7ukTTAcZElMo31FJhV1b05yJA3UQGC5WbTJM2ducZ/uKXiCuLhJ/+E62IOZfexnDm8LIx09ERxYXLwiQkTSeYwoQzDNzSihqDMlMWBwG5VBvFJDU5pSCKzplE/S+RyELas/WzazgCbPRIiudwRo8IpSS79x5ZfZnaxa8T3/0jotE9vAv/itrBqLQohjFj+b4Kj6d+k9yrY53e1mpmWKtgWjVKlQ0mhx+SeTI0zDSVmjW2yKcxcfQY31shk+H+OMRxZrh5lUAgweNHGG5LjSBTMSYJ6NyZYHTe/we5eNQlOikxaZkauUIijyMMIyWOR9i+RDhz3cpIXM9avIoVRrphTURL1rqmHQbbbkDaVoWZUdrCnByTGQm21yQSAr1swzZ/mmTvA+3YCvHRHD/DirokF36R9PhzTD8gbh9L64C0+gUFLIhdwJruYMx2iWqvYEu8Pd7FrN5kvPt9CovPkU/7pNLH6N3VC2tSqeKZFeLh55jlK0TyARLS8cINPWznJ/ewN372Jx+solLSBXpiNl7Ui61QsE3ZZkz3iJ7+Cc7qVydlmsMAACAASURBVFQLxuAesWnqhVncDZJqsEvXsJcvEu5+oJMiSnWMcVuHIfJCzkYHZM0L2NEAsziH5S8SDx5iStxnuIu/+jLJ4IjUreD6AmqSB9JQYSwyzRNasmwynDjTfpskAwwjwRAVx/6PySR6Ky+ogQDPWkSdx7jN89huk1AOUK6NYS7jzHaIpxJ5EYJ9SC7mhiCmMH+RcPs7WKVl3Poak+Nb1C98lWhyQBwa5PlENR4yoVfgWmEdmymJXPosS7d+mRmSxxmOHDzTgfYlJRos2xXlIhQXsE2XSLru8tGdHONYnl5y0v6B1gGs9AjMBrmkKGQbZNfPImymjSPRpnBEXtggzvog/bDNt3Vin4t+JZBob66UfDeZEGen6vAWlZ812cNsXtOaQRC2FU6Wz13GLl+ByaMzKItuL/sYMvE+/hFFsT1U1kmlc19aJ3r6hySiQvE2MPM2ZvEcQfczDLdGUQAnWRczlFh6kVxc745LKgfWUZ9s9ACjfAl7fp1sNFaKfS7beCHwe1XMPCGeHOLWr2F6Dtn+u6TNG6SFTbzBMxIzwTalz/+MrPGqJj+cOCErVrWrOx61cb0VrVyotkv6Y9kQSyJoeYxpzQOiQJxhlUokoq/JLKxqC9OxSGeZEmVFFWSXSjp5FY9qlI7J3XVVzMgbMpXPZjzBm45I/ZJeDiUC6limbnxYukG+/z5J5zbW8jf0++EET9U1n4UWbnOZIJ4qnFKAOjqhKi+TFdcwBrtk7W9hCkNilJN4AZ5edmyCsE/ulnFFF3b4+zq99C98hezx755F+8RbXpa00ohEYtW2qZNbs9RSkGQmCZGpg82EzJFI+TWmO9/Drq5hz10ln3Q08mUWK2TCHqmsKsxHXk5yMDCHD0nER26XFBgogylTKL5LF0mGu+SzCLsiFPcF0tHn4C3j5aJmfICfy9tETCwrGBLLS2Oy0VO9jJnSqRTgj8ABO/+STMwk5pJaBmQbKT/3TKb2hqeDKFF35elQKci2bE+7dzEIsZuv6uQ9Ge3gzN0kM+X3eQj+goJ5zNF9bL9KLDE3MVssXFZXvZ+EZMUNYoGhHfwuxtW/STbZxzn9M9j4S+TxhOTgPe1Lmo6NId/nPMLylqHzAcnql3Xyb0n1JjeVAWGGAm4866nKMj4vlMmiKnapQSp99iwlH0sNpkRkS/UnwRJvtjVH2n+oyimzVMU1ykwmD7Ccsmops6yE1VgjHT3BVoaMiyPftdEBCIfGM7H7xxhyWB/sMUtjPVjm4xOCbIIngM/aMsnh+zhzXyAXrszxRxrbHMcBRdeHUhnXbTCT1M1sW7vV8v6KEhk8eLotjpIpdmEL04rJUpn4y+BujCFmi3yqUXbZFLm1OaKTx8pAyaQ3mlsEhw+g3MIvLihJ36u0SOQZK3BKf0np1SLekY2ZLckn21NCtiGbrsICblYgzUeamImkn59bgutSK40ME8WJ7fg+wemn2NVLmgTIpRMtjiHTIpPqnHx+opOfREgvYQ7vklbOYwvQsydu7iFubQ1XNivyv40T4v3vYhQl9trUz13q1bU6lwUmuReemQTikQ4HRRmZ5QGG3VS7iNTlpoVzlPw5JgffV01XcfkaUfdIP69uuUnqmhiF5zBm28Qn97Gr5zDnVvWwHw86evZw6qIb65AenWItbCkky7ZKpHlRFa6O54N4qsWc4i1gT55ilC6S9z4lEwjS4stMPv0tnOY5vGIFghNKr/0yTE75j//6n+Mf/NaMDS/h8gWb1145x7Ab8GS7z2uvLfLD958QUMYupGRRjG9ZbC63+MMf7TOeOqw1DX7lLy/y57+5opuWbj9m94MD9rtDCvUSVskmm0xprrcUzrr7ZIeNtUX64YSbX3qLB7fuUZJfvADbzITO/jHFuSZrF9c4eHxEqWoyHU9V23t62uP8xU3GkxGTocTjU1bPb+qFunvcxjErtI+fsXX5Ek+3n9I57HPxlfMU7CLhYEZvNNDusdg7Go0m0+GA1DIVOiWwTadQYDad0pxrMg2GHByesDDfZHlrlbu37pDNEl5683U+evddrr/4nEL/4lnA/EJTK2RpmhHMZswtznF6fIpfKBDJeSaD9fU1DnZ3z4ZlRkqruUh/0GFhfY2j3Ta+kVGsVXh0d5vltSaFskf7cEy9XGI8mNFcMVhquHz97z7lB/ccGgSU6i7/+V+q8td+UZTSJ0Qzn/3jAY8+jbj8nAyOBIIZKwjStXz8hhibZriRy0lnj9ZGiyDJcVyXx58/VTZBtVnn0/c/p1K2GI8mNMoLdMYdNrfWOD3qaxp2eXWF7XsPWV2psdse0CwVyQyT8SxmfBiycr7O5nOrdPY/ZHFzke5JyD/99VN+45OQuwcZJQvsWpGff7FEWZN5Jo92J6SBRW84pli3KMvzKB2xslIlTDx++9uHNCsuv/pffJVv/PIvKoNk/PEekyDBalapl5bo3PldnKUbWHIGFyuWIzyolNRdxnBEbWgy6zzElcte+RKT+7+jKjrvwpdJx2PdSkei5autaPIqHe5QWHiO3K5hhBL/n5JIh1v0sMUNktIKducDssIynllQlpZARnOjTHLvN3AlgbB8g0iMOee+qQsCY/oUw13SCpA5HYM31cRxVtzEMlOCzidaCzTrG9hZpuqyvLahaS+BuYlSUMw3roCiHY9YnkmpgSsDzizByeR72sVcfAGObjOJYqpbb2rqUDothbkVZo+/g33u5zCmPXJjqMBYgZGaMjQPR6TDh+TC5Jn2MItNzEjOyyWtIRjRodYVpTcfCDRbalLFFVwB15qW1jNzL8Odf5mst4Pp+qpU1RpgYwtvuEPozeMUfGb7P8CzFsi8EobwxuwVclmc+i7BZIwti8bVF/El5Tu4R5iI4m+FNClAIAr1QAf0NC5g+ybxLMboPcJY+iIMPsSsPa+Gl6xzH3fpZXHkEkRiRDJ1+WPmM4XiyuDdtBZJRw9Iup/jrXyR2J7Dko5VeYFw/128UossL2EGB6StLczOU3JhLEg93N8iz3ZAbBTFG+SjOxrZL26+SvDkQ6zl10gtC07fw156CSORdOt9jPol8v5TUjEHiUkoL2K1LkCxQn7wROF3vlNmfPIJ9txz+LVVks5HxEmOJ3wCOedFEUEwwBEegZoSLGaDJ7hCvQ+nZOExxsKLGFItNoa41Wua5E7u/R7++Z+S/c5ZrVmUxt1tfRe7pSJhb4fcqmCmAzKp0Yka2muRV+cx4wFpfw80/dyCUk05N6Yk3IQRkbXx3YYamDSVmBe0zmKVaowmbezRCEvq5nKvan9K2noBNx6cMZ66t8ilUlnbwhg9VK2w0/y6LnMCSWnaLsF0jOHLhtdSjogYwPCWSPZuY8n799wbxJIODfdIpJLZuIabDog7T6Asy4gKxmiEMfzB383jcIxZniOTL4FcxmuX9JKtUcH6IsXxLhN1KuZY7T3ypas4sw5x911YfgMmQ+Igxq9W9EAl4LBIDh/7HxNPOhS8GOZuKkROKePTnpJ1ObmLURJvZaaRcGv+IlH/EL9cIAjGquMRNoBdqBBNZeN1iFFpEYryqfcIRxRi1XXsWZfZ6IDixleJn/4xeaGotGyzfYtIIvpmBTM5wWm+RdL+kDQ9wF34BkbB0IFBHuZnHm+ZaC+8wXT4CEcgeXmG13qOyfFjVSbZ0qOsXsCtNtX9GAUznEwAKUeYrQ1sY02dmqrvC6SvI3Hhm0ynhyB6GonlCnzCzggHu9iLb4JomcwqtpWfAVzygvbWbbtFOBTCu2z7G2TdA+3aCe3dKm8QS7/65Db24lvkvTs4ot7Lct0I+65HINsw0WaIQ140Tqe3icMhpeXXMCbPFNgo3f3pyefaPXa8JtnJXSJp+jW/gC1dyWiPOAswBwek9TfwFrbIB9sK4EPcsOlAO+viWU79eYyRDJFMTInFJhap0cOUB5Vs/AZPMOrrGKOTs45m9exBbhc2yCtz5EKtv/9/65cr9y6STZ9izd/ESmMS+TmWKsSjQ5h/ASfoEgizonIZQ3vlKVmS64Utnz3GdhdVXSm2AaP3lLhUx1/+GvHpu2RjmRC2FKxnDLYVvDJLLFxnhuksk4z2yNNdErOFL/Ejt6Sd8iQZkbgNsv5jzNFT/MoSWWmdzBTzg0MUx3p4z4OYOBvplNK3SmRyUE5DhdXlEgOe3MWsvkLRksHHE2J3TmmzTjQh2P8EQ+jUUagDIH/lSzC8y2Qa4VkWTmOTiWiyHv8ehbW3CAvLxNNjPMclGT2DIKJw/qcZ93YoSlnMSBkfvYs/fxO3uq6XosLCJaZ3f42Cd4Pw/GswDSnaNrPOE6yiRyxuXymgeMWz71xNwIT7ZH6VQuMSwe4PFXDprL5JmoMxkWdHTbu6mmbY/SPG7iLljdfI+0dqPZCDhiRthJKr0EGpKgg8TlIGhTWsPMJIi2TJgVxndDiYS4WnskJk+pglidIVlWyeSwpIqhTTx4T2Go4A3OJTMtGMFYt6CaP/iFScuxLdn/U1nk9SwBUIo1ghhM4/GeqQJhM/cjjUOoHE9QTq6JRuYGfCLzjVF7ro8KSXLvHwRHRhsykEQ9WIWfbSmUe3/4hsbgWvcoUks/UzyPQuSX9HI4L4c1ilFoZE4qdHuJV1YktSKzOYyovGUZ6FMXlKLoojod+PHykITSwlqYAkBWUody3p7lpNFN4ayuGxqJo3xOs+O9aLqUT+5UAqfBfXc4hlixGLLzjTlI+yKGxDB1aJJBMcmagfY492Sewavlyes4Rp7zNM0XUmifIKrGibyL6MWygoQC62LMzlL2PODtQ761UvMj2+hVsrYzpryksInRZ5aRHn6Z+S2DFe9QUSeXE7MVnvCOaEVj/EDhP9MyZWEWPhEnY0Jnz2Hcyll7AXXiU9+DPdNttzLWU0UL5KNhBAWK7+99Cew5cKVNrGMk2S0iV1+zpVuTxONE2hMJ/Ksm40wvZH2BJdLj8Po8dydsGsXiYZ3NYOvHy/JYKaFTwhvZBFU1IzwvYbpBLhdXO1GCVRVwF+jifxA1F3yu/Iw4tOCFNbL9e5I5CjVGn3pgxf3Uskk2fQ/xxz/nlyMZZER/pZ861MPm6EvXtK+jfmrpO3P9aDVyxgLqk1GT6WPIdzW1NXwsoo+1Vyr4EtHmDn7CBqhrvY9Ve100skvyMx2rSwZbvgZMwO34P5ryoDQ4bLtiGpp75GTcXkEu19D88Kid0LpH4VJz7BqWyo9i6TbY44rwcnGKUGbip8ghmZIe9Fm9DylQgemQ5W74EOMUVVqANXSfRUtyA4JRDAUfEqdj5jPLiDa9cwZcgkzwJJRIWnStR2q8IKkmVyiVzSUQJM/AkDRX7/WTLRf0dUWddlxEjMHZZNvb6OffSMaXaEU7pO6eUvYORD/vGv/Nf8J//deyzPVbh+QWqxJt2xSZjOuLk1x5PtY84tluhNYlbnq5RKNoedKb/zSQ/fsPmLr5T4ymWTb/7cGq435fHdAE+Ap0XpxJ+yslbR3u+wPaBQrzMeHNNaWtdeqETyF9cFABrSbbcp1ItK45KB0jRIKFQKmgSIg5le8AvVMqPBkGQ8pdftUl9YoFSrsvdol+WNJpOpsEsiqrU6w86QSrWgw6EgmNBaWmQ87nPro2dcuLRCs1VnLHTtOKdarXB80qZWr5OGEa3lJX2Hy+W2VCgyv7mC50s/OuTpkwdsnLuMXbQYdwf6TP/RDz/m0qUNXnj9FZ5tbzPsnOAXy5TKFU6O2sy3mgx7Qw5397Ftl82L59RYMBFl7HjA3FxdYcj3P32AaabU56tYclbyLIUl7zw54oVXrsuui5k41dME24ronSSUWmXOr1bVZJRS5oMfPWA0gxdfeYHxtMf0pM3cyjK2uNN9i2Gvo9VJ2Wa32/uUamIQSamUa0xGXTYuXqZ32qV3eKxDom6nw42XX6S80uJf/tEfcenKNU0gtZ/t45oG494prfPnmI0i5dqUGy1Ouqec7nZZaFU53B2ycX6ByoINw5DN128Sjid8/v59fu1bJ/zmd3OyWkIxNzm34rPZsJgr++wcZLSnE9ZXiixWCnzy5Jj1RVkUeAxG8PjZAa+u1vlH/+RvU339LZLHP+bw7lPmL58jPm4r6LLSKGMYC4RRQCgDe9vVXrkkA83BLczGJUbxPFVrrADiePcO1tx5HKGbl0pMByfYMgBwHBxJ0E2PKXiiWRST1uTMz14XPlOXTJYf5UUSqY09ewdj6UU1GU23/zluViZZfxPr9J6mHNPSom4yNeU5ugt1ATdL1WByNqiUhNL0MVlhDb+8xOTgA/zWa1qfi9KZGHAlxIYr9YnZmNiy8fxFomxG3r1DsXWV0J3HkMOJbGslOp5MztS5UkkU3oxbxRMF9KmkaQsKDk6lky9/hs4tZS+51U08u0QoC06JuHsLMD3SgbK7LL/HPmY+xCot6cU+uPPblC7/FHHiYE0OdJCdzm3gpMLE3lbdspy3xX6TJgPyMNUzaiazWXNA5lzDiO9jThKoysB3E88TC8IBmbBu5BwQhlqHjYst1fRJuiCff4ksPdKEqONVVD9nTnYwV79BIgBqqXxSV8C3XKeCw3+pNS05gwvXKJV0WxapGnza3dfqQ3H1TeL9HxAZkZ7PpT42e/T7uPUF/MWXGO++i1lfwymtKWA2mwVa/THlQjy3hSmJpOGnZNYGeTImC2NdZjIRiPLbpAWpQw7O3vWTIV6hSWKKvlbMQwGOX9Iq26z9KZ7U0OauE8stXSosohMuN4kGHWzP1gGAgIn91a9pFTGTIfzJA9UPSlpb2Ad2ZpLVRLUsytAIU9kGR2cAX3m35qMzeK/fwh7cI3NqBJEoSzuY5YtEvc9xpMaWZriux1RUrsWEpP2UsPeE4txF3JWXSTsPmA2PVJvrOwb5sI3d3GB6ek9rnKJkNsZdXbzmTk3fV55lKHNKtNOiFcykyiaLK/lM97f1DlPwq0w62xhWpPpAGfoIrNlMS4SSNHA9BR0LFHM23qcolYhyk/HBLZzqnPIe3PWvaCLDDdqk8rMJZmRimht8/A9zy1tg9vTbOPVFDAE4jGLSQoKbDKF8g+nJ97DEySv9HcvDXXqDXOI/0xOS/jbe0hcxrUw3GQIKSaeH2on3awuqkbF7RxiNVXXZ2nmEK5unhS9gZZEe4LKSB4PHWBu/SHzwAzLpdRdWzxRNbgFH1BuVxbMIfhwTyzZtcoBVv6CgtVAgfUGAt3idQPpl9hLj4z9TNVV+8iMyd4Vyo0YWn4HSLN9h8vCPKc6vkBUuQ9ohtRcptV4g7LxPdPCI4vV/jTzewU0NxtM2hYU3SE/vEh3/CHPtLWxxwEqHPKxgWDOy0hqeWSSJz16MyPau3MScii6vdKZ7KsmXMFA1nSkx28GeTmKtynXlFJiWGAt62kWWrZgMLTJzHUO22SP54DfIJN0g5G/R+EnMSSB3T36fvPkyVm2D7PQOXnmRSDassw75+FS1KvbCRWYCzApOyWWbc/AhUaGBVWxgS3fPk6ntmU86HB7hV68TVZpnvxd5QAicsb+tXwBKF7DysbrZ07k3MPIEcyqXsH3SxNQLm5KtRFMhMJTubZLhmLxQwi1KQkEiWou45TXoP1Etn732Nmn3EM/LCcanSvX0N98gDeQ0/YhoFOCuf5FstKtwDe27SqgqdzGlP2ZZ2oFGkhPiKM1lG54rL2C6JyT3rys8zTiUOPt5jMISWfsjzMqyerfz408xF9bIBAToNGH4iKD9oQITbSHcLb5+RuJGLvOnZKJcNG1VihgCSYsF7vQCTnpKlOcKXRSln3TITLkwjE/wTI/AL6mrPY+lQyQQNNn8LxP0n+qEUNgKcknLJepWXsOSrd/oMa4vl9Xm2WfHTnXjyKSNNd0nqVzEMceMx2O8wpyCgYQAqg//3CXtfqKX+lz6wetvkT37RJ3bEg+WS7JBhuXJzzNSroUz/xIyS82CbYw8peC0mE5PobaC3ZNOXhdv/efJup8QS5rANrC9DTLxnspEXOA9StjvkRryII6xbZ84N3GMhHgmw4kOaekmpmiJZk/PgCfLr6rjNZPhSfUSUe5iy2FDttmSFBBw5uieoArJBJbXkGRSStbZ1t9RLDG7QoXJ3nco1C4oayGbhRTnzjPp3dZDQKGyoF0oqzyn0/XMcLRvJ77eNOzhSdXIX9VESTo6AbeF7cvgckI87GPVVvCcFsnwgX7mUl/gMadSPcWxNogZYpnJmWFDHraVSzohl+2xaKd8+U5kU/3vmrL1lcteLp72dd10J8M9TYSIcz2nSFY6Tzi8pz1JgZ/l0nPLpsTxDNc7RyzwwuQEy5wnF2ikbEGYYaUmAvUVH27sbeKQkci216nhiIMei0h0OtEhRjCR3xb2/MuamLLLS+qwls91nMRS4VNonGPMEx7+COvcz2CMj4hPP8YTW4fXUvWRdJlViWdJdeJQ0wvyuRAmiS2x6zTToY5VuUYskJ7xI/1cJJKMql5Csb8SnS80sUTHI5f60YmSkzM7wy4tK7gtC04VAKtcA4mOS8dVLouZgeOt6EAjjw90I64Xblso44lyJiz5rs8CknhPOSjRVH51Ep2saZoglSGwDFoWvkAad2Hcw3JrJE4ZgrZG201R+uQz7DTU94ZAHYXHkeUVNQ3Id03qDFm6ryYa0SeJl9sdCpm6h1G/qYo8sXUkswn25s9gl5/HCE5J+/cxvSWFZFkTAeYNyOwtTLfGZO93sayU0srPEkjtRXgUc+e0jmfFU+zFLzPtvk+hsEQi8ZzujzGrqyTyTPNLmK6YTCKtFyWxkLlDVer6rZeIj94l91Z0EGvV50m6d0nsuh6k5WBpCuFbeqbT26SjUGssniWXbrmRjzHEdiBMhsoSeRiTjLf1mSKckTzbI4oLFAotwvCIWCoTErF0a9j+OeJ8dNa/zl38qlRVBqSppWkBSREk3Y+IyucplC+SCd8iMXGLDtPpTD+rZnCCEeekxZIevOS/5TgRqT+HOeoSZjHpacDCm29DxeboD3+DX/z3f5UPd6SUk/M//0df4P/4ndvUlj1+6fVl/vFv7zBXM2jKmWHWZ2u5yj//uMNOJ8eLTf7K15b42z9fZm3DxylF7H4S05/Y2NUUz/OZtOXnO4aC9B8tpsMxy5sbFMse9z/8jHKjQqlcZxrMqNaEpG1wvHPM/EpDB69xmJJkITvbB5xb22AwGzIbDTh3SUCfOe3TDmaYsrgpKcqc7c/2VAC0tNTSS2u5VuZw95j1yxsMT8ZMghFXr55xXDoC9puN2H+0y+rWJq5rYDs2xUqdp48esrDY4ujwmEZ1nr3dbdYunqO9d8jgZEKlXuLScxc4Eh7BwaGq/046bTY2znFwcMzR3jHP3bioVPGdJ7usra9y2jlVGGF9rs7SyhJ720/ZfbrP62++Tqd7xLNnbW48f1X/TkQJ1UqVWTRl0hsw11zgZF/ej2Vc08OvlAjHXRpNqRnMsX33GWX5vpoe3V7KLBpw5fpVjo6PGXeHBGGG5xpklrxPTXyvwGwyoTrf5PTgGddeepmdJ9ukUcLquXUeP3isl6RCuaSHfeEXSHpo1J1RqUkyYsLmuU2K5TqPHm5TLRfBdamXSjy+t81o2ufGi1dxnQa33/2A61+6RmvtHD/4/77HweEp164tKGixZEYsX1vm1gcH/O/fmvCnnwbs9AKeu7DIhcUxeWTSO8koz3nsHg+p12sUijGdQcyyY1OrF7i93eH+05T/9Vde5N/8z34FjBbhnVt0dv6MvPYyxYU1GDzSWpBypcTFPn6iQGDMCp6oluVCPDjCrK5hCtRT/u84ILPkPT7GW75MJj3l/iGGLNukU1ybI59M8I0JiXS2ew9w3UUC31GWkry/4jijUJ5HIqKxbeqSzHRMZonoPJcwOneI5Nk1/zqGI5F++XcHuIV57aYHh3f0mWvWlgkP7uG0ls7O20hiNdTztd1YJR319FIvizEnygnkfZe7BJLis23M1gsYgyeklnzP/bNzkVEkDXZ0a2tFbY3Cz5IAJ4/JwjHpZI+SgFlzWRr0NK0bTp7izF/XTnkqW1wxHfV/jF25wCS3KOaCFbmPW72s78QsNSmK5rb9PlbjEokCcEVP3iSNMo14e8JaEdh08znywScab8+9OWZP/5Ti0k/heFMm41MK828Rhc8oxoGc/EjlPCmqcMPCtZtaj4wFArj40lm6NhO1sY959A4kUqeTaqsIe5bxswnDZz9QNpC/8nUdCpm9B/qM867/PNPH71Mom+BdJu7cxW9dZjp4REFA0QVPTWKZV1HVOPUmaZLiSOKvWCNNHdJAUo1VouMPcCW9K4k7qZJU5yEckpbP48hCZXaiJjnTmMOsVTECGdpnJIef4jcWMWrnGXf38K1IK4SJJ0yfVfJoB/pD8voatjklmp6qas+QxVB1jdiVBHqM4yyemeMGD0nGHRxbgOshhtQ55E7oSDMwxjQskqmkXG3h/hNEM+y4g1OVNEOoSdtEzhSSXsw8EqnpOiWswWO1E2XFC2RZB7dY1S38tHNCUWCbQiIRTfx0QlDbwk7GxGYBy8pJhm386pYgEIh2fkxh4TpRMoDZEVb1vEKgZTDiZSmpQARrwv7yVZ8MI12wy1DPU46ZQOYlkXgFy+mTnjwmlftZ8yb2cIdI+GsLq/Tv/Qnz1/+qpt2j7h1sw4PVt0gmAcbonb+XS/dz2v2c4sJL9Ef3KSQOpeYFpqKzEDWQ0CslovHsU+wLb+ohJQlmeDLBlx+0EeGePCAqLpCe7uJUF8iMoh5ipRMzPnmHkqi1Fm8SS3Sh3tDukC3EaIFHRQJ4KBH3T7DDPZzqOhNZpMT7OLINdKvqrLVm+6TeHJb0RUXtcHqHQusSs+4uaWEDPznzyKeDDubgNu7CVYLBEd78F5hOb2F2tinVXySsNMlHAV65qgf2RPRPEkcfHemhzFt4TZanBNN72MULSpSUfrpEQIQ2bjca2P5zMBQlVaiO1VzckqJWGHVrtQAAIABJREFUiqU/LP1jk9LSa0za38FzbKJhRB618dbflNMqWWEB4/RTUqt2djGNc5zaeY1cxf1PKa59Qy9js+6f4K//gnq7HXtIPrWJ+h/jzF1QimvgebqhNmYnGAXx+ZZxmKgawsrcs82XKRdC++xD6zdwF55XTkAqWwCJ/LZew2ag06uCa2uXPRCegVXBrl/QbrVhehopT4b3Mf0mTustJaC7nkwO7+v2onLuTU1wxLYc3FpkB9/FLq2S1GWy3FCqdzYaQK2KJSmOoosxPiZOMx2M5O6CXuiSTFQ1Apq7DRIPFz/p4HMyqw6uQ572MMvPE+YVPHtGevqJXj7sxgvKnMhCgZJFGqGOhNLt2riV82ohyA7fx2heJZ/uYxsVclt8yAkFt04i8aXOZwRZoKwAuaDIIEO6x8njb1G+/udIBwPiYB+rvKAke7qPyY0Jht9SwJuZ98Cdw5b+kvh4JUkjE0/ZqiUD/V4gPtHOe7D4qqYJcpOfPAxbxJGMuEfYwdFZL8vtkeaXdLCRxQdqk7C8i1jz8/qgN/oPCL0NiuL4NRKmO+9gOBHO/Jv6wBCfaTwYUVi5TCisjt0HWKtbBAef4c9J7PZQLwuWGRGLQzWWuL2wMG9illaJgj0cucBMnqhnNPdWSdq3yGKhw3pk5ctks1MMz8SYmTjzK6RpSiagLbdOKq8teZhlqXa2DaulTAs5/JMVtScuMBUBD6XiJ4/F22rh1efJhidEEqtLOhREYyRR45N3SKqXyZtfwtp/D7wh3sJXiUf3ydIprvhTa+eJu880XowAVvbfJZ6/gSs6xdkY2/NJ5MWRneAX1pgJCFEiZ6ZwQ2bkSULq+di5SS6gOKlHVFs4gyMSbwFLSMuSwJH/lhw0SvOYmSQUDshlQFpZ0RenE56SV89hz3bIjBaJY+M5c0RxW2UGZkWeg7J1tQhP38f0Sjj+oh4AM9/H9BfJ5HPfv0Neu4FZuoiZ9JTCLcOt3KkTS0dNeu6TNkk6xvE3NN6bCzsiOlSOhfw99cLsL2GZsmk8IckXcSW+7coAooApSaDW2wSdj3Hkn/O3KBalz3ek6YeoWMWoXsUQ3Z1o0mrPYZc3tHJh9aT2IIyWOR2K2mLhcOTZmmPntpKPBcLjnfuFMyqwVCB8MW5MyasrpN3PNHaXSqQNH1MOYvLfZYzTfF3GPaS9dzGWvkZ87zf1z+HPnyedPDzrgvoGhik1rpw4uKtbX7fyOsnJd8irG/r/E/WSUV1HeitCbha+irIeG1eUFZMnBqmA/cQiISkoo0g0vINdvkjuyfWhLq4kdUDLUNKpCPTzUAe7FGskUYYrFZPUxa1fUggjvbtEotqUyzwLRKVVzPDgrFsom7hSBSMrkSYSy+9pF182F5aaYbaxwglMj88GgX5To5JGua5A0KT3lDw7JHfOYZXkXeorgDWxPHw8Jv33KCx8GSmtR6LfwlOIkhI4xl1sqWgVSjiyAUpz0lCSaQapxG4Firj3bezKFWzRvMpmLM9+YuyQ9/UEe+XLZPJZ8Xzi6VCJyGYuYMqSdoWzsK3P37i3SxqllM9/5cx8IKOn6hZR0MUzU8JpG7cs1p2WJi9yV0CG4ZlS1iuQVxaxpeZRWiUOZ4T9OxTrF8nsokQkNEosA9VJ5xGmG+FXzpO1RY1pkJXqzMKMimdTeP4FJqdH/Lv/3t/hD/7FAa2Kyxdeq3L8LOLG5jw7gx739yI251wGk5Tzy74mGG5/esDO2MTOHX75lSJ//68v0npjlePvP+DZcU95QkFmSfkA23XpHoshZo71rWW2H+5Q8E2WVlYUmDfpi70k5eS4h1N0WGjM0w/G2KIGk6it4EQ9j4uXr+jF+cGP7/Dq196mu7dHb9Cm3lzh8Mk+MRMuX76hZP/+OCRLEp4+esrqcpNxELJ6YZM8nHJ00Gfryia+bXPr1ufKamrMVykKGMu0mE1GhJMJR/unuv2/+aWXCacJD+58RqFc0Avd4oZoOg3ufHyfzXNLVOfrhLKlk43hbEitPk+n3afT3uHy9RtEQUB/NGI6nrB24RyzkwFz68vcu31HEwvNuQrtwy5pHrO6scbJwTHD3ojzVy7QPjzA9VyKxTNdYBDOcEo+zWqF0LQ5ePSESm2O450eoVQZfZ9L15v0uiELtSb9oTCeJtgFWY74+hmSQ36lXKVaL9A+PFFIoF8UBa9J6qY0l5d58tlDBp0u175wnZPjUzW1tFaXufPRbS49f53j7QMWVqSqBbd/9Anzmlpw2bh8iZODfabjGFPrQFBqVShUfAbtvipDh9MjNrcuk0Ymw86RLkXOwNIzLrxQlG8l+VKFd37rM/6tXx/xZC+mXrH5ynVhLUrjWRhbFuNpztNnXa6eL9Ib58zVW4zDPv/i4wEvteD7/+/fofzmG2SPT2h3TqkQMJ6OVf9memXdFk9PD/FXtkjtdU2dpfkMV3S4Zkk1gOpWl2SiUadYv0R4/D7xyad4G29iO/NEUqf0HWRhGJx+qPUmJIkmdeH4ULfkfvUisQB7h3f0bJBLrUv+zplDVqzoIHp6/K6eBYsC8JN3mrA8vCZpeEKWTHXpIhtNzBm5aMy6B2e6w2KDuNclpqfmD6kj5OFYCexSb7SXL+vwUWwUspRQeLUZ45QvkwgQruJgzlzCYB+jsoU33obWTeLuIwzxq69eIx1LPTPTlI7cxeRgK/pv12iQiKlHhs7lq+QyRLB88mJdyetCvjfirqYI0vpl3WbTfUIUT1QtbfoCxJb3caoA9Ng11MRkmwHRbIrpruLUVzGTRwwHI5xoiiu1wrown+5izT1PPLmPK1amxS/D4fcZ732f4vlvkO+9g1FYJ59fJR7s4wt3bHhAXrt49mccPiT019XYJvaaePgEW3SS0RFBIHiiXJe5bkv0eQOizMB05XyUkYz7GMF9nLWvkUoqLjnEtiswEEX3Q9yFFYLpUEHP8XBbz4KySJ0FQ01xFO0ZM6lRpDHe8pskkz2ykzvKoMmTIobtkw/GGI26sgBmD39bq9bG0g18KZAJRNbI9TNH1NXzvzkbY4qyuXiDeCbcnzlm7U80WWbW1/GCnNydEUntwikpc0dSyNFYEtUryopT4KBU3aMuRcMgNgOFSxuSGKy/Sup4yCsmOXiM1ZTK2UjZSOPdb1No3cRwWoSSJp7bJBKw4FS4QZ6y7uzOY6LlV3TZLXW9nAaGEZFOO1iTZ0SSiM27IPeD4mVNI5tSVdUqbUMHBaJutKrCnhFlt+SybeLOQ1IZqNUugDDY0i5m7SKhMCE2r5J32zjJkaZC5N2YygBodorjOQzNJfxaE0uGNLKkkIWaGKAG7/+9XCjW8SjErFbIew9IK7LlWiAX1UQiPf4CjnRVM1e7c/Jixm2SiSNUoBbTR8xO3sVf+1lSz8CRS3PnI3VVmtLNPflQ4I1K7Dc8mQZ1sYI9YnsVUyB75ZJOgGi/h1E/T5o3scrmWVQyGpJEh9juFqb0dUWxF8dkThlbaMjNVzRemJgNDIZkJ7cwlt/WmL1pbpDSwZJL3OAhVrGi8WP5xeStCxhBqpsOt1BHKjHmyT2M+VfIZdghh3dBJlgl7c0YR++QCsHz0i/pNjcbfEZx6VXCo8/0wO2WykRRjmkbZxoG0yF79Aew8jKmf0U3VbO9P6Qw/wJxkJANblPY+iX93wfH76sSSzp+AtXIrBi/NEfs1fUgLORKieNLP1UuNnmxhnfhXyULM6LOJziVS2TRMdbsWAEXllQ5zAqpqAvFcW9IJNgk0U3OHGa8o1TQNAo1CuyL014OYHK5NGoKdsviI6woITZi3Sbaoi6Z2yKVC7so7gyHJD7U+I6ArlL5aYUDkuFDCn4RGleV6Bl37jEZH1NZfkPVkNOTj/Hr58jjMVH3Gc7SC5jF5bMekGwz5d9d28CSmMz4kDzuYzSvEJsLmEcfYBllorklxKwRiffWcLBrF/SFkkset3SNbHAPR+Le055OvjP5Z7MD7NIK0eGPceae1w27gL/ivW+pHSKrXdNOjylRWNEM1l8iHe+patDxlxTYYRXOKbwt9SvYsaGRWFWWCc+gvkbiVFQDKAwN0SkmclGLeloBCFILVy4Q5ozMFV3VIYgCTaLWEkvvPSMxRrjl5zBGO8TWDFvo1r0DBbtEgRwsL2JXN/VBGE3v6eXBqoryQ6aBeziFeUxRDAZ9HL/OOD7ESqwz+Jd0ppfexO7eJasskIUz8uEEZ7FJPhVcn6QAhBUhDvNvkcz2SKs3KUrNSBggUUeTAnmxijnukARTvVwb/pwO8lKBj8QSC95RWJJ2BN0qlkSdhBAoE9W8QObIuLxHbko8Vkb20pCqIzPYfPZEYZxp7pExIRe1phlhLX31TKMTizfZIQp6uMKjqFSJAxfTN0hGAUYxhoMfka//RYpewmzQxYr2lFieOYv40QGhJIDksy63v9GnWMVVJdvnwrFoXcYZ7usAJpde1/QYQwYDss0rX9XqTG6MycW57NbPNC/eOsnx93B9H0PgdcI1kMqA6BIlEmkXyVybUDar0TGOYRCkJgVTNvAFGHegKJWiA+yKpEYWzki3jHGlwjOTzfKA/OhHmK3n1eMeDp5RXriiz0DhTsiz07QS5V3ItjlLT5Sv4kZjstwkNeUJn0FpHdMuEUUDPSjIz0b0gWZxSyOsoQBIvXncynWioz9QdzKrbyg1WZgSAhoy5KIsL5l4hl1/QV+i+ehjTGuLTJ49QYd0/0+xt35ZlX0SdzQrz6uKVL2xrk022j7zF8szwy1gi8O20FQtonyHzKiNFZwSFc+pRlCAhXJITSvPkT363/BaV8C/TCoAvs49DCcgLQjL4ZBMEgyihXOLmEmoXBXR8yQS78tineojfVhbBrIp2URsEBWyZKCD0WQ2JJ3t4vrLWOFTMm9To6a2ZxEevIsx95yk0jGcIoYMKySibolydEgc7+v2L05jommbssQhTYOIihoh5KAi6qlEPj/y70f4FHXS4SM9tMrFOBk+1X/GEAjTLCcR4JGVKyBUXriZvFfijvaZZUMuiqNc6iXtHZLoPtbWXybrPCKXw+L8K/qsSL0aBmVmg4/UjlC0Kzr0zGUg0XtMLGqn2jXCh7+uoKfc3gCJG3rz6sdORj0KxbIeKEQRJhBTebY5mbx/pf6xgzXukYi60Ep0I0sWYQzFItLGO/dzRIOPMQQktfVNgs5DDCvDrV4hGn6qaqrZsA+cYBevkYv6MD5SeK9df464+w7IFnLtZzEEWib1DyvBSEJiMTC0buAkXcKDQ/KKR97t4a9cVEtQbeMSrCzwp//wH/Fv/K3fwwk9ltbg5rUKR08DElcGnzaFcpH9owkXN20urs7zwe0O26fQKFr8ja+W+Zt/wcNbWab35JjD7Rmlmo9ZKTI6Srj6+gXu/ugOWWpzerzL1o2LDDp93SLXGw2S1GL3mVTTbL3cbl5YJ5gm9E5PWVhqsbPzjObcPLVKiSePnnJ61MEpuFx97jKjfp/dJ/usXBAIJ6yuSeT8hAefCZXc04v8YqvBZDKg3JinvX/KeDTmCy89x2G7p9CvQX/C+sYyvufqpfBwr6uX+U5fbAguC8uL7D96xO5el8s3zlMs2PrvTZMMgcevXljmdK/NaCpd7ZLCBpMsZuX8JkwjtnefUimUFIYnkfqbLz7P08fbOgQ4Pu2wurHMwuIis1lENJ0QTgJODg6pNufwq0Xlz8gUfDSRvvsSh/snBLMJN164zul4yM7tx9RqPlJpv3j5Iu3TNuVKjajf5+IX3+buO9+lPwtpLp4tEK68+DKff3CLWs1Ti4Fow9oHx4TjGVdvPMeTZ49YXl4hzFIGbUnZGNQbVYIkUNXi8y++yM72Q9I4Z3l9jcFwqJrDl19+kf39fbpHHVYvrauJQSCJxUKJVFperoswytpHAsUNaSwucfxULo0x9UZNI9Wy/LHTREDrTLozas06larFfMulem6Nv/9f/YA/e1jmvQc9nFLG119YZdrvc+9gwtpcmbdeWuS7Hz4hMVK+dOm8DgE+fTri7nbM3/gL1/kff/N/Ineb9L//a1hJXd9p/qTHSLkrPpYXEIUjyCuUGpeZTe+rLtRxWzo8sRwZSk6ZCeA42CcTCO3y15TtZUVjknxIoXyVKJlpRUfPleMjnFmPpFjEbH6R5OE/I7UdvNVvQjZQ1bIpNdHs5CyOX76iyc10+CluuUp09FhTxPIsJt3Drd5kJppfScKKXaW6oomzNIuxJG0kFSABGh4IVG0Vt3SO1BSw7gmJX8eRBJ1dIS0WsXfeIynXFZot3C75s+JLsucYWzrGsliVFKXYigQi131MQeL25UWtKcXtz4mdOTACzN4Tra2y+lWFTMbjR7izIUnSwfM2CPOZVnEZ7ZFK/U7OTdlM03B2/RWCo/fUviJJgej4I5z6MmFf0rbzRFJ/c+uq0c5Pfoy443KB1C2sksnlUOqv9QsktMknAbbjK3uJxpuk9oSwd4eiM08uMXkzJPObev5K27eIsxjXrZLER5izAKvcwlx8nnA4xOeE1LtA8uB3cObPq3VLUpZTGWibEUbuiHUXwxTwbhujuoSRZlj9XVI55wvbS3Iz8hUW9lL7c/KK8KimON4XSdKHWNOUcRbjqWFENOA7mPVlTQrKGSmVc+vgHkbxIuHpQzw3xPQukSZtskQMVxlWaUO1zHFpDfY/0iUc5RVsqXMWt5TrZWdj8tIy6clnAr9SrbNosy1plkhCdDbELKwSz05whG9VlrOvDJoccn9Fa4OmI5WCA01/kNQ0vZhJ6kKGV0VhwO2RSTJBFoBSu/WWNT1n/f80vVmMbul1nvfsef/zUFV/zafqzGP36ZHNbpIi3TRlSrKkSImMQIET6CpwEgQ24CAXBhJHMZIgCGIhk28MQQkSJ7ZgW5EcSRQVkSKbPbHZ85mHmud/Hve8g7XKuSLQFzxV9Q/7+9Z63+dZ/wauqE2nPU0XyucgkvS3MJcq6/ilRYLOx8iq05l7DbP3UJMMllsimYaqLLQLZWYypPCXcJbfVLi9nYs6XtSFMiy0yaZjzEYFhHshqb/SBknvAEffQ1Lh7IP8DqLyjUKirIMvw6xM2G0NMlFQT/sKiRf2i9H/4H+Q+TPGwZ9jzt3CkIOuVyLd+QPSYIi38jbh8Xvn8LdKSydtAldILUe/aMz2z6S4AfO3Nf4vKoa8fgHz8B2NxUsnOhx8RmXtLaZ77+Bu/oK+meSgJjCCdHyI093HvPxd8uISnH1JnI5UtaQ9Xrummx7DFSp2g2wsH9yQzL1BEu9SsE0i6RQ54j4uk3S+xKq1mB09xSsVidIcSyAZ4ggPTik2LpIsfovk0T/Vw5tonVJ/TTu2Ru7j2h553NappdDxs+4ODHaJr/wNrOwQZ+8LjNYdcgEcRSNScarlC7qBSS0hXDtE7U/IW1/TQ6Y96pE1NnBF5yER6+Ex5D2mvT2ql39eNxeet4hpO/Qn21TkC89ZULVZseATTEKNNZoCPMpkC9MTIwReIJtb2QYLOf2GdnhkUBDbuV7YsR29bMgXmqjgbCPGrV0lST0sIczLEEZI1ouvQucxRnEVy4pIJBojywhxIsslKZiQC7VavlgLJUJRpmQzksN31bBgVTeJOh9ii29btknJRGnhTA4wNn4O42wHWyA3BZfs+BE4c9i1TRhtK4nZoqK/q9N6gXz4mDw0cApVxvvfx1n8hm7m7OCMuPUyBT8lOXsi3CMMt6JAK6MmEWMfV1gKuagu5IKW4DWva8fHTCU4JcOXH+lkWZzXbpoRSch92taIsbf0KpnRw5oJX2FNkxLigs1n3fM6hQykpo+J8hqeaDXEIR719QNlxAGRwEEKC/qlHI6PSJM+vnyW7FWmu9/HrS3iSDc8kt7Tc3KzpR1bvVDU1/HNMrPOPZz6HaLZgTIgTG9dL0+upAuSjLR6SSGS4+lIid6OgAGnJwTlVfXTGrJBlqGc0PPzCKf3jCjNsJdeUsiiVapi9vfIXYukuIHZf0Q4e4C9+F08S7SSHumkjymHmGKLdLAnbwJsIvLGWxB8rtPDWGBnAtorbZ5vPcwpyfCIfHKGtfgihTRR2Fxmxliee74tEh2RRE0NibfOyCMh7FegKJuQDqaYQITEPtyHQhMzS0jinnIpKFXJxeSQTMGvaFfeED+6DBH+f6BmIIA8eehXieOe2jCy1isUhm1yNyOzL5JPpYMo30+epj4y6aDVrmBkIZZcbGfbOHaB2K4rOC2zA32Q594FsAOc4iXi9mfalU5br5G7Ld3MC/BItDJB4qoC0bAqRP2HOH6NXC7gVLAqVa1kCKMiFFVa7RKJWSbp3dPeuTN3BQJLsqeY0y2FrQbRWA+KAlsUC4AjBHr5meULvXRLaxjZySdqy3DcOcJpjhM9UPOCW7iotHdDTBYCTkpz8voV7PCM8OxjzPI6pvASIokwrzM9/pNz+F/9dfzyCoHUtMxEXbvI9lm2y7MhjrdGlmyRBvIazrBL6ySWQ9r5MZaA/6pL5EGohHRH7CvTA60u2ZWrzJI2ThZgyeVX3MFykfMbGrfXz7NAVxNx+9qMe59TmhMl6DLp8BlImshJMQU823gBe/KIWIZApStEE1Fvvoe/+h0BUijlNovFzytR/TnofolZXFTFprBE9Od2CqS9p6TlTQURWZWrWLatlYH49Mc6ULOu/Aqp6AcllJClyiKJp22KjavMhjtYVu38uyc4xvEbulmUDVAajpQR4ZcXyeQ9IqpG2yWd7eJMT7VaIxUly6qSyCF6LB7kJYWQSXVIt1dOWbl6Ask0pcYyfkKaFcGrn8fd5TOi+MS+Klf17xwFSvd2K3WygdhtDAV3ims6Hvdx/ZImbKyRaDJbzNKREvYnQRdfbDer3yHd+TGmHSsR3qzeJe98RDY7wKhdxrQaWNGUpFjHSsdEs7amJ+zBIVmpRRh3Kcj3kGGQDI6w59d1+CzpDNI6yeQhdnmTLJWL5Ta2s6r6WcNOyaYd/TwnlVVs8TgnHkjEc3SKX1rXWp9hBLim0P3z875pMsJZe5Wk/Vz4htpdFg2o7absPvmEzZvXMDf/KsPtH/Ibv/Zf8M7DAYvVEn/ltSrTcErBXWBv+xlvvXmDzkmXrZMxg6lIBWzuHYZEgcF/8osV/sPfuolrHLC3m2IGNo92zxcKF2+tMuj2WFtZVjf33tEhN29f4NnDfXxPnpMzSl6BYrXE/sEe68vrSE5/Fk2YW6ox68043T+l0qwr7EvAneEsYW65pTUq6XWK/7k5N8fhzjGVWpVCzWX36RE3X77Ol5/Igd+nPj/HeCQk94CNG9c53tlRiJyLwVl3rIPJubrF0uYlHnz2hNZqle5hm25vgm0UWF6TQ27MfHOJne0tbrxwi/2jI4wopVgpcXJyokNkuRyfnYx48+uvKGugfXZCY75Jr9ujXCyrhlK60OVSnbPeqf7c46EcXkNsWa7YHnMLCwwGPebmJTUgxoIc17doLjS5d/8BlzavKs9j2B/i+C5CDpQaVxLlCkG8ePOq2hG2dra4fOmSJgfk2JcGBt32GRvXLmvK7+mDB8SBwcuv3aV9csZwNOLStU0GvRGtxTrPnh5QLvlceeEmD3/2IYVGQ1BJTGdjVpZW2NkTSG5MfX6BQOpCSUyxJIA7+Q6IiJOIpfVVtp/JM8PhwpULOsw5PjhhvtWi2igRz0JOT7pcuX2dJJkqzLFcqyNuHFuAdfUCvmEx7QQcHZ1Srrqitef2G2tkc03e+X8e83f/p2M+jjPeWPK4uewyCXye7LTZWK7TrJucHY9pLS+wuJzxZz854972jK8suPzL7/096jd/Q89T7c9+orVNSy4NmaPAZuGZRPEIz18glIVZeVGhv8HkGV5ZAMJy6TLV7CEay9RcIRfoWYaq0aQ7byUZtKTyuEtozGMlx6SdfdzVbzE9/ITy3DxhEJ2DilOTaLqrSwkkpm17ZN3nWOUyhrsO3ScktkVeXcRLLB1uKN3eLZF2nmPqEuf8uSYJIFVulxYwzJzg9AvKjTuEA1Fx55i1uzAWg8EmMxloC4MnnlEU3pFZBjl/254ySwyjQHj2qRp1RNXrl5YIxkdY6ZBYSO7GChj7OKIZL68Ttb/Qv0mad2A2wVh6k1Q4VpO2/v8J4yzu7ShPx7CEYxGQ2fO6yJQzuCWv99l9yrUNckkn1MUWI3q5iS4s1Zg0GZB5LvFkgnBp5TxM5aImsvLyJl5lQcGIYXCIW7tFHBxjSDVj/hLp7ETrcvqskriKnGOMPmnqUVh88fy84TWgfhPj7B5R0sUVzWzBxZbnYe+ArHUFR0DH3cfKpjGjHSi9QC4qdLOsS4lk+3v6LKH1ddLeI02OzwSa2PkYq3AVMw1U1SdQ6tAy8XOpc42IpNpbWsZKA73v5JXLpN37ZHaO7y6RFuqavDBnJyTBSBcnjqh/x4cKNBb2A/PLOmRwiwKPFeuOmH5srdKKDtZZeJEsONBqi128iO1k53cCRrjyPJRohgx0RL8eT/Btg+TkmHC8jTEnSburxGf38UV7OT4lCVLl2Ai8N2t/BqLBtEMYnUBhSQG8VjYhLa6StR9iy3JN9l29LT0/O83rekeQ+okhy6WqnGk3YLitqTqps5iGLGnOYb5i8Mi9CpkwifxVrXzKMtmtbRDJMsxokA0/JRm28eZeh/AxceJheZJmzrGLN4j2/wCCEf7GdzT2LzYQS9Ihk6kmVB0ZMklyX16P3ge/ncfjKb6Zk9Rvkx7+FNeOSWsXtacsbmW/dpkwkb7AIyx5CE8OMRMfd/mrzNrfw2vcwbElYr1NcriF52Ukc7fInDnM0YTckz7cFfLOExwB2U0OyOXBIBtCWzaxEg+qEk0TBftZjctEJ4+w6xUlHwdDgWE1SIcnGOvfgKH0LnLiyZ5OhgyvRrh/n2z6lMq1X2aW25jHn+kiTr7ZU3MJtzxH0tlRIFg4eY5daGGLbjAC9/I3sLtfEiXygZ3TWJ8RRZiThySzjXNOAAAgAElEQVTjM6LlNym760xmz/BSG9OaEYruIjrDk66LHBJ7DwnsGoXmK6TdR6RMcFsvg8D3Ck2S3jOccIwhGjyhV04PyAUGItNvQ1IJZ0S1JTIhf0oMOwqIEoviQoNsJGTVTYWAZJUVnOCQqPcco3IVMz/GlGhz2sQw2kRGCS+RLbNJEnvk8iFvvnD+Adr7Icnwc7zVb5LkFqZ0d06/kMAraWMNUyI5spm2ZT/exDVkAzDCJ2Esv2ecY4h2aPqM4eGnONd+EzfoiZld3dd60JWunmUSildddCnxEK96W12axnhPKyWJaEtm21qTkNikkOgNR3rXHXKBuVTXsWanCrVIwx2SwCA7/BPy1hv49XXysK8Ha9Gy5bGc2mqYckkeSVVhgONe1Di/aKrkw2MJad9fIQ/3yfwVne4Z4vnNcuzFGyRJgCudGadIEA4pFpuYRYnhJjjSZZ17g2j/98+39ZKRU/erKCJl+BNI41c34K7ocWTcKOo9idPKpTgZq65PYDRZfKqRZmPwkMmkh1td1Pe9lzhMz77AWX4Nel9iiLZy4QUyUWXJIEni+fIQaX+gKhVrXqBm2lTGyk2SQKKwTTJJGMh7z4zJ8iWNHnvGiKC3h7f4qh5kwv5TCgtf0Ytk2DvBWXmFrPMZVhYSFZexRV0j017n/ACmh20h24Z9zPpVjMGJfN9qFEkk2NG0h79wSztMzHYwK9fJJHI962ELiCztI/EaW7qIlkSs5zA8SboMcWU005GLuYs5f0kvNbJZsP0W2ViANGWSwgLOaJ9M1GFTC0tiTAIW6+5hMlTCsSP1DYnS+01CIabKAKBykXy8owo4v3mTOOpqnNFf/roaFyQi5V78N4g6ckEsYKSiHXI1ZSARZ0kiGJIUkm1yLhPaDn6aMBLgZmkBZ+kW8bHYQibkc28pgyGf9XUCLeaUfDLEzMZYMrRwK2SnMmRbIZMv3/5TDFEZys877eBZkV78AtFRJmOM8ssY0rkOhuex6vApUXUFRyohR/+CcP5tjfNz8pdYcpGqrGrKxEjHJN6cwrZkIy1AS6cgoKtQPwMCHopO39GhbuqtKZcg/NcbFVN8vWlBNx3R4Y9xNn+edCLplh01g0SFRbJsRlEum6KNncoAzMEwW2DmUr3TykMmg0rZrFixbmgVDCmwJLPKtPMzbKOOt3yXaCyJmis6tJFN8sxoYk2ead0qFZ1m8wVmeYCTFbCri0y3/0LTUlZxjbi4hjMW64fAdVchlthvlXCa4pgTjEJZTk7k3RPi8BhjbgPz7BBLbDUpmspIJZ1gLWK7FYXjCRsgmXbI6ytYnV39HV2pMfS+VMCnFad4a68T5SGGLZvuJvnhH4PTwGyu6IEwd5pqBJAfTB7qog3VCGllSS0msVXBSOYwRNkqncNZGzcckxfLeNMpkW/o6+ZI6sCQRIdodB1y0biaojX11B4jlTlv/UWyQY/UKQnGjFK6TSQqvuT4fFBSkepDQenO0bSPKSmKhbdIo77++7Z3mfD0ezjzXyMbPyOenFFu3iHRPlIfRzqqT/5MU1N27Zp+D0+tJhUhCc8mWAuvkCZjwse/j736Tfxqg2gyxZLQsmWTeEtY8n6ur5F2H2N0d8mq8/hOjfHwBE8GjVEHs/mqXn5FoeT7S+d/M4na1q4TD58owMhqXtbDc3T8EW65hNl4maC7o9A4x2sS9na01ymDqn4vYf3Nb2DPbfB7/+Vv81v/2T/n4oLJ61fnOW4PWVlpUrQydk/HNJycZ/2EG2sWRa/JDx53ODzO+fe/2eS//jtXtLrX3R8y7M/YPepx5e4Sjz/foukX2Lhznf/7//gBX3n7hqYXTBlCFy16vTaVcp2V9WWe3HvCyoU1GvUK2zt7TCZDpcpvXL7K/vYuJdfluNfl1bsvMg4mtNtHXLh4A9NxSGODTz/8GbX5IhuXNnn40138UoznFplbXMQvx0SDPm7VpWAWOTsdMhhNdZN95foV7n/5kEG7z+vfeIWnT/Y43O/jpDP8eo2bdzdJwoxub0SjXuX0UBzcloLRavM1Oocd+qOuRBFZXF+g4FWVOj0JIuYXqjy994BSucpca1EHALYl3eQUt+gzHg4pFIrML7cY9gYaxZ+OBtrTHg5HDE/bLKyuMRV4rG1wfHjG9RtXGc0mzAZSc0upzzcJw1j/XhKXvnbnOp3OUDfxQuCvFsuMxwOm0xS/6Go6x8Fh2GurqrExV2N98wI//rPv4zgFltbXubC5xrs/fFcSxLz42su8/+MPVFG4cuUio3aPcq1C0J/R7pzqEGtpaZlOr02j0WQWBkxEZZ2m3HrxFqPhRE0JcZJQqVbo9brYmUG1Xmdv/0BBf3deuctnH/6MxlJT3w/9wZD51Tl82yUJ5ekNn3x8j9t3Vmk0F/js3QfERYulUl1h0WvXGjjzLv/LP3rGP/xXHWZOhb/2qkWvGzMRK4loEmML0wopmRZ2raSDlD/44SNGY/iPf/Mqf/93/gG2X2R0/31ybw4zqehwt5CdYWPTn0WU5paJpgdY0y65fJfJc8lrMgn7uMGZaqRFyWrWb5I7CZm7jm84TPf/FHf1DWZ771BY+jpmQb5TZ2qBEYZO6hWwu3vkwsSx5pm1P6Y4d0fPuNb0kGxwSlxcwTcj5aCYwQlW/ZZezhMBB1PGLPmEp3IPEJDjnNqkAkFbTp5rKtktb9Db+5Dm5huaYIxPH2KN93QxY6++Rbz9LubKXU1l6RBxeB9H6gtRW61n5cbLaj0LZ30KAl3TAewZuVRDrRZWeExarKii0bdqTLofgbNKsXSZuPs+ZmFTO+9pwSYdjbDF8HPyLvnK67jFZTj6lLBcxzMd0vEIhJeTDIlSE8OVVG0GszHZwi18q0Xc/pIgPMFr3NZLYywmJ4nhx30Kou2WdKswpJIR0XAXo9rSs2Io/CgxmJVXdettDXeIzu7hLL2JbWR6X7MLJTLDIs5sVfxJskHZRMuvk51+DJLMXn4F4/TR+SY/l7SqVH5PNO1t+zah2ThXvkt6V6Do/S1iq4kjicPqZbLpIcbiTWxRMZ4+Jpw+x69IGrpKVvZwUiHrP4HJPq43TyznSTmrxW15lKsGXexawlTLswnZYIArF2rR1A6PMOSeIM+n8qIyvNLRAbYkDie7WiWxapdIgxNMqWNISrFzQFZdVVaULUs/vR8IdHGeSfcB1eIc2dLt86W12CgMMVJcPQeQF+eJxFYmOmiB7lk+8SzFMCd41Xmik+cwL0yaPSyvpdXZJBthOWuYoicenirszyo1CYY9zIqHaS+dwxcne0wHB3hNSdaOwa5gifZOUyDyvwFReoRVvavP+6IMw+qXicQeYPuYUlORGXltjemZpFCOKSy+xEQqta40Z0a4wlaSevNkT8GBwvuJBydaXcwlr225JOMRxvjH/1Uel+Yw5GDhFCESqvIiaXEBy5iQHt7H3PgW+XiAm52R2wVCs4ql1OIDzNgkn1uBwYnqt4QgbMsHwyvLP4nZuYdZvUiWJjoByWo3yI7fw27dJBMokQDERI+x9RPsWo1cfomWfLCEPDrE6X/K7PRLapvfJLZFcfRTivYmkZCfCq1z9ZxAsbqPsOcuYRgCbrBw4jJTUoXaCfHYqNaQwksYxbiTPTI5wIwPIO2SZgWM7hbla28TDo512qMKQ+n6Nm5gJpE6sQN5yNlyWZiRWWUcQx7UshURXYtBEk3JZDNbbJxHlmUjnRYpLa8SHtwjF22TdJ/tUIF/+UTii3fg6E8IRyGeV8epbxDP3cAMdomHh1C5gZUIU2Ci4CTbLhCNxGE/R1SsUChdID57j1x+B0k0RcIfPMKrLJMZAiI7/xIRv/qsfQ8q63iyzex+oMRy2dCJB1wi6O7yXe3uuAL9kKHK6cf4xWVieVOFQ4UzyRvRdS+Q9d4lylys6g1sQ+Lkz7X/KkONTKwLVkgWJHrJjcMYpzF3PpGMj8kKV7UCYhpVotyg7FmMD99TXYrVepVg0lOVRaE4B+4c6WyLPCwSWVXMbIu8ckcPSQyPSA7ewdr8BnZxVYctQSbT9U3MqEtmCi3+sV5WrcorZLMtjdFqQcu0CDtbeNVlddhLxMyptkiDCVnpEvlsW93J0yjB9g2swCSKzjD721jLd0kz2ZIuEUsCJB4rKPF8WueT2ufxXlMmg2YNU3Ri2QB3ssXMmT+nfMrf2Jbo8AAnl2HFIa7oBqdTDGtIJro0exEjOVUuhDMFZ/myerbD44c4tRbe6neIh08xsjHGZB+jegWj+TJGsEcuY0iZvErqIOkR5xKhXsOVykvJJUoWyCoVzM7nxEGXUutrJLZNfPIuFBYwpZs1HZKcfYG19hqOVVcTgFQX8skIJMLsSJf6CUb5JvhV/axnfu380D74TIFzZu0GYWbjp1P97pBJfiYdM6Gwyv+H75HtfaAbZHNulVz0P7U1rUdMjz7HK81hL1wn6h5JUUkBgdgSf6sQCxwu7mlvKgmP8KobJBJTO/sQd+M3CNMQq/M55sJ1jTd6/WOicg3HKBBVipjaLd7A7d0nrm6Spj5e+IRYgIYKDqoQ7v6h6hmzshyghHGwQXb2SC/Vuelh5BmxXColNlNonG/KpSzhz5Ha8j0kv7dNevYz3PIFcneVaPAZXrGusTOCE8LBEZZ0qtvnnAVTHNHy3YUM1CTqJWmAgNxzVekil6xcajPpEEeo/2KosB0sV/rwrXN9oKQkJA0glpU0Js1LuKUqSbCP68yRxfIy7eIMJ+QFF2P+FoT7qjQMohFFT3rCFZJSifj4c4wswV9+haCzjSmynUzAQBJFM7DcIoYApcZ9hYoKBMywS8TjLQWMCbDRExVXSQZ/Ha2VeUXZyGekwwfEo8dYy9/GFs6KTL5FSTfLsUNJsQRYsyl2rUncO9IevpkX9efCbpEP71MQp/HklLh9D3vuBdVViurMnE2ILRensKITd6tYIJHvqtBSA4SlW6Qy6bStl2JDoqSJQT56LmUXtZnIQVXi79HxTzEufFcjnMosyeeJe39KOgJ36ab+vtITFD9xIvWW+FwtqYe/qSRPTjGEGJ10lGLvltaYHX5fQVKSDBPeA9ULRLs/UMKzWWjCRCw8VyCVmoGsFQTUGmHGbeXWEMnPDYa3iZUPzx/sqbidpziGQKPkc5cSyzb57EfY1LBa3yI12liRSTLcwV++zezsidYQjLkXtTpiSyQji7VrromL9jukVMlFYWgWmI13KVQvMhPFbl1sLkIYyIiOP8UsuMrDmFoVPCHTCdS25ONmCYGYM1a+TTLexowF+gZRtIMz/zJ2lqqOUr6P0yRXD7YlUVqriiXMjs62fMgU5GT7V9U1LQkbq3IDzw0Yb71PkjssfvdvA3u8ffM3+PDpmF96c5loNmZx2aVYbfGjj55Q9Mp4Ts7GosXR8ZTnQ5/jY4N/+FsL/OKrMdXlRfq7p3xyv80rL23ydLfD9LjNza/dYdgZ4zU8Dh4e0GzMM5v18GxPQYOuX+XS9XU+eed9GvMLepmeDANGoz6ubASJ2bh+hc8//ITKfA2/UmN81mF1c4NoOuPRwwe89JrEzPexpZedx7Tmy3ilKqnCLkMsy8AvOJCMODsOOdoPOT7pcu3uGk5m0u3Khr1Juegylct0JdXah/T8VzYWGfV6tE9Cjo4mlJycXICyrkPBc1XpK4AwAc7O+mNMU/LqPg8/f8LicpOvfutr3PviU/a2jllZWaReLrN7KNBSi83LFzk62NXPValU5vjgmLnFBeI4Zn/ngOWNJe7cucOz51vEQaTViJOjPer1OpZboFST6LlF53ifQkVqBgPKpZLS/KPUYH11g+ePHpOmCbW5FtWizzQM2N7e5caNTY36ixmkfybnT5/rd67z5MEjvTBIlXNhaV4J/8IEKBQ9hgM5S9ksrSzz4MF95ubn2dvaY3V1gdrCAttPnnH1+jU6vS6eU6Bar9LvtHVrV23Ocbq3i1MsUZJLapyy/XyHW3fv4hi5DgdkyLH3TBTDkiyy9eIvw4BRp8fjp89o1Et45TKxmBgKJXa39/j6L7/Blz+5x9gANzDZWMpZfH2dzqMO//Y/2OezrYzXNiNeuDXP994fYLomtWLMrfVVnu/2WFqpUilPOelX+cMfb/HalSp/9Ef/Pc0b1xn/7B5xnGAbQ6JuG3/1GuOjA5yi9KmvksYnOjgWUrmqd+X848riIiY0xpSat8n695iefILfeovISPCLF0lnA+zoiLw0pwsGI5Uy6AQvq9DvblGRs+XcKsnoCDMang+HkzFe8w5Z0CeeHWFXb2BOd8hcqYB52N17AlPQTrgkUaZRh8LSG+Tbf04Yt3FbX1F2iWxts0EHq+xhLX6drPNQK1YyEJXUp7l8k3ywjR0HSmY3ZgdgL5BFHSb7P6J6+bvEfgVXhuztHVJ/TJzUyAsryoGwJNElrCMjV9uT6Ea1Qlu9DIPnhFaqqb6iu0gY7JHZZVW35mGXtCQA51j5AcraEmj1ZIBVrZNba8zaP6FUXNSYuCw14uEp5vQMf/kW8cl7UHsNp35JlxV+eZnBw/8TRy7ia3eJBl1KS3eZ3Psnugjz19/SRBu1RfLxTBPGxaWXidpP1fzlt75KPjvWzndetIh3PlCeQlhZxZXzg+0S9XfwS5c1DRJHU11AmEFfQcJIPULuA1EXV1TrlSvE4qcffIlXXicTM9XSt7DCE4KJXMClHlqB3hbp6ClG62Wsxl0dxsWi65YznrApiBRAKNVg4UfEYp3oS0X3LlZ1menz/xeveRWj9Qr56Jjw8EPcpqQnhVHzkPL1rxAbC1gn72C5K2TVdX2OmWJwk+d78zKZbNQFPCstequgmu180jvfgMt/EyZCAtbcDSxNHZnKKJqlGTXZzFuJngUl7ZYKI0sAzoGtBjw3qZIJD84pEOQWZalNmSWCyS5OHmA1XyI5+wRkQLNw9XxpoMuSsdZp7eod8rRDNNg/Z24Eh3rHcuw5nIUbjMU2JtXI4RZMzjSZGwWyJJf7Z1HfW0b9Ra04SXU66z8m9zytdIqNKJMaTXlRU9yispaEvCEK6P6BLt9zSa4M3v1vcrsstM0fq9KnUH+BOJPpb6iOTgFhWKtv6VQk3v4Qc+EuxeYCWfuYmcDVynVSISlKFFLGD6UN8lKL4PAPKQQxeWVdqCJEhQKORDaG2wRyCZe+ReW6AgqEtpxNYxwpUFVWCbpPVbFhFC+cvyH7Rxp4zAa7ZI5P+dovMTv9Kcnuj/Av/QLpdF/9jKGA9CQy7QhFuU48/AIn8YgnfVzZTts+SOzImNeeYX72Cfb8N3GzZ4xOHpKv/QrW1h9hzq1jNK4Tt7fAr2MLqHDSPYf0RXKhtmC+QDIMobKCKQc/S6ZFXaU42vJQCyYC4VRFWW4UcUsSwQoIwkij2xQXcXODsFrHSKQ7NyPbeo/Yg8qF75JPu/rfyHx9QErPKLOrmImFLdqP0hWMdKLgKulpyWrLEhiVwDwqaxjli2Rn7zF+/hnFtU2spbdU4ScuTrNym+T0L/GMun4B5tUmRntbP6B64JIYtZkRSQdp8Tqp9FicZSKpNQmMznaIZbBglPFr68z6T7RLZZTW1FsbDbdwpNOVDrWjHCYhdmFDo5qxkaiKIp+JWqpMwTAVHpm0nyi0zimukgjdc/62kjUFPJL3P9bfRzqMSW9Hv4xNUZklXWy/pvH2cCLxfelS93ErLfLJY9KCKPXGGElfo94SaDeRWK0ASuYwDJdcwCXRTC+uon5RUKHl6mVBHNiONPTPnpHf+CXy4w9xhj2sjZ9T+r8Ou9KUVC70wzOMYB9DFCVmVYFzejOUOuzZI6Iko3DxLYLBLvnTv6Bw/dfJxJgRC8HdVnCeUbmIZc7OfesCLLRE4ZLJKZm0tqYPV9mqOlbKdNjBEdBWc0M3i+ZsqoMCo3EJKxJGxROshZdIJeZTqZ17yk0TIzK1ix5mwgdb17hWGJzIOFE3qUZmY9Zb+p4WoIvl1YgtT+nntkSUCjVN8IivVgDgdl88twUSx9UUhpg20uwEx7+IJZDN57+P2/omSekC0f4/w1v4KiQVsskDLFGjlBYJTx6oZ94qrSg8LA0TrWJoxO/kC5y5y1gCFksdjaqbRo5Zlq3gSGGk2WRb0E6qhwuDRDfxlvhlTV9BK6JcMXtfYCx/DUMGD1PRSTmkYRdTIEgSMZOaS30JN54SCRBULm6R9BA7GFmEVZT44SP9bjMi6WVPMSqr6hyWCohcwoVUmwTynhTyuRCHQ32waYdMAIozYXk8wqzf1Sg4ow5psKccBYniS19bOvxC5TfFblAUNoI4tA3VXYp2TaKIosIxsylpaf0cxCcPGDFeyKXcFDeyAHPGMDjAKK/IHEgPP5YonIprJMGOOoA1PWM3QMCeF35dB2SpOKJXhbmwR1pdBfm3xn3C1FKbodR3ZHsgG4HMFIZLW1kajuEqZ8IQA0bYwS5vnNsyBLa5/jWm4hEWe4uVE/V3sYU9UJXkTolY4HCinbMKJO175M2rZOkAY9bHbbysqZi4eBnyEYXmbfLBR4RBFbcuiY3pORw0C4ie/anWhkypTFUWSUQ/JDaVySlpfobh3wJLYEBtHDnc+WuYboJhLqr72KnfJpao5mgbq3FDCcLh7FQvdrZVJrXFzSc6RpcwOaNUukQwkwpAiyDqYMvhQQY4XkNDYRJBi+XAsP+x/re4eQNztIsj3+teiWR2iFHawLFWSMfvYxZfIzZzHGdEPJphSYKk+ZLyNPT9IFsFedhXBOB0qAdOLzEIZThgzJFHfVw3JZH3+2xG4koFKlfOS+4tYjk26amod8s4/rpe/hIhXac2rhgRkoDk5Avs+i3Cwx9giClg8Rpx9wDPmOGuvE4sH/pIiMWrZNIJPj0mlxCce1ktDAKVlNSYJe+D0Rm5W9a6hilpOIlNiiK1uEYa9XBkgDQTcKKpFg1JkGWpp3onmVkze0Iqz5jCRWbhDtZgG6v1BpkcXjo/wxDvcRrS8B2i2iW8iy9y9vHvc+3Nv88oivj1N+XyXGZrb0LRTlmbb3DamXA6GHPrQhm3bPNPf9TnhaWc3/mP1rl1bZF77+0zTgxu3S7x+ZcDqnbC6WTA6srFcxJ8P2JhvsRBe5dafZmia3Kwd6YXhaW1RSajAdNxqKC5PDFpt8+Yn29hlUwGp21WL2zS6fZ0U59EM3y/wNbWHhfWVzjYbVOZL3HtxjrR8Fg+opSWNnn08ed6oR8lOf/7/3VAc3WeYZwwnIZ4MvG3PS4t1+j1RGeVEkxDblxuMhoEPN8b881vbfDOj3b4+ls1vvvdu7rRFlVz76RDu5NRKpYoNytMRn06AjYsFmjUaozHU9LphO5pn+XL0rMOWV+/SPe0w6jbU2hkc2lRL+vVeoUoTgimM/0bDHpD7n7lNfYePdVDr2Fa1GsNnj97on+bm3fu8vDLzygUSvjlMs1anS8//0yTBYurS5p4cxyf6WCApM1Xr21gRjFH27sMxyGOZ7K6viZBH866xzhuGd93tCaRpCZ7T56wvLqpdaVj0QE25yhXK+LC4azXoVoosLV7pGeKF157iZ2nO6rarc7XODk6QVwg9eUG0+6E2SygUqnQOetqamH1wioHOzvUGg0My+fkYIcLV64wGY843N5jYVHOFg7Dfo9avcHyxVU+ee+nevawfZfNmxeJBjPqjRaHZ0cs1As8e3xMo1GlUSuw19lnub5O7/QEQ8Z4boGbb1/gH//eMX/rH+1w9/Y81aDP3Zs1tvcTjjpDHCejUa4T5zEFI2FpZYMPP9/iwWHI//o//03+rf/g78Hnv8voRDr4G6rMlXO7ACRjS2qTi7hGrIu//PhTLMPEmhejQ6ww6Hh2SnzyGK9Y1WqKV79MKOwjSQrPxkTpCHcW4rZWGZ1uYzo+BeneSy13fIwvNPxwyrR7n0J1EeR8Oj4jj7pYMsyWhN94iLN8W3kvoSzHwm2c1stEB+8oYNtbfJnw8GPMuSWM0i2M6TM9HycSoQ+6hKUK5YW7urUWQLXXuKqvQ3T4AfbcKhF1rDiCbEgu9c3aJtZ0gCEsE0mBFsTYIu/VQGsEUWJiVRexplLxa+O4DVyzRCQco758F59iSLJT4L7eCrHE+O0ShvTAk7EOKaz5a3o5j/wyvumSnNwnW9rEmY10I5vXNxCEqDH4KakAfGs3cI0BwahPITxVU4B56dvQ/lLrxeb6TZL+mab14vETPGEd1C9A5wGZ/OyOpP/GOBu/itX/iLi9Qy4MqCSnMH8Hd/mmLgLlvKFLJmOKad/AiD5SQLuTlgmzPtQXMMZTbOEMZQaRgOOkUhcPQYC9w+dYUj1Yf0GTBcoyEi5DJM9tC3/pMlnvMfmFbxCfPiI5/AH++nc0qi42MkO0d8kMc/4W8cHHmHIWlU+nVIfnb+PmiVrHbMNRrbueoQgpNu4w2P2RPmuttdeJ5ZknnKPRIzX1eJWb+vpmkUGW/msgt2jHxYzkLZKMtnAth0SWJVlXnymibKSxRjrrMzv5nOLcXRDtXyimHUu5beNn/xyz/xxz800QTk3Wxjj8FJZeU9YRwgaKJMT8KQVJHGYmU7OMX26SD/cIM0ELCxpnrJwIYWpFvWdYkq7LZtiJDeUqltgsTr+gWC2TOotEjiSCZpoY9EsVfY0Z9zWpZ0geJjoiG4d4tXUcJ2c26mgi05R7XEHsDBFZEGDXCuSTMakodu0pRih68ghj9OH/mIdGpIdxc9AmH90nlfhFfB7NZOUruqXMgqF2sw2JL8ymlDe+Q2yF+mZMpgdUFl/X7W46HpA2Xjx3UW59H+vFv0nW3iMJtkmkh1paxhU6++z84kM6VTdrbpZwDTGHGErjlj5nNkVJr/JmlS8KmRxmuUHqzePkEZb0G2RDMs2U6CwKK7+xxjSp4InaaXRKIvT6YlMvtIZ8eInwBqLwKquDNApOYRIqXNBbeYPYlhRsjN1okY/aqqvL8wnJobitL+jUUogXeettrMGPyKswqzEAACAASURBVEsXyeSBasuHr6DRJdn2Mgtx5l8gO/uZ9mQF0pAOR3pgkRiQLQMK7yI5GZ54WLsPQQ6k0mOdJhpLzswxlpDxZ9JhKZG6VRwvIjj8VOnuzoXvkp49IjeEXN0jL1zEka1tIYEgVlidThnbH5OYBczihl4Ok0IN35ojnz4nDUbQEjOBdLW7BHGCmw+UDI4kPXyXxE5wghDHX2U82iMbb2kUX6B5AmAZTB5SFJCZv65kVrmgyhfhNOjiFKsac5ILcWSYOk3zxUfuL4vojvjoffLqFd3GSuy2tPx1Oj/5u7gXvoPTuIURH+tBz5QDddwmHnbwCkLUbmn31XGK5EaJ/PQd8sJlmHsRBEplxeAuKjU/7p9HvwyZ/k4eqx7FmX9RVWpyAZVImtDq8Te1NiCXJUeggLMRUTYmSycUNn4Z4/Bd0qStMMp4cEou77/GXcppQGIPMB1RSg5Ipof4ElUePSc1bZLOPt7KXUyJ6I62tPcvk1ndZMvDwrYJz+5TXf8KiVElmTwiDWdYhRZu/QJBd1v90sFU4H5iwHiuF25LhkN+QfvTEmlz3IJuiuT3SKQ2Yg6VDmtFE9LZNok1j1+/TnT65xiNV3GMTLf/lvybSVu7yaJrMT2PXKbobgvcc8ghUmmIq1odEI+6XPZVc1O9rSCSNDqAwZHGrVLZTJduaO9r2rlH0asS2RWM0RFutUFqtcizKcaxQNUuK8NBuAB2deXckJFJhDvWv08mE13pUruORvJNecjkkkgRyFZy3psbt9H/OLeprvE0n2IEx2SpOG5DLKdJcPoBrkDjiqsK1DQXvqbaPwHbSLxLPayNmxiDx+QyJJMBTOOKQh3tQLSL8v1RIzr7FGPuIgV7g0l8glv0tAqRi0EiCkmzkZJZ9QIedDU+KFsCp7igMBthDxgl+TuaZP1nGHWJ7yuiD0vI+DJcdMtksz1IhR2Q60PLkYm9bFjMBM+okHpV6D9VZZNdunS+8c7HSrwPpqcUPYdIaPzyN7KLTAUAZBawI4mkr+rBSAaMhVxilTYUbaLdD7DFEevNnfvkpcpz/B6pvYIpwwgB2V34ZdLJ5xA75M48jl8mme2Shzmm1AySvtophHYtdoOk94S0flNBW4b09OQZkkr6W7q3yxgyWIlTTCHmilo0kO3Dqjqrx+0P8ASiKLHy0m2yVOo2faxhl6TakuISCG+lvEE+9wZuOiMWSrMku0wHW17T0hqGXGwl++/J65op+8Ms1SB1CeMOhcQiqy+qxUEAUzSaSmvPe8fnNoullyULSRpm5PFzbHk/CrRvdkAkg4zgTGOKtoAxp33yypJWYwq5QVJvYnryMxwRiZNa/raiQBTVpLA0BHTrlyg6JWYCrJwOyHKf3LOw5DNTXiE+FNr+IoaXqJrSKhaJjz5UYK1RuUI0e4ZvlEhk0yVbKb+mWiOhtxtegbj9hf7eaevr2MMH+t42KpeJ0zFm1FNuhlN9menR9yhJgmfhbbLep5CXSccfYxpz55WXoI897TKNZxQW5SC5TSEfk9klkaeR5WOS/nOoX8IXE0I4IT/9gKRxBz+R39MjjWNsebbHGUnzBp5TxhjvEp9+ir36cwSTM8wkxa4uKcQoF5BjSUwFdWxvrFrdKHWwCvKIM3Gme1pj8q9+k9/9T/9d/vZ/+z7rSwYvXPTZPpzg5EW+cbfM5wchO+0B37hSotma53/7wT4nJzG/+7fW+fVviwt8wIPtlJIMkeU70SkzOOkyd6ml2+HgpMfz7W3e/Cs/x+72Nsd7J1hOzt2vfpWdrW0mvTHLF9dYXG7w7vd/osOfGzcvMBiNqXoFgihlNB5zeNDm4pV1QkGaFOG406FZK6o14sW713n05RO2D2MOTgKOujP2TmE8MzgZxdzZLHFjs8af/PhAIYq//I2L7J4c6e9xcaXEQtMlt2IOj2L5SqLkOrx4o8F0OODJzhjTKfPoWY9Ll1y+/voNNhbOEwXyMWq2avzoLz7i4tXrlEoW+wc97ctLwvLk7JTllWUe3XvI1RdeYGmpyhcffobtlbBti2LBYn/niJVNOYTaVKtVgjDG8xyePhDWTMz1Ozdon3UV/ufYFmuXL9CVAcRph6u3r1Obq/PkiwdYslTyfE5Pe7o1PznrcPPaBebXV3j3z97nzstXKc0VefblcxbXWxQKNU4O91hcWuTo4JCToy63Xriuw3PZeEbRjFqtSqfbp1mpnX8HGyZzK/M8+uQLanMCh3M52t3j+gs36bY77D7f5dW3vsLW02cEoxHLm5vE05nWTEqVqh6oT07aCj6U19T3fFIzZzab0WrNqe2g2+4yHc0oOA5He3vcePk21fkWs+GYrafPiZOAhYacSWA8HtI7G1Fr1FhaXmQcBExHI7I04/hwrCDexZbP7V94kS9+tMN//ntn/MVhwIVWyi9sLPL5QZfpLGRjfZ1H2wLLi1irtygUMx6czHj8PODf+7V5/tHv/yHp8RajRz8lKTcwsypO2CFKuzhSmZNYsJyNTIdEhtCuRxIdK9TXNBqk0T6OXNalfChJJv8CWTzVtKW8T1JJ98klWXz0MkgNu4TjE0rzrzM7eh+33CI0LSwBssoZIN3DTGdEQr42C3jZqUKwvYWbysoJRhn1lSuMRJctHefxMdbSq/qck9SmlddI6ZJLTTAeaZU4HG1RkDRW6SqhVP7qawrBE1WvqKsVWpd4RMYIR90dY7LZqehg8CRxQMbo+Q+ovfybTAaneKN7BP51Co15ZfDIOdzoPTyv1tUvEez8JcVrv0oWdQkf/TH+3CZhcQVHBgGzY8zadaZb/xJ74avKaDEnzzGDKUlwSFLfwIlC4nCCJ6yfQlMvx8XqCqPj9/CLr4Iz0uehcAkE5hxFEzJhORlj7NW/jhUI4yDTzbBfgLgo6eVT0llbuWeGANndKtnhT0jl52m+jC0x8PYTckkq+wtqOZpKXL/Y1LNkLLXExipZECoN//z1lmXL8Jy5FqS4LeE2TRhP+ljBEYUrv0Jy+hTTEJWxWBqaRIZsmQ+xfBuvdJl0+EirzUZTLvs+iQyEjZRchgxGTO5tkAs8Wuq/NYGIH5DMxLSTYlHAWH8RJpHWmAtzN5hF0TnoOOrr8tp0FzDHW8p0KIjdyS7iiH563IfhQ5y1l0iE3SN1YUk05kLkyFWnbRSX9DtY+FZ6DnYWMeORJuFmfeFVtPC9KtPuM9xmC8NYwIjEyFLTBXEyOYbFOxiZq0sPPx2T1a+R54lqMxFeVTpTeLZdaSjjwQwF/HedaHSfbNKmePXfVFNBLowgJPWVYSQnGGZDlZjx6eeqI3T9wnl1tNyCQBZEQ0y3rLX2cLyDKXYcf1NZPpaRYbpLJExwBCA9Fu3zQK07skwwgp/9d3lv+z1V4nlLLxD02woEU+q7gB1SG2vhijp9EwEQCdiv94WC0NR17RXJ5QDRfFEPWpOTT6itvExeXyXuPwNahIffx2ncOPdTRgPs4hqRFKdFhdfZxaq5mN0zQtlGFJZ0qijdYWNwpB/uXFRYYYa5+gaGgLnSKabQ9A8/wqy0CEb38fy18xhQ730MSSQsv0W+9yfYFendXiGfdTCTU1XFyYFKSOgSc5bNfmn9RWanEqu+pRcWN5ySrn4FOzpW76dA4eTCLcTsWA7a+3+JefnbmGaVKEkpeAnT3ggzDzDDI4LcxBeKpECOGi+ck89HfVVfWZULxIcf4ng1nYaJZiupLOolyzYM8kKTTKBM2QRLwByNN7CjpyTdLVJbJqoL+Ol5hEW2bYg6JDTO1SuyJZUDq13UN2IuseXJHvHwCMtxMKtXtKMvHZyk+zm21ZD0JmaprK9naeErzIIxpkz35u+cX7jTWCElZrRF6l+TxK92fUxxWZ/d14tD1vgqRucDVVhJZFm2wlmpQiSHcErq2c57z0jLtzBKRd0uy8NGJpCiT8nHW2RGhi+kVD/GOPkSJy8TyzYthVxSIkNxeJvkto8hl+diSxdOpmxxK+vkvftkRhmn6Gn1QEj4kUDHJM5lmuI6Uae1/ExObmMUi/oF5Bh1gmQb31/TrawCcsYdTREEoyf6EC6vfoeg+wH55BjD2YByCTuNcMyi0vdj18ex5xXyZKZdnVYn1Uvnyi9JTuz/M6ylX9QOXfr8h/gb31T9pUmRyf5P8Db+mm55BcBlTmOli9oC2jQNMqeivfL86IdYo1Pyte+QCQE7zHV7bOXi55Y0xESjQgLojL1N7PSAtP0lRuU2tlMiCzqE4wMKzUvkxXWywSMF36XmMma9cf43m57iVFeI/Dk4+gBb3ouWQ2Qu4BbLGL3PidtP8C+8DaVNwvgAL3VITIG71UmjsfZmZ6M9rOE+1vzLxLFcL2eYlZvat2O8Ryjdrvk1jfAikbLoXEMohNbUkYt0HyR+JgkQV7avNqYAoURJYyU45QsE/cc4pSWM8ipWHBLIhtuRLbIBIwEYitleXvc5hVNZ8l7zG8TyoDDHxGfP1AMvDxinuKEmj2T4WHU7mfAuhk81wWHKUK9UVCqvwE6T+Ew1c56/QTTZwhYWiFx0J19i+8u4fpFwKATnKoaQd4dnOLKhzB3d4goMS2J/Ao6TibPZWNeuYJIF+K1XCbsfYcQe9vwCuX+RfHR6zpgQGCO5Jm7iqH1uyLAbZEmm6QJLuA/Tzjn9WAjsXlHBbXn/M/L6W9jJCYGo5oQEzUCp+QzvqwbHEg2gxOymAvzqE5cu40lPMpnpAEM2jKX6OlFWxBrt6fDWmH8BJz4l82VQeqSpHHwXS3y/7S9JSwu4JdE5tfWy7Hgy6pwR56tYs32iLKOYTYiCKVZzlbwscVJJmQh8KSMZPsR2mrqBktOeazdJ5X3k1shNS4d+4rnPqpdxxXU/3tHKlFlY0j6dMetiJzCTKKfETsXekPnY0sn3W4TCCAh7FOxVgv73ofoapmiOOu+QU8VqLJMGwk5oCJYVx5efZF55DAnL2JKcGH+BVb50/tqYNQwzJOk8w5Khq4A45fNstjDFoNP7CMayLb+JI4wGoT9KsiaPCbb+DPfa39DXTw+2ho8l1R9vhaT/QCtpbmGV6dG7MsMgbf28kpqNvK+1oWx8rJBDu7REbomOcl+rMeI3Np0FjIH06ve0n5kIR0bYA26ZRLbrVotEKgHDp2Rmi9zzMeQ91nmsqRzTniN2HPI4xBv31ZCQNy7h2A2C0RZ2fR1z0iE7eY+8eF0PIvHkvj7H/doCkdTeMnGBx/r7JpGlqqY86ZGITtDsE299hnPlr5OMp1jSdYpCnHRKWL2AZy8qWDGePaRU2SAYtnHm6lhDgZIFOK/8qibKfuWv/jv8q59FvHI5587FBSXN3z8YM19MoWRTMUvMFyKCOOfeUUj3JOR3/s4qv/ateYYdl+fHEcsrVfaePhUEDkura3THfcrlKu3jMwUabu8cs74hOrQpV6+8xNOnDylVi2pk8DyPfu9UIYVzrbq6muUzXyBnd/eUaq3E137+bR4/+Ewhu365QNzpqR7w0u2LfPDec/74+8ecxfZ5jSJKuHrRoFUtYOPx55+f8EuvzdFaKvMHP+lTSvp8+6trPHze5uatdQaDAf2RSZDanHSmREGEzOGC6ZQL8w2Gk4h5pc37FEtVPvjwOVaWcPvaOqYzUtf3S69fYjoMtQe/vHiBTvuEiVxwa3WajQrxOGF7b4uisGWk9mPk1JvnfIDTww7Lq8uctbvKZVG2jwlhGOHZPrZrUKnWFBj44MEzrTEIDDCcTejLlj0IePGrLzAbDti+t0tmZ7zxxtc53N9hEshzxdEhXjQJODzpc/crt+judzg4PeHOS9cZtIcsrK3S7Z4xOJYtmMny5hpJnNJoNnl+/77qB9fXWvTGQ5bWNvVnmHb7fPrFc9aWa6xdXteLfdEpMLcq77uI/f1dRC7kF0xcX4biDodbe1imwYtffYn7n97XpMPJwRHdk2PcYpF6vUa/N9CEgHR0nt27x9LaBUaDAc25Jt3OKd2DAa+//ZqCqjuHbWUoxEaKI7W6MKJ/1lPWQ2WhrJ70p0+lSz/h2q15yksW7/1wwq//tkTSM25cr5COJzSFiF7OWfRNpkbOpw/6fONrt9i59yXfe5zzS7dr/Isf/BNcUTjufKBp0PRkW+01xlRAZiUFcyZ5EcuRxFlMNhvi18pkFPRnzMyaghsziSRPT8nKG6S+gS1DV/eSqopFZyrb4kSSdZQp1teZnX6k8L68+0hd8ubSz2GLjrZ0Aef0cwXf5pUa2d675MvfPF86SLVg6SWcKCeV88EsP4ejWpIyG2oq0uw+1SphwUmJBm0sMXCVFsmGj5RdFaQGvkTpOw/JhUtQuUly8lOm0y1qF3+esN0hL3jKQJLBdyTVOTPBMpYVapf4Hk7zTazkBAbPCE0TT+4novvrDsidXGtuJCHMXcDKxV51Ru6Jj1rsLSnpcE/vAqL2daymnhVMu4htz5FJ4k+03QKrbb1NIuaD2WNcWWRV50im8hDrkp1+RiqLmSAhnZ3iNZawrHUi8cDPbWga2E58RtExrnKcXE0np4atFaAkkAWVSdZ+ilNoETtFXaoZwzaJOcNeEOCfpHUneFIwl2qmDOpPP1IAudimhFIvadN4sINdXIH2j4myJsWsq0mv2eyAYuk2qRFinr6Ps/a26ofzyY5yYqTePTz9C0ru+vk5zbOx5N+Sv01wqpYHty518VSVfE5ZEroHWCySN8QcdgqhJLxdkljqzSOc+cvM2l/iygKhtKHJ4ES4DNPHUFjEkUGTbPLP5OK+TGIWz3lWcjebncDCTdWbi6pW4MTmtKMLXrlIuwKtNC0yr4kxHuFW5jTNlqj2VtS70rJtYLmiw/OIRb1eaEBboJb/H0/vGbNZft7nXaefp9e3t+ltZ3dnK3eX5JKSRRVTMRSXGCmIDSOwAwRGEjtwgCRAAn8IYsQBDAcBEjnVkJEosR1LFlQocUWRuxTJrdP7vPP2+vR2+gnu+zXygYAIanbenXmec/7/+/79rkvSI0uaIvakix8cYNpttedkUrFrikVAzj5XMab3yfcfkS/e0LqFWdnAGD9WToslCZqpDHxMDDFYNaRGeai2FXm2mJ4McAJSUc+LVSAXwHKgNqXCdI8ZRU1zypLYqjU0CSiLimwm7DSxAHz+j/Ls5AcYpWU9CIe9x9rjSiUuKqqj3pdQu6zxVvGap6JQSsRH/wKvuErQ2z6DT1g+lpEQBh2FcVnJlLR6nnTvR2ra8BpC1KwTHf+QvPourpCxB5skvktmCAdAtEoRcZhq5NFpv4UXyaVFfs8cVy70k1OiziPM6BSn+rpeFsywo52SYLoH69/EGR0xufPr1N7868TeMkYSKYiu5DYZCqnYtSArkSczwt5DvOVvkhzfVeCGdG7z9iUKEhERNF4wIDUrqnLLs4QwHlCYfxOz85hxuYlPg5wext5X5AtXSFxRkMh0ycOZ3T/ruNav6IUz96bknZ7Gel2KpI0Wefcltnx4sgqpLRWHJ+rnNq2BRjed2i1mB9/Dat0iky9CHmMtSGzbJ7MXsNIB0exQL/fZNMPwpa/SIjn4Cm/ja9JiVW1dZrhK/s+dqno33WBIkEa6CXQKS8T7f6Q1glxgaKUrWInAEbvqSM/FLpDZ5KNnesl0G9f1UqJTJ9GGpBGWHP5nW0TyZcg8ks4X2K2LZOUlVT46RpPZ6KGSmk2Z0orHsyYbxSGmPEwHj8irF844EQN5+H2dWXaKG3RVgSdRoVgiYAUBWMTER19pdMiTya7E5+Vhl4piZIC4gkK3hCXsB4mMS3Q2E0jJTdV2Gd0dkmhbuQf2TDaPQwUFSgQ8IVDfqCEQRdlQIZ8J+WfGhLF0dl7F8lO9XJjlq0SD+xTUZDEkCV6QhGO89usarYncBYrJgES81NLrdS3y1Z/HOLhNboywZDDUfak95Kz7Y+zGG8TSs5XPk7ABAvFBdjBFNdf+OsyOSbuf4i59R00LuZtqnE0SBjK1Dg4/1666xoPHoopc1a57Or5HVhPlSlMJ+KGoQnzZjo6ZTcRj3dSXhfTAkFh0ZJ6lIpwJ6Wiow7VCYU0hL0HvASWnSpjLC7JA1hKIy46+VMS8QVYmKWZYgYfR+QnZ6s9hRCcYYhjwBcwyxA4yzHSXsPgKhmgHp8JPkFSNpH98nbrG08e4bvss9i9wQ0NUgj3y7sOzz5roXQTGlo5IhTegqrcJqRWQTGJcuWzWr5IOTyHp4BpNMgHxGR2MwjnS8VPcZErkrGCNbkPt1hkY8uAO+fxbRPVLeJJ0CTc14ZLI4Em+s2aIlxSJpY6TymWlqD2/3GuST3ZJ7bZ2wJn01FMum/6s/xjfbqjSU5IlqQTdPLnct3CmLxXgaOZdzPY3lZEw2/4+rqhHF9/WBJIxPVTnLQJMzTxS+TyLI1jUpb6NGQQk42PlZ6TmPEawiSV02eYbOihNjz9R7ophmNjFdaxwRDi9h+ktyGRNwVaWAoIKWgeRQ0AsoJ9oqJNsp/2+dslyRCdaIhvcV9uG1f4u4cE/wxMMt7+og0GpWGUy8c5l+CAX9yG5xMj9BQXDpaMuudzKJ32chet6OExD0b0Z2GaLaPSV7K1JZKJv1LAlkRFK5Uh89V1m4x62LWrJNglyoAGxLNnH3yef/xXiwR2Mco1C/R0mO3+E3xZwlXMGdQoOMWO5qEdgVBWUaVuibZQU0g8wGzewm2+onlV92AJWtWRD4km3STcBWfee1jWon8cevFBgjyo6Ux872CVvXFR6uCn1LRl+Op723k27qdunVEY5MlA2ixjhJsloqLpThyl589vEB7+tNgGn8apySuS9lSen2EXZJIDVv0fgLuGIbjE9ITt5ht26xOxEqgSSBponGx6SJ9u4i79IIn84k23dsMihL4tjkskxjgD1pvvYbo5TWSUIXYUDWo11rLHEJ3exyxdJZChgTLDcVVJ/A7N7G2QoUL2KlU/IBIrUuMz09BHm7C7u6je0pmadbJKWBKTawpoEJFkfYzIkkQWALcPrtv7ZSGXBKKxCuKddcXe6T2Iv4NSuEk4f47niBh8ordut2oye3iPzp9jttylbNu5rlzh69pTXbv5N+mHGL96sMbVzVkplxrOupoPmaxk/+nTIXAs1ijx4EnBzw+I3/tYci8suP/pBj5kZs9Ys6sW1JFvAQoFCrcyjrx5w/tI5RqMZg70j5i+sMRyOOX9pnf0XB4wHJ5QrFZJM0lEGpabHnc8e881vvcFgEjA46rHxisBNU27/8A6zPOeb37xJIOBHz6PsFPnBx/e5fS9mv2uytmHz5f0e792q4ZKwcX6BR0+lQphTL5YVRFepW9x+OtQ6h0GJn37Z4YNbNYWFHpyMWFuusL815Mp5H79QZG+vz7m1qgIKD18KjM9kNIgol4osLlcIBV7mWuztjnjnvXWaJYP+4IgLl1bpdUZYhsv65Qu60d5+8ZK15UVSGV4pGHZGsVbVYUOve8rC/LxS+6XjH0aRXtjLZTnXyfHQo9/t02q2GQ+GlMqe+sYlxv/Fx5/opfHC9cs8ffCCixfX8QoWL55t6hlGevqymCCx6Y/6XL56lV6nTzAdUalXmQ6F9pSwMLfMeDLCt21Gs5A8FmL/jIPdU9qLNRbm1+h1u8pmSkSfuLTAzouXXLh6gU6nq4BQM06J0pC9vUMWlpZYWVsijBJePntGtVRTwv80CNh7tse5K+eplD2Gs5CCY6sFwDItKo06O/s7XL92lcx1OXm5TWNujuN9+W4mzK0ua42i0qhyvHeoYMP5hXkm05DxeESl4CmLwbZNVq+9zuPPv+LKxXW+eigJoZDLl1eYu2kz3ezyb/2DA77/Vcbrq2IWGfLauQZrK0V+83e2eOvVpi6dhgINM2x+eudUhV0/+/jvsvTuv0/vh/8TJcchrK4RHt2mVr9If3aMX0xJowJmMsXOJsopkF6/rcNOiTLLOekCweArXMfEbso59WdadfXbF4k7mzp8TVrnsSoN0qOfkgiw8dwvwO4fqYUnT1yywae4c98mGj7BnV9WPbLR+RPGyvWKcebfIpUzcnNRO8+MeoS70gs/D80NrDQndtcwhk/Ipk8wq29okmB6+BN838Krva7VBbN1C0bPiJEEmYVTuwC7n5AsfoA52yHJwRctIVPCIMBf+ZBo73t4RkLSfAWiGen4JZZbJ7XLOONjVb+6Nan32aT+DDu0CaeHZDIgKLUIogynYJInGW4yITLr2MaUQAapklKUimhawhjdxlx+T5dsUtc0wy2F2M0yB2f6FMOW3ripauxcBscSBpdznCRjSw28eISIAjKpA5kuQSwX1UvkBMThFHO6ewY1rq4oN8yavSSjAaLRfP4JRu0CwtP2vQVCicrPejiSxLZKWtnOBJWuab0bulEW2K8oopVPlAcUl24yOjyQuzxu+yKDR7+D27qEPX8Fw1rRLb6c7yKxGI16FE2T1MlUBZ2V1zFn47PditnCDWe64MnErmYIu2RVQds6sJaBQ3jIVAwAK++TlxYxdz8mNet49VUy6dzLn0VwitV6h3j/NvnwEcb5X8ZzbQXUynnGmA6wzr2Dmchm/4RCWZZ3AhAe6j9fVLdm+x1MY4iROaRpB8OZI532QJbAomYon8fIDLJc4IHH0L6KnfZJOs8w138eu/+c8cvblC79HMng+RlEdyRA4lMcyyDpPMRc/Xmc0rIuxWZxijNLMHs/ATmXSWoxm2FIYq47wKhVVKUpKcFAoLwHn5MUG+S2pxwFy7KJxHrgzZNX5zC69/VekdQv44l2eudnZPkM017WpVk4E6CiANgrGMOf/b08Egq31Ybu55j5lMSoYDPFqF8j7G9iiTqgUNGoinSuM+kJSy8jyhQ0ZYw2CUTjJJRov05WXCYOZqSTZxRFYTG8RxRk+I2b5GagUy7fLpEHB8QS6xeNyNx11WrJJs7zZdPSYzrcw179gIL45MMBcZbhNl5XeuZMAECiEBKicOtNwqMXeNlLYjnIBxfJpAAAIABJREFUGXXS8CVpYRV3fEiS9nBlCpiGZAe3sZdeISueI3n6Ed76dazRlKD/JVl1Eae4qNMigZrIoTX35uH0M5LCeYp+leDgU7zzv0BebhI+/pf4jQ0mPelIxgoHyc0yhikTMZmYVZk8+S3c0pLGhi25pIZyyHFVCyHqD4xFsvG2QkWs2jIICKt3h9mohycwxGmqP4sovILBDoZVx2hewR4/I54eEMdFqguXmGz/EEPiTcvfwBo/IHAK6t+UXo698JoCB43gObnVVOp+lMkhX5ygy+Td+6SjbVWEOAvvko+eEHQe4i++qYMSy3Y0vhqPHuMXRWcUYbgF8Dc0Hp+NxOrQw1p6TaEt2XAbt3GNQGiaEjeZex+SiFhc0IZ/Fh0szhNmBf3SyVZRAHZxekxpFhB4FSzRy5lzyn5QCKP4teUSIb0ziT9Hcqx6qd7oNDlREqfA53K7iCW9/MlT3LmbqhEMZj38ZEycC4xrjGkVyFuvn3WzRi9wm1K9kFivkOsFEiNdXyF4h+TuuTP4knzuk4gsH+JYVaJYlI+yaEi0IpO7S1BbIT29S/L0/6L4+t9gVqhQCGe6zU6GxzjnvkEiALL+fYz2mkIIrdZ1Tco48j0QzUq1LaxKTHOk8JhK6zWi6SGRJA7sMsw2CZ5/H+PCr2E7oh87wSxcI9n+bShewV65SbL7pxiyqTv/KzA40UqHAOfkAhDsfURJQFvL31FKfjp8QmHxHcJghiMbWc8n2/sUc+Ud7LSl0K308HfJph7uxjcIRh3y4c8otF8ntMuYB3+KU3uF2DjFDEKy8jVMMzgbbjQukAlUrPeUabCPLd5VAUBaqUb55c0rED3pAKfRkf7dUL2BGR2ShwlGdU1TCrG3hC2XGdG4CZjIDKRNqYkLsQ0kshFIEhynSiqQTvk8llfwmRAIxVYuU9LqnG7pICNNJRZV1jhelswwlj/UlI892iWKBziNeTJ5+Zw8x6w2wGzq51QOtOLNls58WljGLs0rv4TCKmZ4TO6KI1cGkkOloNu64Z0SZzPMvIxrRcSBhSEb79G2XtCzQh1jPNCXdam1rArNLBSYZKRRrqy0oD5kx93QAVXSewilFk7hEqlc2IWVkhp6SRfwi5m4JMWK/noPjzScqpHCtLyzyJcA78qXsJIOiegDh88oFC6SWhNySYWIbSRL8Q1JXzSJBBpoFJXFIckBw79CLErWkx+AcBbCmDwNsa2qxiAdt6gO5Xx0Qha8xLLnsMwxs9jDC0/Iy6tkMgwZb6sxQ3RzkkiSzTWGcE7WsQROI98lgaiInkeAn/Yaph3pINYITrXnKNv0bPYC9r7EvPrnFcZJcEpSuIg1uKc1EunvR/JuqlyC0WfkZl01c1INkuSExOay0aF20FOpRWQhhVKT2GiRnv4QZ/66/t7xy3+G7S5rvD3LpuRHtzFW5aDgkAw3MeKBDhmR52J4im24pI6km0RPJFG+Irm4h/8VLLQw9zahfN5n+1i1G0Q9SeR0zg54xUskzgxTiPhyWB1PyaXWIj5sGQBNDslFgyn9QBmQSjUiT8i8BlYoyY1c/z2Q+tj0UDcahoB4Z8+xogxr7lXSWaCHrcnhTzTp4y98i2R0DzkNarIkC7GnE3KhFps5VuMcTMTnLdq6Y1zXIJOIJydYoYXVuqmAJ1Gn5v6G2mFkIGrMb5wdAF/8NgmrlNbfJxgd4ORTqF0kHR2SVi7jxEdK4Tb7T9Wy4c1dIY9sZuMnxIMpXtHGCyMip0n1xnvQdvj1//i/4G//g4/ZqML1t9coJjGnJ1O8OYduN+TkJODX3qty+zjl8y8zUjfiZ3//Muc2mkqR33s2ZJKbTDs7VOdWVFO39Uz0TVCtlPHrTbXF7J8eUakXac/NMR1nVIsOd+/cY/3cOYUKOyWP7tEpfqXE1dev8tnv/wyzZPP229c5Pu2wvtKiP0jYefGCcqPO//M7ezzaG3PjwjJJNqDuO2yfBrx7o0m77vByp0e3n3IyhWbJotMfsNL0ebBlUW6WePb4mPdvyTMpYGOlzMZalb3tI157rUmpWmfYO4uNl1ueMkUe391h6VyVeqvG8e6Udr3C5tYufqnJ8PSUOBOw5Yh6pU4QpGR5yNJcna2tXV55/VWiOGT3xTar55ZxPFfj9OVCQfWDUl2ShJZAMyXVcHosg4CWXoSHvaFeYkVJ3J5r0z0+oXNyglcoMTfXoDsYQZRRWWgQTqbE05BWs47t++weHZBNE5oLTQK5GBgWnsT67YwLV67yyR/8QAccS8vzxKK2c0zuffmQizcuMBxNtOsvoMFhd0CpXFJuU6d7QqlaxfZc9jZfMr+yzM7WPr/0l36Vx7fvEgdT0lBYFCnFYoVub0B7rq4qMmybzuEhlXqdueUFTk66zGZT4nGgNYPG8iIbGxtsPnqC70q9Kmc0nLJ8bpXeaU/jxa1aje2tHeqNJgtr6+xuvWDQ7bOyIhcYGTyk1GsVuv0BySzUYUqz1WDv+UsMHy5cvUY0G3H4ZKB4oVe/Vqd2tcpH/2SXv/I/nEDB4o0Vl/WVCh8/PGShWVHFr4xgzEaDaDrg+eaUnf2If/y//BW+89f+JtGdf85k/5hy4wYBYwVpFgVAGW8xHfoUVzeUFWDSxXTFynRKEibY5QqOI9ptSUCKjkUA2R6G1OwyeT4Ldf1QIbFuSWo1FnZlFcweWe+YVC6YcsaptSGqk3f+mNheoLj4Npno+3KBq37AdO8PsA2pUQkXqY4j0DlPUnSDs3efDJ2FrRNuk/rz+mc/nUYUa5eZdZ5RLFuMdj/Dl63qwjcwzSFx5x5p1sQv+UTimD/eJVx8DXf6SGsAqTBherd1oGvGNnalRXh8B0uWgV6NKHyJbS8Sp1JTkRh5XROGqcC6M4tY7EqtNZzqBtFwH6spFHZPl6ai0KRyEUvqXzMxT1XwnAaT4UuQqLxRwTTKakJguKVbXdNsaLVWWFdy4TSEdyY1S2EC2VUyGSiMjrGLid4Nsl5Pe/BGbZW0f4JVLmpCTVKrMpgTXk6hucb05AmeDAasCsHBj3GLLbzCElFwQNDr4M8vkUuyVZThTom4v0dmDs+WImKLyKRm3IKTL0ijEGPjFzH6m9D5FOfCt4m3bmOuvkF68Bg/O9U7m3f+l5gdPiQfvsReuEXafUFp+RaRWcQ8+URhz75wZxo3yDqb+LVlpgefkM69gz96iGE0SSSqb3v6fpc0pmsaBFYRKxatex+ECSTHQ4pk48e65MhEkVi9CvEII01w7TqpWHWigGKxzOz4IbTfwuIUK5bzhtRip2cwSVmklspksY9hxxhyns8D5RNQX9BNvgISxQ5Uu0neu08UHlNc+BrRRFKVE2KxapSWzxSU8t/lXm23IBswCwcUL/3rJN1HWNPnZOUb5LJIl3NUfExeuADCOho/wizIYnVO77FiB8tzB1ssXGI4SLtQvc50+8dq1BBVZpb0SHd/hL34Fm5liXiyr/Uj22npOdXof/bf5GHnpRJ7ZduZ+ZexayuqKpDthWz2JUJimibhyeeYTuPs0ijdTAUs7ZMGL7Bab2FbJY0ZO0JDL18i3v1j7LkLSlLO3YYSJS25vEqcRT60QuCWD1GxgrX7J1hzN0kLNYL+oW647OKiRlKjrR8zSyzc9VuYgz3t+fir39VIqWumhP0XSu70ZPJs9vFql1QbFnX3MPwGbusGafeRUnWtwqo+AJy1dzFHp8wESkeqDnZxZ9uDRyRyOJc/PLeFF/dIUp/UGeA6i6QnD4gHexSv/WWS2eYZaV7I5MNHzJKQUuOWxrtnnV35PpNKWXHua5izO6TThNxIcd3i/9+xcp0mWblCdLSpgBgZl0fSvy4UMKcCHBTugWz3ZPYqF51Mo0zW5ITEKeAWqsT+PEbnLsiEMphgiT4vPsSWw9jcBRj0cUoFJlZbGQB+ECtFOzy6i7v0hvrddTNVmSfq72AWyljDbWK/rpMuN9ghDMRPbWJWFzVG6ghERbZAYYLjVwgnPVK55BXO6WBGQGWp28KxXL1c+s3lM1ikVcKwHYUVmp4vhW8c0XJp/1yyIgdE/V38ua8TzzaxpL4hKY+wi+1UdQMVymdVSPTCUZgl+F5ImtoYdqjxHAGXyEtBKLJI9cFfYnLwEZY/h1e5qVs+2QZZ5XXlGAjwzSwtkXWf6zZSQHfp5AGIw7Um/vSBHqSsqMNsOsRvXiLrfkUuQ4y4gu9E6jJ1ZKPqFZg8/V2qK++RVWRrfu+sey5O+/5XJEIlN+tEAkupXcAdbZGXJarlEIyfU5YHusTuDR9XujzVDYzghLi7qS8kcelmAtwUNqB0DyU2LbCb4T7J4e+RL/1ZHImj5Xtk+bJePtJx92wrLUkI7wKF9Q/PNJQ7fwSLrysrQcE400A3JkLktrIe8fx7OAIoMUzC0y/JZJNZXsSIYzIzwvFbRA9+E2vjV8ibt3C6PyYVWNrkVKeMpeW3SDIbYyb6lZrGMuU/4r614y3Iq1Ask2f2mXFEUhai3clsfZiG8gCWGlJ1Fc+qqVtbtIq6qjHEHlgiF1CfoBpN4XA09bkim2eBAsbSD0uneJV1TKksWTbWeIvQF+DLAa4xJvNuYtjSj5oyFfPJrAPdRxgrH5IeCJxmAcOd1wqREn7lexhPsewakUS2JbIu0dDCErn8XeaiTsyVDB7Ln7kxw/SWtOsmF3YrjUiS/Cz1kNpQXVSffdj5EbZ0BOOYWe+uprFkSGFUfIz+SDVtApGx55YJekMYfkG+9Ge0i5lZVWy3TXL6E+VGWEWxWOwRTweqkdM1ueHilJexpkfEtWUdksivExCgHGpyOTDE7hkJl1Dd26nlYgvLRWpfAs0c3SE1FpVab9Mht9fIrFCn46ZRw5BSs22rktER2v9kF7x1HCfAyook8h0Qt7FZxYwC4qij1GzRyYl2NZcueXFVeSpyyeb0Afbi14n6LxUe6JSKZEf3NGkhQ1XhSMhGRg6esYBQBcLk1XCmAyXNh+48ttcm73yCvfhnSXsPz+oG6UyhUVIvs2KLwJzpM0hivQJ+yuTv0KthyzBBdJHFdeLRHQr+JbUtZLNDwiTCLa9hMCaVSlr5NRAYanJCLu8AgSUFA2x5NzhSPJAY/RRr9IK4tEGhfo5wcqjx7kTAR56PK1FIGaYUVhhPtvCzgLR6ESs4RkZeJbugQ8x8fIxff43AyJTNYc36CIdf/dnyPnXKWPp8LZIVGxgSOxSvtSRCBJBpCMtggtm4gDmVy0RXKc+pGHjCgVL3ZetiVtcgTM+Iwp5FMhJTiRxiCmcmArOqfeE8H+uQxZv1mMmflzi24xLB1v+LdePfw5zFJNYAb/acTLuJc6pNiqfbGou0Ki2szlPiupw7xJ1cIzcW1EhSbl/GLKR09o7032P+nbeZHD/g1/7y3+OTOxFvLpd58615djb3SAOTUqvCyxd9ShWLsTNjNnR5ejDhP/kzbf6z/2iZ6UmPnz2c8dYba2w/7NBq24z7KYkouaKIk86AK9cFTmzx6MFjyl6RhfUVGnMtHt9/oAm2gm/qpXjl/AUe3bnPysaS8i46p2Oq7Tr7e7u0ai38mkV3d8Dp8IRpInYUh9/7ZJ+i43PrjSr7+x1KlTpLLYe9/TFHh2N+7lvX2R8c8uTegIuXSgyOPH72aEqzEvOLHy5S8fpcujDP+TeusP34MXZqMbe2wokA4xJBT4q+K2Xz6QGL55YZdvtMpgnn11cI4jHdkzH1eoHWXEs1gNF4ohdiQY8UHJPu0YzxYKosjSs3zjPodJgMJ6S5HINl4m1RKJVVk/fwwR01GEhUXhIcs1Gg8XfZclZKJdI8P4vzyqVH/OS5wenpiGZDnlcWYRrQap6RrUfBgCyTQRlMZiFXX7nM88ePaTRbjMch3cMT5hdF8xoz6E2oVWWI0Gb/5FgHELVamdF4SrlYwTEtBuMhSysL9DsDLVA9e7zJxasXKNQqpJOQyXiIV6qRJhHdXh/HhKXFJbUoeL6jZzrhGNTqFR7cvUez3aZeq/P80Qs1Ctz64A2Odg4YdqcsX1zm9F9d8oPxWB5wGGFGba7OcDijVHDpj3q4ucX2/j633nxDAYtJFFMsuUzGMmgTm0xKqVTk4HCfG6+8RhBF3P/sLm99+w0mnZwwGTLePyKWlIrv4CUZdm5w+d02WWDyl/7LR/zOlyP+0+9e5dQ44Sefjrh0rspk2qNqlih5OZFV5tlxj0fPp/y1v3iBf/i//UNm979H6lzXLnUu9S6rTGCmagDw6+eUu5XPhtiZpAOLCk+LY7FhJQpLjk8+U2NMVruIM35B3rpKNpKN6zOs4hpmpQ29p/qZMm0ZLsT6rAvSkEKhRWxWJd6kkGOt7QUjDKNMGG5TblxiPB1oKk7eL2nvKaazSj58TDLtIWEUid5XGud0E+0USgoHDpwGfr1IciJg3RTfXyARHpOwCCoLCiDPe3dIRbc8eYbjrugSSfS0yegZ7vx39L3knNzWxEI6/7qCkJ2kTyoAPitVZlZcWlNrlqj4nNIlTF9sMCe4Ai8fHZELRDgIlGNj1RewJK0iqTKJdvdeQqWMlbl6DrbKG5h2Qjzcw5BEqoCazZjUK4IMLaZncFs5bxMNCOVZ2zx/xpaSRVmcMO5uUqpIda54liwbb2PMf0DQf44rCzBZpghfqeIyCsDLc6zJMTQ2NGlJfoKTVonDLbIowJTfq7hENnqp0XJRAFoL75PIwEJSSFI5lii6PANKHp5VJNy5q8wmOb/k3hz0vyBdeBu7fEXPptHoMdl4H6dWJxEdaO0V8uhQl0FW8bLyuPRZEDwmCTK8YKZVkLD7jML8FbLxLsks0GRbwZV6iKQw6kq7dwz5To8IR49xV3+ZeCbPRUkP18iZKpxd3qnMdpgdfoErCntfzpyR/tpY2D7xszODWWGOWXSCHRvkxboquAWknU2kutXHt+pE5Tn8MCItVpnufoqTjrEWbypLQfr+khg0vJR45y6ltRtaeSSTd0GPWNLbjWu4khSW+nTvWHW/iSl/LxFIvX7SwRLTjpgI+h2ycBdW3tUaBtt/SL7wNWxvg1SYWtPH2PYamAM1p+RJqppKK0/1rpLEHdLuNtX5t0gEgD7Zx+h/8T/mlhAcRbUjMdfZfQnsQ/G80g2zYKY6BelMyEVICKACz0q6Bzhz68RTE8eXBEFINDvGbn9D9UVZPsLOqvogkW2I69VJ6ENoa9dU1TaiFjn6GWgf9hTbqxAfb6k2y2newuBU1YQSExT4UJhG0P9cFWCGeM17D7CsJYLjH5H759QXymAHu14jddZwJ/skQgFXkrLA6WbExTWMg+cksVBfS1BeIZGJZ3JE7nrYzfcxTr7Qh5/0TUU7ZpdrMBZd1y720rtkhz8kF3L33IfEe3+AufIBVjjGnIwJ/QLmoEt2+Hs4G9/S+L1ZEMr0bd2+JUZDdVxm+z2SdEoyFipujVy0GemQeLQj51j1nwsAMO/cUUd1XFtTIrg4f7unX1Gun9PtTNbfJ1m6jFl8E/vlbxFL/6b1NeKZHFwtDKPO7M5vYC0u4TS/gTm9QzDL8Jc+IE36mFJzELqNVyYLxoR7H6k3u+CfJxCad7WNGQZYdnS2AXfmcAo1wkEPrySTtpSse4QjxHexPjgylSqqDaHslQiNM3XhbHSME4nTWfgOOcZwE0uAcE4dwYu7WUQ8mZFF+9iVmyBKyv5nOoSRisM0SfGS8KxrHB0o0MimTJju4MvLwm7gGEK0rUDwEmc6ISyvYqVTnMalsx6W1CgW3iafbpLmBZz6ClHUwRoPlAAf90XbI07da6TRCNsp6kbYdn2MXLpP29jNlkaYpUdUqt0gCA8p2WXG/c8gbcLqLUy5RMpDvL5GePqCYnudLC8Qdh/gFRfIRa0h+i6J7gjV38zJ5DNflMjUjOTkU4WgGLEkEhqquzMlhSH/v76nfAf5+WTjLVRi0fsIQCe0pGKRYE8zEtFAznZ182lMHpDGRYzaeYy8Q4K4ZI9IZ5luQGeVNsVpV4EvqdSBVn8N4/gBeeczsqXvqHPYmB5pxzi1Z5iRHIB7uAVRwJzqd8UprpPJtj6SesNr2h8j3MIRkGB5Tr8/6eQFqbeh3WihH6WzI3LDwpHtpCgvRf0lZ0VxhAsxd7iFWz5HFA/JTPFUm8T9XYzGLXkzYkhqRaLnjottCjhN+l1T5QWYZqzQGsvKzzgiIwE+Fgj2H1JoLpDLJrSxTnDyTNWhaiiR1I6RE0kdyLIIZWpbWNatrRgb7GhAJlUV6UhmA6LpcwUEZnaK66yQSb3ItDFL6woflC687deJJ0N90GfpDGNwW4eLFM5jMsUcdxRQmtfXsKZDAgGtxSFhdIhXfpesYGv/UC6k+fFzHQ55tRsk6T74F0F0o9m2xsZDGVyEEzLfxYgS8uJ5nIJHOt7FEuigbClCOZDsat/bbqxhyqBT6lMxxKZLwfGJKWPLwSUPiAUGGJ6SefOqfDLdAHN2StL8LnR+H6OwgimKoIk8b+pIHtEsWjpYM8SfW98gSyxSuewVLpB1fkxqS6/yJlZhjnh8pJRbSQZJjM8QJoBoe2rrCuehfBXbTLRL6PqLzE6/wpYaVeWyshAEUBV3HmKJ3kcgp1I3EeWNJwn96/q9SuV7n05IZDgiG3OJ+slg06sTiCkh38epvkPuydR/htkT/eAxfus9DOkdTsMzErHb1rhp3j6P2T+rreReG9eUzZlLOLqHY1T0GSd/VpJSEDBi4jYxw6kOjvK8q4PIXL4f8ZBgeA+n+SqF4g2i5JBYthtOFdcpkwrTwBRIrsD8VnRoEQfb5FKPKS+q6tFKBuRiIJGkgNYWbOUjGKYc0EfkAstVF/QRBVEtGcLc2MZMzg5Oltkg8X0Q3VR6QlK5Stg/0nqV0bxMNNqhII5jf41k+hCzdAO7skR4+gTLsnAqc0z2P1WCuLfyIePTZ5qGKF76LtPju7i2pdvX2BPjw6lyV9zaa5r4Cbt3KV78ZegeEGY9XO8KrjlgNOlj2rnWC926KCsNStYKpQ++zvTu93jjW/8VL3oZ333LYnFhkYPtkFkmgz6XpuNQMAYUly/wf/7uC5YrKf/0b19h6VpISpF7n46xkpiFSy12n55SLLpsXFtlf2tHt/nFUokomOCKxlio5rZBY3GFp48fsDDf0G726sVLvHy+ybmL54jHA7UPyaW3Ol8n7vW49Molusc9/sW/uM3hTGTacxx2I1ZXAy6sNjk86pBPUkoVH7vicHA4pt0QPZjJw4cddieZPgd/9YM6H7zVplLxqDQLTE5HjGWYXq0xOJ6wuXfEzcuXGIynys0oll3uffGEjctyXovY2zplY2n+TMtpmBweHnPu0gonJ2LwyfBcl35X/pkjrt+8wcsnW/q8vHzzKr/1Tz/hX/sLX2d/e1eNBXKhrkuiMZ6wsXqep5vPKdgew2GPRruJYRiEoxmtuTaPnj7hwsWLnB4dM5QExIUNJkEg4Wv8iku5WOTx/RdUSj5JlrG1dcil6xdZPzfH03s7ZFaMY8vAwaTgl+iPRtSrZ4DU3YMjltbmFD4oZ4yi65KmsbJn5MA87vcxTIOdlzuUyxVVML7+ztsc7+0p1K5ar9E5OsbzPXa3XvLKqzc53N+n2xlQ8DwFGMpwojeasrq6wnQ8xvIdjESyrhnVss/TF1v4Xolxr8O1m9f49Cdf8MZrrzNJQ7onJ7QX5tje3Obmm2+y9+I5y+trnBwfEo6mLK2uKqzwYOeQ9pxsti08x9OLhbxzjg5OaM83ac+1OD7pcv78GmNRTcuGNcu4f3+TaxdXGU/GlItNXMviy6cH/MovXOJwd5//8H/u0Y/qnBwc8sa1CqmZ8WAn5dKcw/EoYDZOWazWePXdm/zjf/IR/8FfPs/f+j9+C+PRD5k8u42xclE33fJMCYo1/EKNyc7HmGaGP/+OskCySCDWS8TTE7V0SW86GYs+vEwY7VBe/WXSTCjnRzgrH+KMnhHsfYax+DrZpKPGDIFs2qLEO3oO9WXMkiSdjolmD1QNXZu7weT4iSZ3JamaCVMlNsisgEyGAaUS9njMsPsUv7woAlRNn0UDofoP8KSeWFkmijt4Uci09wSzcR4nEF7wQCuGWWGOdLyF1bpK+vIT0kodWy5zkn4uzmPJpVKUiHaOl47IorOagCsDVfl5B5/potMQiGDlIqnYWmZ9keQilFKp6Jrlc3q2NmYjTT1IGtSyeqSSNHWaWALmM6uEJz/QlKslgPPaGoHcA8ZPySs3sKpzmEmBDLF+mRhJV1lVkrIWnVtULJLvPcBuX8Ct1IjHpwryk8VNNDvFKSwqo8DMumQLX9ezlqrtBBQuUHTXIEwdfX+LEjQVbbckjsWu0HwVKxawn5zXL2J6axiTR8Sn97DEJCOVsLxCZM3w84zErpAX5iE90DO4DObN2grZtEtipbgSh49neE6dMA50OJfv/Clxe0n14ma5Rr7/FVltQavIsRDsRcterpH1n5L762fAconqZCGzWRfXX1bVeZD2lcUlW3oZZMu7yxcg49wN4swnGj87ey8WS9DbxWHEbDKF8iLlykVmx9/DEaXN3JsgC7DU0neZWWrL6gWmZyB6o9gmkw16dqrAxbx+DWMSYMb3MbzzWhsP9n9MYfVVvTP4/hypVWOmlRrZgY21eiug5NnwAMEwm94l0vF93IXXyUcdpvv38AQOW6hhdHZJm+sUC4tMx8IOG1ASKLjT1qql3DGTvTtaQworq3iOcDyEmXWsdp88PCHa/xS7tK7/roZAaITNIAaM4Wf/MM/jAUksihK56MTMTp/gyDanfEk3GhJzjAyZOA61a+C0L8HgkNSzFZTkFeUCPyI5/Yzy2neIKmtkcuCbyGWwSzh5iXf+L2LGoh84Ji3KYbKnU/PMDHAzn7i4jiNbBV+qBUJSfIg9PCAuL6qX0Zl/BVdo4lPplk2hvkGht0sk9H3ppMoFVrzngVw0UiUymgIyHHxJTgtLthkGZCkbAAAgAElEQVTDzhmcQ+KeQpZMc8LRC4pzN0iDE8zuIVHrIqk8NGain5lB6xbmeIfEcHBKS5jGHLCl2zzP22C6+fuY535eo+9mcECWjTXeLoR5ARVmQrlPzhRK8nOmiUc2eKiXT6SjLtMf6bfZNnZxCdMrY/bvKpnbCQZE1YsYp59h1a5C/Rxp75FCoozMx4ieMqOGv/Zt4uOfko1kwFCgWvIxF75FPBKIokd+9BVG8zqeiCPkkus3sMVuYIbEp88xilV9cKTdA7zW6wRJl2zvtkL93GxAmBVx59/SPlA2+hIjPNXtuN2+pDWQaPhcfyb5+SWVYWW50nyTJCEbdkgLBWy7Tp4cEecGBa+p2jRxZnq4esmWy56tFNoQt1QjcwR42IS8C709HAGayN+nXHztZQXPmOMeqdHANAZYhRapENftMplTJRGKumx85csx2cEqXSadvMSQ+HHYJRmP8AXAJkCw5AhXLi4ytQ17IJPI0iIEO7o5TRNLu+6pbWPVr2nvO57tYqXipHeJZYDhrWMlewShxLINbMMjsAY40xGZL5eEKlmhDHL5kr51QRIHd3XwFsnFov+IQmODJEoIhn2qS+8zPfoRrmh2BCgisETxy3bu6uWVxVdheKCdp0LjHEbtImYkrtovSTMBR0nyV+hFddXBmY0V8AQm+BFRFGPULuNbIbPDP6V4/S8we3kHx2mo291xXSUaS3xddG9yIZVfIxPQ3CvhxCFTQ7rdy7hZThIfKJjGkX+u6NOcEtbpj4lPnmLd+DeVsWCIaUMGGrJ1d+uqtJEDlWX2yQyJyrdJ031VALrNdXJ5EcvnTEArMrwrL5HK5DoTUFGk8XDRhaVysBSISxIh7jUrMUmNAEO2zEqXlQ3UCC9NyKtrzAab+ALEWX6HMBxjdSQqbsPKe6SDbcwjgRC9p70v8bsicBqnqhd6Dn6A3XyFRHpaoXTEQiXTy6RbtidmaUGZBJ5crgTw6co2+tGZ91UUP1mIId7j2kWiyRBKCzj5jKhzT0mvdv0CYXyEZzewrIBg1MXUibBHsXVD01XSxXRrF8nHXczxQ4LcwxMSv+DGcklO5JpKiI8/x67OYzjzqj2025dJRwd6yMyyCNTYcawUXNFhGgLmlDWY0JYzB8tMiTvPcARGlEv0Xsr21bMeptnFsVZ1gJE7onI7wBTHck2MDlVsJyfOazjuhHQqE3hbNYXZ5EDhdEbtNa01mJboBWOs1MSpX1WdU+4XdOhsZDmua+tBJc/ks/9St/6pXEYnp2RRjlOXTc55jNE9YjG2EOPWLhAbZWQC5XsNosFTcm9RUyhpsY0pnyG/pdCpdLCPLfWqeEQWy4CghCk2h9SB+JhYhorFeWzTIpaJ1uwAKxMt0SLp9ATbyXSoYPYeE9kenmx1lE4dklODyUPy4gXccoVEdHedB6S1RczCeWUGSBwxk++nd4VE+B6i2PKvY04kim/o7+9mplKvI6kOSPJBrAFFeb4dk80kfi4Hw4pGs0XBlMl7zYslMUgebePOvU0qg+fgCLd6hdw0tD7gGh6xxAYLYgR4G1yfpPslmbeEK0rFVNILzTNCtnwevWXwJPafYGUjom6C68szvIgxjchlO1dZwJudEItlp9TCc88RWzGGbKsObmO1X8Woir3lEGN6rEyV9Pj7ZGYbp1ghLYhdxGWy9c+pXPw5KJxj+PxPqM1foPj2Lb733/5dfunv/IRz7ZyvXTJ0AJyYptpAitWcJ0+ntBpQLLT44wc9Pmxn/O///Ws6vH5xe0b3eMbyJdHdZRwenrC+3GJne48b1y+ye3DI/PIqezvbNGtt2kJjH56y93yLOMm4fO2KVml2Xmxy+eabHOw9JehM6E1cLl6ukyYBK4sNJumEf/lbm7QWyhyHHsIzzc0u51fmuHPviEqpRq3p06wbzJKYmgO//cMJzzdnfOd9n0bD5OZqkQsXC3oZ3d05ZjIxaDTbdMYz+p2RDiKePnnGxsVzNNtV7j94wlqrqQfGw4MTmrUqc+dWmY6GjE5OGfQnNOeWcGse2XhC52RMsVRhbrnJ7tYWrmsxv7bEdDDhzs+e8At/7kO++Mnn+rPWW3UODvZUfbe8tMCzx8/Z2txWd/YHH36NJ8+eMu4MFQaYSyDFNilWqzqU7h2dKvyvPb+mmy/p7DdbdXYOjihUa/hphlet4BcK+nufdg61H98q+hzsHxFOIqq1Ki+2D3j3W++ys7WjdhPH8uj0Ovrcl1Rir9PVM+rC4jybT19QrhVZWxUDg5wVxC9pKdCyOdfg2YOHOuSptebIo4jRcEiQpLz6yk1++qNPaC/P4XkFdrd3uXnjKp1+R5Vb5XKJXueUcq3OwvIK9z7/XOGi0g6Io0hViqVaBcuWi7yDXyzy5P5TVcieu3Ce8WzCaDzhxrVrvHixRb1SkJ2tKhRvvHqDzZcvSbOclZUlHt2+Q7PdYjDs6xl5Fhl0j464+dYrxHlOQRzgWUinc8z86iJ7T3oMx1OuXKuz/GaVLz7u8+7f2mKlBYsNn5+7UubpccbH90d851aDmxsFOim86Bzxhx8l/LkPfX7jo99g9mKLoNvV2piR2hTWrpHufYpdXiOadEkkQSsDVdF22hauWGe8BV0KMbhDJoyAwRZOaQG3tsLk8Ln2s+PxJqmR4KWCLquQewZ2OiY2KjilOqHQ4I++wKqex2pdVk97JgmmygpJKJVLm8y1iUd7FBZ/nrgjgOIGSfUy2XBX6eZB5xHl5gKpLEoO7yljyakIRO9UU1GJ29CLpJxBUgEG0yKtnSM6+AH+wgdk46c4s5S0OqcX3WQi762U3J1ip3Xi4EQd9W71Gm7tMonta4pShvrO8Z/C8rfJvIvE+x/hyjnWLWDlJrlsWm25a2SYcjHzF4jEBCWZLadIKrDwSYBdaZNLJU8Wd+mQ1G+qFS0eHioDK5X0p8BTtz46o9QXzusCL5XzpijGe5s4UkksLeKJGrhzj0yqelFEJoEDASSPR8oImjo+xbm3SHZ//4xzY5/Be0NZxuVFHOGziR4yTWB4XwfSzvw7JMf3cNpXCAabWsNGjARi2nJy5RLEnoWRm0q4t4N9/V4Uz797Bm6NR/rzBUImPbyD1dg4A7OL7QVJPktVVyC4kQ50ZOnCZKhGOjUWiT0gH2G23iGV5GBhnlQ4PKEk/3ySqixEMzxZPouOvXkLLx8ShwGJ28YVZtT0lPhfccjEfhLLuzrrqHXKba6pHlGWDBSEqWKRRCek077eGdzUI6vKMkYU6Ed4ecqk/4KCVEJEOzie4a6+R9bcID+8g50NSGOLvLyIKUwjJC3RxSnJOdwn19R1gcnOHUqiTCwskU6e488GTKKpDivd+hWy0aYuolMxqCVj3PoqYecAMw8xl9/XqqUtlL3wgCTxMSrzUK3hyGBaKhu+mON8on4Hz89JZQgwHmG31kiOPpMBwH+XJ+MujpNoBJ7SFcxJTw+gcoGSF5uUkuOgg1+pEIz72H4b0yuosmky3KJYP4cl2+DqOmnvMZJ6tKgRBxPs5jr0t4lEhTc9UNJmbNVxZo9ISqKaGCvh2LAT7ct7K++f9Uk3v0/+yr8NE+lid5RenSH050R7oEIzMWRGXCwSRk0ce4Kt/5uhEZpw1sVvXtXkQmplpPKgME0SqyW3BLxkQBhlepiWyZ1c9BAoxfQxcSzQJEtj9qLSsyQqK38B4y2yfELafA836BD1H2Ha87qhLS/dYjJ+gCcxSsMmk8N6eIzbvEEwOcBbfF9j0cV4oh1YUSeKaksu8vJBkEFLaldw4kQp6k7rmvb+NaqpnV7RRp2eOZbLS4x27lKpLRCOXkLtGvb0Bcbit0BAJIZ04kr6ZUoHhxj1OVmrYkcRs2APT+Ig0pOJDrHrr5FJnERop+M9pnKAF7rq6CG5J1uJOo5vEIr3/uWXeAL9KbUJ+10qy7cUTiaJj9SQGHkXWz6sw1OiaJuSbJOMnFymkQJ7dOZ10ySqGNOSbr9A/FzCqANS+5BLSukqWfdzrNoGrpDZzYA8L2DHM8JohlPeAD8lHo7wJLqITCwPsJ0FDPnSnv5UJ6hUNohPHmHYBbK0i1u6Thptk2WiQ6xhRkMiu4AjTjJHutxyOfXV/Z5J7FkGJK5BOp7iFSo6tZZedTYe4S1uiLxR9VoSxZUpYe42iQXaklaxarLNnNeLahIESmiVSJLffltVY6IM89q3FKgmlxkqN1QhycGnBMNNSuvfJPKruPJQTiz9AltpoBHpzLDVNS5wFWc8BIGYFZaRk6YpfWn5DM3fIon7WKNd5F0tir2s8RpO3sQ4/kOy5i1ye4n09PvEB/cpvPbvaOQx724SCwlVPr/+vPbngv2XmMs3yYcdkumhTv6tOCCSAUjtNQUV5nGuflNRxcnhXiaSBd9S/ZNdO08civIzw5JUyXBHPwumu0TSfY5RWdTqUY6YDBJMqY7I/+3LIKJCFgmJvUgaD8gmU+ySqAEFYtLUYYT0jK2iRz44xnIaGM1z5KK2FPq8bENFaToZYRXLWJUV7ehJLI7GZaKTB3i2xKQukVkzJaPKYNKvNjTNIkA/1foJd6PY1O+1gPnkQu86FQyJBgp9PZ0QRBPcYpt4dIybvCAprGo3P4+KOFaX0Paxwonq6QR2KaAbRywE4RCvvMT0+KFeACWVkAQzOVWeQX+GLzS6TXERp32NWP7MkhyzVGLW26E0/77yQ4LhQ+zmJYXxJY50LWOSvY+xTXnGvUoiF/uTLzDLFzAKFSbJEF84C35NmQ15nIohS7fwpi9R/QXSzqfkpq+qTaEJq051cjYgE/+sIUAkgX3ZYudYxnNzRrIxzkWxWiDbf0S29G3c9JhEE2Q9NSZ4lWVm3acgmrtE4Ds9jNJFTDFeZGMdlMbhCEbPseZukBtlffba5WUMYX8YIcyk/5mq8cCSrYTq24Y4wv8wxDHs6mMVgVW6C4T7f4IvKtmlb2qdQOg1YX8Lp7GCQY2k/0y/A7ZUOTKpcYSY/jrpycfkome1ffLjP8H02mT1t/UwIkOSNJL3pIdh1zFKkhA4JAoHOIvXyfa/wlA69OskYqA5+ZysckmVW5Eo+IRjIHF9K1WziiFMFIEqygtdgEMyTJMBrth0hEJcntO0lhwALRmauot6uFa2YOMS1rSvUEk5VJrevP5dit7SbV7HiGZkxhRjFpL64pCWzYmhv6eqv8RXbMnz87EClpzKOpYkgKqvkA67kO5iey097As/QWogeTjCrJ7Dblwl7fwYW2pX7bd0QyV1zEzoVGlMmk50CyIsDKmeyMVH1JSiYpTnhVNuM927TXHla1qxKBZCJERlj7Yp3niHfHGDv/83/jp/59fvcmu5zLUrBYJOD/ySslFKpRJeweDkZMx0avDVSc5v/NVV/tyfb/Hiq4E+V2q1Cns7R5xMYwoFj+XlKo7rsftsh7ULK/RP+3T3+5y7vKi064d371GtVDA8U8n1zbk2hwf7tBtVPvn4Hu99800Gx8e01iuMTkbU54t8/MMTfu/jCKcMqy0bzxHK/hI//mKXkm+xvlrlyZNj1i4u0qj4/MEPNnWb+Vd/YYmIHq/eXNfv0OB0AoU6k86hbvpLzQY7231uvL7GUeeUhi9WjbJWXnBcJr0Je3u73Lh5ldkkYeflNkmS8d6332Nvc5sXW7t888MPefnyKQebB6ydX6feKrP79CXtlUVNOXz62V3eff9t9jZ3iKOEa29e42BrX0nm4pU+OuqRpglzdTkT5Fx45TpHe3sYmUmtUmZ7e5uF1UVO9o5xHYtas85kNObyK69z/84XeKZJpVji7otNXr/5Cu2FAr3OmN2XJxQKOaOBGFYyJVNH04TLr17i8e0nRFGiIMbcFYunoz+TU3BYW93g0YOHeK7HtTduqmovmAiQGKp1Oa9ZmgoSlemg12UwGLM0v0Bv2KUqFh+nQPdQuA3Cb+iwcmGdYBzhlT32nm/T7fd56+03dOAh1dH2/BILK01+9Ac/5dzlJYwswa22KBYLrF1c56cf/UCw0co+6J72WT2/rumBC69f585PvqTRbuD7BYbdLgurKwwGXVzHY355kS8//ZKFuTbVZoXd59ssnz9PfWmB3QePGHW6XLh+lUFvoHUDiWHPn2uxvXvKQrXKzknEwobLQrHFJIqYdAesv1JkOrT4N/7zB3yxb/Pv/nKLuu3yu58faV3x+nqbT77sc3nDpNEq8Okfd3nnzy/wv/6T/5t8Z5fB49+kWL/GrLSBnQyIqeBacgeQqoQwR2TYHhMGIX6hCbMJkZw9Vr+Om8SEJz8h89YpWqaS3UVrWKxdwSsIVG12xhgzYuLBM01/+gbMLA/LX8EKj/R5JLA+WUwxfKnJ4tLqrykjKj16RDTZw2m9il8qEYex1gbDaR9XBgaSVjx6Qmg4lOfXMWQbHhmYrjwrRhqx9urScz/ENgXOCpGfaU1WoviBgGhLV7AXVohHY+jfJXcWsCpt4hMhw1dI594muPNf40vVdv3PYMnP5NrYwiwKY608JP3nygXI/Tpm3CdMctzZmNRP8EpXMQdPmCWJVgGozWktzs0mygbLT7/EKi7CwhvkvS2Fb8uywZ6/yezZR3jtV0iksiOKYNPE6u0SzL1OKhC6o09xL/4qib4jZmRyf7PlOW8o6FU3v1YTrzqnG3I3TUhbor+O1HxklC9j/n8svWeMZml6nnedfL4cK3dVd3V17p68sxzuzHIZdrlMoGiaFERSgiFIgCEDsmFYsAjbkGBJsGHAMizDEgz4j2RIJiQrkKK0CtwlN8/OzM70TPd0DpXjl/N3svE8xV+7xM6wu6q+Oud9n+e+ryvpaJLMEOZDOlKzmNS84pHcE028xZ9SZkU6OlVTlahY5aJriHFALEfdfU2XScM3aJ9oOsi+/ktkvW2QtKFlE7W3MeqbuFaFpFhTRpgh2j3RvIvTPZ5CYUWtPcnsCEMWUrUt/d/T7j2sym2sXEbSPiaIWuSFuG8vMe/fxynewXAy1cnGonNWs0MisWoM4RI1XiUTIv7xPokvVYlYl7uzsxdYrpxluwrBl8+JGUrFb0Y6bJOUa1hGVVNSkqzJWo9JG6/gTTNYaBL297CEfSTcIAGax7KtTzC8i0RH75NZOezmJbWN6T1Z6iOzXZLiHdLSMqbc5TQJnyeIE5xig7Rzin3xXYzxEWYsCQSLyMnpmVqA2XauSZKi56BocEyhdklTGI6dEcr3bSqJXLGvrWGMn5NJBdByFDiemgFG7/2/m82693GjOaU7v8modYKXT861eI78gz62HGyCEZ6/xFTiP2lAND/DbtzRCL9eChbuEB1+CqWq0qLlgBLk1jW2K8qQoPuUXFmALSlW5QZINzbY1q7L6OU3yDXfIfGXsObP8CtrzE8fY9ReBWN+riURXl64S1RaxZn2SUsb5334aK6O7OT0j0jcDXXIzp1FcghELkcaS/QywMrV9QAz7T7Dch38yiVmg11c6XGfPVAAn1VcZ/bk93DX3jun/8+7EPRJNr6khPA0amHkFnFcAUmFmOKOdwqaJgjNCa69pLHPpP8hVG9iixvZkwfbCuHh97Ujn9/8VWZ92bbmML1LpKNHuOV1JifPsKwCueYFYunLhXPGpx9hbv0G7vGHpLJ1FCKlxKMl9prVz5VQ3ScYK9eJOnu4pU0o+NiDY8ajlm5Sk5MHSrzXSbhTIvVFf5GAXILnE8JkhucvYxsjJoG4UVPtt0dRGaNggfSU1n6SvNckOP2ufg+z2qskohYUH/jKz5KJwtCUTbn07u3z7f24rYd2AYy4C68wl+lVeL7Jco0cll8gkA6XxLfLFzD7R0pxl82rnNylI2RmvrqWo/EO5Fa055wKd8EqKYMgFSjU7DleYRG8C6SjPfXam4WLeN6Suu0FUGZWN0laL0llOi9bxMnR+bBIICFppFFvO+rj1l8jNjLsuEcm8VlzGay5qgiFWOzJL71TkRyFUjlNiR9KPFe2huJQnZ3Dh8TRLDUH0aekXgBhHZMOOMvg2iQ7/xFr5S3saYdJMMYuitrQ1g4UXlVVblmhTta9T+RdxpfYsUwW9YEWKKldazKppYyJzJlipHnovSCyXezGTeLWA72A2s3XYSKT6i5m9TaGsCOsEE+8p3Ohmi6rLzcavFSHbUaVrFhV1Zor3fxwwnwkerW5pl8yGSQ5ebKqpHjkkl3CGr4klYOAVcdirA8vGc1I7z726kopjQcPyIxlcjWJXbc0Pi0ViLmVULKXxf+hPVHPNnVwKNPywIiwRTVq5TAEQiMvfrkkyqa40NAHu0A3rdwSycF3FXaDaD4793Gs4rkmRXy9AiuMZCJrkAiTYeWW1hYiAT1GHqkpmyL5u7sQSDWihSnbSpnudgXcc0y++UXS6b4aIjKh26YCXZLkxgv97GVOQsGsMtXUkajgNskcsZvMCcSVLNUUO4drGJqWSGWKLy/ocER+4U3m8r0cvcRrvsK8JcThmQJ2hAkgB4t4+1sYy29hWXJI+RzPvKjVA1HXRUKKl98Ns4DV/5hYHvjy37FIxi8wzDph7zPs8ope4qXXnUkFxawQSWVJBgrmFCcTBdUZoQwt8jkFLUr1wJDqV9rDdBfPB8ICcJPOfVH6+uJ/lwt3QW0CsQw2TEv/OR2mOQ19cYkKMpqOwGucJwdEWSkdveFL/d02xc07foRVvUhWvETWewlJC8tdJCCnUd84mei/n077+mKVZ296/C3teOYu/QaRAA5l6h49wi7eUsOA/GO2KBuDp7juGqEM/OZST5uTufIy9wmm535rU+LxUndIDf1sprbE+iZgrevwTy048wi3LGmOmExsMVmK63qksuGfn5L172HX3iOrLcPOt86f/wtfIQuO1XlN6aoCG5N5D0O6tX4Rx18gNksYZ9/XqHFW3cRMJWUl6Z0djPJl/Z1wzFj9v3a+oZd0uVyng31cW/R9U5IoVkBpHJ1h+8tKpKZ1l8SXrw2Y7JPmlnHXvnRuUjEzTd55QVfGIST+Gln7EwVoOpWLxM/+DcaSsHFKuPNT5gIyFXKx7+LkGsxbn2kazNn8Je3Ph4f/Hq/2xXNlZ9bG8ZqaHJJhoQydfEdMQidY5VtE0qU8uYdbuaL+62n322oRktqgHHCD6T1K4lXON3j3i7/Dx8/7/Be/vcmz+z1SIR8bRSbzERU/IbA9XCPme08z3trw+Cd/pYZbNJgZVXZ2DjRVVfIKaPPKkl7zAsNeh2qxQiHvc9rrMO2Lzz2vXVDZdMvzT96Ns3lMVZSxqU3v7JjlzRXe/9YDfv4XtoiyBicvXvLwYEZaavDd91+QxQ4LlSKGNeDiygLhbMrVW8t8+0cHFJ2Yk4HN8GTGz/zkEitrBW5LZVPqK4mr76qj1pgoMPWC3hawoNgCGlUJN6la8HD3iOZqk3KhTLfbxxa1lwznkkgBg7akZqKIyXDMaDKjUaswDuY40n9OE12CDDt9Co0mdhZTbTbonHY4PT2httRgobnIeDKkVq1xeiQAyQzLMbEyh+lsxqg/olQusrS2xNHBqZLA5XKc82y9wA9HA0b9MddfuaF+98dPTsGK+MmvvcqjD19y/CJk+VKMm7q6Pe+0hpQbDZbWF7UPPBUgcxxw7fYNHn74kCRJuPGTr/D07ucUvBzzaMrK6iX8vEtv0KfkF3j89CmWaWuN4eTkQPkDL59sn9cE4oStG9eZTCa0j0/I5V3Va7m+SbnSoN1pc/utV3h8V85fmfb7Dw6PqeSlPjBS28KV29f4+Icfa6rz5q3bCtESJV6/P8Y2beqNinrvp+OQk71D3vjy2/o9FcPA0oUlTTYGs7lCE+V7V6836fd77O/ssri0TKVeUbvEysVVTg8OKRdrdDtt/ZnZnlQP5NiQ5+zsjOZilUqtwf7zbRY3LjCbjcjbBv1uj+byKu3jM3KVMptLebxVh//ubz3mf/3jGb/4bpmFzOek3yFfq3C41+fVKw36k4gfvezRbsNX38zz+z/69zBKOfrwn2piYhzkCYMuxfyCLkzymc9kdogf9yEvzC9ZriyTGQtaV2PeIZ6NyJ27ArCHO1iL15W3JKBqR6Qq+csk42Pc5k3dtNulDRJRmUZnWPJOzYokMnzf/n28K79BPDzCEGhc/QrT/BrOiz8gEmbLwtvY2VTrlVbJITo7wKwsYIrm2nIoVN9gPtvBjuakbk5ZQ5kM60dnFK0x00QgpgbFWpOpVJOK14jk2RLtY5Z+AsOYKDxbfPJedEI6GWAavta6EqleWTk8V94BptaYLfnapZYr5zhTanSyPCgyH+/r5lYG5gJ2TryqfjaZ9hXMmzDUYYJUbl15DwrXxWxgJgNwa8xzNZyoB5GwdsqEnftY+RVdaKTBjEAqcAUXJ39Vly9Jf4dMqrfCHrJtot4+aRxoUpDmFcx4gmnUmc4eY6TCwWnpezeR5UTviULec7UL5zwa4ULIEidJydofya8yxtoXCb083mhyrvqcHCmANzIi8pVVzMRhPDwiZzcIcwVy8vPw6iTlDXJJXy0RUb6CVboEoz01CoSiHq9eIRvs6/JOtvxmsQ6tXQxrill9SzlPsvATM4gVD4mFTdPfJy/LPgQBsE3x0peJZ2LZeY41nRF6JbxijcngiLyb0zMrjRt6/pvuf08H347l6OJY7ovlhVt0975FSUDt/gIUFgjPHiMsU7N0WeuwsZti5Fb0sp/YJsHO++Q3fhpDEgfTEWZ1BSs0CU4/wGlc1OWhvD/88rrCr8PDjzFXX9XntJdvMN35kHT4CGPj67hpX41OafU10s5jtQYEZ59hSzImS7W2HhoRcWcHv7GliwJRwzvlJWatexilG1rNizt3SRe38PstZlGM31xTEH/S+VzP/mZlVQdjRv8HfyMTfUDYf4FZkIN/AWdyQICHIxAC2RxUrpNJD0QUIXaZ8XyAL6R2OyUaySVjSTfPplzKpj3S+VCn6EbjCtl8qL/sWEs4hkDGRkoSli8YZwGvssi4u0O+8YZ/i2cAACAASURBVBpB+wPs9Z/BlANe8JLYk0tPQNK/h5HbUD2CF4yYywU7dxFTLktyyfdqqhSypd9pWESyPhg9wxQNnSUKMQsz2tOvzbZ9QiF7WlMswyGSmHoa4AbiNZ0Q1q7gVi6otkjijvOz+3iFNZKwLSconIWvaq0higck4zNyuWX9pRNVnFHMMbOaFAYHJH6kNGXVThixXgxTK6cfSAEg5SvvEIhWybYwBCQmL/K4y6zfodB8VaO4yeGHGlWO5+ebfyfzSU1XfbCy3BHAmV0oqWtSZhFuIWGeOrDwCrYAIpxlBeilonHzBPpwhp3EWqEQgKVZ3MRqP2CuuvQvkPWenfdm1r9CliuQyDZI1GyVhlLlo9kUd/GLWMMnGkfPjEXi6iKGkNBnMx1+RKaBV9zCks3/8HPmyQQndxm7ek0fYKG6MpewpecbSfdlQ7fZmZnDcnPE0mt1LBx7nTgbKT3WsgK84gVCAYuND7EkMu5I3zojjWXLlCnxVLbQXtLG8FeYTlv6ebMo6VbbEmCYJAhcmXzZGDmHbDDSrXXKFFmVC4JQfkYCuRPPtgC0rChHJv8/hSIrkeJ5GzcaqWdT/r5WnMN0M+JZR/9+Rr6GkxTI/Ap2dCrzaMzxLkb1DrFsN7vHzDJwErE8vKdQyGy+h5XfIrViomiKLZo0gavlpUpzqoOQ0EwxhGxuuHjNN0hSi3i2d74ZlkFQFGNZFXXZm/VXyRjDYBvHX9EIviraBD7HMQSSUJhoHDcZB7qRl0h2JJHGeKaRb1No905Daw8Sg5dJtUEVQ76m4cdkaQHn4k9jd/Ywqj7ZRFSEPya/IRfliGT4gNiVjut1DMvDHB4qmMSoNrXb7Zg+tr/IrPcYu1InNjxN1QTSDRR6+exUP/de5SZp2j/vscqlVtRgaV8342YqUL5Q+/+xvJSnU+z8kpoZUsNUDacpL85kguUYZAKAnB4qFFA+ewpUSYVuLzpK+XNMst6PSYSjUPkiIRPypkMcz4lliDB4romCTJSoo5c4jZtkWYYxFkPHJ7jrv0QmVQjDI0lTKK9iCxgyG5IMtwlFsdN4XX83QtHjWIvYTpVZsI8t3TWJ/qWBRiVjuaxP9ondlfMI+mwb7AqecFpcB0teWKLIC0fE9Ws4kVCDB9gL72DFOwSzExKWte8msXeBEfneKtHkjCg+wy1JzPFIX3y2UGVNF9NwSSOh1vpq+gjsnIJEDTNPkhhY46dKwxWVophErMQgMgu68ZVKlHTqA1F39vZxyh5J812M4w/0ZW/mL5CdSm88xRKS/uSYJBlCGGOsvI0l6r2zpxiLGySZhyvAKLPMfHhPL7pW/U3iyTaOVdOkUSqqTMMns0tYCOV4Tjp6glV5U4nQoSQxSqKeDZS8nGUNvFqVsP1CBxKm6BfXXidNy0SDAzwZUMjmp1hiLs+RMCYebGNJDlOqTcKT8BaIZYuejf9UHTTCcEsKzQxlep+G2KVXdSCXTtv6fnPSjCA8xHJWscvC+DggkwuZ2HbMPAhccXZ8/u/mbxI6PsnoobInAifEmQjcMoch6R9hQQRjnNTUZwkywOk8wlt6RTWXllvW1I0YFlwZ0AkUbvIUq/amHq7F+mHWXiOSr0tMBpZP5rgYRll/13xRP0oiTECNoYlnhToInYsqTt6Jg4e65UkFOuTK+aCsf77Rf4C7+lV91mXjxziVTdLpQB3hYrme9Z5ilBvYmYMZmwRSyfINnMIl2t2nNGpvYA56dFsf4BQ9MrvBwju/xeToD9m6+bfpxDH/2c9eYCy/s5JSET6PVWASzHnvCvzhjwNkaf53fnuRX30toe0YlAsb/PB7T3n1+jJ7O0e0OxPe/MJV0iTjaP+QC5vrVJebtI/bGFnCg88es7G2yOLmOv1Wl9Fogis8gNmMxnKZB58fYU1jvvz1V9jdOcEvuHz4aYtvfTDnl39mgX/2hztc2yxyY73CcJZRyA8YT0w81+fR8yEPngS8/XadGysJP/nuCmtrBVrbx+weR+TLFUbtHvXFBR0aVnKiYc5x/8OPWV5ZwHFcxiOB99XIl/JMBhPdLp+etLh0a4tmvc6jew8o12rYjsXpyQmLC0sUCyVmc0mRpRR8n2ZzkRc7L1ks1tk72eeVt97k3kefaK3g1hvXKBSK7Dzf5tLmOqettg4R7rz6Gvfv3WPzymVMy9EDv9D9h5ORDhcsw8ItFvj8k/vkHI+lS4uUCwUef/6U6SxioVlj+VKJwUnKP/qXL7hwvcxo6PHBwyH/7Z9vsLW1ptYeu5Dj84/v6dc4D6csLa7y6Yef0VypsnnlCkd7Owo3kzOIkMzdnKvvqG7rDMexuPb6qwxabY6PzlhsLOj2P1RArARkbFXZScq1XGtwfHCMmaZKi+92hzRXa6wuLbL98iVbNyTZsE+3NeL6rauMp2OCIGD1woYSww/2Dxm3etx47TatVotZf0JqZORqOZYWVhhNxpTKJT2Hbj96wWw+0t7/4sIiJydH5CTNmUWMuqJCzDGdBsyimf684nDOi519NjYuqn5wOBjrufLo7JSr1y8TxgnBdMbZaZtiKc/CyhLvf/tDLl+/RL1WpdOeM+60WdlY4vnZiEU35Y1fusx/9buf83/+0YT//s8u0j8d8+HOlLev5EgSj71xQncWcf1inX/7jW1u37T4k+//M02MHn/0Q0rNZeLBE5y6cH2kAvoBgVGlsPl1EjkjtY4xSgWSvlTALiiJ3YjkWZkjFmp9OCQbt8lqt3AkZdh7TiyQa+Gd1G/jzw6Y9460euwULyuYNOw+IauskjelMltmtv3PddNprN3EdC9jSuw77TE9e44r22upn4rW2ikSjWVQLZ/JGvPOU+yldzCPv09Y2NBhkiQ/XKlLjXeJ0xXS9l3MUh5/4TpxaxeW3iaTpd/B9zFW7mBmti6YgsEuyWib1K/g1t/EY8JosK2VgEQGyFRIJPXYeYEzauNcfEe3x6G/ohYceeZrnF0YRbl15b8oo8VbxJIa6ViU00PIb5DJ3SJJVPMm9wbbyhHPj8EUCr1AWEekAs/LBCS9Rbb/LYyFN0jFfDQbMB49wfaFAdXTIYUwdmLTIF/aIhy8IAqH5OvXVOdLrkzY32U+GpNbFN7ClLi3jV3dUg6LvEcTOZvZdTUbSGw8jFP8jXfJdr9NVhF43RFG/TZZPNJBdS7fgOELElOgkTWykiSUT4jO7pIu/AS2mWF2n+n5Xlhz/vIXdcs/7W+TL63rpVrg01LzF06yVAVsb5N557t49RuYuSbzziFeY41097uqXxcWj6QJXakPWB4E26RRSQ1CRuartSyLjsmKYqU7gVkLz7GUbZRJHVHA7NMzcrU1HdLE45PzFETxMp6kl7vPFdKZ+U1NnoTRCN/wdcCRnT5GNB2GMJAmIbYMwsRkN28RUCCfF1lfUe0AAvSbtT7FF6NA9RpJqY43eM5UPgeyPD/b1nt4PDvFtmT4NsSXv7slLKl9HElhFi6SZTPoPsNe/ALjaYe0e5d85Q6GADh3v4Elafsrv62w3lkYaC1Hf96D58RSlXYXiCVZMvjh38rE001lWfvbiBqt8xL34tcx4jmW3yToPcUxp0RJDiPuQE5icpdJOj8G0YHgM5OOh+OeH8odOXh7RFH3/NAzE7phUx3AiVFSeqhcRaLJDmblFoXGMlOJTkxOyDkNoo44PRskhgVxAt3PlbbvNNeI4yK2HRKJFi0NCc2cKoSkV0rvkR58/eX3QAj1qac0c8wlwqSNJTGSegUjKRIZwk2GYLSPWW5iyQ/I8XTqkhWa+AKpkF+63imWXyTKLyhB051tn4Ph7LIeio2ZTIFcXDtg1nqOe+13cETpcvYIp7FFJJe0qI9RvKWb4vjkO1jORSzfZ57KBEi6c6Lrq5GIgzpxcZZuEYwORRxCEA/0gWF27hOLxzu/eu7GlpRAMiOR78W0R76wSSRRF9lKDYW67mPXakTOKp5YDWRrlI4Jh2M9zGXdz3TjI/q5wJEu1ipW1iaIc+SEqimXtzgmlpjm4LFqT2SNFEuXPzrASWxCeSAJNMuX/qkorqSUkWqcJk1npKK5SCLs6ECVMJm/gis94vmAedrVKGw2OsAvNplllnIYchKxssoY84kC5YxSXrd96biD6W3qJlEI4am3gFGQbWaA3d8nowe110hkyGHOCCJTe3gS2w5bTxUEKAmP0bPf0/6YWbkjlAXVXk0l5yLu8+mZkuY90Tn2njF3qhSKSxqVEbJ94haxBh39nJgluaT2SL28ws6yOCJp7eKVhV9QJiHRAZObl0P6M6JghldtgNkgk+lL2NaenMxuZPqZ1G9hz2a65YukdzTe1kNzOD7GEFp3kiedH5BvvqWcglguWp6LZUilJsCRjlTjBubZh9ptN3PXsacHzH1Lt4J2aZ3Z3neVXC4KASW1a/2hoJFiuSRJf8vPlwmSjKwnfeddyN3WOKo8JI25dIqkAjAlLa1rb0xI3qlTwdRhi6efG0I5cvVU3SnDnjC1sWN5iFcIkxyWISrGksbw3HydeByRDT/GkqhTWsHo7xBOd7DLVzC8Aul8imnKRtbT3rQpbvesoc8ec7DLXKCiwsowU1W3GEKpz0pkpWWl1xra785BJL4AgfxkJLMpjmFiicFCdCi1G5rAiE++h1VeVhp9JswL5pQMh0A20NO5XkzFTZ556+qdpbalFZSs+xCr9hOEAvUUwMvsmNCrq4vWEUNKYjCdv8QobGBl9jkLZdqH1MTK+QiGOhzs4BeuEolFpbSGbZSxxS4ifb6lr5CT1Er/E8yLv0kyP8U8/Ncg2sXqa0q+TU6/SypRdHnh1pqaiJGhkBgIMrdC2NnFSrqEXuP8cy3VjbitcUuJ3KX+spo5ROOJaE0Ll8mmu1ilLdJ5QHT2I7LCIr7AKiV5Iu8CWU/J8CWY6mdavPJx9xlumhLLMPfgD8+VqPXXiKIDsv1vY9VfJarcIi9b1umesjbMxCCp39Eh7uzkB/p8cZbfIOq/xPrT9NI8milx2JCLoF3AM7PzLqZoXgNTDzkkA9z8+jnTxS4gjhcz6JPmPB02ZMffgcZN0sKr5zyEpI2dqxBPDzDGU6zlt0l6H2G4FzHiNqmS/g19TtnyjMqVsbyaKnRCIfXnlonjPnFuBT+3SRzt61bClIRHOCPOVfDEoiEAVUlNiYt64Q1Nu4jKSIancRCR9j/Dc5YxRIk0Pj1PudWuat3E739MZK1hlZaUuZCKCnC4p1t+BWtSwPVkCynK1ppeeqLJQ+zqO5gyiE1O/7T6JPHSPd0YmAJCmvXJ/DU8Z6RRazkgZFGsxgdOPiQaPce7+MuYTkXrKPLeCYMpdnxIhHBPGhjFFcLTe2rskbd6OnmMX7pJ5Ij3OiTqjzQV5K6/Rdi6iyFD6WxENhthmhVSUzSSMcXmDQbHu2TTPRZ+8Wc4+uHn3Hr3b3Llmsebqz73D0Pqns0gjLl+sUbYC3l4NuGt2yX+8X/o8Lu/5vC7v3WRwzMJAZc43dtm/UIRM9egNxxqNHplfYnxPGBjbZmXD7eZThJOO6d87dd+ngc//jEVAQ7KBXrnhFpFWCOOAjqrpTLPtvd454u3GLfnnI4n/L//Qt4PRXonEe+9UyKLLQSbJFHTII0JJiY/+rCr0K6/+FsX+NrPXOLxp4/lDM9CeZ29l0dEM4spU1558yr7e/sMOwNWlpYZjUeUm3U6+22mccitOzd4cP8+S8vLFMsVnj56zNaVy4xHM2rNBtP5iHFvKE81ihUxNhnkiwKpG+hGfnltnc7xGRFTNjdvcLi3r5fPRPg90YxypabdfQHN7jx5wXw+Zv3qFeJ5yP7+AesbQic3GQ/OO/wnh4dSvqfZrNIdzsh5Ll7BwsosjveOWLtylVn/lG53gL+4zttvrvC//2/f5l9+ZHNjo8RiY85SbYnf+rrNk50WZiDq5yK27xHOx2wIxFBG2IMJhVKZnW1RUWfUanX2Xx7gCBhVYKtZqpfggldi+/ClxoNvv/IK9+7fxxNuSslXkGC5VGAeCRRxn+ULGwTDmb4jyguLWGmgcfpKTcjnM/3nlkT3OBkTRhG97lATnhtblzBci/l4qnC12UzSCjMuXtmk0zqlXm9wcHhIWSBsSYLjOToQKVdlGGCyuytavQELK2t4fo5et82FCxs8ffiY+mKderVJp90iV8qz93yba7eu0+2OmI4GROGM6VCSrg4XL11m0u9j+iaV2hKzeYTnppyctfEl9l60lB5/2h7jRCmNtRKXL9f4n/6vJ/ydP5hwe6vJu1spD5+GbL2Sp5K3+Fff6bFeS5kOczw9HvJn3zP4B995n+DwEeNP/hB76ytq9XCG23Q6jzGKDUoL75CMdvAkZTo5Yt5/jCcJSjlTyfZWasKxyXRwF9tewhVwc/lVkrxU4U50cREcP8Auy5DWJg4ysvEDcoUlBWyn8xZYDQJ5t+dsYmGpTDuYZoF58IjEqGJ7W/h5n3n/E7JYAMgtwnhKYeM/OU9AZkPM+mukwYh0LLrnd5h0vo3v1KEoFdFHVF7/Tfo775/Dk8XRLjUwMbjIsDKSlICAXCv47poS8mNjQS/y0lG3Cos40YTZidh31nCqW0RRH3vcIV55C3Owo5VOgbfF/jJG2sEe9dSgFlWuYM7lov0ayeAuQRhg56WPXyU9fYxZXVSFtSODaWEgNd4EgYbPRfM60sSZJ5o/UWT7daxkiBXMCXv3MCpXcJa+xOT0B5QX3mQq6evqClEQkAUB2FPSSBaAsshoqQY2an2o9xujehF7tqMK4Nj2yJkO0+4efiZd+hrz3kPyxQ19R6TBAFeZEKK8nSj8W96Vwo6y/A3tyhupLF+WlaHjIMm9MgEjrduKoYvwlHQSYxVrGFL3rG0x7YkFQWb3YuTwmQhgLxziCCurkMdwlhSG7Mb98yVO7fVzno2Ab5KAOJDq6xJuWZImL7HiKV7zGpPBCbmmQPEMEl1g2ph+TXk/YiuIB7tY8t6WVK/tq7XCt0uEgRjOJIyxSioMNtNC9o7yzpt3X1Bw6swtWTQY+CvCwTghPfqA/MZXiUSDLlrrmgAwdzBDi4ChAnnjxjrp2WPVuXqbXyHoPNCUoVV4Fav3Y63Cx7UN0lPRTpdwjDKGMVP1YywJfP8Ck7N/Q770+rkyWWp5EvT2G8yEYSGwxQs/x+z0E7zcKsZwV1ONdvUWsXyNo0MZAPwvWTh6et65NkrMe/cpNl4hMOUXUjQVKwqiiEcTihuvk4yPFLAl3TOz/YKwtkTy5AfYN38BO5UYiIMhhy4BN4gP2S0SjvfIFW8oEMgd95hLX0SAUSffItfvMpl0ya/dJAok9rF+Hm0UL6RnK3QwJxo/UWzJYMEqkkWiNBqSidPRSYmmIbbnYZRuEQ0fq2pLiOKqKZHNJwapv6pTt3SyrzDBzJWOt/Tg5RdnSFQSUvixphqS/AXVRKSnL7BXX9f+MnGRIBoTdj7Gb76mlQLxLKfBCU6UkAgtWkAbJYf0yTfJlt/DMgUQdoF08lJVDOLijiTiYS8Qjg/wSwJAkdh7glO7oRd05oFCAdUrXWgSjvfxN36D+OxD/Jx0wD2dRjqFuoIlUgEr5he0c6Lfj6CjU7r8G/85w5OHVFbfZDZ8gsx2bK9I3PoU58Lb2tWJDj87Nx8U10mEoj56BEs/jRHvEz//A7LVXyEn/d1QLgdLIL0mgRmGI43QEB+D28TOXyKSeK701CX9JIfdTCbulvpwOXnAOGqTX7wK3gLp4ef6fU7r75Ls/z7m+s9hlm5g9j/WQ0na2MBsf4gtvRhqZPIi6H2EKZe8zCQZfIa3/Kacr3FFI3P0Df1M+Fs/Syie+ukJiS2bTwGkLOkLVCBZZvkG9B6T9neQTI8hIEbpkIt2L3XxpV8kX4esOVyXzKgS7H8HZ/1tklmAKUYBu6IXbjkoG4WKRoml5is9NCF2mu0dZgMBXn0FJ5fTuFI0GWDPT7FW39LPX3T8sUauInOZtP0BhcU7Ar3XTY1j1nRyao6OMYyQWPRqkt5ICzIOwiyvYbQ+VI6F6V/T73Mql+vEI5LJ48n3MKs/gSNdo5NP9WWQxEOyzhO8+k39XghozTZzxGef6sCI6jUM0afMHmDOQ5JCHSfsE2XWudJTLrICNpu1SOtfxrOlVtMi7J9g5he1OyxR+Gzly6RmGSs9IxtOhMal8MJELpdCkfVKqhOVjUkqjnSxSgloUXrV8kC1m6RBV1U4hrVEND6WejWE8r2XJMui9rHDSYtcoaoxMbICJG1iex1r+CmWfM+aX8Vtf0IoXIylO1jGRX12pPLPCztE0gFxC6d6U5MJWXFFH6jidxWwoVJez75D5l/TeJ4VZpjy7y1e1zTGvP0Qf+GaXvxk+y/0df1cFs5rNdq3kyl36TJx6328/EWFsQhcL8k62mN0V97FkHjnzr/Frr6lG/hAh0RNBZlmaU4/T56o6aYtvNhQLZIkICTLHNcv6fNM/zxhQoRSp/RxojMCia07dcy8TxolpLGN5ZRIRk9wXFHt3CaebhOlBr4cZp2yToxt+Uw5i6rCkY1MGke4nkcsME0BAjkCLm2pXlE2w3LZzASyJJAtie0J+DUv1OAXRKMjssYXSARGKH+vxRvMxFnbv0ua+Dj1NWLpRI6eky9cJZAY6fiFDlYteU4KSNOqEbkWducRSe58OCGTec+T4bJFFmyrui+mjFPeIO38SNkcVuWW1mTCXB5LjJHyjLSnZKOAtH71nB9ghCDT9PYnWMLDkJRB+EwZJAL/yc7u41x4D9OuqRkisGWoLZfkAomdYMyGuNLx9MQWYeNWLpEGO8RHH5JWXidfq2JMZ0xFQyk6x8Ii6fBzTKtBWnmNZPYMU34Xpz2sylWF+sSTXX1PSUpC/rvrLxBKX3Yk6Q8PQ7ZN8jOXl7dUwcKepiaszZ/Xy7u8IyxJwLibpKd/Agu3MJIC8/5/wF/8JcIkwh3cx2q+p+mx6egzLHdVn9PC+TGSMZn0pvPS6b+LYeSIZZvf38WsLOKI4lGi23LMjyNiUXDMOxilGsZsSpwkeJXbzFofkaU9BabO9j7WAX+WOMwDSfq9QSTKQGG6JJFqiuxsxCipUc4v4t26wI/+8f/JV/7CP+YnLjtcahapCAW/XOZo2KOaeTw7EWbFkB/1LMJexJ/8zXVeWzc4bUf0jTydw2NySw2axSqP793nF3/9azx58ozJoCvaBopidEgzVf0N+z0azRrd9oRivchk2KVWamplTZR3wcxgeb3G8oUaP/jeM77xx8fUmxXGU1GYpbx2rU6nI76uDN/J+OHdLoVihaKZ8eodj5tXykp13753bgSR+kHRT3j2XKCDFZabq/TOOnz+6BlFuTRWauTzNo4kcvyMYrFGXzS+hvSYDfa397Tac+etNznY3zvngTgms+mUUlm2uiat01MqtTrj6RTPdqkIoC9Oabc6LCwu8OzZUx00yPlq7cIlxqM+jx4/4Qtf+CJxEnG0I2ckl7xva21CahwyLJuMZ+RyDpNpyPLKoirzZDDbPjjiwpXLPH/8XM8hjYUlXvvK6+y+OOTldpev/Znb/Nd/7bs82Z/wtVfKHE1t2kddbm1m/Llf2CRXW1KGgRD6W4dHNBfWGE/bdE5aNJaWKVerjGdTrly5zenRAXE0p9ceMx73ePULr3J81GLY6ei7rJArMOz38fOeAuvk+HF0esr1mzfodzuakPAch8OdQ603XL25xfbLAy5sXsKxHbrtttYDioUyp8dnOvAwMnj+7CVr68t6PjE9T+G4/XaPxlKDeBboxv9494BStcS1O9c4OWwRyrnD9jg82KdWFSiqQLYzTZjligWteHi2TbXeYG93j2K1Sr1a4vj0iFKlrpT35eVVxsEY38nx5Mljrly7pFDVx4+fsrK+RhonTIc9PFFyC9/az+nwwQhTRsMuk36JN94rUP/JK/y7/+ND/uI/6LN4qYQ/n/Pem1VG20N2EouVxYz9fsZqscq/eP+Ev/mbl/jr//AfEjz9JtNnI3KbEqM2cFe3mDz/gErJYTaZE+bKlCqLREePzrWiBUnEGhjjEx2gSiIqcmOy3R/qe1/ek1axocyXmVRq+7saZTaNHPPBQzJJKa5+GXN8qkkAIdibSzeg9ZDJ2QfkLn0VM/E00WfIs7cnrK0WSWET+/g7emmS1GySBSSSho3aOPYi6VT0qyt4kzaT9gv81Ru6URc6fK4msFgZkiY44QCrukEkjJ9pX8HIUe8uSXELQ5ThMhxtPZZmOlle7kb7WtGywmNNwwS5VaxoglFZwOi0SXufYQmJvXYT4/gj/exklctaAQi6L9Rp7xoZVv6afobmg5eY813tbDumR2LWNEEgxhtjHuAsvkoiutjOp/ouyoqLOEnIbPiYgmkQ1d8gFv6NH2ANB8qeyVxJooVEaYRT3mKaTPBMqVEJJFEo9SViSRmE5+nsqHVPl3W2LMXEHCRng5IAyivMzu7iL7+ttV+pX8oQ3C2tQ2FN08TJdEDSXMd0PFwBAopOODnGd5eYjne1VuhWNxnHJsJjj+cnJMf3MIvLxG4ZZ3iClS/o+TCVhHLUJ1H1b0Ju688TH/+R1oXti+8w73yKUX1XORXJyfuY+Rys/BKhnIdPPiMV6LrlkpevoXpdlybyvpJUoLnwJa0fRyc/xK6/hROfMRucKptLLFxS8TPkfJgMMUUxXjAJsjy2vXC+YBzukgm8OFeVCw/jg881+RQlHubmz8HZPTLbwIlHDGcn5Fe/jtX6CJM884YsAgtYHdEkC8dlDTMckDhiUNogPrh7zofT5bpDNjwkEVuILCpGJ3qxp1gmcTZIJy9witdJfdFH9nAFbiw6aQvS44daIzGjFvPcMgVhTe38McbaO+QKy8w7zzH63/sfs2yyh9GUC6iPGRwSC9Feosu5IslsB8PZUtib5WWkQgjNMkJT+rq+6klMc0Y8Hqov26gu4nRfnm+ja/KhLpP2RRlRh9wCFHhgLwAAIABJREFUwfAlOTsjsCo4M9k8HGNOTnBf+auku99Uar1R3MIN+oTSt7WLGvmWzrMRT7AGz1QTgpCk7Tmeu0AgU8fZE6U9m+M+iJ/TEP97g1inXwukrhBFZXMf6/SLQPr8FxUIli69iiX/OWpDdYukfVcJ9048IancVthFNnqsTke3/hbWbI/RfBtCG3/9be3fZ8EMq3kNUSrOdv4dua1fVm2hId1ZcVbLJVCaYsEU/8JXiU9/oBcR002IZ/IXEmJVSCZPcdlu0SUYz0mCHexLf4748I+koUyy+AWEYGnKJlqGFQIoE0iFb+NFMtFPIQtw5FLf/VgvzQE1zOwAZmd4pevEnWck0ju0pScsk/QZafkOxu43SJpfwhIw1vN/hrHyJSaHP6Z4+VeZje5j9Z9jLX8Na/wAw2+QCpgxmehD1OxvY5RWdDCTjiUCfBVTHNk1eVicYaVj0kKDzKzp5yGNUjVNJN4GZrStW2Xxfc8jj8rlrxEF29jS0xYN4tovYkoMPemrbssQSJmbV6iZe+FdwvY9yKSDnunFycolJGaEE1rEEtEd7+g2dz4ZYhZdHHdZydZxJNtPB0+2agLBHOxieJcwwjbR5CW5xVcJZJstQ4FwRCI1DbOKL+q02an0BZR5INCabN5XToOdX8COWiSJTeYW9eecK1wkcUQv1TrvjQmHoPtIwrGktkS0ysylEycU29DCywvsa0hgFsg54sw+JUv2IRAVWVX1mBS2yGZd3eDkHRkydIgKa/iFdWbP/0AvqKJgE0BcYi9pjM8sX8DyRK9yRjIRqKGj8EMBz0Xdx1jzQ4zae9prnCcd8vlF5p0nWDOJaV/RDWqaBVpTkDifLV0+iWoZmW7GQ+kaCURl1iOWxI9c0ocvEJKIPNAF0y9TUkmj2OkQUyaxZqA6S6GvIwBAHfSVcRq3tT4Te0Ws/AXS7mMi4VVIN7n7HGO6rQMi2cDHoYOZ80kmHbL5QC/XQeculoDkapsgn9vabe1QRcGYnHTBxJtKmVjYHcXr6imOGZMVLhL3D3BlM5kXFd2ppjGiwpLGBxM3ry+ExAwR5Lsx2MESeFnvMY502CSdMztVL3IsMM6SEG1jot4xbmFB0EZEgWj9ZLCVE3qLfu3pZBs7f1HrEYmklQqXCGWTJGiEehOz/xRksy22g6N/g7P8K6ROUaGo8p+0voNR/iJGcAhS2ymtEgsBMhnqhc1EtubV889sNtV0V5QIgHWR2MljDg5AalZWpv+b2AbExKCTmYLo5XJac3GyMZa3SSyuZltgeSnxcB/XcYk1DnmEM9iBxm1MuSwa0mmrE4rOxyvrBjyQrr7E40ui7OxpFzOXnZGOxRIwJ2u8gimwomIeWxzyonmVKKeZIzj7CMdp6vdafM2p5WMVr5DGQ+V4yDNNFZWI9lJI37EmsHAvkEUnCtvMIhMnOyZy1rXWJYmTzKmrcUOgSoZVIDn7BAoNdWKbUrOQC7gMi2XLLdtSSfn0pK+4pLpOoXMbww7+6hdUETobnlJcuarRwUSsH83XMZK5Vu08t6CVEkljRKGNKyk1gbq5RZL+mX4WjJWf0k2+I/+OVO7ql5jORVl6oNsK7U1Ot8nCiNzau1rBSLvbul3J1V7BzubMZGOmP88ZWeioCScTdZFZ0sRHokyDOVbtOpaoeLs7ZGJuiESp96Yya4QMKQwIYRTI4FwqGUZRDDu+/u47BFhWQzktAsvMhDwdHxEnvsI75WAT5WpCEmLa+pQsd5u8GHmCe9gCgcwVCI4/Zp7mWPjZn+Pu7/8JP/Prf49fePsSCS2GgxzlJYv+eEI8cbmYdxlWutx7nPJKo8xf/4sl3n6jQGvPJ4hi4iBg2GnjV8+hag/ev8/y1RW67R5vfOEtntz7DMetUF8RKOA+i5VldnZesrG+RqFWon10hlmsstio6MBANsLXbzT5v3/vMfeeyNcq+ryMrbWidu8XqjHtoxmhW6XbGlLN+wyHfX79125x5WaZSXvCcWfIxz/c43f+0q8zaB+wt7PP4soS9+8+1Li2HQszAb1gGl6e/sk+p6dDGotNgqlstWIGwzFLq+sUKj690y4LC03aQmyfy5nBoFAucnZ0yq07NxkOhkwkot9c5KwlTI+AK5e3+PiDj6k0a9y6dZPHDz9nNg2YTqdKr7955zZnB6e0W6caWT89O1Yv+4L8mTmPl8+eq96ufdbi0uUrnJwcEk5nrK1vKlxw9eIm9aUFZZx88L1PWL24yqB1QrHiUm/6fO0vb/OFLzW4edFh3Mv45t0ef/VrRX7l6xf55P6u1u4ceTf6Jn6lQKVSZD6ac3p2pKk0qSOU6hWSIGAymrKwtEStUeHpk6cUCxUai2U8P0+vLYYQ6PS6lCo15tMZGxdXePn8GflSictXt2i1OsRJrCT+Xm9Kt9PnxvUt9g6PlO0kPf3pPCSap1y7fYXtl3tAzPraBgfbe8yigDtvv0n74ICzVlvkGAxnIbVqg2azxllHoNU2jgwJWmdUqjWq1Sp7z3eYRFOKXpGNqxsc7R+cx7/DlFxe3sUZQRSxvnmJLI453N+lubigj+BRr8/lK1f47O5nbKxfIBLvOgm+U+Ds8JhSXVJALod7J7z15TfZ3T/ATx16J6ccHNvcei3jyldusfP9Z7z9u2cUCh5fX4c9sYbYBsVclV6/q/DAqGjz8kGf//IvbPI//D//ivDZp/Qf/Ane6g3VxrpRTCRD594JyeAYt+wzHp/hl69iTPf1HenKu14U02mC2byCLRXL6EShz5a1QCTPlsICThiQjLfJylfVuy6atbDzkKxyDVOSimmCNz0lMhax/TLJ/ECp8E71IvPd97EqVczCTa09SW1VznmWgHKXbxJN5fz4Od7q9fOq8OhI0xHJ7Bi/cI3YjFWP5i5exvVks1/SoXks56LuE6xkRFK6DeOXGALsEyOLMMkaN7FlqSIGtFyVqHYFR1KeYVcTskb7McbSZZgOyEYnsHgLo7hKNjzQzr847mVYr9BW0SAXL5HGL9Q2JdYfgVQbozPdQNtyLrJk6QSOOOzlLCopQtPVu8t5BU2UdXUcWYZKRUreEzK8m8iFf1GrEQL/NrOc1gFlmCiguGQi6WaPpLen71Gvfkcv+5K8dRdfIZsekgQTfNFoZyGpGICiHnn5v+X9LEaFKJBAKanXhNkhoe1TaL5GPHim6lm7vKmLnHJ1kcAUe80u1iRSRoFssqPIJCew1fIt0v4es8kOfq6E0TsiEuNHdUMrvpnYZnI1PddJmhJRKpabuEbAePeb5C78iqbNxWCXtB9R3HiT+PQz7MImoWQcJZkz7KiiUWxtCTnc+ibz/X9Pbv0/JZWagVQ1POFgjUmiLlnrCc7qW0Stl2TyMyY952nNxmTWHLvxhjLKkpGoKWN9v6sWebDDTBZzMtCwEozJGXH9TdLxC/zwgGT1l2FP7mZyx5YhXkqw869xL/88xtwiM4+JB23cLE9SWVJGkjXbJnHXiOT7Pd/HLm+RWCZmmunPNBxPyMSG5klteUoiqmkZEAnEsnkLM5jhpDGT0x9hLrypNdhsuIvR/c7fyFw52AqYqPIa1sl3tCNuLb5z7mfGYx6P8EY7ZHaZVCM6EsUVH7inxHZHyNWZ9C1kpurqF5oaTe2f2vEpKXlsQ+K5mU7uzcK6fnDDnX+Le+cvkR19m6x0RSFcyaRLFh9jeOVzP7xALQI5MJ5HLdNwilXdwpWupCi0pgMlXVO5qVF117TJrLLSLsWDLqR/u3QB07eIEgcvHZLNetrVFge30K2T8irJ4edKmTQFitV9qnRmo36dtHMXf+11hnvvY3ur2pMZfv575Ja+hFm/Rrr/H5j7dQqVVdLTzwkyFyc4JZVhxNoXdWuKAEuyhFk0xJe3U2ZixiPGk1Pyqz+NGXWYi3lBIksCqyxuYEv0eSLfuxjHWdVofVKSQ1pXuz+xeKblIiWpCRsMb5U4C7CTVOF7Et0XFZ05H5BWb2IYIvqOiMRqMIvwrJS5XK4CcTNvgwAugh6OkZJIHNxcxSpbakgw3Gskvo/Tf8JcXtTChkilLx6eU8cN2WruYpaukphz/HxTD+KzzjONwJtFYTlI1LVHoXSbuXzw8is6gRPGg9X5mFAufRIjFVWG9H9rt5gM9rEF9Fasq6rDl4mdWVDlmPg85XuYSCzdEaf5daLeJ2T5WziujTlpEVkJtmxdZfJXXdNthS3qSL+CU1wj7ewQiLZRLjX190jjFoblkoYzos5j3MYmqej1es+wZFMtMEFjibj9vtobLJlMz8eYgz2Fy8gFOxE9Y/E89i8kV/Fjx/hkAk8zIS+R2WhO4Dd0Y51MDZzlqxiTHvHRp1BZUwBZlllYlcVzkKK46DP5ue1rDcB0GmTlDZ1aJkaDbPwUu/kVosETPaRPOp9gk2h1RA46zuJrmNNjpqcf4136ZRAwnCPR8AlZZENxUzf4Bi2S/BaJDLzikSYY3Op1pocfE1suucW39DlBlOhUUUjxqWlhyfRSai4y+S5ekgAP5vSpastSW6oG4mheJIxaOPM2FG+SCsU0OMNcfov47JHG+hNX4sEpvisbXqnF2JgS1fIFWPICW7SxuRqG9L3HAuFMNf1iBV3ViRqFq8Sxg2X3CVv3MfNXMGVwmZwQhx3C2KWQv0QYn2LYrqrZBHaWBJ3zGo5h4pgFZu3PcAt17NprxOEu9vhUu9NC7ZVhUDo7QcALbk5eFgK+XCLpizFkpomVdPwcR6A3UlcwyxjyZ4h+UzrvZlXZJaktkbkiXhJgjJ8yK1yFTDZtRf3ZZaI56u2RzV9gLf2s/k6aubzShU3hs+QrhL0DsnSI07hGNhZi95QwSXEEhS1VIVEMyXdJuuCOymKUrWALHFBifP2HZAI/lK78cJ9MPpOuT2QEZIO2ErVT28cVDaJwAOb75x5db4U46SsoTbbRmROrfpEkr/18gylJf1uHYGbzAj5FxMyaK9UI4wBHFI/tx1jlMomwXNKRknal4hMbArsrYEQHym6RA4iT3yDVbc6heo/nEpc0QlJnRQGEnpEnlqFk6QpokuUTbHOTpLwIRz/Q54eZv0oc7mNKusr0ME2LLC9gpj/VLCYDpsND3fZZ2mvsqh5NLvtp94C0fFkrLCDPnGNce1PrA0ILlrSEgBWTcBereBEn1yQcHSlcaC7v0sJN4v53dfsvFa5s/pQs8cmk/uHWSa0xcTDC9ddIjT5MIk0IKd5flJf9A2x/jSQZqK3BkvdZIECqjHkWKZDML9ZJBgcYg/sky1/R+pEl7IpC7TyS2vo2LP8ZHRQ7wRHBPDp/PyiXQzRXXdLMwZ8L+2Ogtp+0VMeVYYshPXJ5HmyRTiRqOWAucM/eQ7yFtzUpMD37gdYG0/Zj/Z0TtkrUPwC/ruAsgZdKXNOfdnHXXmFw8D75xk+Rdb+FXfoJcu98lX/6d/86f/mv/Ud+9Us1cr7Nwx05WQZ88XaVb316phHzjUseLw9dur0hz/+RnAM87n1wSG1lTaPw/TOpGjn4fplrdy7z6LPHxDI4zNsUcjnG4xjXMRVwnC+UsQsW/dMWk8GYMDRZu7zK4PCM7mjA4mKRF4cB//ybXW5uNVhfdbn7eZ9Llwt6IZX74vrFFRxrwOFByi++V2RtycYrFSS0xJMPX7K81eDSpVVaJye0+33t9q4sX2L9yjo//t6n5PIpV25co93pKIOjddhiaaXBcNQjHMyZpSGXN6+w8/I5tZVFLly6yM6T53TOWqyuX2A2nbC0sqTnhc9+/BELi6K1DWk2m8yG8jWFVBfqquRT65HnUCoUwUxVs1cQ17QhrAKXH33vLgsLRS6syfAwpL6yxLNnz1ld3tAa1s72S6698qoqNA+Pjij6Bc7aZ1y7eVUHGIcHR6wuVphPEyjkmR53efunFvj29yf82t8+4K/8cpVwOtE+7qNnAf/kf76uz9znT440dCdx/XqtxqOnz1lZlndBqAfeC+sbHB4c6vfu0sVNdnYPGY/bXNq4zP72AZevXyTOLAW4CQegIAk212U67dJoNDnaP2Y0nlLM5zXtIlUDt5RnsdLUIe2sO2M0aNHr9Vm8sE6u6HK6L4yiUAnbm9dvUmsUuPfRZ5QqVWq1Inc/uM+Vq5uytMW2bBYurHG0t0en1aNaqSioUrb4J0cHbF2Ty6zD7uPnVBplffYcnZ6x3JQhqMu41WU6Dui0Brz31Z/m8eN7eLZFvzfV3wPRKfeP+7z27lv84HsfsnVpRZWBkoQSZkS9UWc2DpnN5gSjCfN4plvd63cu8+yTAzbfaPLkXpsXT/f5c79znaf3J/w3f/+M04bBe1crPHs+pTuastwocedSnR882GM8sXi4M+Ev//oWf+9f/H16f/wNvUjKwsKehSTlNWj/mCCI8TduYAQCpTIJ5H0dhfj1BYR56s2eEktd2JPnQKpd5nT6EFOsM5Lok2TZ+IXq6BIBooph6vQxBSlRNq6qNScTm5hrkdkVAoF4Cw9FLsKi6176MmnW0VSgDIalJmabBuZ0RFYsk00CKBTAyuu5dHb4xxjLX8X0MuYP/j/Kr/w2wdkTYiHiN14jlMRf0MVJvHPbjedjOjGG3dS0VpR2cFe/TibDUtnVBTFR/y5W4y1NJ8duhtF7RGgvy/FFgajzLMCVM8HF31BdsLBUYqOAKYtL0X4LaX4ikGiLWNSzxoxMUmuJT+pk5IRfVb0CkrTd/yaOVyD0pLYskf6+Lj5JhySRh5Ge4MnlXpctJ6RpQY1FZumCctLkeZoZYxIBJhZc5nMH14q0N5/kl3X5Y/aETL+oQ4QoNfFkkXr0vupk7cptTIEuJyNsa06S5HGLTVUGS61NjFHx/iekTgFH6t/mFGM8xhJt3/gxtpEjadxU2r0M4nUh+/+z9KYxmqXned519m9fa1+7q/d19uEMOSIpyiRsi7IoyHZgOEY2OYEdOEgQB4ZhJDaMwHECO4nhX7YRQHCMwEEcWaEsUxJFUZS4zD7TMz0900tVde3rty9nPyd4nhJ/EdNkd0/VV+e87/Pc93VJXVYSoX5PvwZp8TLZ1r/Tha85c5ts8XXyiSQ99vGkZidp557YqV4kP/wYu7GCH2Z63ikVWiRD0SOXFLxI5wnG7C3yTOoCkUKERe8owxIB+IpIRaRysfAIpL5QnNEtvcDlEyfFloWV/xRHLt/pSGHSUl/BqmgSx0oGRMKYmnsJc+/7xPNfxgr6hP4DCtUvkxcvNPV0j2VKQiKw26u/Riz6W6nqlkU3XSUby797EbvUwrQyMq2pS7IoUXubLKIEQG7L3SoVVWBOQZLsmUCXU0K/o0OsvLyogF8nLxFXTLzGGwRn72ALE8zZwCoukcXnuKZP4AuT7Af/Q26WHY2SW9L3tldI+jtYiONRHK3zJHFMMvhEHfXyg5TL5fvJdymsv4kxdQjkYL/yJY1aRv1nOC3ZELjEg80LlaAAyryS9o3FIJAKsTrwMXsPyWZfw7JGcPYUs32JSABootdyShDlWKKysxMFM4gaTyL7WWefTKjFXhun95g0MrRjKGT7fDpWsJoVDph2P6e4+DpG5pHmZ/qNNaU3KQMKswjNReidYiXSB8lxapeZyia/tKJTtXDr+5RmrxEmMZZ4tmWr3v+CxImwy9cxEok5mbrhKAcGmR0SysXQS3EjqTZVCJKJanGiZCB5F9zZ1xhv/wiv3ERO2NKWlv6vqDnk8OlEJ6S2Ry68As/R7aqRubpNFudnfPi7VGbugrOI6RgM+7uUxHHZuoYhW5nxJojTfu51BfeFApyyEu1pOUKWlD5p9QqObIOHJ8S2pQRu0f3YjSXVUQWTAK9xSTdyhhcQnz5ViJ/rrRALWyHqqldXvo+OUOmzjNQoaO+ftEdqr2Hn0uGq6IQ42HuH4pWfg9aLxE9/E6NS0RhQ2D/DlYmnkNpLLcKDH1Bo3cHwFojzgGz7Nymt/xni0WfgrGDOS3phVy/jZuPFCzBKIpeEI4qi9hBaeTpW0JMA4+QhL25sU6B8UjuR3rcT4AsELPQwSuLQbmL231WAh1F7mXTwWDd6bvWG1gDSve9D7UXSxn2Sve9ib/wCHP6ArHIbT+jV8uJBXKttHDmwhOcajTZdmyQQ0OSAzJSvx5Bk0sWQOHy1jTP/NfLT99W+EMkFTQZeo2cY9Q2MNNdLqdDv8/4OhnuhNcrqa2TnUttY1phaevIzbAEFRruYjTcxc7lIDXClW1udI/RPKOTiLRWdZIY53FWSfBruajVFuv3pycf6oLdqNzEEzjkV7sUWufSTIh9Dqh/hPuHj/4/y1T9HbNUxs4DUqWvcPBFbg5gl5LmQF7Vbh1cnfvIvsRvrZHNfxR752NkWSSTVluxiUh9ILLuA1b6hUDKJxKUC5Ix8dbOHQrY2Pey4q9wA10nVVY4fa4RSXuoCoZOKSS5qoWlHo3dSVbDLG8L2U28q8s+dJY3p22ICqLS1vhJO9/Rn2s5sos6PsVZ/noLbIBrIpbmn8T4hsMYnn0Ljhn7Gnfo80eSI5Phd7PpLWO31C+rxROjD4rWVftYMUe8nCk20Stf0Myjfx+DkHTx5UUs3uib6wilGFBDLKWK8hzf7CvFwWxV1dvMmgSQGig6ZP9QhWybRw64kb0R0fkX7vqZ0wTMBnwZkx3+gUTAacljvYssAQl54iUzth3hykIpzrQvIZFpE8TKZtysNHInRy/PVFWVqibi8oWqf7OwnGCt/WodXstnJjDqUZjCyMZZ8BowlzPycvLNNOnsTa7KFrCDy9l3y6QQzekbizOFZhtJqI2dJdL8wfqoRw9ydwxLfvFgDJHJXnCHJh+BnWJ5B4rTJTj6gWJcKRV2hdZkeCAOc+JxEkNLyddbN+QFOPiF2SxptzJLnF9CqUC78UCi1SWTIKvUOq0rS+Vi39sIUzta/jdd9SBDu4ZjLuoW13Iw4MEiH72Ev/2n9zMvA07DnSERdKJ0/2WYNdrDbN8gji0wVsskFzEkOCM1bOKKSFdje0R+SlZYx2/dg1MFOzokS0c/OYTYkkSTv1QWM6aYCE9P+5yRn71BY/DZpNiZRZWlOLs9FGayIeUCGp9MhRmWFZPgU4gBv8RapO6uD5yQbYCYeaaGpWw95J9taYfkIWnc1Zp6PHhAMDqht/AWtiETHn+IsfYvcGGEWxdozUm6PK9+XqAeNFzEkNeFvE3b6ClszxUJirJJX5on3/gBz5jJu/SZJsAvy+ZSfkdzE9RbIBj8lqN6lXGjQf/J9Gq05yj//1/k//uFf46//7R/y1Us1ZpZidp7mJF5GN8j56t05ZuoOn51P+WJvhDVM+IP//hK1VYeDbV8vZR9//phX33iVs73nnO50uHRdhlQSWso1SXjt5nU2H4phqEJf/Okzizz8dItKzea1n3uVcNznk4+fs77Rpu05nPQn/Pj9HnunLtM41Lh4e9Gk4RXVTf/bv79LY9almkx44/UWi7MWSzMFijOLNGsLfPr2+8rEEWihPl9dS7iaeI5BaEpvWzSERWxCtja3GQ5H3Lx/VyPdBzv7rG9cYu/pNjPLc3jFog69hCUxmfqMJxOW1pc53tnBcSpU6hWN+Us9IMsNXNvSv+NgMNRuf7lSJY5C/We903NOTnusbaxoCm88HlFuVLAym+ODPe69/DL7z/cZB0OublznrNchCqTSF2m9b2XtMvt7O/rskctCpdVgeNYh9jOqS7N0tnYpzdZoLy8yePxYa19/79/EfLB7wrdfa3E8zgk6PpOByW/8r0scd0VN7FKvlxl3emxt7vLG177C88eP6Q3HymvIHVuTByurK+Io4uGHn1OvFVi7vEGvNyRJTM77XVqtFteuLal+MBIdm1Og2fC0OtQ/76jZYH/riGdbW7zw6gscC9CvP6I+16beKtI5m1IquBzvH/LW199ka2cXRyqtTkrkJ5wendNqN7n3xkt88EfvcXBwzKtvvsDPfvKAF164QblcIkujCw7C2jK7O4cUyjblUp3trW2Wl+ap1KpMJ6HWNqIkoVar6fPXMG2efPaEZqvM4to6J8dHNOpVTo67OlAYjScsrM5Tr1b55KOPMe0ilWoRvzNQCGOn32VtZYEgCAkl0r84iz8cEeU28/N13n77oVZHJkObX/krTc7GFvO/tMlK3ebOGsy5Baa2x2l/RN4LmbnZ4MnjMV+cTPn1//Ev8Vf+xrc5efAp1vCYqd3U2kxmJkx3nlJa+3ndOsdmgO1ex7Wn+INPKZQXSKkT9bf0IiNQOddZxjeLFKpljNN94qxLPOziXnlRXfJh0MFx6iTjXSypLIom1x8SNdtYkvwrrmAWy8rPcm3psD8m6GxSm79BZFSwzTKx6M2isVop9Dl+/DZZ5ZbaiywBHucuSTzEludRIEDUEkg1I5Go+y2yzodEhXkKM2vKmNKKR3MNs7vD9PgdSht/lliqDJ33NFqOpEHFwOUfq1kjltRYcwN3EkHwmLRyCbvzgESMRdU5TeIlkpQj1y65PNPFpmLJ5ZYCpjn8E3tNg9hPddEV+4c4s5cwjBmCo4c49TJeSaC+Y2it6zIln+xgmkuqzha8U15dxTh7/2JxwBxG2sMqr5CI/ciW4a+j1h/5O2eNK1jhDpZ7BSM8I5FaJQtYJWH9iKIvlAk+pqgUwwG+ITw4uReBJVXa8VPSyNMlgiTz3MDX95bUSwXYbF//DuZIbAQl/NEjSsUGRmMes/+MsNvDqC8rRFi+LkaxTuo0dFEa7/+M4spbZNN9EI2eGROYDSxRFQ6OdMCsd9RkTD7dIxFLROOqnpOSgfB4voDKDU0bc/6ZLrDlXGiM9zEXv65DB6mDCpvMdIpE3X0MW/Ttr5FZdYXtOWad8fEPSa0mpcZVwrCH6UtlsqTMKavSUAZEcvS2qm6L7TcJTh9SKEp6sk0wkf9NWwdXZpoqJy8NJTGSkPtHWqGw23dI/CEMjolkSCTDdzMkdm9jJcc6ENJFvVRHQs3n6xlCzlNh1MM5Wl89AAAgAElEQVQpbygcMU1EsRurQSSdnjA9/4JyRXSZsgga4DXX1SAxlXrtpIcxeOd/zuVQZSYB4cl7FC9/m3S6A52nmDN3mZ5+gjt3A6N0F1v6n6Ijksu9L5fDBVJPwog20ekjzOqaxnYyiYcimlpx3q9qZzxBVFgS6bihYC7pBYsZQDKuZt5SwJRewupzGDSxkyl+9z2Kc18mH58pH0Cozr58QwKJ1o+wyks6lZIfgHQsh90hRv8TsuVXKdXWSSd9da5HnWdYeYwhU8usRG77GFkZptKPsfSing8OybKBguIM6YmI4koKyOUm0dOfECY7tC7/CsH+Q7ymQ+YuER2/S770Ze21TA4/oHLjl0mlL5n7+LlBQXRfSYjhtTAYY4guMRJtxilWaw2zNE/YP1SwoF1rE+RtMiOjYAgNPtAtT+rmCskxK2sYQiGNjmDxF/WhI7YGo3pJ4RYmI/WomrIxLzSZxh3sxl0MUTVJbFyGI8Mjsuk2hcoN8uYVpdZbQoQur5FZE5FrkBgukQCNjEOyvIFVntVLt2HKtOqqOsMTgXt4Ny48xKZFdvShXtr0oir8Bm9GHwKeUC5xyU/lh6eOt/A1wu3vURI4ojAkJgekrXUl6cf9JxcxK0kMOHMaaY1Gm5SEENp9qAdkrRWcfkxSqpPKBDSLSATW4vcJgqdUZr7E5Ol3KV55ldS7rNUSuSwZ0T7Eh+TOknZcDR0gXbizZVsU0yLqf4ET7KsWxi6vElmi9jrFbVzR6kEsfAjZfrNGYk8oSS84K+AGu0SV+2JbURCiaaeqrRSXpyFwMBG2prLdKeslP5ceujFHdvK7ME3Ib/15Tb3Qe0hh9VVEoB0MH2KbArmpQKlJMjnHslo45Yuovx0L/HFWifQKxZPhWpyTzF/B6p/D6CGmWAfceczTH5HYbYzqEnahiiGE20CSOIdkEieqzOhQLwsz8nAPY+6uRu/TcIgjikt/n7SyTNlcYBz3MHZ+C9NbJr725/CC5wr3lMKQNX1OIr086tjFhnrVE7el3TiJBYsiU/7uouSzS2W9NNumbCkzQnku1BZ0u5mPtxTOYjs1jPEmqVykBJiTygZL9Dj6HYJIKheiTxROQgG31oJppFNvp7Zx4Y6fHpEjEfiidrBz6ZONp7o5SZCkyhLT3ie4QpSvXyOWIdm0e9E5TC1iIfVKbM9b1KGJ5a1jlDIMKdxHBiL8Fu+6KIJS+zKGPMtMk8R2Mcey7R8TKaxnTTfo0kmLpU8nF3h5fhkOebFFJtTjLMKrVknk0Ca/tTzcpSoSxrilJd2syCTZ85rEQqSRSOP0QGFucimVWKP0+/QQIHpIu0gkAB4hYZdnMSUZYY0J7BpuLtv0MYYlVRnRKkoUUZIXS6STTfHdaEILM1TdpTBfJMpmFuuEQQ9bVK7VsuqwMCqYo6fklTXMcEpmy51P6j89cj/Q7mQ2fEwxOCJeeB1XPqeTZzr0S+VFHFtkJelN9vXzaNgSkTTUPiAXjky2QKIiku9RcKy6M6d5m8Q/IJ8OdYOSEmAnqQ6C5L87tZeJ0z5WJCThHmZlDuwV8vFHCrDVislkF6YZ4elvY1/6JonRxhZy7rJUlgbkUkdB4pnyXFsl2/1NouYtPInxpOLE7mqnO7HqqpU1c0nV72MIW0bSO/lE+Tm6xZ+ekaWGDhHECJPK0EK2S4ZNLnFNq0mSd3C8ppLATa8NMow6fge7OIspqbnaugKqnNwgjsRZbZMZY7Io1WqaKe8yr6iDdTn9ybMjGotGsa4wLAT8175LdPRDhYQ2Fl5QvowpgEfZRGViVglJTt/DddeVj5CevU9emdH3gziyw95jHY4ZlTuqNstcC7N3zMjfwyvO47Tke318ofpr3SA8+0zhrYX1L4G7iClkZWNAIWtzFp7RXFmjeOlF/sl/9Wf5r//pkL/wosEonLKwekvcLewc7dOPMjzT1T/vp1+MWF42+eSfv05qd9h6J2AQjCkUHHqjmOv3L3O+uUf78gqJH7H/ZJtSq0ijPktqpASDQPktqwvL7G8f8MkHe7zy1SXktZNnFrfubzAcj/iD39nlJw/6/Pw3lqgWXHbPR/T7iXZtP3sScDQ0+PM/V+aF22Xq8y3s2KVYSjk9Fo93xunRCZV6nWsvXGJ0eK5GpVq1qA770SigWBRwbMjg/JxKe1bj+6VyVQ0gRdvi+faOKuGKdoGTk1PtWs+uLZGFoVLg5WJ//fYtDvf2lIZ/dtylWC5SrdZxS46yGjon5+zuHHDj9lXtwctQoVKtMDtXZzIK+fzxLutSOdDhmIcj56Rgor7yLE2ZaTX5/PEWX/7Km3R751r1qVWrnJ2caY2pNdNif/+ExY01DrafYxkGL33562w/eo/h0SHOyixXb1zmN3/jKf/id46pVyOul2cYRDkLizY/fNDlX/53lzCynHEYE2WCbfIIBlNmLy3gpAa98z52xVEY2nQ8wLGLTIMp7dkFKqUijz5/SMFpcnR6QrFoMlOfoVC0OD0/Z9RP2T6ecnOtwdxSk2JpQhIXmV9qiUaCSa9P6lR59OEWM60ydtVj/fJVTBJ+9qOfsLwsgF5JXxoECSwszuM5Jr2BLECkzuTQbDcZdMSSMaXcrHB6esZMq6EVgEuXr9DtyvlP1JySOJJNqovvi/o1IcxTVVD645AwSZifn8fzbB5+9InaB5xSmeF4TO/4jJnmLLGdU6+V6J4NiMdSh2gQpBG5wPPMXKGFly5tqFXAq1oaM3/y0VPSPKFYbLB0eZaVq5d453d+xOJsk6X1Nt0k4zt/75z94Zj/4psNHn0x5iRJuTnfpNYssLNzyNiHP3zo88Fv/gr3fumvcvKD36M8d40k9CnkTaajd0n7T7HXv47rLTM8+ZCysH8knSUVNbFxFcpk1gypZSi42hDQcVrHjGWjO6/pIjN3MUX1K8vHxpKe5UUhbUq1kgJuuY0fReS9T/CKNZLQUluJnnltHyYJpl7I9pQ2X7n6q8TDIak5JB/2NU1JRX5fQ2tsgaSAhdxuG0RpgO142JMR5tyrZMGxdvGtaEqY21Tri0wPf0ph4Wua+MiiQygsYQp0LzrFkfdFrY3lLerQL013SOpXcEd9XfpJqlI1sOE5lNpkUmP1jzDr1/RSJzo76Sbo0NazsCUFHEvVbgUcQy1qwifK6is4VgNT4LvyXJeq5snPyNMMb+7LmqSLvYrqDp2wQ2wZeNUV4r6cP0WhJ39OilmTs4pLdL7zJxpDeUTI9+ohpl0nKTl4hXXy0R6J3K9mb+i/lyPKbOHIlJpk589IMkmtNUB05v4jcNawrAS7vETojwj2f4da+zbTaHphMhof4i29Tt55QFpeIRM4ZFGWEV1NauTlgp7pxTqUZbKYPFeWg0Tgo733yCXVLNU+MXgJOHd6iFefIZhaFBtLxMmYLAwwCjUS0dXL/ahQxGu/QZTLZVcsXQLhFqDzqQKL88kmuSRR/AC3ICww4SWVsYwJsRD5Sw392SrPrmnlfXD44OLXBVrozJBGvQvFsR+pWs+eDonr89jDM9Ln38e4/Kew5Jwl7984IRLYpNnFiaZEzjKxsGOigCA+Ub6EnB3kPxliiztRu0Uq4OmqGPVk8XKMlVfJSnISKRCdbuPNXicrzZB2PlQYeCT8ANka+QJ7HFKefYFEYI3nW1iVClllRT/rmXCvOn/89/LMqWqMKRt+QcFr6CEqE+dz6OtWwdYN83VCv4ed9LVXEYvarreltGV79mUlHotr3JZO9OkRdqFIPHtfyZ3Z6JikcY1EnO9RF0six51H2qsSYEhiG0q/jk7fU3dl5qQYshEqXyLvPyVNE8yZecyorfApcau7tsBXOuTyQ7twR6nlujFP+koYDztHeI4PAn7LznQa4ix/k/jgbYUdZY2bFNIhiTix68sax8nU22lBJAT6c1xXHhinpDUhqh8SixfTrZL457i1a8T+Pv5kgGCRPDsnGJ7heEVMSUPIQXE0wJDL0HiHVKLzRnwR4yxcEYaiTumC/jNlATj1e2R2TDrZ182kdIFSJUmfaLc+6coWd4JX9DAzQ8IR+gBwm2tElLGGT0kNA8dtkxZqWJMvyO05/DgS9Tx26uIH+3jSa54+0l64WVzDT8YU7FgjvPLBTgS65vdJR3s4U4OosYpZayl4IpRhgXi/7TplJ1GqbbF9h/Dwxxi2g734Bql/QHK2qQdiW3ro0tsNR1hJT1UukbD3xZ06GZFPpT/9TazEJ+k81Ph3Rh+r+RrJ8R+SmnWcxl3S8bu4zbf0sJJGI2yJ1Tp1AmIFr9jxlCRPyURtcfw27vyX9PCdPv/32EvfgGCboH94QdDvfYg5PYPGJZLWZdzJhFwuvJ6D1b5OevwTDHcGq7dJsvAy+fkDDHOFrOQoi0II3HS/wJm5QiLFLHHDi4KrJjHsPdI8w7At8lRSATO4lkyW4wvn+ERUkoacuDAMecj52P65EjulP+tW28QC+pv6moiQKV6Y5zpcSQXsJsA5co3my8srCGMcUcxFY0qLrzP1hxqBikZb5OLOLc1rHz2Vvr48gLwFEomh5+dkpqhSRKEnf58idu0e4cFvkI18zIWv4Ew/IXdvkCQ9cqmKyAvazckL80q8T+XnTuA2shkNhII4xineJBztaKXCbEvvKCIKunrgwvMwc0+HOl7rNplwK3qf4oolQBR40iUPp3rBynPhZmyQSn/ZqRKLK1b63cVrWIEwAqQi0cYwp2TZCLt4m5SBKisFQZoMvyDNJNZWxhWQTD4gnkxwa4tEvR2MygJmwSYMAszTz7FWXtTPoxsfwtyXiYUZMNgkm3sNO+nhS7zKKUP5PmZxSvDst7Br93Eqc6SjI/J4F0NewEaT5PR38fKcoHUXS+JjhRpm79lF97x5BzrvkMplNu5imi2NvMkQTepPWmlJA03tFDxR8RV0uCGXycTv483cIx6dgnkE9iWN/cnPjF2/QTqQ6HNC6svQsI0lwyixZdh1fQHJi7tQXiQ8f6BTeYl+X9Q4LmKYmWXjWkXC4SZ26pNXL1+oIKMzknFXB4ECVpXun9DrXadCOB3gqhaupvpJgeLk5XkK0icffH4BeWxcIup+jFW9hyPGk2mXRNSW8g4YvkteugzuvA6yJOaXuTn23J/CPH2PqPMeSXlNt92OIXYNGS5LEiTFkgt4Xd47Z/jDQ0r1ORKrTV60yM8vOpv5/Asa47T8gR6yDCfHlKGY1DhSGdSlWDJtL9/CckZknSekjZcpZiPGAsurvohTX1Adq4DqZMsznoxx8n0c0ZdWFjVWKJsVU/qM/cdYom+sCVPiIbkQm9W3mmM272KGE6L+ExzpA2YTXCtU5oklXcrxAYX2VaLhgbz9tTspHXvpu6aTA9zKPIkMzqlhVRbVIoEkC6QKNXpGLNsFSY6N+/ocj8QmU7R0EyIKWxnkFOfuEpyLT/uaHgjj3Z+RFxsUlr9FuvuvsdpfutBdFiy9dBlD0RuJarMInrBbvsAS9aLUAEVLGg4vlL5WkUwqgV6JbLxPMt7HaX+N3P+Y4GyTytVv4LqXmQw+pFme5+ioz0xtjPHaX+Cvfeev8m+//yH1NvyVn7um29HtoyErc7M8fLrJV760yuPtDr//YcgvvlziH/3nFbzKIp8/eU5dNKV5oJ1u23FZu7JG5+gYM8lxqzXdAl+7e4cPf/ozltbmdJtaqQjdP6d/dE6t1WLh8jLbnx9QKQUKzvzeHz3nbGDRrKb4k5yNq0LID3n4JOBSW9SlGbeu1HnltSV6x6dqVIjGEf3zU+1hj4ZTDNPi2q2b/N53f4/FhRalWlO5GuKNX1pfl2Yjn3/4mfah7718Cz/yCaYxu1vbrK+vYBUd7Fw2xDHD8x7VZoPhYMTsnHTMZ3n3vQ9YXl3BtjPas4vsb++pX12GlnJhENq3JPrE9FIolCiJbm445PzsnLnFBS5dv8rO021ODw64+dILHDzfwTBy6rNi7YF6vcbO1nNO949oLc1RlK2pgD4Ni163x9LyMnu7BzSbVTZu3WY48Xny6UfYiXxvEuoLC6wtZ/z2T8/5t98NOPQn1MoWN6/OUImHvLsl78QJ/+KvL3LcnbJ9PODN118kiAIGvYthpFgNyqUSk9GE1mxbUxBybhiPZAGV0JpfYtgfXszXhiOu37jBk6e77B6e4XkW/tSlVvJ490Oph5SwTBPHLjBfC7h7p6IX3M5pQvfE4er9GZ4+3tFt63Ca8OYbN9nZOWUyntJoORw/P+LynVsMxiMGZz3ajSZxHjPujzVdcvXGLdIwJcgD5meXODvZo3PcpVSu0Jxpabp01BtxdnbM+uUN5WtNphMa7Sb93hBPgYJdhR3K17/X68h+j6sv3MQMEp7vPNf6yuazHQVVriwtc7C7T2O2SalQ4Pysy/rlSzzf3NSLbKVS5PTgUI0Ho/GQuaVlPv3oI2Zn5plbaRCNfR4+2+KX/tK3OHz2nJX/cIdbVyyuCT5q3sOKUmmLcnm2yMdbXcrVEj/+osfx23+H8otf5/QPfk9ZFP3DTaqL97FLyyT9zy5+/icDpp1NqutfVX4P3V0ls4tSWWqjpiUJJkMTZHLBz0fP/mQRKGyxklpFsv5TctEZz72Oa6T4dhWnOIsx6ZIMt8mrLazYIhnu4qy+SS5ntrl7eIUaURCTnUhiNMVZ/jmSaEBy/gxTlg1iVek+wGzcIx3vY0itqbFOpD83DoVU7GI+mdvGyPpEJ19gyVkhjxWumkkUW5JaUoGWlG00IIrOqFZW8fsPlVsgZ/IkPCYbDyiIFq4heuoMhMEk5wExVzny3S0TCkVf4vMC0x3KEm9AnvSxqrdVD57Kdt6WJUOKkXfJAxNrdgnLFy1yFUMMYfJ+6jxTNoAt3CFHegcFnDQlTruYMpSYnGHLkjQYkYxPlLMhDLaiV1OYnWtWSArzBDu/gbf4un6tYzHE+AJNleKgLA9KZAUX160SMsHKmzD8lNxdVdCedOGN3CGfDHUIKjVYAQzLhVq0xcI/cEdbyi/IVl4i7R2o7jor1WDSU/aQVy7jTxPKs1eJh+ckJ29jzN0Hu4gpWsHiOrblEB79ELt1Bboj3KUXCQcPVMVuzdwlT6dwuqt6dAEb5mdbmK0rOI0SaVQinj7EHmd4a28x6Xym505bQNKNObLuIXGwjys1aQqkhRb5uWzq+5Q3vkY0FrZcRtEfMAm2tNpozf6c1i4mnedUrnyN0aPv4zVmMQuLhIc/obDxDWKB9vkj7Ewq51VdtMIU213QM19YvYRx9mOMgkT4b5Elcgcs6SJanoViM5L3rtSjRT/uCXRw92289j1c+f53n2J6S9BeIxEjxuTi/OxIlcBbIPJ3qXh1rTNFSaSJDQHlp/1jjMHb/zBHSfmCIZeJ1Ui30HbthkY9U+l4ir9Q4tvTAwXoiBIoPXwPQ/4A2aQvvYEj0yXZmk7GZKMdzLmrSmBOpM/vzpEdfKRbblMOQ84qYf8RXkXUgyZJtUo2EsK6uBbmtTqgGwaBYsxeIRvJgWuOxD8iDzM1BZhFC3/r+xSW3ySyHazuc5BtjTxkXE97SLnkIwolzGlIkPaUmFtqCYBkTCJdNFMuvjlmbVanc5FEOo0CqXRQc7m0CuvTJPdqFIMpgUwwi7P6cLKtFqljEQ+GlK5/k+mzf4cpccjmlwn6H1AUgEN6hF2/xXjz32PbBQqXv4NphRhhTBxvkY4iksEp3tI1KduSSWd9OiGqt7HCDk4wJHCaF9EYgVxJNH4kPITJhfJCvmfzb2Ac/CFG/RJx0CE6/5TS6re0Oz/tbZG5RWrNNe23Zk4bq7ysfeRibUl1cvLitysrRINdsizCHctFax6ztUH37X9EobmKc+PP4pgNSAYkmaX1CRkEZcNHsParuNPdi6h0c1EZEBLtlkGJv/8AZ+Gqdv+N4RFe5RLTpIflNnCkH+4/wRR9nhwgTQOncpnMyiE0KeRjIqaEu2/jzKyRFa5j9p9iNtuE5hwlubjGMVl0QCwb4OYlot4mpmzlpqcakXOE1WrNkqVDvEqbYHiINT7Xl5FEE41cahXb2JWrpCcfaTQmla2dxMGCU9XnCZTRKpukofxuY0zDJD+TSsRlclvUd22N/Wf9JxpZM7xV8kCIsGAUi8QTcVdPsDKPLD0gj6a4y9+AtEv4/AMK13+FsPc5tvjF2y8TdB9DWsRLD7TiUGreYiqDN7OqPakwOUNmVDgLMg3BcksEJ+9hla8iLe/Eupj62QLua10lK7bI/T5WLLGv8sXU1lomE4J6bhEKJE0+k+4yttxVzIx4OMIpVAjCCWVJoHizxMUVJmLQECCOpBvGKUmwQ2HxVVVOjvubSrPNxYThVCl6JtOxKNbmLgB0gwMMoZJHU9Jcfqak6xQptdqIR4huPUszfeAZsbwEL8NkqGyFrLyKGUnf3SYNhTUwxpy5Qi6ckVQGIOdY0xEU6+SlWczJPhjC3ciIhM4vm9dCFWRDXahgCYE16hILUC9PMOfuYZ09xj/6Ec7K1/XPsEwHo7qs1GKdip+8Q+aWsZJQ42nF5hKhVcQYH2BK/GM6IRNoahrjRRFJcxVT3MSGQ9J7rBd1SRrZRATenEgocJwaSedDUlEyztxXtY10rMXoYDWlR35MrroaVwnXjtsk7H+m8XKndhPTmpIMj/XyLpyFZHKiv2bP3lCvvPAdcssgE51r/yOoikUDIrFZSLUjii4Up2GPbLKj1YPELmGM9shzR2FBWfE62eh98pM/wt34y8Qnn+vh11v9KuHoKa7wMyyBZklCsE7WeazGA0kdSN8uHwww8yNyGSxPe3itdfL+kbJNJIUUnn5OodDGLFVIZOMjvBe5WFqiR5zF9wd46YTUkW2IgKTOSKwFXEYEYiCYuUEhMEmyU4zc0j56LErGtmxoZIAtj9YcI82I3bL6cLPJkdav3DAik8m4I2rYFEMsKeERlgzQStfwynViPyQxpriyLXJdIrGBjA+xWncIpGom26N4RJYHesDy2gI9mujQ1xbwbWWDRDgj/rluLowoJysvKYfBP30bp/U6RkEsGjsKxJMDq1G/gzM+1SG0Xb2qsW7DCAilz5gmuA1ROMpzpQJC4MfGGG6TCXRSnmXiz5avjSVJmxElS6BdzYtDojULtjxjpTN6jiXv65Vvku7/JnbtRWKpdgSfUWh/BcS3HQxJJY1jTLFy8TpfI+xJBFkYHCUiX77xTQrCr3GKhP5Eq0WuW4SkyiTexxxF5I1Zam6fnBa+H1F98w3+5d//X/gv/+73+M6XaowmJaWdd5Kc2YrHbDlkczsjquR0ugZ/42sef+s/ahLPXmXz3SOePdrmta9e5+xsxKDTY2ltkSCIsDKD85MTZpfn8McBZ50O91+4J/VkuudDGlWLh58+oui2ufXqHdLhmNa8xbufnvB//tttGmaFm3dtgmnO1E/pDyRNYWMaCXdveLx2Z5HWbImf/eQzFmdWETDJ2WFH+/JyGeuNOlQl8VRpEE6kfmaxu3/Ales3qc7VePuHP+Lmi/coOCUGPamLZXqRlKHPysoSjz97wurVDeIkZjocq85PtnbFRoWfvv2A2zcuYeU5+3uHbFy7TKXR1K/noHNMnKSUa3VV6E2HU4XJiVpOfq8rt6UC8YRzccrfvs7UD9jf3KE5O0O9VtVh8tHBLjfv3iPOU4LhEMfzdMAufILG3AKZP9LLpicgxv6QklXAKZeVm3N4eMjq2hz+IOG1X1hh5Pd48Zef8PXXKuwPElYbJu2yaOZCPtjK+Q9eSfhf/+k3+Oh7HzM/t8Kgf3phkZDtIqFG3cVsdbx3iFu4MKSItWFpdZ39zedksizIYHFpma3Np7iezZU713n6yVMGE5PT8xGjqcEv/pnrPD/o8+hxj8+e+7i2y2KpxepGzMu3HdavLXLy7Jwnj8+ZX5nXwcTx2YjlpVka9QKVRpvT5/sM+iNmV1c4Pjqg1WpI8JliqcDu5jbX791gd3tLSfxSH6g3yqzfuMLpyblewk8Pj2iUi3TOxYpVoFAuUSq5fPrhp6xf22B5cYFOd6ALJgE8FuTZVCgzDAYcbHep1Bxu3btN6IeU6iVGWnuIddAzHgdUyi7Fcp0gkjpMi9OjPQpuWa0KBzsHLK0scn4sjBiX+atrHG5uksuD0bZ4dbnGdlrly//tFqnp8hfv5+xNCphGRLfr41RqyrX4yYMTSgl8dvhD7NETks3PGfhQX7vC2Yf/BnfhdcpzrzDa/RGhsLjWvk6psUoq1cPsWBOKykoRqXMaqp0rF1aIwO6MsWo0neo8SWnpovYmm+DcV4W42XoNY/gRtqS3JLGWys9LomBje1ZgdSfk9ZcJt39EafUWpjNDfPQRRqtNMh7hSfJXBr6mq+rvRN4hvth65LlYxcun+o6fCCAvCDWdZmvCy8MX68PsHa0ziRbQLb+Ev/c7+rx1aytkboHIaqpdwqzcJvz4H2PUb2Ff+WWc7o8xM5NUNrvOAuHoCXS3cVZe11SIv/f7uEtf11RvPtgnr72IIzXsNCfxD3G9or7PBfIVy/lJkqjuHGVhG0iCOrbwfQFERxSaN1SPm0g1erALzau6cJELu+9v4QoTrXoJW+5u5w+w7CpJ84YO0AVSbnYPiKMJNDbwclGaf5/UXsFpSrrVIh3ukYSi9StiOjHu4pfwR1OsYFvP2klvSwfYoiBPDReneUkry7gxJpfJQ4H8foAz+5aqDI3Th+SVFazaOpaXEI9GuoiwpBozFbtTQRMHhi3nrXWyiiQ9HIz+55rWLS3/PMnph2QzN4nONvHyGLPSVBVhVq5gjHYxq1dJ9t7FrJQ12SxqYjUchRHO3FWMVPhcml8lk3SqdO5HQ4zZa5iSTBicYni5qrpNqTZHJqXle2S9M/LmJXLLJhb2TWGFZDrAcWRQXtQq6lQq46PHmJMJmSxHxULGInlNDHmyMk5JpseYwvsqrqhNKU5dbLuLI6y9yjUs/5BweIYntU8BC5eLlIQDMTLm1i0AACAASURBVNonDyLMvAPlm4S995X/U731HZLM0UpmXhROmzwXSoTDCeH4M6xqk0LtlrKVxPCUR5KY//E/yGVzgMSIZTIh3dl+l1iUclXpue9j+F0KQh3sPyP1KnoYzSbn6qp2o5zQmKgb2yiv4Ch0StRTu3i+TVwt6uVEfngC8Z1nEUXZdDoLOHLQE8iS39Hpkll86aIzE7l6acv7n2AtvELuD7GrAtxK8Yf7VLMhVuMO03gqkjXyLMSSuJF2H+VwaeJWl5VULdALIw+wS0tMnnwXb+YahkDIxp/iFC4RGRGWPyI3J9pzw5UJfVF7jrlsZ4qinjoiHe9iN+9i5BducNOTzv+cTuGi/e9TXP6Odp+nm7+ObTQw7/8a6fv/GGv1q3rgdUsZ09ZbeL2PNYqfStS91MaMRyRWCVMoWSUPhJxqtSnUWkTdRxIRuHBOtl/S4YzA1ixHyJYnFKhjECg11azOYYsyb/wUc+G+9qoMSWTI33nSIdUVgWyxhWYaEgTCJBjgzL1GePYY10rIS6KxKGCXF3Sal2z/G5y5r+jGzph2KMoFeUac4BJD29PLQ3L0IVx+i0ImmyOXUHrgQuVvruEEmW7t80JOePRYu7pZZU7VN7k448XtvvU9jLnX9EFgTp/JrZncruKPtinJQKDegrSCEx0Q9rcV8OjMbOD3n2P2pSd2RQ8DUILeA9y51wmO38G0xhRabxEaPtFwG89bIjNle76s00bZvpuZQzQ+wpm9Rzb4hDwa4VRvEfniEG9hiUbQrTDpfYxtFigU10jTKVllXiEm8XAXTzr1/hRr8kyhWYZ7BWs6Jk6FOTHR/qRMGYUS6lXuY5Xq+EIPH59hlwuaVDAn5xf1B+FE2AUl/EtPS5RmtpOQTDMc11c3rikOVG+Z1N/FLTZ1+xZ3tvVy5DbXFRxnC0Qll3j1mWoDc9nA92Mw9vTBYkRdojCiPHuLMJtCdwcrEFLpKxfxtv7bmMv/KV7RJ9r7sQLO8lIRU6JltVVia448OsGTGJlCIYWxIfH9IVnrBm7vIdPt71G4/hf1ci60bLN+F1MI5pMnWNXrRALZFD1cbpOP3idJRXO2dqGvC3bIJlO93DHaB6eqh5VE4s25D1ZVafaWOdEpfubOaHwwHR2Cf6baHcMT6vsJmd9VwJxRvkp+/jaF5l2ibEw+fIZbu0Im9ZzklCRukveeqf1DlWqpj+XOqaZGwFH6Yknk8LtCIEOcSp1IhkP9I3LpgJ9/rMpH6WFJnNjEJz/7GNrXyL1r5OfvkUuCQlIOEvUWbkRlFUcUiJNjVa4aEme0yqoEzIJzbDPHkot9likBN5NuY+JdHB6CY/11gfJFyQTPm1eQYeYaZP1nEAXkrSsY0yPcyosknT8kTEt4zcsY4QRBVyeyve9tY7deUPZI0vsEs/V1EoHfiVJJoDPrb5GefY4h+svqFa2XuOfiCj/Eu/Gf6XBBPMae0ybOJkqnNyqrxOFUAaDjnd+jIP76+W+RH//+n/AsyqRHP8FdeotcNgvjx5hum6wwi5uNCLsPYOZLyoBQnsfoE0x3gaR6A3O6hVmewxrt4k97F88wiQkufpvcCNUw4hSWFEJkmin5VIY+8jWrE0/OMT0ZCIlirYQ9fE7iSRe7QTR6TiLdQrOIK7AqCoSWjyWRfHkvFOpqBIjl81BbJRmewHAfQ9I5eaQ9XlHdmdLL9LewZRBWmtfPoBPJ+XNMZpRwJHI//ZxIuq6iELIqZEkPY2JgFEpEoyPdpMnnB2cVqy7qn3MdaluGRMf7pKKHkmUUZyRTeReuQ+rp8yu2KziOVHokAXKMW11jOhkqHFcuamLCyWUDVVwhG55pxzER1obAJut39fAmBGxbBiXS+3YreJZLONnDKF5Re4f2dKs3FOonzwFN60QT7OAQI3HJqvfJRx+Tm76mbpJhSNH1OOqc0Vi6Qv3+Jb77D/45v/x3f4e/+FqN9w/gUn3E0mKF0bCmCbTVu3P8+EGfj7/o8n/9J23+0n98jbf/aJPhoMC9FxY52drFKZbwSha90ZjV5VWNyj/+9CmLy2VKjVm8SpWdTz6lvDCj7BFJCUgfXyjq3eMOzZbJ9hdnPD1K+ODZCZdm6tTmHUZ9nywsMo2Ev5Pqu/EbX1lndWOOJx890qRFa36R7uCESUe0pd5Fp95A9Xbd4y7zK7NUKgW2tveoVUs05+c1dWSFMYZb1sGWEP575wMuX7umNO1Bb4DtmhQLZab+hM7JqQ7GbcPm3iv3NcZfrzTwBNyXRTx9uMWkN+DK/ZvsbG8zNztLe6bNF58+pOgVWb++walE9j0h7w/xXI/ltRV2n2+RJBm1Ro3O/hGzS0sUymXOz45ZXd/g5ORYD8dBmCjFPYky6s2GMlEkmeRVPPrDsYyd8Mcp3V6fy/cWWaiv8eF7H/Hyn2ryP/1vZ/yz357yd/7yHL//YYdmEyp5ypMTWQBZXGmM+d///qscP+vhzS1wunNI4gfUZ2c5OzmgWWvT6w5Yv7zG8cEJbqWA61mcHp5TL5d5/vQ5r771CtMgpXt2pqmL2YWWOrWLlRrt1QX+9b/6fc5PM2UiLC81GQVn3Lq9xPd/uMfmgcvGfMbNuy5LZZv7r93DapQ43Trj04+ec+faIn/00wfcurPKzGKTTx885frGdVqLTfY2PycObKyizcb1a7z/xz+l4BawHVNBw2Io6HQ6rF1Z4O2ffKSVpldfuU8QJwzP+vRHA+YX5xj3+6oDlAveaDBUv7jA7tqNFp3eGf3OiKVZMVhlFCoN9iQhcvUSJ/uikFzWell30OXK+gaB1EOCmPFwjFd2lXfw6Uef0JybI8l87r90j/EgYuf5FmXTY/3mOt1+xO5n+7z+i5d4+tEud/7mPt9+bZbVusmjL44ZZRZ376wTTfs0KjX+n59uUQ9hM/iQ8UcfaQLWTibEwwOKi1+h032XevEKlpwLpO/tzuGWHSadfWyJJTtiPJqS2yU1noj3PRcGVHmG/Owz0oJU/wQYfYKtYDPRJp5SmNkg3ntba59pRWqbllpxZGEgHXDp9sd5Qt75TGPYsoSQ9BzpAGPaxTFS0pnXiQ5/hiMwQYGlSfpteozdfoHUaV4oUAcdkv3v4975NcyCR7T/x9jNlxVGKe9nS+CZJRkaihbVIUtbCmdL0jHe7IuknS80aZDWFrCOP1AekPwaRaGji778AKe6QTydYBWbmAWxWnTJRAUrqwFhg4hKPcouqshSsxbVuHzNRLdql/XrJqYDqarI11O14Wn/YukmwxGBLOcTtQDlRpVwOMAyeliirS655OXrRN1NTKkp1lqquYtDC9MVBKclvyvFaEJauYM5fUQg7JbigshgyINdVVpn1au4op2TNJ7oXrM2pvwdijaRpGL9PdzZtzD8XV3aGtFE0xexQOeq18kmDzCnA6zWBkFnG7eyrGkDSXx69Rf1bJaUKuRlGRycUCq2tMagoF+7ht3aIDcXwRdz2yFO+yqZdP4PPlLQttNa0MWbWZtTna6TuOQCzxvvk/pdsvoltQ8VBH5sCNvEVANBJPXy+nUsUVmO95R1IElb/d6HR+TzXyYzyoQnH1KyPJKZuwpwl5qEqTYgGWxJ6laMDgGJJ/rFHiklnOaq/pnCn8p1QDEh7X2G2bqtXCWrWCMzLOWU5bIErC4r0E+SDOHZI5Kzh1TqVwhlkCOL+Mu/RDZ8Rtp5hCeLFEkYyPJSzFEl4VAJf68IReEmOPpZUCbGdEtTErksJySLdPoHfye3ZZI2d4e8vELY+QRXYFzNVTy7qFMcIWhf6I9KWJXbqniw5QIsfcfpoR48bdGBxQFGbUGnqKZyAEpYnkwmpU9sYhbmSYwcUy7uhZZumiRuE4dHOEYVClXi8SZu6YZ+ICPxlM++gmN0VIlnC2xOInxxkXj/D1Vv4MkUbrgJ9cuYVMkGb2MkhpIx80JdJ9hJ1NcebZKe6kTRFdhSnhIJyCw8IrJrOFIpEACa/LtILFe6l8UqsX+u5HK/f0Z54WWScJd0dIwz+6bssLDSMUbUJ8oL2BWPqHuCEfQ0PWG4dWwBa0kPXXo7WU482sMWIr1Ee5MYuzzLYP9jKjOL2iPJDV9J4XJZEG0DQoCX2kPuYYpy0SuDdH3komyGOhXLRmNpcWrPSVJKMt2VPpHtiIN9RBiE1Erywy33p5SstaB9abE1qL/78KeYS/dxJd5dahOf7+GmfcyZdeJYXvOZ9vXHxx9gSzxKCNylJbzqFeIn/wrj8q9iFw1icXimqLpkUlmj7G8RJKkC9YzhY1JhKpTq2MJGMSxcY6r9ptwtKRneiA+xRS2zcJdAdDnymDNbJFmP/OgHWMvfAhkA+I/ILYGpFHGmB4QaP12/INTGR1jSKzNsDF9AYSUK8vUQ0GNWg0JOOjxUKr1s9bK0R2a3MFqXMU4/IZMtskRtvZbSxWUboekM+TtOnjEdnlOpr2I2r5DJtlXoqI1rf3KQl3hyTj7alqKD9oot5wSjM4T1N0jGUuPYw2VGMPnkZk0ZEbhl7TzJBcxrvUAmkbdIHohF0kIb15wSJfISGMvsgrT3SGN31FcgDom7m1iNRWyZ7vW2idJzCi3x1BfJdv89xZXbBM5VNT6koqY0M/2ZTYJTLPGuOym5KCLnv04cOqS9dyF5hjn/qzogYfoU253HqM6QZTFWXybua5jyM3P6u2RuE1cUL1YVr32JJDknO5UI320S0YydP4b2BlY+hrio3vB08IRMnL+FOQxrQjIUJ7iLUVtRWFa6//9iLr5xcekS0Jr06I2CknYNYYt03ifMDYqzAoPskmRDXE861zbx8Ye4szdI7TnMVHSHAZmkIAxLH+5SHUKovqJRmYoRJMH3pQlhK3BTaMVyuDIKZSz/hGCwjTfzij7rkvqG9setLCf0lhV8Z1cW8CXGVp6nZNlKIpZoVnK6Re7lyv1I8z7W0p8jP39I7oldRfgIknLxdRqfG0XovQ95kXzuHobYAaRjbS2RTD4Rda1CVKPxNk79BlYmlZxdiqtvkI6eYxgtktTCmn6BXb+u3fe0UNbhkFuWtIhP5tSwxWEvAzNbhkjPtROZE2I40kOXSoiPI+qcSU91faLgkhqPEJqNyS5mZYlYCMbn7+BWbxN3pFffxGzL8Cgi6YubfB+7cQ9bXpLBgX6OncIMiUQRk4ik2oTOM7Kog7P0FRCyrlgfCgWyfIZ0/Dmu1MyyvqaBSA51Q2+uvQVnH5JnJTKB6ggo01kmVEjbLo4zp5yO0FrBIrrQJnmmdvWi0RNcOyCxFzQdImkMJntkmfx/i3pRjaebF2R+r6Gx+sS7jmOOFTwYTY4xcxO7XCQ1l7GSA9WWyrvMmn2DtLCMIzUB8U+HHaX5Sk82C+U9KAOwO+TTbeKzn+LOvijG1wvqtXA3rHkdCuTeGnhL5OE2yekz3IWX9B0jWg2zuqD/vobEu+deJu7vYYbPNIIp+e9cnOMyuChW1OcsAKV0IlCr60jbJ5GKyXSM4e9AYVW39MnZYyiIbSfDKy4qo8NxE0J7UYexhtfGlK9PYpBVZ8iPP1QFsBh08sYdmBxhyhahfZe4+0wPgaJTlEGzI+/vLME5O8NZWML3z5j2h8x+8zs8+t3/mz/zy/+CezdazMzaLLZc3v90zHkv5Ouv1jkeDvjwiYXcjf7Z31jmxZfrMPZ4unnG2dk5zUYR1xRejUVBKOljn9PjPlevySXcptis8+CDB/zCN7/G3tOn7G0f4xU8ZuYabG0dceeVS8wtF/jBbz1i69xjayfgyuUqjUpKyXY57CZsH3S4VPO4etvmpZeu4I985bkMOjGWHbC6scajT76gVPQolir0+iPm59scPn/O+o1rPPz4IVfvCsApxXMsev6Y/Wc7rCytM5XOs+yA4pTAn3Dp+jW6Jz2OT8546ZX7fP7oc5ZWF6nXG+qln1lapHdySq/Toz+csLQ6p2C43Sf7jP0hd1+8LwBuHj34hBt37jAYDZUlIVwACfA2W7IV7tBebmkb63Brk9WNK8wszvPBj9/BH4948fXXOO6c0j8+1YtopVFWN7uYQCrVkgJaj4+OMB2XVrPB3v4+r3zpdSbhmA9+8IDVtQa7Bzm/8O1Ffut7W/zNX4/41m14NghYrpVwCrM82TlisW2oKuzVhSJ/69eW+dkPPiU0i9y6vcrRsdhnUmUVFCoVJv2RDnUkpViolIjCUAfqaxuXNLpem2/hhwmj03MWVlewChb98x57O0d86edfI+n3eL7bIUoNzrrw5JmPWYpZnalw/XqJ9x8P+OFPI5YbJl/5ms1X7m5gTFNmlmx2T1OCGHqHz7l55z693jknezvMLl2mVCrSPRNNYsLc8iW2tzdZXVshCAIazSa7O7vsbR1x4/YGlsCSxc2dZ8y0F1Tb+/yLJ2zcuqWawt2tp/h+qMYQifyL1aDoSr2vz3TgM7PY5uTknNVLl7WSu/lkk1KppIpIgYsJEWc8Hms0WtgM4/FUkwQzc4v4kyEvvfkqg8GY99/+mJWVFq7rIeSw6WRCe36WUaeHPy7w2rfW+Mm/+5yv/ZNzXrvWZKkxZjyy8cMhhbDIKPNZmpnjjz8+4W//zTf4b/7Br6u2u7MtF84O1doNovA5ptFSiLVs1wV/5DoOmVGD3iNlhrjFNd3wB+kQS0wAsng0y2AMcDJXI+xhbwcrOoPiDTVCJc1LOHaL7OTHWllLjZqqbR057w4OoPs+Vm0N1xLY8zXZrarLXYYOZknec11ir4QdnapNJRn1yYNDUqlNVWuY7poq3CypUKUDUun/z7xALtYy6W+PLsxLplEl+/9Zeu9Yy9bzPu9Zfe3eTy9zzple753beS+LSFmiaMnqUorgxAoMJAJs2FCQBEgQGEagQLGkOE4CSEqQALINxBEFMbZEmhJFUmy3z52ZO/3MnJnTyz67t9VX8H5b+ot/iMOZc/Ze6/ve9/d7HjdFD2RbXFRJaAHhaf17ePnLZCYHRKJgswsKQCmmK6PfVgm0SM5XRkxUehsjbJK0P1LvZ1uMTlKFECBuekAkv0tLEhgG43ETK5tXQ4zIqipriwxxZauWpmN1eY1L11Uiwxoe4NUu4bWf48p5dHxCEoywC1KzOCXKXiTpiN58fapzFui58K9OdxDKsMDRo2iAbdfwWx+hlS9gunVpRhCFMfFEVLpZrPCQKJWzwHM0sXZJ9N7OgR8pin0w2MfKmuiNG8R7nyjugkpQahOMaIwmaY3cqkodBM0n2Nk8CFS++0DxMpzCmrQrVP01SnRsGQ6NnhENe+jBBL00TyJx9sE22ZLUC58RZmZJ4pCMVA0kBZiaykAn522rch4/6JHIMCe/gCZ8IqmKnP5QRChouVUY75EUFrAmE5UKdUoVJn6ALoOLJFHpMWHxpAJt7j3GXfsJ/KO7pEkPc+4t0sGWGiAIp03sWZEo3eMhVlnufb6yHEhiXBRvssCVM0NkLZLaIVp3l7T1qfxFoCTq7HWS7nOMstTGLBIZnIkqXhLUZgNfuMej58RjVymu9b4o15fwkwl2LH//BKM6R9y8P1Vi5haQj0zYlvRya6rUFq5DYVbVjbTu+7+T6pM9IvEW5tawwh66bKcKl/AOf0R27seUvipu31JTithewor6RISYsr1jSNA+wlj6vJoueO0dzJmXsPMNgv27+LRFgkYqpEnnDPbMeTjdIZFb4GBfRU6i3AzOcJdoNIbhNr5/SLZ+DX35bZLmU4LIJOk9wZlbnHoTA4NYPoCxTqR5ym0uXUZbtunSAZH/n/ZzNZ2hsoymSzLg6RQEVZqdQjX6R1jZgjIdSOdfE2d4Y11N6GWjHJ9+TCIbvswStptVNGTTqqmNbOfguzilm6RBk4QyVvU8hhCUAx9r8W1FvRzvfwdn/RcV5T0cdjCDvlLryGHaKG0QHX6s+npG/hJ6VUipJ2i9EyLLQw/GWNIpl3iIkNPtErrWIdWrqmebeI8xMuenjuXKOTTvmKD1UB3YMnZOTWaFKKoO/dKtzQvdv4nhZhSdWwjcctkS/F04Fp93EUOggJvfUgtouW1EmXkV35Z/ixDoBcwRl1YIgyG53nNiiVTbsyq2bIqnVSaMYUd92J35t0SBwGTwBE0iT4VZxvklypMTRtJPEvVV/zmh7uCaGdLOE9LqOYzSPHHzDtGgj7PwDqEkPeQi441h9Bxj48enFyG/P+06do9wZl4imGyRHH1EnJsnU9uAiU4UHGGaJnoq/yDQCjOEkvTQhlj6wvTgHx9CrKvBhBZGpLYct4ukxgQns8zk6B5WZUFNK7XqyvRL6g0JhVArW9naEnEQYsqQJU6UbkW6+sKRkIuq/DBFczLutrAqa6T77+KFT8mu/zr6aEDovVDgmMSJSUcxVmWeoHVH6Vp0p4Qp210BBIp6JnuNOLtIIlHbQMBsWaVDkW1KODpWpPUkK/7gJugVhRGRbd2kc4Ij4M14Bz2zSjKW7rCNKZ/B9i5G8JS08kVl/Qj790mzZZLcFYz+A6zEJSzOY462SW2Bw1zEPPw2Qfc2Tl1+xxZRMlbKuzQcMDr6gPzMTdLCqpp0ysFAc6XmE5AEkhRIifQZElE0dvfI1+XBLeMqiVILOb1GaBbQR5skXlfFo+P4dNpnF/qOO6823NIrFEjgxHXJyOXJe0EwaKtkgTwHaP+1isg50mmOEiwZNIUek4E4ixdU5IrOExJHNmk+GXcRLT4hkrqTaMqEJeKuYva38MqXsOMBkSe98UT9LAX8Y4gj13IwRJEnL361PQ7RxeVckBrCGCMRlZ4khQSKVGAS22SMAbH0B+U3VF5RRotgkmDPXCWSz3X7MdpkD2SYY9rKRSyXGrmzK+2PDAItXXWuhc5v5s4SeU+Ul17zI7xwF2v+Z6D7AF0+E3E6jdubeTJSqzJNklC2enLpT1TlSCYUomHVpNZ08nUMt45W+hzxqcA7TZWuSTVhmEhtoTClHOeX8bf/Uk3tJabOSOBg3nSwlHjTDYPE/gdSM+pimEto8QBkQJykSrOUuibBRJIWebTm+0RGglb/LHpwhC5/jmHiCJwsUVZporCjpthmYVVdTCIZnhlFTCOH13ofJ+OCXiMZPkDLXVFD3jjtY2XPMek8VgMJicEJHDLRG0p5mPjHKtouPIY43oKsbCiO0FIBkF2bgiOlax/sKdWVUbpEnI4V40UGAkFnB7siPJpDDL2umA5pLF7WkNg7RXdrChopFZskPCGV1Fv1MrF/hBbq6pmMu058/A0SqQlUPoNRmSXZvwv6CDNbU4ORMChixS0FqkzdM9h2TDgRvZ10jEMiz5/+/CWBIHYHMTfkz+BJHDdbRTNqRPExulVSz8TEmWBFOkGYxYm3iN0saSCK1R0iraAUo2n9huraBgKedZdV3JNE8HxtLEmqiPHDTwiHtxQnxKSsVGGxVJ1kE1t6mTRu4Q86xO0m9Z/9Tzn++F2WX/1HfPmtAmeyOb7/6JTFUsrMTJXR2CB1Y7511+NMts9f/dYVKosl7nyyzdbWhOuXa5iy/Q5SHNOm3x+y0Jjj6HiXoTeheXDKa595ndxsjXvvfUBzr8PS0gzL5+Z5eHuT+kydtcuLbH76MXc2M3z34wHnFjOUayFnFir8q3+7Q8Z0uHldVhchv/hLr8jjntb+KZHt0D9tquTR4YkQ50tsXLrA4f4WraM+5aqDbeYpVErMrzY4en6gYIBhkpBxs1RrNYIwpt88VuyJIIipVGr0Bl1uvP46jx/eJh5FKrYvne9qbVbR/U/29skVcwwHAi7zOHvprHqWPnq8iaO71GsVjLzL0f4Rs3MzihGTJKnqvO9s7zIz16AlkDw3z/lrF/nhX/+QSr5ANl/E88csC63+xQ7lWoNht8+o22b53AZ2Jsvmo3tcu36D01ZHeee1JKHT66me9UuvvUJn0ONg+4RzG/Mc9CLOllsMS6u8/fff5xfeXCSK29x5NKHoFJmkA0rlCmuFiG8+iUj8kFt/eIntF8eqmugNmgR+ysL8Et1Rn2Imq3g7uy92uPHSyzx4+JBcNsfcGYn8P2d5dpZP7zzi+suXuX/nUxbPnKGQz9JqSZe+RHP/BE1POXvpPKYxpj8ec+dum26Y8I0/P+W1q3myJUdU2exuTnh8CCenY376jRxvv1VjvmSwuOiy+XTCwtIKO48fkM2V6A4nlGoVBr0ek8mYYX/C5RuXMWydT390l5nZKutXLnBycsze9h6z9Rqj0ZBCroifRGRzrlL+GYaciQ2lGj1t9ihX8pRqZXae7DAaDXj1jTfY2X2BK2BPw1BpnIzURppHNBYXeLr5jFw2T75Q4vjgiOWNZcXaiYKUbLmM6+o8/fQJh8dtPvO5z/DRu++zurY4TUfMlbj9w3uUBWBpuLhRjyPf4J0vL/N7v3uL3/zjhF95s8FiIeLh7oT5OZthYvPo0wM+8xOX+IP/5yHf/L9/iS/93d8lePhneMEebiTmJjlO2dh5S2llZakRy7Jw/edIRjuKuK7b9Sm7y13AEhWu11esC9udUwDpNBZw6SIytdTjtmK3SNUrb5eJdZ1U6r3CjyrOYBfPQn9LJSM9vYSTnVWa3HT8BF2vKF2qgLzjyQGGXkAviUKuTdLaUsnXyJOBr3Tbc1jiZ5cNWeWzpFIhbN3FbGygJzaeqMSTY8VlkKG48G90oc4XN5RKL+hN0NMOZv0zJNtfJfSHmBt/B737nETehVZG6cuFF0LaxQqHwvxT1Hddns2maAubJOXLCqRu9LcIrCy2YRCJktsboefkOT+NqIfmENtZUQBYPRID0RVGR5tY+QyGpKEL5/HGU4ihVjmrhkRqUz0J0Uo1zP4BIjbI1K8Tj7bUAsktiJJ3Dk2Gv8P7IvPBrk6H1qJYVJWBeIItg35JRAx2FOxdboBpYxVDhhQjD6OYQ6NOmAwVVF0b9JVa3cyL9WyOJO4qIK3cr0zBH+VXCWVgLGyx4EAtLozs8lQTKODDTBWt9Rh77qKqMMRxEeP0r5VJUwAAIABJREFULr7/AnvhZ9DGW0z2b6lzvVG+ilWqqFShjc1YWF1SM3eEN/QAyy0wjhMFLJXnuBYcEIm9R4vJyHtY6tHt59hpSFiZQfOzJEaggKSj5BRb+HVRCU8WXkV5X06IrRxOd4+kcU1VWZPj72Gu/TzJoEWaHqAdP8ST9PDMNUIb9KMnU+Ne9fK05hrs4Q0GOIW8AldLTSYdHxIjrBqftNshmTlLRk7JUUwkqmz/kHjcVHVnSWEnaZWgc59CqQDWLMPWPoYdo1lF7EyGWFIq4w6mLDxL51T1PRE2XBSJBeB30sR20O2S6pqZo8eqv2BWXkHb/TeMBoeUrvwKYijQDr9JHA7JLv0k8t8Jtr+tJl5CYDRWv6B6PrF3oAjZXncL19IUcVAAScq3fPIRmewsE030fvp0myRdBE9idBZarq76pOHRh1CcVRFtW+8TemIQKCuYmXTgswtnFdk+Smziw+9hyn/Ob2A8+zfEc28qYIfEss2wr/rXWmaW8WBbdYHM7Cr6yS2isIc5e4NIIi0C4ZMu9UCiR3LREIVcTk3oZdsol3YZYITdHUXYNeqX1cQ9Gu6rg550rK3qOQWL0FrbhPlZcpkaUTpBL6wxOb2NLSvG8hq6J5e5BkE6Jgo12P4LktpNHNEYtoS6fGbKOZA1qGzM1f9QSCCDA8MifPEnuGe+RKLXMYdPCQZdzIYo3GKSVIAbORCnZHCKFYdo5ctE7SdTLzg5UuMIWXdG/r4CNcmmMRxvY0p/0++TcVwFspqIAmsi/ZOqivYKUV967WlpFc0ooo238Z0SWbPMWMAiwh6R9qGWY3L0I2yhkS79LbTBi6n6orKI9/wvlBfdmhOVVKjc5YkhftgWcWYBUod4NFGTUEP64EYZs7aKdvpA0U1N0yHuH6mNYxgaZHRPUc3dTIHg6L7azJjFV5lMnqkev5k7o9RpaWZObWctuQrJlzQWNaKpXi4CDpR4rByi08Gh2pxJN02eEeJjT0TblzujLqQSgbJmP6vi9wwOSHVH8S2ik+9A7hKumyPVA9URFziYxHbFuy79Z7p30UuvqD5QNJKL/6L6rMkgTRM6/+kD4tjFqIrf1SI6mh7KhbgaphNFgdWsCApysZGu9S10Q4A1c1OWxvGH+NEQQy6O4qOVy/xwl/ziF4lL83DwkaKpqv/LSvJgQnD6jEzjVQW11GkSpA0FGBRoj1xm0+4Lpc8jO8/k4PtY5cvT50LaUdyF5PQBtusSiCJPwHx+gOc9xc2ukVAk6t4lV79CJJUJqRWJnTbnYo4HTAabYM/gzl5VujrDH0g7HjsUav0svis/H3nRRFiFlPHRYxWzMiIDQ2wNcy+RToZquivOZ+m9qQGXWYdJCzMJCaUSFO6rZ01aOovlbxNreRCF5+6fqJSPDDsEnGfoPqZsG5RuLofW2VHaMy0raY3s1B8rQ8uJr54p4rP1kz4mrgJ96qFPKpd5u4aen1U0Vu/kU+yl14l6h2oAEPV+iOmuk5rSjb9NUr2EZc0rMKhYDlJzQUVIBawonAkZ/MVGiCkRuWhCKmtjd5F0uKNicvrMTRVP10QpWLxO7O1g2I6i18qhRtHbxdwgwx1jHjPuKoJ1Wj2jKMGebHQzC9iN80z2foCTLZAKgEguumagLpJierFs6fkKLdklFgtAegr6EqnZIZTUQTBRMWOpeIqrVp4TcgcWBotM7XEraKL3EbK+XiOSn28hh92XoWaPuPgWum2DQHlMGxUj8nsKYBNHLUW+N91zjJvv4eTXMZyxNBzUhmI82CTjFki7p0T1i8SjbTLmErFjT60wdgU92Mfz+ji1l0gOPiLK1HAKFTy/R9ap48Wh4kUko12c4rqAMIi8rnreyoFEqlGOdVYBb6WXH2slLIl1ZMvq8SxgHwvZEJ+SsIgWHGJKrzRbRRDifnEO7dH/hZ57CWftHfzxC7TTD9Ez5yVDhqYGwWUSVqB3a/r8ETr0YBej+jZp99vEUUHBjESbpIvpRijQkhYSUKM/Jh3tqG6tXb855fb422pDk/4NwFKMJkmcRa+eJ7ZM9XzQtTl1sJXeraVL+kIDSQ8EHaK0R8yc4lvo/guM/BliGXJFfRL5THldyK1iWj7+wVOs2gUSOeiZNmGnTzh8SmH+IoFhYpy0yF2Y4/DBU1Z+/LdplOD1NVGb6rx0bpEf3D2gWolZX7L4n7464r//hTP8k98s0T0Y8ulHTWbKWTJ5i4O9JtU5+T6aahvc2jtg8cIF/MmQQrmGPxyoqPu9xwe8+fZ5jESnP5koAvvGSoXBcMDm0z7fu+XzeLvLj79dpyf+8wWd7ecW3eaYc+sOF87lePOtmxxtH3H743vYJYMbN1/n8OCAxAu58vZVnn76iK3bm6xeWKMyU2XYGxAHAcNxiD+aUK5U2dp8Sn22zI033+bR/dvqgDbsjzG1VMXxZfvve7KNg7nFBTKGy8HeHoNxn7Mb59k/3MWxXILYJ5cvc3x4xMycxG1NxRo4t3GBXr+DYQn8OGIktSldI5+XDaShFH+KaRQO6TV7aJZJpV7CzRQ5OTxiZ/OApfUGdtZRqsBRu0u5Vqcz6FLIl2kdHzIajtSf1x12uH7jqiLZHx211ee2ubOjLrazi1KlHLN+McPf/nvv007zfPm6wWG7oJYisoFy7JTDQYzQpgTO9/GzPl/7JxvMLC7w8a0XZPWQaqNAGGtsPtlkfeO8uhCOJSobJuSLeaVFFQvA7vYOy8urHO8dqyPS6vIaIjY53NtTB/v1s+u02i1lelg7u84wiLDDmMVzZczY571PD3n63KfdDpS9p5QrksvEPGvGHHR8mrs+v/pTG8yvw42NEp3BgFvf32ZxcQ4nF9JtDnBcl5lGjma7g2G4LKwsKcaCkxMuhthI4PorV2j3RhxsP6fgFglDH9O1qNUbNE+ajPp9peha3lhXoODdp3uCrFLKXuEHSXogZ+fp9STNmWE0GlGulHBdF8Mw2NraIp+xuPTSTU5bXVpHh3SPj7nwyk3GgwlPP92kPFvkzLoAI10e3JYkWYpZFG+XhlMsE3QmuG6IJtCznMXVdzb4jd/8EV99z+dLb1SUpaHZH7DYKHFwMlbb6TvPWhz2DU6+/0+pb1ToPdohzs7jHQiseZZC4xKd5++RW7ypeu+abGLtedLymvLHK7WaRPTDEZGbwZYzueh1/W2SjBhyxHt+iJavYWXniHv7KiVszv8EnHyd2NzAckwssQkkmaleL2hh+i0C3SHNVsBaVGaUMNjFcWfU5laA42bpBlbcJAhGRN0+mVKFOGejxSv47e+hRx1ifQa7ukA8HCneQKawRqKHRIkwRqYXq1DsVpqPOZmQls6Qdj5GE3tOaVbR3qPExJQXom2q2psMijUBEaZ9QqeOlRaJjQRr3CHU5Xx9ArnLJPmCctenkvCU80YSYkoqbHIKrfemkDhhjTlVjFETb3Kk1Hs556wyO8XaWG3OdaOKq3UIdB30DTj5t9j1zxBLAvLFvyMwSuRWXifq7qu6WKZ2UcX/Y1lu/M2QWaoHcjdK/LbidklaQ14RaZKSKV2m9+SPcJ0GRuMdwtb7asNt5leIZFTSOQbXIBo+RIvyauHke5J+Pg/DrkryaStfQhNNo9RWrQx6+WVlMzITTb2vM7K5TkxS0eLGcoGVc1hM+PRP0RsvY2VkIXmitJGh0uAmGJlVde6OZBA/OsDUDFIzIS28NFUW731IWr6EIcyhoZD36yTZBt7x5hSaZ2dxFO/NQE/k0mtgSrJOjiQ6ZDNr+Fv/nnT5bSxJmMuQIhqR5paVEUrOzZphEnSO0bWQpL2Ju/4fEJcaGN37pELml7NtJiI+vI1WWCbRYxLNQZe0da6oBl+SvDbsBuHB13GXvjxNlux/g3jxC2REhdm9rWpkmBUsK0L3UwZmhlzsEQ020cprGAIXlM+56M+r0yQ5/kgZySZ6giNco+67v5VKtxyrQhrskuQ2sGWykV9W4AFRO8V6hzQKcQR2ICPxgjgNbaVdGgsJWijovSP1gdarCyBR/M4dEmt5GjkZ7RAlWYzxEfFwexotlO5F9SUVJREQgj4e4eWKqmviSvRazxLIl82xMSVmL9GcUBy3GSZ2nfTkuwqco2Xk4e9jVzYIt7+PXXuJyNYJjx9jy7ZJgE+FS2oCHgtVMlMklMOOXcSUQ70E5mUimGtMqeOn94kyVezieXX5TkcvCAIdt76Bnvbxm0+JCxdwxs+UrzLydaxsiD4KSNxZVZMIJN7UfajomLZsX60ZwsM/w515jVAmT+Nd4sjEcsvEnYdKRWjOvY1xfEhcElVcU/XU9UgntAuk7U+xMrOk82+ib31TfYApriilXLD1p+jmIsbi62g9IdKHaI7wEmDS/hjHLqBlapjlK/i9TxSZnco10vZHCugYJSUInyvnvessEeoVPHWhF1/hgNiuqghjkEgP/wVx/jzBybuAQ3b5i1NSp0CqKivqUuuHHcLDv1TdZmbOoXsWfmcTS2JLxTn5S+E6OXzRAHoeqURk5cBr2gTS7w1DzLnPoo2eYtgrhIUyafsZVqGhuogSKbYLZ9RDyz/8gIx80a2yos4rBWHqKsVkSgcz1KYKyHnpdTuYQUv5TVOtgSWxaF3oHi7ReBtLr6sDaSRgSDG0Sp/KleneFrJbMyUqNmziO7OYiU9q5lQUNjp6qEjx5OcI7TJuOlGTcFF/WeLnDruY7gZR1FafNemIBX6bOOphF68pGJ90lv2jH6mosijOvMEurmUyDgNciYcLR8HS0byx4nfJ4TzVaioOpg8OmJg2rsSB7Ii4P0IfPiLNLKtLkDY4xi2cxRfugVXF8U6UjnPs7WGJqs4WZctTMgIwdGVL1cTQZTC3hynRMXPavQwHQ/CO0Rc+R+qLf/4Y07JI3WU1Zdc6ErkTteUSY/8B1skzoqJolUSLl8c1Dbz2faXqMYsrCoISy3RbYI7ZeVKzr4YU/YNHlDd+Ca3YwBe2RXYWgxzx8LE6POGuTEnjEnkOBwpuljqzaqouQ7tk0CRxdfWzlxi/IZN6oe5bRQwFPOxLRoWku4Wdq6qHrxgsYtED+SmRXVb/Nl2qCUK7be0QMJxaOlJfcUgsmWQzwLdr2NKbn/0xYiGxT16Qmf0isbys5YJvrkJRaklSCYmIhOAul0G9QNJ+iK5p+JaLoy73ootsk+RXMAsX8A/+QjX90vJl0rCvLnWuKbC3NrEMRrIVYtlySAyx/UwloczisjSYiFvvoTdeVZc5PXZJTUM5f9NAnm3rOOXLKlETNe+jLbyBLsmd7i6GJHyMojoE6c6smm6n7ecYepdIr6OpusO6+r6H4j42hFIvQ5cspl5RLynH1tRzT4YoYWsXK3lOUngdJMoXnahqjGlWiY0J4ckjtEheukK6zap4phwEgqF0B0PMYpVkPFId1uzMS0QHf4aeGoTUMOeuqsuoxDn1uTWC5gG6wCe9Z3i5OaUTimOLxO+oz6mAoUS/mrZ/gH3+76mKVtTZxq6eZyIsEbtKmimgte6TWHOk2ayKBrpSIXMWFDzRSpsEp3cx5r9CoAwC04GS1jsGqeBIn1Uc1kffUh07c/an8Y6/qbYRjgZe5SIMnmE6JfVOEWVSsPNt7OUvoeslotE9lQDRxWCSeYk4PsYtXlBVrVQOIdEQs/ImsaRl+s+wKlcIEwGQ7mMUz5EKbZie+p6bYriJ5ZBqYcp3xABj2CIORI06TcFZdp44GEPhooLRpb0HRKJ7lLqQaWINn+JrwtaJsXSLyEuVwlNzVqZbPNnShH2cumgZRSHXxBgfq62JW7oKjctET75L6dI6calGNvcLXF+Cd66u8e5uk0szeQU/qzds/CjLJztjKmHKH/59g8pqnclolkF3l0atSmcSEsth247ptfqsLC2wt9/k2mvn2b7/XGnkzmyc4cHdB9y91ebnf+0dsqZOp9+k9bzD+iurfPjhAd9695jhKOKXvzyrOsj3dsYc75r0Io//9h9fxwk89vfb+IEcHFNK5YLq4G8/22NmqYadzWJqFoNRR9YkHLVaXLxymd0Xz4RLRmO2zIun+8wuz1EslfAmY1YunOej9z5krlEhSWIsO6O0e8P+gIxj0Gp2FSfg5LSrBuNzZ5YVzHjcP6F93CcMY1595zWePHjMWGotqcbNV67z6Sd3aLb7nN9YUVv5zc1dvvClt1Q/fuSPWVpaIQgDHMti6/kWyyurygJwenxCtpDjZHefpY11Ii3m4NkepwfHnDm/hu449JunrKxvKDaBL3AuXWPQHXB4cMjCwqwaWohmOYgyuDWdc+cq/KN/do+vfxBzfdXA8yV9p1EqWmysLzLotum1h2weDzm/MqcGAL//n1e5cinDX337GVfPrZOda/D8/gPWVldxshl29vaY9EbqsletNzhtNjm7sc4o9Hn6aJPPfe4d7t+/py7D2WKZfruDY2ns7B1x/ZWbRJMJnf6IcDhmZmmWJw+2yeVcPvPLr7P70fv4XoOv/buH7A9hZaOOGxiszHvsnsCzjsftj0f8F7+ywkJ1yPVXzzM47bG9d6LUpfLcLZQyREIIk4pCNqN4DgLmi2KNWq1IfXEeK+PQOW6qZFQw9FS6YXZ2gd5oQD7jEIUpk9GQZ8/2eeWta8pckbUdmsJ/kHytQP6yJuWZGU5PWhhyA9MNZTqQd5Zhp6xsnGf32RZPH22xtr5EuTHLYNCl1qiqZ/Xju/epL9YJgoTV5QU2n+8Tj2R4DqtnxZzRozFT4GQwZLaUYfW1Ctd+5Q5PTkb8h69KVTLkUVPj3GwJyx3RPIR72ycMfZf93tdJnn1K56irEodhGGAVV/C9HoZ09Z1lYn8PU2w9ZNUCRrTYsZXH9E6mtVBdln2H6t6gV84w2f8eRtAht/q3CSRF1XtCKmrUnKQ7n0L+iqoKCytEkpXR0bvo+TmonFe8Ik3gtVELY9InEo5OTiBtXYzhffT5r5CkE4LWR2TKN/F7TxXvycnPqPOxLe+F7FlVKTUHO4ydLJbAjbOSJE7Qx89IRGEnsDg9VJtqwavr+YbSF8dWTVU5JSHmWLK3dTFkiy1KYzuvfPGG5xP4TxUvJ8nMY0i0LhaDT2uaXJV3df0GThoRxJGySMjQ04qaargkZqzEMogOP8Ss3JjWHWbWwJ1DE67NeIRVPYN/fF8pyc2Zz4J3MAW/SZps7xPs2RtYlk3Y/gindpX+cAyKaXVTmYPUsjPcVlF+UY4ZVpbIF1POuyp9KolvWVaEvft/UwEXzMGFaR1RjFn6DGkqF+Ml1Tm34o7ikiWnd7EkWSYK9PEuWDMqCSDqxVgWhb0jjLUvEMnZ9vBHeEmV/KzAOQVkfEQQRRh2nUAsOAItF218/roCE8og3Jetv3BnjDKc/Iik+jL67jfR6y8pULoR9Ikz80onKee+QGDH7RdYG59TOu5UVJTBGMe18EcBuifDK1fxeKKgQ+BGFEUdGeZVMl7sLnHtLBw9nGoey69ghHvqPuX1W0oX6fQ2iYURUiySCstI7n5JB39ygFO+RJzopLt/qap9Zu0MSbelFM26bRCIAj63SNreVIlu+QxKfVHBzoenkKmiR12EVKjsP6lDmsqAr08qqYv2lkqVhMIp0FMcw2Qi6VqjrirkWvv7/0OqR4ek+fM4AnWZ9LGQDU+JwPRxczfwR4ek3haGJjHCCXZ9QVTI02hj0J7GesTHEo2xE4+JxPEFLuT3SYOEdHRMprxIorsE2gQ7c1ZNt1Kh1OvzmOUSiaETdXuq051mzKkLWmLpQr3PLGKGJ8gpxo+lLxqgdUVzN49emceUuKW1iO1Wmex9A1OiQelYdSLS3ApeEGE4Cck4ULo3YYGqS4s/IBSgR75KakkU0iKUwYRbIRHXshDqU+nK6OpD7yUZslae4b3/BavxCsb6zxLvfgMtMAmKc+QkapyIfsLHEU1i5hz+ySdYMzcwvE1CQw7PAcnpu5hSU8jXSAUCpn4Ru8RmGT3YUcAridPH7gKmHpGOPXXwkYuMbOdITgnTHJb4JmVj2dshjOWDUSTub2HIlGfuClZ2luDwfTUhdQTElUxIBWxUWlWgp3i0qRzpskmUyJXpC421q5INWkk4CXn0WC6YM7hS5Nj7FunyTymfdSIP05nPYbsG4+MHamuMXcHqbcL8F1WPWqjUoSihlIt8VXWuU+FuCn08lX/TDLHoAWN5CUgsziI1ylPSt9fHyi1NQTMnnxBkzijlSyJbtomOLTTNdpPQkTi0jZkvEneek+RyGKJJF3q9LjF80W7EhCfvolWuE2NjSXKgP1aJAYmbJaFs/jUMqwy5iro0yGogGfax8rPKfiEQND1XIxk/hqCgHnLqVK1FonpV1GctyTIJ9jGkKjA6xSzPQNgnlZpDd1sZGezyNQW4xJtaKBK9RGI6RJ09FemLxHZx+iN1OdREWxi0MVv3SGqvq0sz4tUtLqPZVdX/xxQ25ATTFvuC9O0EOKhj+DJuGKvfS2hI5/4Wbm5Fed8jO09mcoSWXcHrfqC0h1pxGcYdXCciGnYJ5d+eW4D8kuo1ydZTdyQONSI4uYeWPadUn37nE/TQwph5leDgT7GdM1C7TqQHJEKMNV31WVawPqlJ6PZUp1k+r7acohZLBdbpH+E7y+QzDYLBPaLBPvral5UxIzl9D2vuLaXYCYTob0jXu4t/+pBM/SpRJB7WPTUxTYMQtzaHLxdlo4LhFjHb3yUaH5As/UeYYjyQz6hWJzAnOMMRcUWGaTGajHps8dT3FXhPXMwYS6TetnoBibvbzK6gtT4gCCbYiz9NPLpPml+H0gW0J/+aMGhROPurdG/9LtnVNzFqN9FORYNaIpWI9OiuArIkmqWgNLK9k01qrBvo4WQKGZXPmF0j0koKmpSksm+wFAQoQg4eeZVwSaRSZJkq9icwJTVYSITv0MXKXSBufUCcWYG0iR7Ls6yAIX//8TMimRyrGKrUqATJ6RFITFLSCGmAPxziSD9vsE3q1klKV7HMgCSMlNJUqi2JqGqiAN3fZeyFaqAinTNJBSS9ezjJiEi2GgxxtRAtd5EgHJFoPdKTLZxsiah0lrT1AfhDYq8EK0tKgZa2XmA0XiOa7KOJDUaibD05XKyjydbaqKHJ8G/wAjO7pvzMEiu06q8SaLrqxunlVaLhERkjS2DbhKMOdkac1CVV5THTFn6Sw61WSXttUl1XhzBTun4ZG0N6e9kswUhsMR2lTJJBsCZKTVGXBm3FqBBAUCyxxWgIrgApRVNpT6GQ4y1CrYQpXcPWx8TZhvoZCkTWEWVr4BPZkrwbKIiUVG2M+ZvoMsSU5JOol2SYN2qqIURaqE/rFOaIoP8I3T0DwieQw5+bUz8jOVFpMuQSo4YMMpMxYTQhK88ZSdpJpUoOyXJQkGeykyUcPsd1ZxmN+jh6n6RyCW0g3uB10vwaqdQiPLFFnMosVQ1UiAUmWSBOK+jjR+oZEg/buGYeX3SwiU2uapNZe4M3136Oo2DIF15a4Nl+m3FsYVkeg2bEzes1Pt70SEYed//oquL9fPx+X33XGwt5GgvzjIYeuUKefutYMX7K1TonJ/sE44DOcYdzr1xmMOypzr2Q7UeTMccvXrB+7Zw6XP/x155QzFdZWILT0wDbyXLnwSmT1OQXf3yRtTmTw7ZcxAsYhk6nPcIPE9bXZ5l4Mf3TPgtrC3z7z3/I7ExRbfMn4o7OOjTqNSaDPjvPd1k8s8r6hXW+9effZnl5loMXx9gFh5duvszzJ48VryEYC6hOqnAW4TCgOlvl+YsXFIoFzp0/p+BMP/jr7zO3IBT1EZ3WgPOXLihWg23qNI9bKplh2Q7FXJZmp0Mu4zC7JFWHBzTmZtU2PFvIqqpB5EWc2VjjyeOHFIt53EyWTqerjBar62sS4qXfbKq+sGGbdI4OqdZn1AVUai7N4ybzq6vc//BTLl5dI1PM02v3GAx9HFPj5o/N8i/+9Sm/9y/3eeeSqdINc7UcjhOw1dE43fOZqYvGz8YuxApQurUX8kf/YIXImvDR/RbXz80Taw7Nkx45R+O402FpYQHN0Nnf3eP8xUuKq5DN2aoysfNMDsQafugpxoFUQIbtHrWaENldZbMRb7xs27ceH7G0VsLve9y/v8XNd67T2tvj6jtXGO0P+P4PnnNvp8+jZwFvvTVH73CApGmlG91Jszx9OuLXf3WBC7VALVNiyft0m3QnAbVCmcFgwqDnK+BdpZFFTy0O9w/oDzzOrC4S/40GUN7pkpSTNIORdRmddkjSGMfOcrS9R6FeUiBBsR/4gUe5WlHvmdPDNktn5tVZtFStcXp4qDaSqxfOsPn+fe4/bnLjjbOsLM2wtb2JaWTonLQpVorKYjO3PM+dTz5lfW1JxcGFYyLv99nlDQx9zM6jQ/r+mEwujz0c0jg7S8KI/+5/O+LPHjicPR/T0HR2jwPeurHIsHdEIevyh9/s8uu/9Db/+7/6TSY/+BpDa5mym9Lc+ZDs+pewpK4qwLE0JdQNMo6DL/RyIawHPnHaw0yz6HLplpqmlqpBnujyZEkkQwI5lwtjK+49JhWI6+LbIOYdR9KxLjhVvKO/ws2eUUPvSCCwWojvCzg5j56tqAFLduECwWCENtqEJE8s3KGTZ2QEviaDiXQPc+4niYcdbFuG9a5699nFRUbNe5hzl0l6Ylax0MvnCJ59g0xjgciQM3pIEEnjeqjeB/HpJnp5kUhqeb3HSh1ouLUp4FoSVKeivxaFsk4aaGhSGfQjwvYHaLnLaHTVWSOtv4nt7+L3T0mr59EkkTzaBTNRSVqBKMuwnnGPwBQgdIphVhV8WGtcw5AevUCTo1CdeQUuLikIUTDinRLFFrGTxdZzJGKFaN9Da1xXF3H6HwN1BXCPdeE1TJSy1+q/YDKR9OEX1fdZpp7x6Qt0Swj7RRyJzg/38aOInFtX1dgwOMZ2FzDkfnYqNodF4sIc7qCtNviy4ZfPQCoDAKkOFOZIescY8sIHuF3YAAAgAElEQVTTBKzXwI8DLMPFkHeVnpI2n2JkpSZUIdn5DvrFz2OwRNj8IWZ5hdSuEE3aKvmiyRnPdknDU9zSWYLBNkk4xJr7LEnzIfH4Dnr1ZTSxEBGrGqkM042JAPxSQq+HLek2aR/3OpizwlzpkA6PVLUkGDzHrS4yloFcRkx3DtF4D00TcK+ttLOanHssV9UaJf0i4N+0J+dNQy3Uw8ExRm6dNDhFn0wtFXoxo4wS8WAfOxoS1V4h3vk+mneC2XidJCdLQWlby3liDq/3VF3wE3uZcPtr2Gd+BiYnRNlEJXAdLYMXj7HdojK9xf0TtP7tP0gjIc8HYzK69EVlgtBGy1XxO2PMrKbASbYvW44zJC25MOeI5dLQ20aXCZ1EmQuinfAIpQsp2978VazxY2IheEcJ6elHaJWXSctVNIGXCOlaOoutTdzSIlphgfDkIZrE44cCXDIwZy4SvfiA1Alw5j+DP+mgtR6oSZvRuDSNl+aXCYanWIUq9Nv4k13cpbdJ2o+IgwS71ICsTKNEbyQEXg3t6IH6e6VmSLJ/H/vcT5EIfXPcx4lDkAmWpB26TfX3iX2pILTRpEM++3lGD/5ncuJ/zC6pbb30pnW5aI2OFHwnV7umIkxRcQ3DOyQxdfTIVQ88wxuQiF4ns4aenDDud3EEMDE+wapsMG4/VbUDQzbq7gLp4EhtvWVQYMQCUpTijK0cqIa4mmsXVTxXIB1yMJZt6dipk4tCvN4O9uJraJMmo91voJdew12+oiaAZkamUWV0LSbqdUCX7dLLU+/q6W2M6g3ll9ejPsF4glOaVf1WDfGT9pXKQ5RLRpzilRaxEx+/vY1b3iASx7mwCzJraOZQbde8scSljkgEapIWSaxYRSGj0QijXFcTU3Gcy5dcl0ivMBlkpWJIV98gEIWhFqqfZ5S7iK15So1oyEUpDIlP7xP6bdz1rxC3PsHJ1YmcC6obJF2sYCLwtJsq0mPp8kfvkhrzaF6fxJIER1Md1DXp5qQDxUyQWoARSRxvliiKyMQRYwF3iZt8+ERFx+Ww4aVZHCNUhE764hatYc1cUcAiOVDp7S0F/NNm5PfsYwUTFZcN4hg7nm7zEWhJawdN4vKlOdL9v8DMX0GTfluwg9X4MWWIkHpErDWUqskSorctXSSBXNYJjp+h5cukxXOqn54ZHxHmz2InfaKRWAVkq+WpvnNwfAd7/rwycEgnODU1NLOAMdxl2N3GbVwm0TIkvkfsOORFyTgZYdVeUrUGTy7EdoVspoznnUyBiNEAQ08JRYPTfSTnJyIZsIx3ppfdXJlYAC3eBF0GNuEAU/rI4YmqslgLNzAzV8Dbwzv4JrZAAOM+3niAm11VaY20J9Fl8RW/jebLd6OHkcjPYVYdblKJi9szBLtfJa1cwp17i/j0EdpoD8+dwxWXvFB4S2dI3DK6Sjk1FY9C7CGm6IpKS0pxZ/Z20OY/h5YMFHldO/1YRcX18mUmQwFiaVjVN/Flcq5HaK6LP2ihy/f5+F1iiWTNvcV4W9IRCUhUMAjRZm4Sb/2pmuQj0+UoJIqbJIGFlc8Tt+5B/rKC9MjhKYlNkmiAWSwRtLZwMln1Mle1KKm0GGBKnUZeXEMZmGbQnBkVOYzHx5iTQ5WUcHMXGZ3eUtYD2ZhYrvTxE0LvFNs9j9/+Fnaaw1j/ecKjv1YbGdMSoI5FGjUwrIjBnX+BceEf4siUrfsRqXODiIGCHoptZCLJHb2K5pbJZlaZjHenPXrfw6qtYuoOQe+p0gs7hkskkBvDIrIzOJHUDKTSMJJRtIIrhpFsRRvgvSCVU29hXT1rCaZpCSMcE+oe9iQm8kV1lZCWbqD5T7HJQa7A6PQA3QwpCSxHGAFj6blrOIZE5/vEpYvTi20sQzupJ42VlsnMVInkkh5N0IJjNHlK1a+jT07wWpuI60GgOnLRT0Tf1LmFNvLRinVFlhaNKGlf+YMdt0DQO1LTeMkty2dOYstCyoqy8+jJYJoO0nQc2eIP5NkyQyyRH8GwRl2sonw3BspsYrVuq2RbbAnjJFA8niQYTjuydlURiUWjFXlNELZPEhD07mJVP0csveLJMbbfVgfoePgIRP0qitdwgjXaIykvE4U6mihou/em9PpijVQc3mGXKL+O4+aU0SRTchkeDckvvoIuitu8D80jEhk6fv4/4e/+5K/xnQ8m/PgbdRJH56g9IjORn9mEuVyFP/2kyUbe5bu/s0655PD+h88pLDTIyqbcFlyextHeEd4opD4nYCqTwWBMt91ibmGBYTfALZpUqlJR0Pno3kPWV2pkswYf3WkzGEGtrDPyHFr9ATkn5sMHMbVcxK//6galoknzZKJc7LlihiCEfKbA/n6TajVL87RDuS4ANZm7ScS+zLNHTyjUStSLFXb391leXeLw8JC5uTnGkwn5QpFMIcfxXhMJLg0GHYq1GQWTm2nMUKlV6XUlwmly991brG+sUV1e4vGdT9TzWDzrjmMxt7RAt9NV8X9JBczPLtLv7dAfRbzy5mscH23T7o7ZOLvMoztPefH8hCtX1sgUTCq1Oofbu0q72ul3WVs5Q7/bVXWFxbVV9vZ2yGVy1BsNOqenZIoupWKDe3c+5fKNDcZjj0fvPaG8NKv+vmOvhyzaFpfneLJ9RDmXZe7iiMPHFv/xPz8BPeDvvDGDpRncftAi4yZ0Oxr1RZfuaMika7HesKg3MvzBv+/wf/zDIq9cyHEysDm3WubWB1vqHbq2PsuDu5tcffkytvU3CaY0VbR/qZg4GZthb4Rhy+FaZ1622nfu4xaySn/X77YIk4jRYMirr76uqhjHp23qlSyVxiy7OwcM2n1efuMyWphiFUtM/IFKB/yD/+pDEWrwy3+rRrVW5NaDDu/eH1LO5Xi02+M3fy7PV37lCif3WsraMEhNDo9aXLtyVpldpGpx8dpVPn73PZbWF/AGYwrVslL3ZYRhsLzExz94l2KjwOrSOh/86D1uvv0ZRoMencMjGkuLavvfb8rnpUh9bp4z587x8fe/T38wZHFhUQ1sU09U0pJyCslnsiyeX1MAwNvv31JawsFJG28cUF+Wrr3O4d4Bl69f5Pbdh1y5epFHn3xKdX6OvAOjIFbVlYxtE03ENKORX7RYu3yJ13/263RrFX7sTMqzFyF1x2RzMOCN5XnyFYPf+do2/+OvzfLf/MvfZ/cbX6PGLJkrL5H0AoJwj14vIJPRiXrPCcngTJ6SlF/FKc4rraS8BzwxPi2/QhrqhFt/hbH+ecwwJGjfw1r4EgT7RMFU8yaLk9Q/wi5eVKaB1DTJ5uuMOofquSQ9cU2G/Nk5tGFIpHtoxz/AlE2rnsUU7lcky9R90sRR4Gx58w8OnmE3zpImA4zxNlFSUe9f6WSkmUXScIzW+pBIkl25CyRhC9M2iQen+GYJS6DbhRnGx/cguzxV4vZ2lR3Be/YNEjmT1WewhPVVmCH1O2rQHid9Rc43RIttZtQzhtPbipOTmDXMbF2lWnpb72NlcphuAV3MTzKMFb1cVlg2BXyhv4ceaUkGswbR0QdqU6zuMdpEacE1UXK5Z6f1rvYtTHdeVbc0Af8NdjAGx2iFjAIRj+SdpYfYM68qkHIgybhEVxwfo3aFSKbAw6dkhIkkPKV0Qlq9ip700DvNqaEgkyOIh6qzz/znMKSSbOaY9A+wFNuiiDE8xli5QuINiY/uoyvjUZ1UGFiy3JLEuVXEP/4h7sybmJk6eM/xW3tTe4Bc6F98U2kCs5KC806YRP7fpBilUjRRSnupQWtmSqZwmVHnFpnsGWxJYMp5w7AJ5f077KJnSyT5NbTJC6LWPlZ1EUTjKHfk4T62sI/8QCXh0skOWmae2OsrjpxReUkBwBMtwspUiEQz7Uckcid2iySytM3aKr0cZ2axZYFXXcYT8L7XR5t7A7/9AluG/xXh9swqg5meiEIzmi5Nc+cUmFzzhcsgf2ag2AbCSROOiqn56NVVZS/yU1PdGWm/i1F8RQ315JyexgKTl35FKMndf5rGXopdncXf+QG2ZROXbypFhlwGZRojnkUtmuAuXCGObaLD9zHLl5VlwENUR4fqMiJfDpnyyBYg6WxSnD3DeKyh5bIK+iU/PDmsSBRBPnTirdbyq+pAonfuE/shVll0bRkSOeCEffVL0JbfwC2vqw2xxDUl4qNHGuH4qeqe6qIAEShGfxO9dE4RJpM0xc7l8F7cUhs00SnodkX1hoPWJ2QWv6B+iIlETsMMuVxexZ9DmeRlZtSETPcHpJVl0kFTRY7Fcxl0tlX3x5j5DMHDP8Sdfx0t0QncIpbVIBJP96ilLhFCf05l8inwxMTEl0uQTF+GhyTiRxcOggCwjJBkJIkDT8VlEiE1mjlir4VrFaFYh8Gp4PWZhCmGJwfalCRtKHK+YWeIY9m4Z9AljiTDEMsk2P6OopmKFkIuSkIRDQf7aG4dkhG2EP8lkRAYGBZongxwtjGrl7GCUyIjo8icIojXC+tIPyMVc4OoVcwcoRaR9veJwz5241WlY7TKK0pbJYR5t7pBeCrKEYGqTbWHcesJSAc2twJF+aIJmd5Um5RQXsbiu550lPIqtcS/nCPZ+3OiynUyEoeV9INMGr1jUumyez20ZKLiVL5VUQdpTWLQwnIQBWT/GL10Ea3WwBA/t2Wq+Gyk3OsvKxK9RAbMJCbuP1I+z2zlrNq+akLhF+jc8ACt9ZC4MI9m1VQEMC6IzUJC2g6eNsQcixprXX0hxRIhiE2zvEzilNF2vkskADmJtLW30cd3SWZfx3LnYXygPhduZWE6cNIC9MpLKro+7N9TkWvbnCHwnqN1+5jithXllgBRDj5U8LdIXi6jh7jFV9GNSBFVoyTGycwSCu3WNrGlS9x/SJhMcPS6AuOkhhBca/iGhT0Qsm0fyXaKMkW65Gko+psjlXKQVE0k6RA1hKqSDp9giFox28BsPVT9dKOwjBcLgMolGTzFNMLppVx62KWLpL0n2NRI8w6h38UYtwg1C0uqOIaQ+j1CXceSG607fbma8nzQxSl+IiRH5cLVZSJ88gG+HlKoXCc05Xu9i+nKUG0X349xs2XC9l0FX4sr6xhxEzOxCU62SWW7W5bhnacu6e7gYDocyeaUZSGIWujaDLYjlggZsYq/vYfvn2IIq0J6+vEJRmyDeNo73yPafxfnrd8jCVzS/vsqxSOwQF0rYYtmENnG5tTQ0qBNIOyL7KqITdHCoeoWpgIWJIcpoMKkRTI4hkJDVXEkjaMZBpqAN/NlYunRTR7hiConlijeI+XjVZEwu04YniiKbewLSE60SBZpfh6a99AqZzC8IYHnKzuG1ImyZokgeoEWOHiiHou6OHYZTwa4okfUTtHnf4mgeZuMFhJk64T9Z+rzlylcIZCL/7BJlB5j1F4nikdo/SckmRWV+hCVa5KtqWFoIiaU4uuCs1U9Pb18nbT/DCMNSQQa2f0QLXOVtFhH79xTRg5LeB5C2BWgqkAN41Nwz5F4O2ijJkH1EtnSGnRk4y6GkyOkLJDoDsbCZxVDwTv+CNdMFcsikGpANIUqhpap3l+iEhO7ilyczUguETpG9ZoCMSKR8KxFIPaI3e+SKVTwRa1nzSj1VHLygVLwiMFFNH44RRV31IIhcWkd3ZnBKZ0h6nxC0N7EKazjx6kCxHl+W3FwbEncxD6x8HjGbfT8Ev7xD9Azy2TnrjHc+SZ6aR1HIE97P8Qtz5I6Ymx4jCGDNddVSSYZZshQ2BDLiJXFCKcDutRYIT74Knq5AYV30JJd4ngGXQBHuWXGp3+Ja66RVK7j7f1/uOUbRKmn/NLxeFclEeRdGoye4MiQO13EjNvAgOjoBXFOVzCp/u4JtfXzRNd+kn/2a7/Bb//JbX71nTqJ4XPcljSHXOoTFmuz/ODeCfaky0f/5yVlYHn/r58qOnGxVsZxTbqtNo5pYUkhVDNoHu1TzleYeD7V+ZqyjAz7HuW5Bo5tcbh7xPxChbmVBj/8xj2+9p0Oq6sJl67Mc+9Rj2vnF7l155hOp89/+Y+vcbB1RLUyR/t0wCQYsbTWkK8bmg07WzuU8lnqCzOKnt/rDSiWc+zt7iky/tzCEqNei85gwsb5cyrK+fDj91lYEXXcgurZF4pC4rdUdP7yjWuqEnD/g9uEQUh1pkGu7NI77XH50hVOeh2ePXykuub1WoNUF6p7yub9T7nxyjW2XjwmXy6xcWGdKIg5efacyVighE1s26I626BSzSh9nEB5S+WSior3OiP17ykXyspbP7PQIF8uc3pwwtLKPHdufYJj51lcW1QxckkJLKwu8OjTJzhuhnMX12kdH5PEMZ2jIwq1VZzcgLk5k9/+6h7/6x9XeO26RyH1ePPiMlsHx2x1Y2a0DM+PAy4uZTHTlMZ6kTsfS4XA4N0ti9/4mQz/2VcW+OjuEYe7h3zuK5+nt9fkYGePc1cFSmrwfHOLrG1jWOI896jU69gZk+2nz1lYWlRWglbrmH57xJVrF5mMYnaePVaVgbm1BR59/FhR+F/5zBt8/PFHzNYbOEWL7slARbf7/UCkFWysr1Kog5O6vHdrn9//f7c5t2FRcLJ0uj3OX2zw6EnK+7dP+a3/eoOrGzaDI4GdFhiOBvSHMXYG2u1T6rOLZE2LSZzQPtxFty3OXThP86DJcNRXNa1Ko8jM/BL/P0tvHiRJet7nPXln1l1dVX2fM9Nz7ly7C+xisVwQBEwSJCARFGVbAh2iGOFDJkNWyArZIdlh2uGgpRAlO2grbFO0KZESScmmeYAkCBAAcXDv2dnZmdm5r56+qrvrPvNOx/s1/wUQu43uqszve9/f73n2Hz1ndm2J0XRELp9n79lzFpcWefLwMbXZBp1OR1lbxMzgFXOUClVlPdp/vqsSQfWlebI4VVDAhfUVFmdnuHvrEWckMWJC/+iIYW9ArjpDSbQaoIwVnd193LLH7naf6rzLpfMX1e9h5+AIWzNZWFgkHT8gMmY48zfvUG6U+MkfqNDvReztDFhasKlXK9x82uGDm32+9et/jas/+R/Tvf99cgmMRwP0yMeePa+G3GlPzhtlgt4H2PWX1ftQlxqcpRNY68qMZXVuEwtLx/YUZDaebKNbjqoxmBSP4dTk0fSAaHSILWczZ42JdL3zJRxnnejoHSyZrNYX8I/2cRZfUBvyTJ7VsqCRHGU6Vhtkb+WqAv9JT94wPLL+TcJEJ29VCQtVpVTOxj2sWgnsBXIqweyQyPNuKLDxOk4yxJz2mega3uInVB3BkmRbXGA6uIc9dwV2v0VqLWOVaiSjIzT1LuuQBIHiWqV6iDbqoVXPkMVdon4Pd/EsydafwPxnwRIz1T11z8jcBpY2Ihw+ws5KBG5RDZpTp0gatsiGh6oKJ1p307DVcMWpnlMp4nB0G9PNo0nS0GgQenVc0ef5+xi+sA/yhGYerzpH1H1G2m6il+oKpmhEffz+Y3LFNWK7SjR4hskEQ6xNYoOKR0qzm4075J0qY2E02BVsp6J05mGskyvMKm2wLl8UPSESQHHQxnY2lXJRr5fQzTlC4QDMvYodoxz3ltcgkpprbpOg+wgtG2N5M4rLZbQek86fJ5lZgZ17aN0PSGZOAiXM/CKaLMFMgf75OGZFnSWi6S6mtaAWa7KkCAZ31fnKmj9LLDDGw5sYlXMK4ChpmlSqwjjomiTmfPyDjzAbV9DyG6T+sQ5Y6qECL9QUC0kgwaJDq5GoWuFDNCHzH+6jBQeYjav4BzfUdl5buKqqm8mzb5EWquTLq0wefRetcRZv/hL+4X1lc5M7ZRC1sUolkOpIKv8eqQe4GHK2k0HJpE9qm0qJaEmlpf0R9njCNDMoVIuEWlUpB22/Rdh9hpVbQuu8948ycRS7EivVvGN1wuwZ4vZjBTMgOiIxbQVrM8ZbGFXpp76Lm1tVDmXNkkPwEtrkkEwOy5MISmW0nIYWFog6x5cUvXSWoPcIM/OPNyByaZUEc9wimISYnoleu6j0U66Qr62iOsAJIVTgbZkMDw7eJ5HuipnD33sXb+6CgvkJiE0XGnjwXGmLxqmF5zeVG9SUGoCQFe06Vk7isBFh/2PspVdJ/A6pH2BJEsGYV50/GS7E0z6pv4ebF+e5/IJHMI3Vlkd6GPZkQCR2Adk+WmV8SRskPraALASSFncJ/SE2oQK8JTKFMVKmBx/g5pexi3nCQFe+7EyADYXzmJM+44OvoTfEFX8aLdxFG3eJZHOolXGFii0R2zBVvXzNEGWXxbR5D821MUonlcs0mbRx5HdaOI+ba6hpovQbvcIK+s53GEx3KF7+r9QBWRygCaLZKagvajDYJhzfpLD0JYLJc7SpQKU2iPffJIxDrPyKgnXpwgqQBEC+SOacIBMAhwDI8mcIdBsnE7+0dIFnsGW4Ewn0bQdLusH2Ihji13msYs5ZfhbNDEj2bkH1nHppaDLpylWwZbAiHahiA224SyZ0cFc2yiOl+dCQS+OELJjiFWqE+Q0MIyIy6miTHYzWU6K4iTF7CS0pEI9voedX1O81qy4r6JUtmksrr7yz/mhCvlxjGo+Jt76nokSmJmkXW6UVpJaiBV2CUh1bUi4Csokz4nSILdu3wupxBNvvYJZFN9PBTPoq7mPhEBVOk2kHJN09ctVLBBIZUh5uHc+MCcQcsPfusXZk6UeUSiQMRzjCtAhjHNFoTppQENZEhrb3NtrsGXRjgXgqMe8h4WCXQuUCU/HPJlM1BBFYSabXSCbPVKxfEjbSl3LnzhP4EwzRiA32sXQdP18B8dnmGmiiP8y56KFO6tSx8xW0zgfEOCryJlG7WGA0SUDcu4NjSmSxixH3cOc+x1gSGgJMLJ5TkBNN4uveItreB2T5GfTyGQV9kb+39LmEQ6LLtng6xJ6VYaOOFgrcr0ZwcE9VWoSkLEo5fXiLTCJTmqW2aPrkgNDwcLwa4WhX5A7oWYZruMpbLrwGw6iRRTvE+hyOQEmnspktM50+J+sdKS+tU1gkkC1msI0tvXDVZ49IjXmswZaKMtqVZdL+EaH04Sbbin1gLL1GbGWkd34Pd/kioXtawfyERyHDNeEBGdMjsvqn0Y6+S1g4ozYzZv8JYV626xVZBytomyUMFG2KVrlCJN5WeeR7C6SHH5BY0lXP48iIaXiEUSip+F8S9HCnPRJJU0lKRlITxTV8s6a0RbI5MayJItDG0rvzRJcjQwkZJFZUrDLWLczCGfToJklUJJPPo7+jNg4Cd00ab2CmIVb/fcZZhYL0AuU7GKWk5XlyWpnp3nXi2ia2Uz6+3Bcqx3DP4KkiM8vgUZsMCOUiK3WV0Rap4WEnwpCNMKsnlOUj7DWx3IjMamC5KySi1xzfIfNd9fdICiexxOQxbZEGAbq4gOXvKLo7sb7EPXRJRBhF0t6HaH2h51cwRX8jtgPpwgcdtKCjuCx2YVHVIuSZbIzvEUcCBnXRkzG61SfSGugCSBJw5KSD6S6jV+rER0JDlqRYFau8qQ5zkjQjCdUB2tJtgvynSI5+71jxWVzF2v8eYWqheVUFNRQjgAB6NOFppGOiIMYQ/kEcoG19F+Yvq3eo//S3sWufw5w9z/ToBpY2QK+chcGuigyK4SIODtXfTRfvcRSiu6JR2iOzQlKpZgybOOUTTAdjtGwfPVfEkDpS+Zxi6gjbQuCLeuchel5AfTX1OQ1jUSoWccK20mel4wPMsA+uLfVDnEIOumJq2Fdd0vIX/1v+wVd+nn/8767x5ZdmeHLY4cRCCV/O7HHCXKPM732/zwtrGn/0j9YZTRK29xPypRLt3WeYZp5c3lDcHyEjO6UZpVgMpzHFfJmbNz/i1U+9xGgs+mGNKPIVvyUVgvzCMs8fNbn7aMwnroqLvMR7799HM3LkrJRCweDkap16w2U4ChkNOgz6IfNz8r2weHT3EfOLc6xtbPLdb32Ty5cvsX9wqFJqhiTDHV1tXa9/cI/NF9Y5f+kiD+/cI5uETDKfSqXBzrMnuK5DqVxVz9hio0b/oI0vlSZJCFQLrJ89p+K2RpzxwfvXWVheUNwhScaIPlQqOr6wD/yUmaUKMov3g4S9/Tbf/uY+1arFSy/Os793RKGQo5z3KJQy6nMNnjx6rnRyc4t1trb2WRJmwvMtNUwpNqp091sKZCfDTGH8yLa/WMzjB2PCSUB1dp7pZKoGOkF/ih+IGcegcyAu7wlvvHyZ20+fcvW/7HNhCV5e9ikYc7SmCZXCmFa3ytdu73HjX3yFG+/c5lfeusvlEw06z6fML1l8726X/+bHG3z2szWuXW9y6vQptVB6+9vXWN9cV0yEJ493WFqb58HHdynkc1y4eJG9/QMG/RaN+hw5SUTFoUoGDNo9bNdibmlJXXSHg5H6+cfTPtXaHLbtUmlUeXT3HnOz84rF4IcSTz+GJeYdm/Zhn8uvbJCkef63X72hhmgvXVzkzetdfvxVl3bc45/+2oTlpZwifv/S372Kpk3otHxKjSpBf8zO8zYRAbWFZR7ff8iLl88rI0+71ca2PXx/xPKpU3iWzc2PruFKDQ5YWFpUuj4ZwBtWprgPc7MLatEjhodU+s5eToG25YwhEMzF9WW2Hz0lXyhRrFc53Nnj1JmTtLptZUs53GuytDTH80dbrJ8+qZSiAgp07SKJFjM3O0saTOn5gUr/kE4Yp6Irjzlx9jRPH93mtR++yK0HbV75Ww959YJUfcZ0/YTLyx7bw5BaxeLR1oiP9xJau98kV/TY+7f/HeWr/x62XiAQYnvnDs6ZnyUNtrDtRbT+EyJJfokWOBVt8h7GzCLh0Q5WeUVVQEPReYplbPYMRqSpJQVHH2B7DqEmfCBJ4Kwpcrqfhdh6gpW5DCb3cHJnQM48O2+TejVyy+cIem0Mv008bsLiq9gCdU7HJBVJf+2Tte+RRj5Gbpa0JKBZHUfUut0b+Du3sM//GH7zQ6xE3v+rJGHveJMq1cl0ghbHxJmh9H+GPCuFDTNz6t66HZ0AACAASURBVFhRPnue7OG3sWoLxLLZ7++glZaUbUcWjqI6zLrPMKyURBOd+CJ+KqDEMkm4oxTT4c4tyisviXuNcPxMAXA1TRKBN9RSUbSLcoZSaWDR0U2auCoG3ySRGmRhA2PcUkkXqemZUj2WJY5XJ9q/BlUBvq6SyD9nfJ+c7hDlV0glwaxqygZ2KrW2mHhwG91bJ8vNQtoj7R6gyRlM0oyZ0PQbpALgHQn82EJb+SzBs+8qFbwmQODhIZmpH2ty5flnGQRSQZnZULUxO+oo49aocx23uIkm966B8HYgG4/R6yfVUkwWzsmzf0dh8YuMp4+I2x9j1y+R2WtYrq/ed5mor6d7aMU1dHcRfdglmoiyryxgLZJ4RG7mE4STxyQj4S+ERGJqmP1BNRhP5f0zPSDNz6pFoNyLzKSMOXsBkymhQAZHB7i1F4iHD1QtKdEs0sET7JmLJEJEljqv3J9Kq4QHYtoqYeeWGd/5l9iVFZi5rN4taf+JYu/lkxa9OMCJDcy8LGlTTBlAiNVJgOChjyGsM1Gad9tqSZXV14/rNOMHCkKulzZJW9fITAezeoG086FaENtF0WkXiOTcFQ0kAfDfZ3qvryZPWe0ymhGT7b2l9Gp+OFZQNW/hEpPBLpZo+2bPk0qEV/6BsZD77eNurzdDgEcubDGOQgVg01dfQG9+qDRHZOKVPsAuSWRSkpqSfzSJ+3dwDGEIiB7rELt6VW2aZdqUr10i1GKm934Xr3iZ1LFVBy6pbqiIaLR3Vx0YhXJrSo/eqeKbM+QF7vDk22ii0pg7RyxUybCFYZYxgil60iTKn8NwHNzMIRQdxHhEpk3+wn2bEBVWsEUNJR7QwRaOdCljUXDIVtrDFN2Y7DFC6UcXcdxIKTtS6WXq0iWXZMRYPcjtQk39smPpVYsDXauhd9/Hrm4y9SVKJNOsbeIgxq2dVrFd2bpIbNysNIgEUjF/hWTcJPOPVORE2ACas6w2e9ItFwCE1d9mIgwDw1WOewKBL9pYtRfwW3cxCosU6qvKVyt9KoFEEexjyGG4vIieO4khG7SZJYxQYDOTYzWjqujrpOEBVnFBEVAVYEwu2skBSeqgNzbIJm20zkOy0oKCj8VywE/GmLYcPIdoeohROkFqCpX1JoZbxpRqwTAkvPc7OKdeInJOYWQS8W2pnrs8pBJvQ213hK8g7s2odwd75QfRD26oCFzauIo2EJ3JUxVRT9pvkk5HuCd/iqAn07pXMXvPSIwuYSLdMPm5E7WRjh0Ph5oC5skkXRVctQlaKtHy5BiCSJtg5vPqQmd076MtXiVt7YL/BNMoK1Ce5pTIkjFGlpE5OsbgCH/cIpn7JI5XVAyNZPdDjMW/iVa2iZ/+KSkTbDlSyuYvnKpLhDjWZfgkNoZoLOkGmYhXVVTXCp6B3yGcfU15RfXJM1U5Scbb2NUz6vujxQL1epEM4T300LWARD53pQZJHGDpHpEMVNq3jy8aWYBdmSMy6+jSMe/ewJCNu7dMlrXQii8SP/hV5er1Fr7IZHidNBqTL58hFW+6mipKFP0IIwiZuouIjU30V663ofqMei4mbT1Bi9po+UXSbIw29YllEh/JZ2JTmTx8sYGU5jH3P2DauUf+1JeYPv0mtlhH0kPi3lPFskjHKVq1oYwZ8dbX0PQEvfYGZrSlYutJJiCgIYZ3XinpMkkClE4pC0WukCOtfw7Df4JWvkQUj9AFKGMvoXNAtHcNc/mHyCQd1N/HmvmLvlfYwt/+FvaJn1AgO6kMZJqDYxrqJeaLxziWW6xcWh1Ms6FALorwL+pD4YkEj9CdRRJbTAbyHILUlb64xGbbRLF9XI3xB8SZaATFnnGJOAiJ29/DlJpFaY2kdRctX1NT6Ei8uoLEl/+tTJ9DgSzViSWiaM6rLYCmJUw6t9B1Vw0spf8l/3tNnkmpgZU2mXSfkqtsoss2QQ8UDyKdewndnCVpvacOKWFWVL152eSIfm688xZm/QJZINUdg6B8DjtMiCIBLJ4gTDy04D7EJbK0Cc4yFqIuigg9G23cIxVvdP8DzLkrSrM07d3D1BtY1kj9TeRiGjz7LQwczJkfwNKPGKUuhhyEaSnSsgCKxCZjaQU1OImGj9HzJ9WAT0UGhw+U8zf2LmAZwlCIie1l8H1sV5JMU5jIgWGbLLBUKs12IkKBMIvWp3gV8Q5mg2to7hLWwivKnJH4B2rQqNkN8DYIJSovwCTp+FbOHtdupkcYs6eIPvo/MBZex178PPHwY0yk9rSnor+i1JPvRTx4iq17JK7AKQdYoRy3MrRQmDwy0Spjimh1cIdM0i75BpoWE0oksSCVEA/j4E0CbwVNhrX0SWTTUDyDlj+JNryBXjmnflf64B6GwDclJSKfFaemAFZh0MfTxkobJOklKx0RBiMsZw1NqnTyHtVNfGLMNAXp844jlc4wNy6R9ocUTy5x773rvPDG3+NLL5fYnKmw1e/SCxJmPJeSbfH/vXek3qW3/+kiTqnGvVt9inkBoFnHKkXdZDIa0JitK51eq9sh73l4To760iw7j7cIwoTuyOeTr76gtt5WGrN2+RT//H/9NvE44yf+g3P83u/dZa9jcOlUkYPdCfNz8FNfvkqsT3j/zx5z8uwClbmGuhCLas9wTTzHY3drFztncmJtg9Ek4OjwADefw3FcVldXufnhTcrFAlrBJhnFCqjUOujw4stXeevN9zh9+oTq1HuWztbjJ3g5qYNotNstFpbncC2HSZKw/WgbW9cV1Gt5qU5JwiP1MvvPhzy6v41X1KkU5mkeNukNdIJRiuWaVOc9/HFINh3y+mub1Bp1bnz0Mf3BkNUVOUgHjCcTqpWSckObhmzQJ+QLBdZPnOatP/8OngwDCjUSPWA8nLKytq620E/u3sHzCuwe7bK+sqqYFo6T8eBxixN1l9VLC7z95zt85hc7nC74fP6Ta5yeq/KnN8RKNODM+hL/8zd3+c2fPs1P/cYv8Ws//Xf4X/7gOS+eK+IHMRsbDt+9NuInNkP+7n++zpOdgloKBAPRm1nUFmbZ3t6hVqszvzzLwZM9DjsdquUSze1d9Zlw8h4He/t4uWPjwaXXXuHa998ki2OiMKBYKCqQpfw9w/GUqWgpcy7N7QM21tbZaTVZWVklGgUUZysc7XdptzpUpCYwM0M1F7DdTPnjbzzmKJGLXY3VaszToy5ffHWNd6/3+PaNNj/zpQJfeGNdddivX9umXi5RaxTxSh4P7z9hYWmB6XDIxJ8yN79Eq3XM8ijWKozls7Bxgk7rEJKMbqfL5rlNHty+T6VaQ7MzOvstNk6IySBk3O8pa8BgMKBWnyVfLXG0tcPd29u8/vmruLkC77/5vhqAFGZyil2RTEPFEjAl/u2I7crGHwmHy6S132ZhdZFidY5b731IteYytzxP8/khZk5HGHde3mb1pRV+41/f4j/95X0+dW6Giq1xar3Mk6MhB52IU4tLPHjymIbn82/f+yOSu5JA1GDxEtx7k0n3Tcqrb9AfZri1PPHeu5jVT2AUasRBQCr1TNsgMOePOVDDFrp8X6TmOnOBJBthiBnLKZBoAzKthO64ZHENoidKtxyJhm+qkdpilZLeeyKTDCLG2ImnBtWasHr6N7CteaJCHcSH7hTUu0GqhWl+BVP68JJCEGK/I0aoOub4OWlN7DgR4bOvqfqxaRdJx+1jHe7gIZZVI3I1spEAfcXceqwfzASgufgG8c6fgUpMzqn6arD3HmZxAaMs7BhL0fz1dIJdEBCvhTZ4hFZ5kax7VzDKWHFA4BTAqWBbC8TmGMTSJNHzTNgJCXpRkgUDqJ/DHO8Tyhm9fAJjvE3Y3cGS97nYzAbbmFamhkiUljG9eYy9awRpiNe4pLSLMiCTWqvcX6zikjpTkU4Vs4nUxKidVxpa4U4Jj0lxZYS5I9tv28Ga9o7BsAKOztXx7HlScYxnPnFwQJZ55GonCQ5ukuZmceTeIxaBvljkZElhoA2fQ/kcYRripDlwZUFbJxo/ZXLv/6L40s8rU5JxeA8/7WIsfF6lEJPeLfWenMh7URYKiUtqSO/jkGh8SE5Mc94yllUl7txQ1U9XlrWlE0TFBbKjbaWvtRqnZYuknifasEVil7CKNbKpjzZ5RppOMMW6FfbV2ftYAyyzfxPLktj+8Fi5bFVJtr+tLuXa7DKIkUlAgk/+mOLmF8hGIeO0iyVAQfLYtqN+J9HortKJJzIkSg7IrFkonVV3iXhs4BhNtNg6Zu0FY7LFV1VSQ88C4tQjGT7Bqa0T9x6SVa/gWHXi3W/gZ2Ny9av4UxkAvP2LmTh8BfAj8CZHKubjXabWstrw6qo7KNF1l+zoLt6Jz6lJVzS4jS3RW/miCyHZnT92FB99j3TpL2GnPbL+FjTkB/aZaiOcSCcT+qfQ862cil0z3SPK1XEF/iYe0SggNgTBIZTTidr2j9v31SUjV1pluvs2aWUZp3SB+Pl3sXMFQgEbaQKwMkiNker4yMZdqQblEhkmZKn8Am0FFZNLUiKbeKE4lk/hD+SL1MM2xG2/RDR5phyM4nxOx32y1ttEpU0VaZEeSSaxcemAaKJO7KJPhXDZVDRn5Zc/egejMKcOwLrnYMh0cHqIKdvn4ICYHIZlE+x9E2/xRwnFkaolWLXLKi4WCsRPYFSTNqFRwBa4m9WA0QOQLfJkj8wR5ZJAUlK0NGEqmhE7h5eTqWGBRKoLvftkgzuKJB1qfbTKZ6C/TdK5hlfaYCzecQm3SGzEXEDKirpUHMQtPXiI5hSULUF+t7atK9Kw7jaIggNlPmBiELbvkLTvUrr0cwILJZvuoOfniGWDJPGt4jzxzsdoaRNr5cdVFUSIr1bpBaWStLotusEDnKCPUb6gtHMJMu1eVaqpRHgU8iLLVdWXOnNcpu02+VKBVLyYkioRPYnUPsQ3n3k4MgWV4YNeBvnsVlcJOzcUEMvJr6ru1OTwQ/L1JRJrHr2/rzZXVq5AMJriCXhj8hiMHFH5Es7wqTJeRJZBuv2nGI3L6OksSfocy6sQ2gs4kleRh7E+ILPXIRVzRoAR9EjdGaWRY7hDMhyRuRlWfgGzsEwi/ajKC0RpD2faIasuCA9NHUKDzFcddXHAp54AZe5B5IHAo9qP0LUe7vqXiXoPSIwydpYppZc9eaIoqWbtgrqIjrZ+H0/sGPkloie/ibX4Jcz8LOnhhwpMIp00Ux4YdgTtO2ili0TDJnos2+1ZwkH7GFiViOv8hIL4qChV56ZSrhijDvbqF0R9QDjZRy+ewejeZCoXjaiNsfw6eusZ0fgJ7saPHdP/Rz1ioepnHQWmM/SEuL2NVjxFMrqBmc3D0kkV06T5WDnjDUcsBSOsXIV4uIVWWMAW17DEvoSwP3eZZLqD5scqDSEbS12m8WlFHfhtf5fE3IDKEtrBV0kaP4QZDkh794+7Z9WT0H6knhPG6hcx2ncJpP4Qt0kUCV6GbjOqd68lEwXhiVLxsx8pQKFMyhXYcCLDrkRtj+WZpgjC0Q6R9LpTUQteIMw66oEvzBUzFjJt/Xh7LRfk8SGR5SkgqtL5VU6RHt4hcVZVoia15ZAbqwtvLPDM6Q5JKpTZc9C/R2wuk6XPVdRPGClKe+kPFWFZLnxEPqHfwSrW0bIc2vBDtJnXVbLE335HRRhl4yS/e9EaRY9/H6P2AqaVJ5YagrAzjADTkW56gZQCVvSIdLJH7G2qw6bf/GN0vYZev4oW90lNG3M4VAuCzFlRMNTMH2NWNkjbN9Xn1iuuEHaFHSGx/Dzm4BapPotesBW0R2OJKJug+Qc4+SpRrCvokRg10MYwPsCYETWiTO5jtEAIykdQfOlYffnoDwjE4VteVlBELeihFWaV4SaSbmPQVLwXY/ZH0Py3iJMCtruKoQlAqaDSYtr4Pmn90woCpElM0q2hVzcwDr9HrGukuUuYEgsUKK6WqouY5zSU69k3ymhBW1UnnOKmSjmFvR0cASCVNjADSTOMSeZeUmRnGZBYyz9M0nkLGq+qmKLUPlSkNRxBfkY9L6WeJ5fL2JS6yUAdKBN5D07aZInoDMtKm2tKvS7WlUVC2CdCO7bzc6SyOTAE/jrG1E1w5kmjXRxnVnFtNLdMMtlRg0ptPIC8MG/k+RorQn4mA/ShDkWPwpkNND9PY/GnWFlzeWWlzLP2gI3VCq3WmGyUcm+Q0B3oPP71DWUduHetR33OVW7lr3/tY37sR1+i3QswrIjeYZ9quaDqGZPBiBOnNtjZ28cR9WfiUygUONiW+lWBxrynYGz/8tcf8MLZKpWqTs83ePpswupSyNpqhaWZOloa0Z+MePKww+pKhVJVUnqShklpbh9SrTUoV8vkci4fvHNNdc1PnFhTYLZ2t8+JjTWuX7vB0vKsosFPhkNWNk6y/ewJJa8oqwmWN9Y4fP5cXUIltVCqz5BzTA53dqmvLtPd7+LN5Gk1D9nYWCBXKTAYjLl1fYtHz0OW5wpsPe3RWGjQPNzn3MVFHt3v8IlPrLLzaI9GxWTpxAx+lFEtzPDW+9dZXVlgvlZnNBlQqZTp9QY09w9xTJN8pcSZC+e5/eabTBI4eX6TUbdNtT5Lc3dXcQ3m1hf48J1rRKOYXMFhYXWZo+fbCqq43xqRMeaNH7vAb/+r5/ytf33AJ1fzbJ4ucOPdQ/YMl8uVAC9f5/sf7fLll8v88h//EwV4/ds/8l/zrfsRX/5LJ7j+/h6ffWGGrz4YcWVe4+9/WaczLFKZqzDoD+i3ugqOduXVy3R7I/a3t8k5LnbOprmzJ4gPltaWScKM1tGB+jt1j45YOn0SBORqm4SjAM/LcXC4jSkavXaHU2dOs7+zz9rGIn4Y0Tw8Ussf6c3nGqI3DVWFcWFplYnwCvpDzl46zbODbT66FvNn7+0w1PLUc2N+4JU6azMV/t+3m4x7BdarI77yV+dwiw0Ot/fUZ9IrFLl54zEnT68zVrUli+l4iFvwVI5E6iSmip7bWAUbz5LqRgfDM5mOJrT2D7n00mWOmof4kVRMzrD95DndwxZzSwsKBjgJpoSDAeXqLM3mFuNJyMUXL3P7xg1q1Trz64vcufWQl166yPb2Lo/vP2F9fY0omuJ5DpPJlEyYSFpKrlBRQy95TuULwo8o8+jRMdDTZcrLn1nh7//Kc/7Z13y+dCaiE+SPFyKCVXYdTm6e5t/8zjV+/Z/8MD/69/4Rw9/9JYxcHd0V4OEsMYdYzguER+9jFKsKuKpPpwr6586dwG9vq1SbXZijf3RNkejFLiZJ4XTcIYm6WLULgpqH6TNVI5PUXCz3FXMWrTKjTFxRJnXOoWKM6d6c0gMGoz2obsJ4iN99V9W6bNHXZVNls8iCCN3Lq8slcUsNDiT5F8m2vCKJr5Tg8C3K5/9DgtRCP3qbTCqkliz2ukR2WcG4JcKSdPbQV17EHHcYP/8qrjdD5M3jSWpAkoX9Z1jVNeLec8W0SSTd5DRIkiNVhUuGz9VAP19bYdJ5hh4lpHamzFd+8y6aGeHWLxOGGmbJJe5sK/OYHWukFYGIt4kFhtzZPj5/FNaVblE3QjTNILVEAR1gxWP8wSFmQYDnMbmZU4T9h0pjbXtXCaYfqwGxJErFwiEgYC21SfvPMWdOK6BuevB1TOnlV88TDwV6Zyogs+kVVJVN6lkqvT16jOEu4AtTQaC89U8SBS00gY7bOTXgkBqvwNpNqTwX19Sd0rQcktZ99PKsWnBm/Sbj8TY5qTIOnqnaQ+zJIB0sWxK9Xeg+VMwAqTuaTgO/fxe70CDtt48T2laRkYD2ROM42cep1Bjvb2EJ3LN2FjN4pnTW2biNUTiplmuufO6Cj4lDh2zmE+p9bAnDyjgF6ZEC+TrkiYtVdAEwylBcLu6SPjdyGEZAuHND1RZMMRDk5olkwGA5RKFUcvMEnY/Bq+DmlhhP2nhzVwib72JKIgUXfXpHDVSM6qZi4FmZoeodwkmSAX8iizBJKbib6NFjjMhUSWZn6WUySTB0mmTlGrawvpIZoril6q7a4M//pyxzLHWwTactzFGHUKBoXoFMopXyf0YuVZMO01DDqCwQt5+iFyWea5OWKhhmjqR7QGRK12wFb2aTeCJKI/G7L+PGTwmNeUVITMd7aCI77TWJcyVM6U1aBSl7KEiFXtvEv/dVtdFMZzaUQktUYubsJn7/DsZUPkT7RPkK7urrJM+vKVidaPKEjCzTwGSckuU89XIWUrY5PSSJjGOomxxuk1iBrdLAUATn0FrArW6SCChQoFWTIY5TU2TtNHqKRY7QlTrDAW79tIK9GMMj1c3Xxz5BXy4sjlI/yUHejPqk4iKVBMVkqLrv0j8yiw2S0Ui5r8UJH4wekzcDfOnt6yWYRqTpDpa1TCJbZbl8Dz9GK68w2b6Jp/fIGm+I4I9s1CFxaliFBRVHSwSS4lZg/FgR+GWzrbzcyVilq7XGJkZHtuATCC2MfENRnFMrrzQvcoGSqZct8JyjB5Bbw5F4+bhJIF16/zn6zEVAeswt5V3XC3WyzjOi4iLFwgnG4RGmkUd3ykTdB2jREVrjk+o/Uxdqq4weJyTiAy1uEkqsJeqoQ7hj1JhMnyuwoB6MVOQoEq2UUUHb+kPMcz9L2NpBG15DP/UVktZ3MAQiY0raoqy2ubbEwLuPlPIjSLpYVk51Y0RVkp95hTS/TjC6h60L1OyQdCrmAhtbdFoCW0uTY76CUcDvbmMIxV82vMMpjjYmMWXru4DmQOLv4uVOMTl6H2fmkqKZagruV8ca7RMW5rDNHFrrI5KCSTrUMBc+Dd13SSY9srlPYXS3SMJHaKVzxJ33cL0z6KUTjHa+g46PVT+niONZsKPow5a7xiQ6vjhKVF7iXLZdA6eKXakSNK8pNRDVK4TP/pBc7RyZcBPGAkSL8N0a1ihBE51jZREttmXipqayhic3M+uY3B89YToN8QRwJr5zuWTrZbR0oJSLif8Up3JFTT1l4y3KNeE10N0hkYdssXhMQvVHpIfvY65+AUv4AXJRiS0VI9NMmCY2OXmIS0Km+TFZdoBZOE+SOwZJRe33MEXzmUyOw7dOUUHeEhLSoztKuZZWF5Tr2hgOlEkiqCyTG49V4kdF4uwZpOJkmfLvlNhaWXCTpKNjZkDY/PZfeG4XsdeuSHKb8PEfwonXsWSLn7nEo4/IZDJb3CSQAZc8U6T6wFjBU1NZFdvys0mVyCSVQaJcKDwLW2LBk0c4ckiQgZJ89pJEbRsUvPDgHYzyKRLpvk/kYisEZpt4sg+FNdL+DUWl1X3pmNaI5UXc+ZCssoae5tFCiYBpmIU5EjvFf/QnajjhrHyRLD6StTeGMSKOc+r3K2kpPZH/LCAtLqMlkaqHSLgvFIiSMK51AYJUSOJn6FkJJ91hFNjYM/OQldDCIenOHxKu/0dKZ6NRIUmnxPJCynnY+WWlEtXjjrJeiD85k8+FDOWGkiCI1UZNqRHlbyuuX3+XWCsqm4UumqVMfp0CCywrcKA12cKvy8HqQIFUA6kRhkX1nDDyVXS/Tzq9R5i/iGHnlAmFrE2i19W7LB3tox2+S7b0MrZ9iul4G611m6y4gOtWVCQxSSoSqFL8k0BqL7EovTrqcCARPnEiG5God+aU9jM5vK8OuZmYWmSQ6p4ljHfRhvuqfpBK5cUfKZVlqsv3VCeR/659A1/zsGqvkHMKRMKImPTRCydUJS7R5Fito/sdpZPNcgvHoNK0hJZbITMboB0qxaglkfLSC8SDa5gSCfWPsC2T2F5VdoZMNG0LFwjkuyvVKcvCTCKmwUD5li1PyNS+Gv7ovgAhn6r6llY9SzbaVcMpVW3q72KUlxX93Kk00GVzLGaT1gPcyqcJ9SmuF+NeWOTFjZ/hqDXi8y+W0U2HrX0fW8tYm3f43oOEezsTxn98Ur7FPP1oSnV+hv5gRLFYULH/0SBgNIxozNfY2XqMJUApGQSax4578anLV65YcNhvtnh6b58f+itXePNbTxQwM84yHj2eoOcTzqzOEI4nvPLqCU5cXuXWN27R6g/ZvHSS/Z1t1lfXeb69gz+eUqsU2NvdZ6YxS5j4rK6cYXf7MaZuMByNWF1fI1C0b43RuINpu2iJRhSPKc8uCPGH+x/dZ+PcScW0+fjDj8g5DqVaFduxVfxfl1SZ1CbjmCsvn1Re67e/u8uDu4dMEoOnT/usr9bIFzXWFqsE4YBpZPL2W01eOOOxebqsttWlXI61VYF4Tnl4v8n8Up0Tp0+yvyfQKJPQT+m0D/nED7xOs3nIdNLH0g3ufPiATM/43I9+RnEJ2gddLM9U72i3ZHO0s8PiyjJxGlOtL/Lw1l00K+TipTUKc2V+8Zfu8Mt/MuD86SIXnDFv7SSUcyYvN3Ic2Skf3WjzX/zkOn/jF/4q3T94n9LVMzy82+Vv/8M/YH1VV572+aLN/3N7xOdXdP75L5zn1o0dxS7o9jPmF+vsN6VWk9DtDPBcB6+UY2PzFFmW4ro5NSi4ff0Ga+snGA3k2a4rWOlRp6U27rMLC9z58A6GHnL+ysuqV/70wUNmxA4xHqqhwMLyDNfe+4BzZy+ipSHbR4fUCg363S7P9w7J23kZZ/PaZ68y2Woyv57jm3+4x69+fUK5kVIvhPzcl1d550GXf/ybE86tavzCf7bCfF1j6/ERb78z5OqZOhsXVzkURoPjcrjfYnVxnmkU8uDBY1ZXZ2k3D1nZOIXh2Bzs7VGfncVXdgkDU/dUcmMs8F1DxzZMOq0W7W5PQRm9fJ5Bu6MUh9PxmKf3tlnZXFUpAaFs7D7bo1Iv0jpoqyqtpFnGkzFHBwc05huMp76qnCwtrdJrH1BoSI12Sn8yRQvkeVdk3OnRWKuzfsah3xvxuZ/fop+4nJ71makVmQ4CKnMzDPd87jZ7HEwjDu79hhrmdt/5FcwF2TS20IcBaSoLN1E8zikmSypsGwYEozGFuU8Sp20FnMsii7h6BlsGotlInXckIi7AP82V8OUSxgAAIABJREFUVFuOqHX9OOklG/HqRTCFqN9V333HreF3RAN+jqD/UOm2s5nzpM1v4uXXiWTL7u/DuIcnpHoh5ctFe/gxVu0caW6VdNpFl261aavPV9p9qjbn7tl/n2DvQ7LhE9z1LxALhT+O0UdNNQwOJzt4ToVpYuCVMhjrKh2pxboC0gqAXw1OS9JP76lBvKLWS4JKX4Rgl0SL1Ds6CfZJszbo8yqFo+ell94l7H6MKZt9UZAXqqrOlqYuljeL7+9iTnrqHCnqaLnPaFGKUTpNMLyDZlUwKChqf9h7ov4/TrofUzn1BYKoDJI4mF/BlGdIZuJqDqFwzcQQJHe/7mO13NQpMu3fV2wR167IMRDLc4n7wgWaU0tAbXCX1J3FsCX13SUZPCVs38dd+GESMc2N99Gc4yGwEySEhkPmt3BsjyCZkki1w8odc8XkX3TwDsgmv/IZrMo8/sFtTDlnCPOneAbSkarohsLNCiMMOyGQpY2ka9OJqg3a+QWS3iNF4h9rMXp/C3ftC8SH1xXLTlmn3Bx65RSILUpqoFIvG4r56hK5Yl0lYP1oAv3HGLUNzFyVLLKPTRZJTymadTFG+F3s2ReYHj3E0Syi2grhwfuY8vPa5zHLZZLmd1RaMLEXsKdNfM3EjMdoYlvKpF45xFx6Q0G7TWcRy5ggonIZztB8j9ip/IVCuaiGeUjNxZTa3lRAaEwPb+Fu/CCMnigDHDIUiSKcnJiW9kQD+A8yuTzmavNM29tKQ2brGdaoA4USqVIxmEofkQVPMLxTpEEOu5odd/cFLiQgqdjCtD1iPSUaDLDHd0hPfoVs+6uK1CiXCz3cJ+nvYs69RDI6UBNX3VvGKMrExAbp0udPk8XbRJ0tCtWrBEaKNtxCd5bktYsm6irZoKcCi5NVqafI8fF0hB52iMsbCq7ndx5SmDmj0gT+s+/hzb54HM1VG/KQaNrBClrq8DdV/+wBWjTBCAb40Ri78TpZKF8ej6QwhyZ95nColBDys2rpIWnxlPJYy5fIzC/hH/45cec+3qm/jGbkCacRViJaJpkOyqQrIRZac/AILdCwa+eIxvvoThHLnmXSuqUOcCL7onEOpj5pGmEUT6pOqzIOyKbPc0kFWiVgreqcipy4dPB7HaifxSyvQuveMSSicUHxGRKhXXbuoZVX1YVC4kNCKxdNSzp6ir3wBv7wAEsIlJV5NCHMm0IYFcNAh3jaw6hcJj26gZHz1JTMsOqkclGzMvTeQ2wrj5+vYyYTGeWiywDJMpSLWC5NmcS7JBJlLxHb4TG5fOYKWfsWhugfRV0SRAT+LnphVQGM/FDOfcLb9ojDXTIzj60XSdKAyDZUjMfQHOLWE0X8l0uikPmF7i0XQD3pEQa+8srH9jyFaZOp1UAvLpEdvKVUWGpTqvl4C59jmjZJDj7ErL2mfl5DlF6Pvoa2+jIaJRL5mUX/ZWnowmrwt4/d6xKdCTVsUaZF22gS45XSZuop6FoS76Ed3cOYeRktDNGifSbtmziVT8LMGYz+Y5K5kySdZ7jDbfzcPPHRB1gyYZWYRhaTCGVfhlrmDKYRqsm1AHGCcRdn/mXlt88OvodVvUKix6TdHfSiJDjmVc9YdIeF8lnGQYyeDVXkX3nDh0cE0jMqbGIK8bT1PlHlIq583oQk6hjK1iBDOqu6yZgAs/kRWeVlNNk0WjVsu0Jy8CZZ0ifWqrgrP0wil9fBU+LyJpY3D+GArHOLtHIOc3hAkgkKSPq95eNUzHhMnMtjJUOiUR+9tKY64llxGT1LSQ4/wGpcEawBqTZWPm6JHqfSvxdwzPafkZU3YeYiVixDpIwsSMhG95WxIxWziLjOxWVv5ZXFIEkOycUWgQxF0jLm/CeJdr8J0p0qX1S1GyvYOY7KCxhIDiGhoZy+ArBx44CkME/aEnWfrewaUSr2hD6eUyQsrWH0HhNbOpZUiiTuO72LNpaoeF39c+X5YciGeCCgtSKm9MZHu1i1i8TBRKnaUqH+ZgJ9WSVLjlRaK2faqmYTD4+w1CTcJZ08UvHvRPgs8vkTtkAk0/k8DNtoJdnuhsdk98Z5oTWhOQ7Z3vfVcygqLIkYlNiYUzUEAdplmYDk9khE1xPtkQ4kxpqRVF8kPXobr35CWU7ExhEKSV/ietK5M9po0i2NMyIjxMAj7QuEMYdbvKg8uNngAcbMK2TxMwVIskUXKryN8QBz9pNEI9F9STRbvO2H+Psf4pz868R00Q5uKEimRMYne9+jtPIjxGmHQJQ3pUUiv4cp3dHpNqRF9NpJomlfReMlzRAmpkorSORTgS1dS8GqkmkX2ykppgP2Inp1BX3rm+iyuTLX0P19NTDUSnNkSQ59eI/MyBML2FIGmpL2ka6jQDHbz3Ckf2/XSXpNHPlM9+6qyH5oSAWnrEwc8qySg2AkB8nxEVZxWQ2SNDdBiyU5sE2s1dAcA0OUe5FNmF9QKbdY+pmBbJBkQLWLrVnqwC9gKyHmh1Ln2f+u8t4nuUVFEbZyp1T3UmoM2Dm08Ug9M2SrJvU6uQiEkz3saEJSuUjeTJiM5bn1DENSOhL5lGSHNoM7VyfoDam+8ip/7Y2/zG//eYsvvVjEGERcOD/LhwcDmls9zpye5TsfD/nFvz7Hz/xknoffnzKU2GnOJN+osrfVZGV5kaOjNp32gM3Taxz1OgybPWpLFQqlKk8ePMSV7rrgV22TK69dZef+PW7cDrn1pEe5bLKw6Kot8uMHXdbmTV59RS70eXp7bZqHLV64fIa5tVluvvmBgp1KZ15YGDIxF5hcqZTnzr0nnDm9yWFrn9XVdZW42dvb48z5U9x4/0Pm5xepy2VOGDRRxkGrScERr3uMVyhg5ySNZ+LoDtev32JRlHboTKI+q+tLDNttDppjvvr9ibRLuPJCjafP+6ws5dhcNfng432S2KBW9+j38wrK+QNvLCgzw4lTpzncfcbNm4+5cuU8YexTLhd5dOch+YJDhku+lFdpxHsfP2R5aZWFtUUePfiY+TmJHCccdDoUSnm27j7hlc+8xtPHYrVImQ4icPKUK0UF9grjgKVqgWGi8c/+zSHfeKizNjdls2gzTGKqTpm5+RJ37u3y9UcB/8OPL/F3fvnnGG+1sd99F+uNF/ijX/0D/sa/2OOnv9DgoJPSFYL9KFb92t/9pbOM+pmKy7uexkuffZ3DJ/vcv32bxVPrlHJF4lAUwTpPt57jujbFYkl9byXe3zns4jk2w8GAQq5Af9ijWBQzww7z83Xqs4u0Wocc7hxy8twJCuUyt6/dYHF9hUKpRLc9UByGM2dXuPbOR9SX6liGiSdK0AxaO30FRV2ctbGtUCl0/+/fanJjO+ArXyjzO18/4PUXivSihMOWxYsni/yVn6oyPRzz5G4bp1rEsjTqlSI7O01uf9zh0585x/zSLKN+wOHOUwzT5ah1hGO7qh4iCQ61rZSxczHHwd4R5UqV3a0dFtYXGA6HDA47nHnxKjvPn6sh/PLyouoKS/dfAJmTbk8lVjbPnWP/4ED9DMvLK7SOmioBIRvEfEkGtzFbT54xt7KsAIs33nqfM5fPMB70MEzR6eVY2qjx7KMjrrxxkuZBk8v/yV0uXChxumLQ7QVkAtxJQlXl+f71PTZXUv7s7gOG134fu1BiuHuN0uyn6N/9fcyFK4ThGLdShHGAXjxJMPiQbNRXkFRf3q+TQ+xCXUHX5FIjOkp0SZmNEKxw5pXQfV8NTSKpsQpXZtpWdT+9dEqdC4KoQ07exWJzklj6zCpEAnKbQn//+NzgLmBYJcK/UN/qQmXPrR9zAmQT7jgKlCu39lz1AkHvpko6x1ZRxasNe05BDMOp2DF84rCPLmlKu0gkliBvE10gr8N75Jw6CQEMhQN0WmlUx/sf4AmTRthpholhOvj9J+jCL8BFk7Ts0hUF4RUbFY1ThNvXMOevyiyUYPf7pMVNjKwDuoEWJxiyhdcL6txHmiOedjELeZVYSIYHmFKdkHShcLy6T0lyRdwow29fQ9flLDCnwMmGnF0kTu4tKIid3TiL3/rgL2qkOdKZk6pyJrLpVN55wRRTlh9+B99dwXUsUuGVZUJULaDbJpquK8OEgPlk+GsXluXaiBb4ZG5RpcHDnkDIr2CZPkl3B2rn8PffxVv7PJFw09ofotdXSWQQrUcEws2JJsrapUeSPt5AL14iaX9XAZ4F3DhxK7hqATwlHe+SuDk0Xfg7MijaIqOHIQlrd1ZBRbPJEZEsVSdt7PlXMKMJweg5uiSqy2vY9bOEiYHZe6jMBqHSPHpkwy7a+IC0vKTOrtHhTaidwEhT0p5UIMsqrawXhAWRoLWvoxU3iaZNXFn2xAb+4Tew5l7H7NwhnVkhevYezvwrpF4VO+nhJ7LAm2C4BcW/yuKE1DIVZDUZt9XvUeDBfm8fs7qB3vs+mntZWSuSrRu4jXX8ZIAtYPkkQ+u/+T9mmSXRhIRR8zGeU8JonGZ6dBNHnOrmOkH/sZrChEe3MOcvE3Wb0LuBvfA59fLy+/cxDEd9GGV7Eu1fJ5s7Qdzvo/duKRqiNncBx6sSDaWrH6ILtVhixvmKOpj7cnjKl7EEdpfoZHkTLatiSWdktKNAFnZOFFATtaG25fAlh6bCknLl6t48yWAf+vdJiwvk3BqTo/ewiudJpLfR38YqnySRS4w4HJ01mO4of2zOzh+D5wzZMtbRor4ixyaGgS2gstGecm2H4l8/vHEc6+F4a6QJvWo0JZy2cT3xZhYIjCp68/uq4xOYVQzRiRUryNpCFHk52RxLdGnwVPlK7YYYA1L0SR+j2GAaZJjijpRuh8TIzYKY7NHcWSxDoFpdfLnUCq1a4uVyAR5KUiKnOsLTzk3cYpEsv64uRrr4PCcPFZjQqCySyRcp2FEdT9NbJRVC+eS56n6ri76TVy+SzI7Ri5ukndvqoSQE8qQv0MJlDNslTmLsYolo+z6ZWTxWFMplZTJRcBF5Skk/muEemiPAsCpm9BDLWyKSjWf7pvLEB6K6yJ+gOP8JouY76uItvdpUtlEEpIXTKm4rw6Vc6QyBLaj2BFtFbCNS8cTKFFaSIuLndudU3EaggY49z9TKw+gplt9RMdlYBh6lVaKJjpbuQOEcVvCQKLMwKq+pLrhSCcjLwztNtP37UH9Bkcu17tcV0bTUuMg0OMBIPFJxuWuizzHUCzVLRmjuInbvEWkxDx2fyUxFbS8diRAN7ymgiUBgBIipLiBC3Q9TMqGpW4vE1RPYEhFLBqpjxDQgm26hVU5iGK6KyOEWMMdPyGJLDY7kgmgJZKY8j2F5RL1t1eX0w1ANUMjNoUl02XKIjx6pv49efVEN0zIkRl0hle+PKwyJRbX5Npw6kSuXzqbauruznyY1LCaP/hVe7sQxsbdyhkgXbU6BTMB4UsfQRIPzDpa1ppyvZjAgzRzVB0tisR3oIF27LCVT03YfzV0nkgnv/nVFs3dXPkd08DGawGMsAdEJjX2INnPy+LOf5IgkjSKsg1To7hsq3ijRpkx+r1pANpCESQPLzhFPWscb8/wG4i+xskB1Bknkv7uLPu0T11/Hnd4lnnRIZ1+EUVsdOuV7qkt8Snr0MnCMj5SqUnpdovZLrCGmACXbW2iixDMCov5QqDWYs5/Glgiz31VVB8u01bYiDRLVv02lW+956IFc8BdUHDALbfTCDMlgB8Zb6LNXlP9VlIRR8TVMX3gQ2+hmRRF7mb2KYerQvEE89wn1OVIv22IBQzxoRQ/NO3l8sQsPcNIYIw4Ii0uKthtqU2ytdKyN03Tl2nWlZlE5QeLMYWZj0XerZ5LUnix3hsATLZN8niro46dohQ2lvctE81d7WUUOBYgpL1SJw2uTKUZFuCqiVj0kJ8PiOCaIutj11+QMpOLtUdBUPXxRkCbN90jzSyoaqMwddJUFxK6cQjt4k8RdUkwCy0pItDqJ/wDTWTpWpY6fkRp1LH2sBrBS95KKRxpLx1FmPA2ytMWgtUe+uojlLCj3dyrPusEdkOHg5DFp7gqZrSmPcJZ/Cbv3AZPJId7JnyQY3MSQ+LAcYHoP0XMrGOL7FXipO6OG0kIKl/dL0L2L5W6ol7ku74PmLQTvo2mo74gMXzU8tLwcFuXQ8FjVujRyx9WrqEfWuqFUQGhddeDKkgqxreGKQcKdVf1LoTLL5zvuPyOTR7KAstrv4xZOkIlL3qoTiv51PFBsBau8SChdzeAIzKp6N6fZQMUkZaiVJDlVO3NWP4V/KIoqibwmWIcfMExL5GdWKX3qM3zz1/53fvRnf4vPXqoyW4zp9iI6w5SXT+bZnRi8f2vEj33C5f/8h2d5dEvSegHjcEq/PWBhcZ4sSilWHA6PJMKrKz5ITtz0po7n2hxtNVWXevXUGuF0jOMJg6jEd79x7/9n6b2DJUvP+7zn5O7Tue+9fXOcuZNndmZ3ZxdYLBJBMABmDqZM2SyxyJJtuWiFol2yXCW66KAquWxDZoksu0SXxCCQoggGECAIcIlF2p3dnZ2c78zNuXM8+bje7/I/hJ3Zmdvdp7/vfX+/5+G9e12uXxvnqCGxcZ3JGfixH5jDrWaJPJ/28RA3XyCb1dh4vI9pJmTzFTrtQyZqE+zuHXP6zFmxPvP04SMuvfoqGTfDo/dvU5oYp1Bw2d+Vaod8fk1qM5NEYcrRwY7ibDjlIvWNA3KuGExcVUFbmJtlKNvbMMGtGNiGQ5RG7K4fk3Fr/O+/e49i1uSHPzHJh3cOmFvMKSPR47uHvPT6DAe7fUbHI06dc/ixHxNga0yz3uHB3XVOnVlg6FlU8/IzcNl/8YL60VDZArrHR2wd7nLhpQscrO8rXZmbFbVgkdFgiGmmhL5wUixSHWzH4GjvmNpkRXEztl7skrPh7EuzpOLPTkx+9X95woe7A86u5nD6Kdm8oaLfrZ7Hs70um0340//pE7z22St4726Q5vJs76xz+sJl9jpHXPrFP+Pvf34ZexCw1WuwG2SI2yG//U8myBQL7Kw1yOZt2p2hSIdwXUf9+YLAxx/5Cow7XZvALeS5c+sOC4vT6gI/7Pusv9ji/EWx5Tjs7h+q99H4lIDIUo6PDjjca3Lu4insrK0YCdtPt9TF7crrl+getPCSUJ1DpBY0PlVjf/+YbMZShP1vfeUmtTGDK69d5NHTQ15+/TTDbof/7Tdv8/6LLP/JG+OU3C5Pn0ZEps7aTk8NdL/0hVeJenvcvNVgFBgsnV2mmHXY3lhn6exZHtx7QC4jDzwLUUwsnTnNzotNQt9jbKZGu9Ujlu98XTbaGWUPkKbyyx99jUd3buN1mriVGpMLU4y6Pe7cecSZ0yuE/oh+b0BlooppWWQch1a3S21qjudPHzM9NaUuH1vPnzMxMc3E3CSd+qFSobUOjxiv1uiOetQmJ4gMi9Zmk63mHiWzxOz8NDOLAf/fH+zx618PuLxgcGV1ku/cXOPSwhQF28CsmvzWFw/58m/8KJ/6B/+E7ne/puDakTOhFkRGuE88itDSWNHenfwcqVMhlki5XcFMWwS9DpoMMItldIEGBtuEctlO8xjDhyrGLosg2ZSm0n03U0ay3fTbmI6DOf6qen6JslyI8eHBXeyFz5wMuiXJ1W+R5LMYrpztn6qlpO4KpV/OtxIPF4X1LKm3p8BvahAdHRMPR1ilaUK58AYoDazA7yJFM09V3dQae5XIsFXiMrQzGM01RYKndFHVu6K138WQpUDpPFp/k0DP4OTmiQTI2989OTsFQ7B89EBqcjHa2KLq4NujOsHxHfTKGbT8jILCRfvbmLVZBdfzowBjIImlSQIrIq3fJZufJQwluT2PPuwRi3I5M4MhtTM0Ir9JLr+Kn4p5q0jcfqR4T0ZOwH+x4mIJxT+3+tOk/T1iqRrnxwmHTdL2MzKzP0hsJifJ7pGchybRnQqhf4xlyhBxoH7uljfAiyWxMKEg6YmYlTxPWbOMQFgNFcUl0GybIJaLbR07fwYjGhH2n5IpLTOSMKosoW1ZLgi4ISXqHWCU5IxiK0OZVDmt8UUiqTfoRYbtF2RK0wSDYwrTUp0Y4LcOiXbfIjv/CYzcPGnzDlFukhgXq7dFYpeURczx5efVOdnCn/os9AN8BsqkYAr4eLSjODbBqE++eoVEfm3cwLBPodupWsYkcl+TtKOVJRVgsRgYTAE9CnzxDkbtGloiVigXQ+DV8q4qnlGQXb20jOXvqgWfZVnEkrQXHgBdoiBRisO0sYlVO6XgftHmu6TVGWUTSoYbhF5KZuGzjNb/nIyc1wjRpfKTnyEWMH/jHlr3g/8rTS2hTpeJuw9wytPEnR7pzp9gLv2o8vZ6699BF6e2RAvVtusFWuRhVpcUwdzxfdXx14xFjGSftLkFVgGrukxaEDd1h/BoiyhtYRfmiLIz2P4OgT6O3boL7gxpbhZd14l6jzCcBWK7gJ00iYc9RS0kZ6FhkVoCdXpAbEoHPCLj5NRkKzIlCWArejP9+0pTJLo+JEIu07Kd98hMX1F1hnC4TRgNVcw/soQG2YPiLHpXIGoh1M4S796D4S7m3HVF3TRi6aEvIhIQmbbJG0M+GKIwS0uXsSTW4Y3UgVJoxXr5Y+oCawrQImj8LRRqn1gOsdUzRIMWuuOAQK8mP0Z0/D10P4WpS6RDiRkLUFKgGdKZTYgHAbaor/IreK01smNniOTD1BbzQYY4L2CsEQxaBE5G6d2s/iFB2MCefo3g+JGqPlCokonFryCHzYI6RMrG3RIUbe40WniIKyzo7AqGJ2aHDlH/EOQ1Y0Coj+MUJxk1n6lIWixbKAF+6PL6+NjuJKP+DrblqPpFKhvcymsKcmc6IaZewA/b2JrDqL91YlqQTulgXfXwYjnYTZxSf4/IdNSAKdaLatJmIITtQ7TyS8TNe6qOctIl7xNLFH3yVSwVBd5RlG1bLqRC7pepbyw+4QBLyOg9gb4V0OXvN9wjdubR4ybZySsEjXWCNMApnUHvv1AE5qRQUgRz35epY6Q2X7o7TTjsKgiW7gsFdoierZFUlghHQywBnUinu18ncZyTBIJ0ovwOidDtpVogwKskC4N1At0jYy0pxUvoCVZbQ3MXiTa+AXEL89TPoKctQgH62VU80QIGMXpxSfWNkr5Qu+fVwzXq7RM7FbL5BSxdo2dmcZIUXd6LcU/RwtNhm1iMCzmZBI7wuoeYlqQnIiLZ1Go5HFEuDgWeaaLL1k9VBhrocknMSr9vXHWRU9HPidZGCnnSQZbuX0fi4x7a+EuIWDuJmgRy0TcLxK37WOOXSJ05dOkjSw1B4lNOkTB2STb+GMoLWAJ3jFOiqAFSORG3bxJiRyGeaEmnrhINOoStd9FyKyo1kjSfoldXZSpJIiBH2XzrWfSow0hSKrkacUmSJnuKgi+HjlFzi+LUOIRjBKMdktYGdmmCOL+IqQYwnkrepJm8UsPIlvckKz4ujwIV3dcyeVUfMPx10uIl9LB14hKzRVV5SJTKxqqmUkSy4Q9Ftxp5aP1tMAxMd5ZEfPOGTRIckJrT6GKaiIZKvYaZVR5eQ5fN7gShekYcYOUuE6QtnOIKo733cVyHqPpp0rU/IA07kFvBqS4QDOUwFKEZU8S9NTSJTYa7givCykyqAawt74VQGCdbJ70zGcRZU8TN2xiFBUJJWYQBTLwJnlg5TpRDEpNMRh3lxk3SPJFUMrQ2RpJXRhXp5Iu+SYCZseUpLkUi5CX/GC12CEZbZMtniORBrch7PSyrQCR6SbkN5GoEAoWsfZRIi4iaD9HdJRW9Czr3FPzVUAPdJklwBJkpNRSSTpxsOozBFkH92+jTbyo9kK57BGGEowdEwhHIZIjk2UsP06gRDx+qQ6peu6R+xoa9otJqodQGjIyqnmie6MUKROGITHmMUL5nRn3sgihkG0SW2DOGJPJ+l9d+sI2TrTLsi0/4NvbC52Cwq9SWanMldZrKBRgdKxCvbNYtAfKK3kciqNJ09CJ12DLdBVWjU7HTXp0kV1aqTD0dwEgiqU1STfqxOo4830NJ/OjkKrME3W3C6lXs1mOSYJtEiNmjdbSxl9SvlfdX6oyRxFno3kGXYaQkxnoS91xU9RKjlMGkxuDwQyrzFeVx/tK//E1+8n/8S372dYGJDnh4aOLFBhcr4pb3ePtujzdOO/zub1xn9+Yu29stLr5xnvU7L2j3PcU4nKqNK53ZyrkVNRwbeIFSovX7XXakO18qMTk9ycbeNssz0xx0Otx/0GM08KhUHJ6+GKEnLp/7wWnyxpByrcyg5+ONAtY3dqjXR3zuxz/D8ycPyRUr6jBly+U457L+7BnLS4s02l0cx8LUNbY2jqhUBDym4RZyqtPpdWJ8r8PM/BKtbp3x2jjf/dZtFufmKVcLSGgkP+7QOO4r4vuwMcAtFzl1ZZVvfP0u99Y93n53wA+9KUNARynxvv8TS/z+l56rAUC14PD7X9zkM29Os3Qa5kv2ScVSmo/NEcf1fQrFKtNTM/RacpAGPWPTb3QojlUVD0j0eWsPHrN85hRZocNvH2LJsFc0wnUBPqe8/BOf5/2vfIlyYQbN1Cnlihw3j5g+Nc3jm0+Zn8lSq0zx4bMj/vidDn90I+SlBY2VqgDXEhq+Rm+Ystfw6NRH3Pmdn6J4/aN01m7SenDE7Mo0zSilLNuqyXHmfvi3+fRrFX5iOebLD4dMjRd56+aQ11/P8i9+0WDjVob8SpV+u0XkhUwuLPPo3kOq5Sznr77MW3/+l0zNTzExXuHZozVOnz+lnjdep8fW+hZnL5/lwa17XLp6maODQ3LFAmmsqY3eQGpHoYHtZui22ozNjCGTD68lzzybXK7K4dEexWJZaco2X+wxtzhL87jO7NICfX/IsNFSv+fk7CLrDz7k1Y9d4G++e8jvfuOQyUxMeczl2Qufq5drvPOwyf27Pf7pL43zkz+1xPC4zoMHHgsL4zSOe5iZlGCQksYBp66eYdgc0Gp2VAVgbnGewUiAjAshNV1xAAAgAElEQVQc7e4re8HQ9+k0G+QLBUo50cGKHSKm129RHq+SSu1P9clT3HyefquNIY560Yy6JYa9I8UM2H66yfjcNJvPhE2wQpjEHB/VqVTG6fdaZHNZZmfnuH37FqunV9Xnxu97tHsjlhaqtHxUsu78R6p88pc32EwcXhtPseOYKxem+Oq72yzPFdnaanDzaUgr+VPaaxuke2vIekagoWl2QlUX2usfkqmdPkm0iqpNNzH1AGtsibTr44uNJOhjBgP0mesnacpUoLKbJLJhDzScRFSIjgIFep2nJMd30affIGvP4O98VSnW5JqedjcxrDFVPYvdeSxJmLpT6pyXHu+qVELcXVPnk3zhtOJqhXGoALPCwonErOXUFBiV6hKWJJ133yUtnkHL5IgDA1tvkMgCwBS99yGGOUloWSrZKeYrSd+Sz6rPjoB6dWOCjGz0u42TRO+wTnDwHpo2iT13EUOYN5k5QgEbp5L4FU0fCu6dSM3WdVUNWAwG0itXujk50+XHsEY9Ir2vVHcUq6TNBpG/iaZV0WRTLUNlSaNWTpPEkuDoEycGhp6oCqcAYWU4IN9jsjAZPv8q+av/CO/gPpajYS1+P3HzKdpgT93dZHgsZge7egkv7EMYEOfGcXMzePXHmAJEjDNkxpYInv45dmmcaOy6WgA6lVU8SZrWH2JUz4I7RXp4k9gewx27QL9+E7vXwl4UEPS+0uMig34tUku35PCxsoQZgheWM6tjKNCiGKxS0ezpokc3Sfp1df6PI4eMpZEURGN8pM5jYpOSM70c4OzqecL+Bna/rwxsaWEBrbVGkp8m8frEx3fIzr2CIRf+7hY07xGXFyQCrM53oSxp+jIkWSK2DETiFhzcQp9YQDcqpHJOCFtE3QOc6il6/T0cWfImDWKtRHb5BwkHW0S9F8RS1ZZ6gdTHhfHj72FKMlCTJPvf1umlohvYhI3bJKJvXvw0dmww2n1L8eK0tIMld+TsgtIsR8dPMYs1tdCNBOLYuvVbKa27GM6U2qoJFM2I9/COtknnrqANI5K9t3GXflR114WuLpFfvVgiGRyQdDvq8mwzRDSbhkTKE4O0WMLKWIS9puqqxu0PT7qU2RpRmsGMj4iL54j3byH3XMs9QyiXis4T/OYjxRFQhPFc/kRRZbk4RPjSydErxOGB+pCkrvRRxvB3/xrdNdCrHyWIQ3K5KSKB6yVSH4wxyquET/4jeqWKXn1V9ZaT7m11OZVte9yqk4Yt4qMPMOY/rtRW+uAW6djrmMIoSAw0iTDjq3iOKLtU9FYqCRInH+0TxnI4W8aImwr+EPWEMlrErl0m7e0Q9J6Tm3mT6PiuAjMIpEw2tX5UwkobJGYWTSJHMqnJSnfGVYo5I7SJ2+8Q5hfBnsPQW2QYJxJwU+cYw66oTZK4x6WmocuFNjdJcPg1LATu5hLFUjk4paA8AqYSA4OhOyAKK6Hi453EdysfJbz/bwR/jbX6d5RezrFzJJr8M6KVOwZrUUVrBRpiuGXSQV8ZGmQ7K/AVS9zaEl81E4yoiV44T9q5hz9soVcW1d9RoE4S/5Y4tZbPk7Q2QTajmUnsfIawOyBoSl/oIwqgJl9uZm6JNPpbpgFb+Exgmlls6Zs33keXTrPA6uS1I4dRrDBqPMRONazCecLhmtKo0X2BmZ3HD3rY4kQXtVVHiKMvqY6VdKAl1iXQRc1dQcu6pL1dDEYYukvknCIxB+oSmeSlC7+Lk+RVSkV83AKNjAtz6oE4GG5i1+9jjl0njttE6sF7Dt3Kqx58LHWJ4RGZwgU8+Vm21km1iFSAKPL5iRzyOam7pASarajcAuZLek+IG02SsRXSQglHBjBpjtH2V9GrUzj51/Dbm+jeBtb0m0qjRmsXIQwmGbn0iPaySLzzVyeKT9kmJhFm7aqinlqi1BLAlyHAkYRQvrQ0mboWlHIvLc6S6j2SVhutVFVDIkttDyFyxfscE/iieCmpi6Jsd+WwKnoYhwxp6WXC1jP0VJgYFolQyhvfQS9cUvTdaNA4YRMUzhBK7STuK21gJIM4/1i970TZIhwMZHrfvkGUu4Q92sUbPoG0rKLb0nuS6o+oTDORQOFSBeSUCLvoQ5Mowcpa6ssu8DpoEjXP5Ejat0mScdU1k6iqxCGTkUyz5QvfwyqdQE8lKJJmZzBksCNATulmdSSyFxM4VXRxEkviITOGEUtM8ADDWjphJsQ9pTYceQnaSKLVs+qLIXFKWEFHAZkSUdcl8lmxMIiUhpDmA1WtIbtIIuyK4RZWcRW9eYd44hKJr6sEgFlYUbwSSYiIpUVr3QbRO4qGr7iiXivD0gjaT0mlEy49ycBTh+ZEOpWdltpUJ33R+dUwhgLhyp8wFKS+ITCMbAFdoI7Syxzsg1vFEjVm+wbIZ8cwSNM8et7BcCZItr5DUphSl26/voNdncfIlPFHPaXAExuEkHqd/CKRLtHOEC2/iiY2i3AP/BQtKwTmNmZG/Mw1aH4oVAkwcqS9NUz5u2UrJElf0ag1TTayckGuY+x+QFo4DZU50s4WSWkRXddA+oTFFQWVEq2fXbxA0nhAoEw1N3CXf14pb2M5FAnLQi9jeFJjA8YEXLmnovSGUSTo3caxJ1TdyxC7jnBpYvn2CpXeTo9HqgMaxBksqRDJYKF0llTSTL0NNImm2gZeS/r154iPpULSIeMukgQpdmUWP4wViDCW92x+CcOeUAOb6OAGqZ7gVK6QaFKnalAoTDPwuiBKp34Pu3qR8Oh7irVgCkxRszF6HRJH2DizGD1Jhwl4ySYUc4snW5MdbFPAWiX1vMETFtffUPuhX2Zn6wXz536Fq/MG33dunEjP8HBNaikRpp2yviUa3izf/cIEhalZfudf32FpocDkXIl+s8mVV17h4HBP0awP9+oK/uQIkNZKFQTQzmZZPrvM04cSpbWZXx3nr7+xRhq5VGZsbt8TgrKJ5SZ8/I1ZpqYSdp+N6EcelmGRy8pAKuWo2WVlaZmdjXXGxsdptjuUihn8UXAC69RE/xkrUrqCyOISe/J8irl4+Qr7+7sc7BwyNl6l2+kwPbdIo9NkLJvDFzaJCVuPtpmZLstbgbmlZYKBz2/9vx+QyRRxqgnNHkyOjRFKytBvo+tVOqMuz58HnFnMqVjzdCXk6rVZxtyI46OBuuyvv9hWnd6FuXlFiV57/kRpacXBOLuySBwldNtdjhsNVk4vEPghkzMzbL+QFJjORG2GRqfN2t2HTNVquJUCzaMhc0s1gtRWl81eZ8DkrMRmR8ysLPG1Ozv84v/aVNTvn7hik2RjtuoOZatJ2bZ40XWor/f53X92jis//XkGd9ao3/yOWtiULpzCmVtFX7iCcXSDj3/231KfTvn5CzXW9z0qYyFvfSgV6Zin//Eq27ePePykzqtvvMQw8BQbo9FsYBqJem0aBweEUUA24yol48tXr7Cxs60u8pOTY5THqjx9ssZYtazo/usv1nn2+Dmf+IFPKK3r7sYGxYkq8/MrbK4/p5DL0uv2ONjZJsHg2qsvU683FBdiem6GqalZvvs33+LU+TPqkrS/c8zUwgRGYrB3UFfmhomyK00f/uTtIX/9vsd8NWC8JAYAj+1GwMaLLJfmYn7tvzuNH2e4feM5xUKB8sw8o/4x249esHJ2UW39/OFADXgFBp3LuXQ6XWXBECr95WvCAjL44HvvKyvD5vaGSqFcunZVVX0ODg5o7h6RqxQYq43T3j+mL79fmiqegz/0ODyU+mjKwvKiqod4oxG7uzvkc3lVLxirFni2tqlsS3L5K5fy7G7vUSiUyeRzNPYOmJgs8t4He/zcP7jCre9s8tF/fMiVMwW8bgfLzmNlUs6Ui6TZkC99u87f+5mX+L+/+BsM3v8LMkFIp39MYs2g2zmsiot3fIw1cRmzeRu/f4Qz+YoCHmYkIl6YVrU/+SDFwxZmKsPaFIoLpHVJpJ6YAOL8CtHxQxW7t8KAkVTn9AZefR/r1OexU+GpDE/MN7F9ks6Umt1wSJzRFbcI+b5vPT2JZsvQWFhO4nWXmcPYJeLBloKTJ9KnLoyjT11VA28BM+utfbmVkwz3sUUnNxoQ198hk5slqSyS1J8pSByyMJ16g1S0ucNtNVAXaHLaWScVS1rWVSrqYPMm+vgFUltHl0681DUcF3/UUecHOSthiMmnTKLubVX08XNox2tEon9N2zA4Uvww2cKHnX3c+U8S9hvYGY3Iqp7cfUZyjs8onpKhV9E0j0R89nKPEKC6JK8lDt/eRpc6qT2hOFGGnmHU2yY/90ni1j2izCJOFDAiwhCrQf8QozRJFGnE+99Cm3oDc3iE6dhEov0OfeLmOqajK5uaOo+ri3mC7jeUio/MItn514iEC9QR/Wodytex23cYNXfBrWFkxdolXIkymcllAoHoiYpeczDskqoxybBftHliFJPaU2KVsYwYrX+MtvBptIObBAKAL79CMlwnK/WURFMVPIESRrL5z0odeheqr2AYBZXcTKN9tfzR0iHRaIgh7LpCVdUWJakdByNymQK+GLlMgXJvqoRfomdAGXyk0qqRyp9F+DbddczcCt7gGP/pH5N/5VdOVN1738JyCtgLnybILxI8+jcqCaFn5omCHYJMTZ0JNIb49V3MvHDdEnXXJjeLNXFWKRpFLyjLQsZXFRxfjzSiZKiMG1r/nX+VhgKpyMoh7RTh9lfQslPo058iqd9QIDstSTHlw1EYJ9q/ieWNoLSE3n0B0x9RPxSVDxXww+C5gtnJtM3ITRL2nqIVL6FlpxWRW14orbKquiYc3Vd/KNkwJlvfVptSq3RRTVDI1ghla2mIRjFFHxzjtXfRC5Pq4C+9aZnuCbUz6DfQ5b9ZDro5QyqERpmCjV6QKV9U+gdv/y661z0hhYu38cz307jxO7izF8iEJknBJZEXezRUmyRRZ6WFFbTBjupLK0pwnCW0EkyJa/q+OnSKki/JOphy0cjIRUL0Izvq4WBak2qbIz74NGmcKKvGPkO78T3KlbMqSi6UZond2HpRRaH0sUX1sEi6m0odJqChdOpjJM330DsNYneKrESQg0NGnRaWwA4VRPGQtHSdQB5wR9/FKp5HnzhH1NtQ6kAFfJODvOg1ln5EHXLTdKg2SJYQ3Z0JaN9Ec89hlQsnii7Z8IYC6RLQocTmMmRzswx6G9hmTnEO4v4j4uo1bHeW+Og7CrSXzY4x3Pw6hrAVxuUN6iolSrj7N9jzP4yWNUnDEN2QD81jNDm86yf9eiNbJE3LSgsjEAzp3Gl6HiMW/aH0LbsY1ixRzsUKAuJUO/n5D/vKthBnDAU90XM5sfGiNT5Q20xrWiaOj9CCPeUNpzyjHsxW+aKK7didJ4SmOMcLhHGKrmnE8iHRHQxLNu6HSnOnIku5OfSMo4ZhMoVMyeJkpvD3vnrCIci9DIUFjO4WmiuxHY/IG6nYKZGOXhxX8bFg2McZW8brPkQ35T21T9h6QXb8rDIAYM2pz510mkl3lTZRG6VEeh0t/5qCrClPe+QQ6uKL7qjuugAxrXjAqLuOFQxIaxdJk0RVO5JhQBK20TM5pWOLju5iz3+W2Mpj1N/Dd6RP5J48nNIcVnGOoLtPKL310FRdMOnKapll4rSjUjI4y+rCrBtC7S0rhZcuxPjeDqYlvb0xNVywJKkitPN0QJQeETee4DjSXZRYakXxGjTp4IkmNPLRBzuktVUQDVNcUmRzfbjGqPMcp3iVeP8hVjaF2sfRvTahgHKku9ndwHEm1UU/ytZOuAyGg4ZUj/qEjU0MIbu2nguaRHWaR16HbLxD6p4jlqFi/wVIXcAcx3TyRKJkk0SQPNeMSbWVTva+ocBGTu2j+KNE7p8YRo2o/iGRnWCWZIBaR+UFxURQfx9t+gqWViFsPSDy66RODksfxxifI+221KbamfsBVcdIQxmCSFJHoC/jikMSyNRfhjJOSWlGheFhyAAvO0boDcmGLfqjA5yKuK7LkuYn1R31ZaWYIRkhDnexZQLceIEuqYJqjVFd6L4X0UeSjhqp19KydXXociTSPJC+nYWTnSGof0d17QSKJ/FnSUcJSMke1JUX1zYswtJFDKkoaIlKmujaJKlspYJDlbyQDJIoLAVi6kntSIZ0RoEgU0ZLfcygRyRaO2GzuCvQfYIfp5juOAy6JKH06ZeUB1y+A5ziWSKxaEgtSwYgWXkvSMT/UNUotOwSWmlaJUMkoaWJnk8i/8jQewwiofPvKcaG7iyjWYk6gIi1Q3rccamCJl+mhTEF6CR/Ci1oEvbqaIMtDPECiyJVdKuR1C2KhKq600PLVbDyqwr0qWXKJFYVXewpbhGreEptliQxkdizpMMj1X3VjFAxXFJ3CcsMiRN5xm+hiflBEiKGo/qe8rlOvU3ITKA5NZBair1IMHyEJTF6J0dqLfztNquNJR1RAXmGB8ocgNRqMpOkgxc41ZdV9U04IpprkmoCJ5LUiUGSySqP+bDxFCdu069vMr76A1jz15idfYM4iPjxTy7xYH2PxijmYxeqzOg6X17rsLMd8dVfm+TsUpG3v7nHxz/3JkOvzf76Bsc7TWzLYGxyQl1gcm6BevNIwafke397f4eSm8G0i+qAbBYytPY93vtwh1I+x1E3ZG/HY/WMxU//yAXajS7rz49YWp0m1Ucc7HaYnl2k060jSyNR+cnlaGJijOPdXWZXTtE8OlAJMt3JknELFHI5drfXufDyNZ7dva/Uf1IPzuQNBbTstwaEmsaphVne+spNTl+ZpTY1yfqjLabnx8nYMY3joarR6dUy33p7Uw28chmLo70Or16fodmKlF2i3tO4dfeYz37qDHF3j9XVIpcuLVPvNGjt+NhZDS9J6Rw2mZudZ/9gB8uxcTI2um7iZnI8WXvCubPnFVF8d2uX+dlZht6Ah482WZ6dY/7UFA8fPlYb7tVXLnHvezdpHXX51Oc/wcMPNnDyKcf7A2ZnHVauTqF1fP75/7PJF77WY7YW8pnXpqlGUr+zefTC59y0y19tjbh/55A//5/f4M2f+X5aT54R9X3Sfkr+/Mv0X9wmdSNG2xpLn53mX/2zP+K3vjvk9dUM/ZFHf5QyPlnmm3dbfPnXZzm3Ms6DG9ssXVnira99yKmlCZW8SL2hot3nS0XGJ2tUa+IeD7j74SM1iJGE4MH2PjOLi1QmKmqLPmx1KVSLdNptStUKB3sHvP7a69y5fZvDepPzZ09Rb3QYdHpcuXaFXq9LpyVaZF0NA+cWZljf2CLoj5hfWWJjfQPbsDlz9hSP7j0mP1ZifGqW7vEaZXecXC3Hb/67Df7yvQaffNlmqpIl6+aJnZB//xdDPnJ2yC/97MssvjTJja+8R2VsnrR3zCjWqJRddvb3KRVyLCyfZntH9GJQrpTwhiG9dodur8nFy9fwhkMe3r3P7MKsIviL0rY38pgcL3O4c8TEVI1MNsNoIH71EMO0MLMWR1sH1GYm6Mt3f+ArS5YX+SydXqBUrnL/liRisuSzWQ4PG+RyOfQkJNZTiiVJykTqOdM67NIcjFhenOTUtXH+y1/9Lm9vZ3l5vkh95LEymWW/HbOz3mTx7Dhf/94B3/q9X+CVn/5luu//KQFTOJUK3t59dM0kNy+AWJ248YCkt4u59J8Siu5WsGPOLKkmFSUZuPeJTHG6y5JB7EuhWi5JPVdt1OXX6sK2LiuItGxqtfEzWKM10mEdvbBIcPgBUWMfCjUMoaWHA6yxc8QH30Mfu6b00I5l4fW3yZhZdQaUM4OhddAV5f80QeshypjmVElluaISdvOkAq6VDrY+whJrmGlDQXTHphrIJpnz5KbmIOrjHz9R2u8TI1mXxHDByhF3hNOTkEysYjYPIeyQugVlJ0vM/Emltn9EaLpYkko0MljFeSKh8usJqTlFJDVS0a7nxtAz09B6gO7ExNmLGFJFHt1XEGLTKDPqbshdUEXRpTYWG+Mkoy56777Sy8bZJWht4EyeVTB04RtYpTn8gxdEnadka5cgOCSUlK+7iK27JP0HGLllglEda/97JNUV9OIs+DlVtQ1GTfTaG1jy9+7vEIxfxBpt4Q8jLGOAVbpEnFqEwpIarJPW3sTO5iCISCLhe2VI7DmyWpvhwX0FcAytImZGvs8kbWeQOhPowlLrr2FWzp2c2XW5R8rrphOaWfT2EUZpgVhq06mr7gxp46kaYEh9wQgifEn5CleheAU7a+A3dyDYIPRtCI9wZ14m1nOkgXymhgpgmR4+wZi4gp2fVwBiZGCQlEja3yI0ihiZ02jxHproumWJ58yoSjumB04NLdAYrP0J7vKnCYayiFTESFEcKIZalFqKeSTWL7FOSWM9xMTMZfEPn+EIL6y7jqcNsbNzhJGPFo/U0pWB3EEFFt8j9gZkbUktmmjND/5FKrC2xBnDyE1jDdYYShQls6xefCF4Gu2nWEKkr3yEcCib0IHqfCejpoK9MZQ4v0ywZAPzUMVLdekzO6IYySto1SjSsE3jZPomsLLhNqMX38Re/jRa8Qxe8xaWVcIoXyY8fleRLa3sIppM0kZHJLqjDpvSpYg8mWZNqN69vDG0fh1r4Tqh6eCMRNnxruTiMNwifjJEa/WI4jr51Z9SbnU4VmRj4/AmWu4yCQNwsmj9hvowpqIBzI0TxEKXzWNkxog6j9QP3XRX8GWbHmwSSnXi4D6mbJFKEl16rhzO0puR2IueGvi9k/iRkMjDwzUK8ibMyYH/soJcCBA4DmMoraIlx4oQbmiSkvChv4kuW578AmZulaT9IenoACofQRPNocDaimfRBHw22iTcvYU785pyryfNW0ovJxtxAVDZ0uvfeYdY1FoSg7LLGKMWcWZCxZ0lSeG3d0mOvq0uxeK5NqauYkj8WQjnw32iuA3WEnoq0ZHHhIV5FR9W0XR/qByjklCQEl94+BaGex6rIJCrHRh/WTEO/Po9MqUpEplC6SHaoINRXiYVmiUx3tEddHm4OQU1sYv8tRM6qkwlaSvjgVwyLGdGpU3kMCCAMd2TKM+i2lYIDVTFYEV/JSP61hO1TY2kK6wLtrRGJLDDzl0F2ZOLs/TvZTiS+nX04vKJpiZqK5CSZp/CGzzHiBrY9izJ4Ala+bravEpXKpaLam4JpG80cZHUzuN1n6PLJJkKerSJKaaB7raawlsyWPLXGdYfY9euEbuzRJs3yDsJSfmsAsUR9JVKLuy3FUlbEgOGdMMq54mDY2IxHPT3sK3KSRw98TEzGr5suwOTbNhVCQBDGBaahy3mAVe2hBp+b0OulEpbI8mPJDtP4g0UKERo+4Z0hNCUlC6Ras+gQVw4QyJfUjJR5Zg4zWEXT5PIA1PSLEo5IRPZPKbQcP09LAHtCThTl4SLfGn1MXQZaLzAykkcbU6RXhV4JthCHx6QWPOKVo8vjvE5pIya7LwDYZekuIg18Zq65DhJi/7BEwXl0VJhOwg0aIQetQhLL6nqg0yhSTrEjVtYel7xH4ShYZQKCv4YN5+gSyROTBKpbF80dVCXrnosYKHiacKNP1XU4rh8RmnH9NAjNiNpTpOYY0TpAN2XS6ooUV2QpEgGInMFnSa6M6a2115nh4z8HpLAiZvY/XX04kuK+C7bAysr8bAMsfTnpVogrI72c9KgDc4CSbGI3gkxgw2SygU17Iy8A+UmjkunML0jwvY9jLFX0EwXhgfoWnxidwmaJDKU0Vzob6gBY1q+SprKa7uD4Z4iSkbqwmUJB6Fxj7S6DLkppfGJE0sNDTQZOOguadzEsWvqPShVGjG1WMLsUAf2Q5LKK6q3qQnAL3+dqHOfVJ7ThSkQNkY4UjwGXRy9XoNUup9xXw02RDNkSO3BcEkrk2iMkwzWIe5gCABRz0PYUPR/Xc8S93fU1lreH4ZwMGqvY3R3iMVyoOcVg8CSw3Bvi9HYFUWGls+j2DIS04HG++CuYmXkkCI2FF0xDrRhnzhfVAkPrbBAKr+nMGuKC0ThAEfipLlVzPCAePiCVF/EzEwq/WcQdE8sK1LnEC2mMa50mNLztNwaw9YWGYHC/m0cU95XStVkVwiHQ3RzRCwAVVPUp8L+eEKUvYyZnyFqfpskLmPXPoreepsgKWNWT5Ecf5dEqMTFBSheJDz4lqrZCCtEO7qFXiqj5S8RypvTP1IQLanUSeoq9newhKUQBfR3v0Vm6lMYWU0lCeLBECfx6R23KM5MY2QKDIdSvYsxrv8k/+hH/g5/9rU7/MSn5njr4SFTY3lKJIxN2mweh7z3uMtv/fIkP/fz13jw7hqlgmhME7xOQFUUdAfyWffJSHS501F+93qjTb/doZDPqR5240Bi9Akrp5f462/c5d6jLpNjRcozJjP5vPrnJqc09vYP6TYS3vzMNQ73G7TrHqmkiGTwFGkMRz0qRalzmRwdHiq9nwwRpPu8cOWiGrQN+l3qR4dKHfz6pz/D3rM11teeEcch5bEalpuhUigQxSeO7HZ9gCcHqqLG+dUKbmWCB48b/OFfrHNvbcSl6Ry1okmbHv2OoypWH3tznBs3Wjzd8bhYy3L91SIf/egMzcOAibECN24+xclb5G2bSKLegw4XLr6k6PhHB3ssLZ9Gk362xLdrVdqdBsVciVajSXlinCAI6HYGLK6sUJmcZPvJfXY395lbmVVD+7UHD7j+8nmOuh0GBxHumM0w1bj+uVXq95v83D99wpOWz997Y4zrp13+4v0GnmngDT2un6/wh1/fZ7eV5c9/dZmX/vF/w86X/pj4wVPyL13DPDVPVrfpvPUXHBwekjk7z9kf+7t8+zd+j5/8wm3+28/P8v6TbWwx17gB95+E/OpPT/Kz/9l53v6rG9TsKhPLY7QbPcUHae4fcubqOYJhQK8v9YwMvUaP01fO0q4fEsnzz4/Y3NwlTCKmpmfw+n2qEyWaza4yAISez8TMjEp2CCFfTAIHu1tYskFOweuL9SlL3s2BpanKTrfVYGZ6hqFE0FOdF2u7TMZmOKEAACAASURBVM6OM1mtKKVebqzI8eYRKxcWlNI0P27zz/+Px3T6cGFxjO3DBuMFHd+AJ8+h2Rnyn//AGL/wD9/k8O46N27tcfV0mQibrY0tym6Zsckih0d1Zufm6Q365Nyiqqq+eLiutokXr7ykgMZHzQanz56lV29ytH/AqbPneP78GXnXFVowTqFApyndblcNiER/ODkjQ3idyPfY3zrkymsvc3B8xPqaVPVSLlxZpT/sq0u+DBIM12Rv45ALly5w8907XHhpRqUb5Rl2tDlgccbAXc4w8blH1BZyfPZClcODOl3hI7kmJcvle/f2yGXgg8PnhA9+j6gpHfFpomFAOOyoqDubf0Uqmu75z2HIpU0Bb/sKpCYR7kh+/sVVTDEfCd8oaxMIDyEd4uQnGD37CtnZjxBZNeU713MVYuGVaDpx/jKJ/1xVZIXBFfV3yVbkrrGv/jknGND3GmTc08RFDa3RJzSG2JpBEAxxC1UFU9OcEpqTOXHeWzUFnZMkqjAMxCihWYuqHmr0H2NWruL1DshW5IwxgSbWre7ByfC6tIjpHRPHArAuk9ENBnqWTNIhjDz1e9sCQJbFg1VWtqpQvsflkisLjah/ksry6ipmbwinIAkJhusqGeBMXyHZPdEcClsKYWzlFhQA2AvWoCWK5gXi/Ay2XIiDLr6hY0raMIzA30PPLqnhvO9O4AQtAjnbBroaCAtLwK0Kj0DqyZpiDOmaz/B4Dddw1FDUqr1EKOcHgXCPnyWre0RxiTA+xNWhe1THXX4dOxjSfv5HWAs/gh7vqQVQLEySpEeUagrSK1rrQWcdR8DmMigKI0IZfuRq5LIzhPX7xEkdIztB1Omq5YzcF+VarExLAgtPfWxD3EZSCWqommsk57jBkYr1i5VFLC45vUggZ6jmLbIrP6HSsUlvnUQSdqVZouMb2KXLqn4h/5uYh9LBMbppEPVF37mAldEYioK6+R6xFIBrb+CUbPxOl6CzR8Yx0QToN+oTSfJCLuNRiCVMhNgizJjYhTNYXhuv+xRz+vvQB3tEyUAl6FSCtLmtKP+ZShFzMFIAw6FexBz1iNMGTnaeNLdM3LkP1qRKXqSOibfzEKuYwS6cJ2m+IMlNEAiPoPn+F1IjqJOKkkECo4VL2I7QAeVgOEtoz2D2XzAcPUWLpSeSUT1ISiuY+pDR8SZ2MkKfWFHRfvkwWHpbeSKNUZNYG6DpRRUpFeWYHDzpP8EULQMZRb4UIIRuj6G1HzBKA0x3XvWM9XBEWl5Bt6UDUz+BE0nnZNRRcBNROwlZUXSFWvksmfiIYa9OONpDl2jv7Mex+pv4w0Pi6kVMQoL6Exwrj16+jtZ9n0gPIDeH5Y/UIMMziuiWq9IL8kJbQrGPLfRkhCVxyf4A//Br2BMvY+bmQQjOox4DI8VNTIzyErGhKzCXdIZtvXJC1W9tgcRK5BKSn8cTCIVpEAgQwl0hSvoYw7oQBkhzFnpDHhQtslOvELQ3MMwcifAXegdqa5lxVhUJO26toWWrauujS+Q1jU/SFyLHNMvE+zLkqGIVp4hzy/iHH5LtHZCIazM4VroNMyswwDPqgm8JdGzsMqMn/xZn6iPEMlWTrXV+nujwm2Sk416+gOV1FZwxa9fw6RMEPaxBX/17RvlZBYOMOk0VAY4HGzilBbTsAmG0T9zcwiqdxnAnSHuHCINCosq6bmEkNgJAUIqYsQXV3UOGFvYElkStowN6R4/JjC2qSKDQVX3fUwA6GZqIrsWa+Tj+4S3V1XYmhDorB+oG1tgFosEmceM2ZmYBpNow2leKrlztMkE0Ij24iVYaVxdiocFmxs/jCypL3ORphB0GqrYfjwIFstHkAlS/CxMvqxiXxMSVxMtwVOJFQCqyaYuNGmZ4SNQVSJw8ZLMEg23lotWdReLBMzS3SGAvk5N4e+c5I6UrDDFlQpk9i9m+Q2CaWGJR0Csg7vXmJkgFRbb6pOhmXhHvtaSllH4CzDH1AX5HNouSkJFOfQeneFGlGaSKgVdXVZTEcZXJQIAQSeCgRYcKACiXL0egZmaiutOW9A3bhydEeTN/AuOxM0plmSRHkIgRRP7sI1KziiGdJ3Jo7dukRp5QqKwyfTR0ouaOguZQmEA3dUKBZkmNQp4povaUWPdgT8Wy9II45ytoaY/QSMm4Z4mkt93fImw2MKqLGNoILX9amTzMcISdq+J3XhALtG3iVUbBSHW4JT0Ry4ZEPp9eEyxJ7rSIxJCQq6nnU+LOkva3VWLEHltU7wd5TiEX6tEhiGNXy2Fa0s/qort59aCXLatM3KUPlkifODVl1A7Sj5OIufiCh8eYVklpaYaNdzCNAnHxEllvi7B4mvT4gZr6qveP9OJkqyFDysgjls17GpBYk8plm9JVE3/D69KXL7DFnyPxZMLfV7q9UAZfEtKLh6TyGo2aylntiXZPEluinhEjwUhTnw8zK+C1KRLXUYcGqUYJV0GGEaIxNapSf+hiRtIvk/RQqr5gbWKCXgsjqRO39rGnXwXHUckExN4hPdBRj54eq5+/gDrlMyQDGBm0iWANsQ10RpgTZ5XPV9JHMhyKhJpanYP6bQUrFTBoEkhn3cdwz+H3b5K293CWfkSAL4ShnFICbAElScg3lrhjm1QYCnoJPY2Jes/QsqdVHUaYBqF033tbauMj/17DcAnCLpo8J4SXIkkVx8EbdbDlveqFqnYkF4nw6D6Rt4NdvkTg72MJbd+S12SXxNAVHVgvnCWUmpUQqPWCGkCYCnobqjRC1LpJtrRK0N9SXcHQF6DQGIbRUcrKUHfQj2+gzVwjHUTKsiEkaq0wjWbNEo420L066dRH0CV2GMrAPU8saqbcBEZvVz1bsaRCJOwJqa9MKQOCHBTZfQuv/ojMxV9S1HUBQsaiD2oNCaTrGjYpynbDtClc/iw3/sOv8Ylf+DPeOG9ydaVGGJvcetTkY9dm8Nvb/IebCR8/bfDvv7DK+nsjRiOfXK3C/s7hiQ3GdSjlXebnp7j17i1293p85LMCJZX0RqwUad32CLeY4aXXX+VPvvh1ukOTYjXL87UDVpddPvaJc2gC14pdDjtDFmen+fKffpMrlxYoFLK0ej2WFhbZ2zuQcCvZYoan99aZXZzFsFPliBdlXnV6gt0Xm5TzBZxChmpFYqQ2rVaXvCjYMhnV05bNe6lWYn3tBZHvMH+6qpRZ3qDHjlfgwxvrbB6ESEtCC3XGSi47jS6vvjypwE0bWx0VLS5WLVbnXK5cXMRwPLp7QxJLZxAMycuzMBhxtNegUiuqC+LFixd5vvaMlXPn1KHx+ZNnqi8uUf92u41li4FgRL5QVeo8YasINLDb9RmfLLJ3cMz82BidwYhhb8Dl16/wzrcfMl7LcE3SB70B/+4P7/E//PYIvejwd68LdDVV27ObT4bMV3SmSja/f3eoCOnf/pVLnPr5H2K45jHcviccO+JoQNysE1SnKC6cJ3IMgvouk4tXCF+8y+VfeZurK+N89GyJjVZLsR9yJZdykPDr//05nt48xrJjOQmQhCmFaoYXz54rSGOcCAVD3pMhzfoR47MTnLt0kf3tHXr1roIZ5t0Cg2GPsVnRI4bgR2pDLso7WbLsb2wwt7ygKg/DbhPLNNR2e9CX6sMso06f7e0tzl+5JDcc1p4/UhtyuXjiWuQdl5Hnsb++z6lzS3Q6kr7SiT35M0PNNfiDv9rnqGFSnNFxrCzfvN9gdcbkTLnMv/7KHr/4gyX+6/9iQXncb317D7J9Lr90jb2dPRFbKC5Fq9mkWq1KyZRi3mX13BUePbiPric0D46wMnnKlTwj5b0f0W0PWF1dpX1Up+8PmJqZZfPZGpm8q+L84ShgYnpKDdXE/CFLIdn+en6fjJkhVy2f/H+6jqHZeFHI2StnufXOewxbA5ZfukC/12HY8Dl1cVElLlrNAa++eYVWPeT0f/UBH7+YMFub4GivpwwdzW6biZl5vvzOMX/4D1f5/P/5RbxvfxHb7xAUpaN9BGKa2XoLff5z6hySbnwZa/FniY1jtGGMnnYJEx8nM4+v+5jCoxnsqOGXXA5D2SKHBpn8GKFYlqIRjntW1fXCQAa40yemn717aBMLOMIa0wyiXVGvXSOq31dwc7/7+ORSLFVEU+qLeUJ5ZjoOgqqRc7c+OibUUmwfPK1LdvxVUgGzHT9E0zKkwtQSdV22ihGLa13qZw6mXLR23sYeP0Wsj4lV+sT9bmkqVeuIkyVKsMdfgeKMgmwb2Txh+4BUC1RvXAb5sjD10ohs4RzJoIee7inKv3w3CyRXAJFpJoMe9VRdQA105UIbDZQGUbdkGTCv/mxh2kOT5FfcV5q72NEw9ZPFpcTtE1H9JkLvF8J7Uw3q/eMd7IxoaGeIj26QKcwwlCSd3yeV6mtUh8xFtYiU71vGr6K1HxPLry+sqGdvIqDnIEJPeiTVy+r7KLYsgqNbONVXSBmos4nlzBMUxjHbD0miQCUDk2z1BCgoVQ15He3ciR1IWAuShhpuY/o9tQD0BUxt59TAKg5H6MPnhHYOO7NEnK2pe5IAe2VQLrVeb7Cp2EhWYZKov6cGPAQ+plNiFDdxS1MEjTWsqY9gahF+4xmx76nIvVQkAy+DabRI0xTLquLLeVIroBkekXAJRAM/qOMdfKgWcKbcEeMEO+0RDfvKmGSmET4BWq+DMTGGFgsnSc5sEa7AyKevMXz+18o+JgruoPsUd+IivcE2rgzQynOEUkOJHWJdFin30cYuqCFFcnAPY+kNjMoVxR2SyqcMLKRWq7Vv/Ms09vu4+ZqCT4niKc5KfEX2Az6+LjXP8yJ7IOk8IHGm0ItZ4uYeceOA7NwFAtm6ShRaYEOiIijWiPIzZDoSfSsR9ndJcvKX9PC7D8hUrirgVpQZYAZ9pcyKDj4gKZ3HKlZIQtnSaugy7fE99PwZQm9bfegDbGyJnRsTitpvugV8UTo0bqjDuG845ASKVDyL19zClkmNt4Mh8CrR2ekZUn+kKNdmWWI9TynO/RB+/YaKuKSZinoTGP1jjKro20JSgT24VRD40miP5OAO+uKPY7TepWdoZN1T6Lr0i7YIOl0cmRKZDtrYLMnROoYtMDqBmgyJ5cXOTqBvfJm4fE7952BwgL/+l+SEOj77CuGoTlbcp0YWW+oRpnsyFY1HWKlL1P0mVuFlorHLmBIlll6QbHoMcQnIB0y+QvMkQpmVoc3okGhQV0RZq3pJKfyitKkuOEYwwNJhJLCeYESaG1OapTjUiIc7aqIsyhNr4hV0P1DxHtm6GzNX5BzA8NkfnNA05cAbiy5Otu0C5QgJh4cY1QsY0q8eHoJl4ohVIPYw0h5emieJ69j2KUXmTjv3MSuvEOoSQRPtYgev+wLHqqDVzioaqJ0Wic1lzGgbLzeFGQ8IO5tk3QkCexwnjRh1HqI7k8QSwx8dK5CMHGTMTE0NnYK0jyMd9dgjo+lE8h6U9IlUSJQJoU4qZNfQw3LLJwmUTAVD+sbRLkFcBlGK9Brk8sJfkE60QPum1XtHLjdJ8Qp69zFee4Ps+HVSIZFni+qCLU5S8aNK5D1xp9SXTJp0FcTPrD8hlE2kvH8EZtLfV1FRzawShkckEoX1hkTyYDWrRPK5qH0K6veIet9Fm//7aJ6QTC10USgd3iGTE9KuOH5fqKm0ITUJqezIBbN8mkSiz8hG0FYbXtl+C+BP9zsYtkA2N0gFTpYbU6wQGcKp93NX9JLSl15RU+G080z1KbXUxhDeh+kqqKYfPMYuXFKDBk8uvjJttbI40RGJF2LL1qVyDVuiycMNUlOSQ67q+ocHH6DP/SBGRif068RxTh2ANMkxysNutItTmCKUXnxVlFix6NYJhU8iOsfFH1IXnrj9Hm5V3kNbJG5FDTHD7i6mm4GkROxrpNohbnaeUCjyx39JatTUoExgfMQDNL8NdpZkEJAyOlHbpCZ6aY6wu6OMBqZZUgNIsE8SVX6DKIxVLy7cewu9chEtt0Qw2FMDGzVQ9dvKwqBnphgNNzG1qopvprl5nNEAP2piCDDUyKpNsYBB5XUSuKVM7vU4JpL0laQqGu+QupeUaYXOgMQWO8Iiab+tOuN65Tr+0Q1MqbiM1hXY0Vj4PrTelhpKZGQ46bUUOVxijHJx1Qa9E4e9VsV25wgHUutaVptkSavYQYAvBw3pqXUeK7WqHNZ9awo73CR1V5Q+SHqHmvTtTQHY9ZBZnxwQtOExzsyrSgspFHz57OmSZOmuY+SX8fuiKJO//imgr5zJojpUVYD0/2fpPWMsTdPzvOvLJ+c6p3Ls7urcMz07aWd3NojcwEzJXEIiHSTbFEyYgCXDiTJEGZItUIkQQNkSSFuQSIqkwLzLJZfc2TyzE7qnw3SsrurK6VSdHL9sPG/pxy4WmJ2ZrnNOfed9n+e+r0u6bIJmDc6YDvK6WlLezKj4u1CBxesrppmEN8ATToFwAQoyZPmesg0E6fPo7ceqViHgUkmbia3Cj9sYpzsYGaHrZwgEyCckawExyQak9yF65gpucx1b4qTuAbQ+wJz/Et7pJkZSV59X0xgqAGskA2LNUGYNT6ChZqBUqcJ+sZIFPL+n3k9tfIAx9QVFshZTgyAy9dGhcjob2ZfwxAYyPCQx83HcQRet9xFW5QXc4RAtNan682H9I/zuY6z5L6rPTGTU0N0NKVsRRil0y1KJH+/wfZz8CnHlCoZVxByeMojb6M099efTrAkSxVna3T7moImZLZBZmaP57Ak3PvP3WZrIUU2PGFoJ5iazHB8PKORCvvUwJBeE3P+9q+w/rPNsL6Y8EzOqiy9aY35hhv3tHWW/OD1pUCzmVf1C1HmxrmFpBoeHpxTKGUVETyTy/N4fr/HijQq6LuAqgy9+7gLtjsva423ml5epLU5z5/vfJwpMSpUcpVqJ2I3otNr0+n1q1Sl63TZbm7u88MJ57t19zPUbNxgNx5hOrIYe4mCXan3n1FXDidREmtOjUxzLIJFOqIXA/mZHJciWr81SLWXYfNzgO/ca/OU7QwqZkLlZ+IE3V3n6eIuRl6RY8BkPPTaeRzgZm1p+yOc/fZ5yVTR0HUZhkv1nm7i9PstXFhQvQmK9p8dNli8uEZo6jz68S6lS5vylKzz48A7jUY/zV6/SF1q8XIp7pyyeW8F2bAZt0Vb1WHu8yfLlC8xdWOL++++T1A2Wr81zcNCjezSmUPSZv1xjba3JH/92k1+5F/DassEPfKxKsz3mrdsjrqzYXFpO8sGdFjv1PumszTd//UswCjl1qoRvf5vEdI2oskIkXd/RmdrVyiVxKHHw3jcwJmeY/dQKv/C3/4jfftDgh15IMZ3PsXY04sPtDnpo8c1/cpXJS0m+/7VnpGxL6e8S6aTajCYdg1hPUsjnaDYbDPpDOo062fKEAjyL9SWRcrCdJAe7+6oq0Gw1uLB6hbt3brG8cp7I82mcHOIHIVMzc8q69OjRYzLpFHPTc6pmMB65nJ6cML8wh25aRFFAs92iUCyqiqnA39zBmMP9QzQzVN35XLFEtzdC7wRUL2SZulrly//2Lv/iK0NeOh8TeAZvXE1w97nLhUtlHr5/SsI2+d//1xt0T4/Z2zhhHDkkDIvD7R2qizNkpPIiVTwzwdaz52SzGWU/EF2hgAknpqpk0zkePHzA6qXzSpN8dHhIu9lhYfWcqnWJklVAgrtbG/ierxZDogQtlKrKpCFpvWDokszl1eW7Xpfv8oh8Ls9AQIzyv4sFTg6PuP7SDbZ39uke95i7ssDTO2tk8klm5idZfDXP//V/bPL3vtLgP7+ZZmN3QCiqOTfijetZPnrS5hubHu7wL9V57uTefVLTC/hbz0hOLikta2g5WKHAVE4JPF1VlBxJX3UFAt7GLJYZ7t0iPXmDsQyFZQjuioVHwxBA88k9jMWfIOgf4e19FW36r2ClRbf6AD0aosv3veJSpbENj9H+PZzKNcgIfK+FI8BUr64GT6JSNuW5K2kuZbQSxZ6OLgA4+f6Vc76co/yQhJXFlwpcpqSGfcJMkrSfPG81ie5nljCk+ir2reIrhHtfxqhdIzRnsYI9lVyO8hcITr+FP+qTPvdTjIaHGFZKGc2cZEYN7GXwaukJ3KiPlZyDoXwvzjO2p0j0NwlMMdQEKikat+vEbh1zchU9UTyD8kmFNC3LkRP8UYSdkvqBpClKaMNHymgmYOJY7hnuSEZGeN4JicIKhDmCYB8LByNfYXz4AEeL8KySAuNqfohVnMWXO5PAahOz2NLMlp+/8RCzdEPxggxJbxg6oWni9PfwrSJBMo8ld5HCCs7u11UtxZn7JH5zH5MGoVlSGmM7aTEedLFkACFLAhksGCkFvnWCY4LsNbThHtHJY4LsEqnKdcaNdwk8j8zMS0SSYJU0pOYQj48UrI9UAe/kuRRx8a08TjRS9WJr6jPKyuHtfxs9KSDdtEqbqDqeI2cuWzFJknLvFJPdsImueSrJKT5wGeIacqbNikUBjLFNr3EbM+qhL38RBkMYb6ONBRqJus9mZi4rnXoUmsS9Zwr8LFXoQMsqPXkgS5XRmETtPHphCbcnqZYYX5elmzC6NPzuM3w7iyNL1XFDwfPl3BcMpQ4rOuqb+Gv/Ed2PMFY/hy6/b1JR7t7553FQ3yCeuonujlTM0fAbxOUZaDxHK1yDQA4c4mZJoqUk6lFCO/yAwO1j115GH52iifdweITRfYI2+QoRE9jBFp49qQB3cfv0rKMz2lVTSekpu0KNbq3hFFdBPOF+QCwXRTNES0/jHjxQGxmjdpmEXiayRR8yZNxrK9+nXFp02cA7k3itTcxUUk2H/JOn6KLi8k9VZ1JTJP00wVBiRB0MgSFIRJg8emuPaHQXP32BpDALBkdKLWIGntqeCDnbEwdp5BGGcoGdJBg+R5PIrkzMNA2/eYzlmPhZ0dyNFXTKbT0jKbDEQoWxxLjzcxgSb+k2lTJEUg9GUv7/8rC8zzhIqV6u27iHWXkVJzNJIB1lM1aVgCg+VJ2UKHuO4OD7EATYcy8S9bvEsukba/jSo5FKhvxyCVl6rBGlTDRxlcfSD/qOehjq6VX0cKCAYKGAVvwTTNl6CWZRIq2iE7RlqjhCk15tdkEdPk1dlF2n6q8F6gM2RSQH2VSZ8PA+ZmEGV1zXto5rSyVEvMXH6sMf23MY9GAsQ5AlIul7jzzMiXmoP8Yc1Akz4i/XVRRT/ttv7aKLHs0uq1ieQG1sY6ziWVFnndTiTxOFTYKTDXAsjOysgnK5x++SqH5SRXDlzZdtaOzLhdrGlhh+dpkxGeywQSAHcgHcZabwZCKcXVFfQFFvDVM+X5Wr6kHCqK+SF/I5MOTyma4yGA/Qjx9ilWsQ2FjFi4y9TYLdt7EnPq10IV7rKaHUG1JFEqG8ogIGO0Ezs8rDaWo+Xuc5ZnaCILOCcfS2YgpEpSsKEiORkFicspkpjIykUgaE0gXWpedVw446jKXnHOSwk0U0UR0O1rBmf5Zx+w5ad0eB1cKJCxgCv9NSGGYJd/gAbdwltktojkSVO+hjH2tqkWjQxxP2g3eKrkliRQwKVULR0shnTROYTB5aj5QOLnAqSO/ECoU+mwK/iZGSz0afyBup/qSXkgdpFq2/qYY+ev4NAjsBnTqWKRq1JGFjHUMm0kJwl612+SV8v4FmzRPL74WkU6bfIJBYmopTO8SiPBmB5R/hpWbQGg+VQtCUKPT+N9Vr5ovKMAgRY2eAVFXS6MWyMkgI40IZDcaHxMX/FNHf/w6WeIjLNwnaaxAM0AsX1JbLNCROL7AVD0OXWFxXDY00O0l4eg+SBaz8ZTTZTvTX0MuvoonmRoZvkQAJs/haGlvMBq5LnHSIwyxO1CZOFhl5Po58HivSDW8rToDQfbXcPJEkFtwO+EO8oKXi/jRki7FMoAeYvR2C3OvQ+UgBXkLZYAg8SZ7TmcuKa+LWP8ARPalVwRwcootuS5ch5KbaAGmyCe7vnsHuhHwbDtD1hAJ7jne/hl69hiHU4Ug+yUWiwgrje/8Mp3QBo/YZxvVbpCZ/AG/4oeo4jvQyYkazgjFDfxc9dV7pffzgGMYjZUuI5D/5m1juKUE+rfRAMoANvS5W8QKRACm7u2ixRZATR7Bo/AyM2CYQ+GjnELP3lKDycWKviSVg1d6G+l2OBIiUmySWFJfE7jSLcLRFlL2u2C6R1INE3xq1CM1JNLn8WzGRJwBWgbwmGPtNEsItSEzgjvoqlo8YRiRtI4eh7hMc0c3a03D6DTR5D8ZrxHaFRDKL2x1gGvK7IDClpALMakkZJMiXfkwkfdD6LZAh/GiIJkknc6i2DmamqEB0iWRVJACqf+9JnWPy4wQbf66+++z8POO9P1VVLkOSPcLmEdCQKbXTAzRTLCoBfiaFZRQJR7tE+qQCmmnhseLYyE3Kl0tuaZWg/gBduq4FsVl0cLvHlEpLjI7vE9WmyCy+wsVzn+CwbfDD1zO0fY2JiRJbD/YoLBl0mwnqA5e//HszZB2TZzs+q6/Ocfete9Sm5hkMu/T7bWaXlxQEUGLFCdtRw2ZJS8kFS7SRi0tLmKbOs/U9hpK2sIR/0FRGl8svzpCzU+zs1Om3+0gbJZ/Nq8j3/IVFTo56bDx+TG22przuE7Uqo5HQrkVNGyi1587zI0wzYOgF1CarOHqS/rBDcXKat7/xPpOTBc5fWcFyDA6fH9EdDMlXs6T1BBOTOTonO3zrnQFf+aDPf/2zCzy5u89gYLA4n8SLdfaPBxw2R7ywUuW7t+sszmT56S9OkzBdbt0+Zna+RPe0yyc//wnavQM++M5DFqZr9D2hrk8q0FWv5+NYEc36KcOhh+M4TE1XGfkuJwenLJ1bOnOIy3nGDXm2vqY2/BcunldDBzuhk04lOTxsUV2aA2/IwVabQmbAxfMlvnl3xN/6xwdU5lP8zOslviPuesOg0fWolCssTGbZ2T3lP7xf5/d/bom/+nd+Ap7tjZG3awAAIABJREFUcu+dNldfnmbv8IiUbJVTaQLZ1sW6Ysakq/N0NtcxIw/7/E3Kr13iN375N/mHv/WcKwsRGVuOMAaLk3neWvNIG02++bufofGgzlFnqJR+nXqfXDHN5sYW0wvTeH1JMBmsXrvCab3O86dPsW2b1fOX2NrZQDdsEokktZkqu+tbbG0d8pkf+iSPbt+V7BGJZJK+N2BmagY3CqmWS2ysbeAHPtlMlkw2T7FUZH39GZHvc/WlF6gf1wm9mO31p1i6qS7Y+zu7TE7NMRr1qM1N0pZufPNYXdjazSGvvzbF//mv13jvccSNK7Yaej7cGHO+EPHiNZvb66L1i/hnvzRJeGzw9HmDlSvzPLrzhAvXltUw4PatB0xP15S+dmdrnUKpQNJOUZ6epNtpMeh0KU/IAMTgaGdP9ZRlMDm5MMP2+rrsYClkM+zv13nhYy+ys7VNHEYsra7wzre/x0RJKhhZEkmL4+M6S+eWGfdGFGpF7r5/h+npKZU+aTdHqmZgRwZmIc1UJcdwEFCckEGtoRKiU5dzvPyTHyiN4qsvFnn3aZuXF3Ocn3PYOwr4tb/Y5X/68Uv84u/8O0bf+QOGoZxJj1SCximZyvyUIIU2+THczl3ik1P06k1F0/eyJbROh3SqxODgHbTJF3FiWy0VkxNXGDefKsWqJLKGiQWi1gnJ/Nmfy3LHjOIM3t47JIXRks7S80Oc9n3MzBxx5U3C4QZ6dopo70NVl7N0F7/xCK1wgVgAe0KX93YU9ycWRbrbJEpWibsC9xsTaxGWdO4z04pvpjhIYtBKivM+xB2eYBsphqMDElZSDRbEumVGMZ7wtiSq3nmg3i+7eJmw91AZg5zaFQWpdYVVIFW8yME3c8qCEA4F/DqJYSYJTx6jV25iRju4URUNGRLY+PUjfEkp2g6OpH2FSSCsBDm7WrG6w0myWgb8hiwPwja+21SfN9fIYZtZYtHxpmbwju+ptJiRLaC3m3jFVaxsBvPojrobhWaM4wo3ylN8Gr/0CtlMGXfvW1ipWUJDUuNiJ8kr9bksBGSJGBsDdYeKTUl8yiA8j24kcWLRQ1uEg0NlJdAam2ilOZCLrNjTpIotl3lJK3Sb2NNv4jbvKjNApnRZVbSlDugJYb9wjsA0MdIzxLIka69jJq+iTRRwBbg4eEZq6a8xljTsuK1U2XHQwQwDQmNSnXmc1Z/C0ly1MDLEMiB9eruiOAZyVjKnbqIlZtDa6wQK8HeK1jliEIWkrAC/62FNzKF7XZUU0so3MUVxnBC4eB0GB5iJOaJM9owDcbqrznj67OsE7SPMeJtoGGPNv0Hc28BvN7EmrxN2d9WdUur4cesJxvRnCQYHeKfPMEsTYFaw9TTD1ockCufU+x36bSLPUpUWWcRqnff/qazCVUxQ6OVx5SaZ5IwCCRgS/S7OMD7ZUj1OfeoVHHuW8PQdtPYj9IUfJ27dJ7Qz2IWbuOO6ukhKnSAYrYOzjNUfEuoNrNwUkVFWvcag+xA9XcDQC4T9U/RMnkCi7OJqzswQqm71AqOjd1THxilcVlCmYXNb/T2JVBI/GkJ6FSTq2HyIff4/U4ep4PQdnPQl/PEGsSbwoEl1kfVj0Wj1sIUm7XUhLGNUzyK0/e07ZKrXGQpLIJ1AiyKcREVN3DR5EYU7IBfH0R5x8QbG4EBp9Ozam/jDOtRvKTia61vYiKd7Aauzrg7JoZbDkgeBgK0SJlZulWj3jhpmOGUxFhwTjFxF9lWXXiFinp6gF7LoksbQsyDDBm8P05lVvkvbjwjT4vc+JUgIaEJ81T2i0TqmVVYbpXH3qeqaC/BN83SSlTlCUZUd3MXK1FTnL6H7BAJ41AQolMaXHJ0wEwTwJzFwAUIJdTtbRWs9VhfxQHMxJaa6e5vIl0P2ywSmRSJVIeiuKT2iPMgkViyTsWg4gqR9tnWTi6NuobstguAU01xBT8vGdF+RxGOhWUei9BMtlAASA8VyUDbEoy3i8nniZAKrf4g2cBmnUlgSVRrJa5ti6LuqE24qZ7eP39snTs1gRzFBWmLNZby9v1BVA4rnFYhGHz4nSFzCFMVld01tIK1cjtgX5VMdQ2L+EjmeWMIaNXDHoEenmJGDVr1O0LqPnknjjzWS6TlGsiUb7p5tH53kGZSks06UnkT3UfG10AiVBlFcBYHbJhy10TSPTO0Gg4N7hHSxJl5T0XcrU2Xc30P3BpiZC+j+Ie54gJm9oFzc/limkA/wnSlSqasEo/fwxmmsfAlv48s4+YtEhUWlveHwbXyti51aJZLLt0T0hWKalgtyhKnJZjtWfy0e9DCFo5C/gC/MBRkohUNCwyLunmCI/s220WTi2O8TmgOsUB7KKAKrLko/oeF7Q+LyKjQ2QB70ogzULCKp4mRNtUE20q8pToH79DeJStOkKj+I33+Olb+ILyrB7hFh6wOs9BWiyY+hPf1NwtED9OW/ReRUSLp1xjKwkXSSQOISKaVLNAbPlUXBqa7iSdd8cIRmJbAyYjCwFRgziptKcXkGZaup2LUjXfLUrKLI28ksgTtSE3KBvhixTiiTYOmsCwAn1tHEcpCeQos0vNhBH+4ptZaeXlGpB9fvY8vGOhzit25jCX8kNY3rDcX2yNjtKoK9JVR97RSNCVwZHoifuvYp9PY63uk7mDOvEScuqH++6qknJlWFBacow2d1GETvE59uo5eXsO0ynoBglHd5Hz0vipt9DKnz9J6SsCdx7apKMoXJFQUalFpIHBuqyy8mCsOQC2pKpYtkEGXYBQR9LdgSW6J03R3C/IL6kk+6fUYNOVzNqI6ZZQokp00kkTjVj49VFD32TvHqT3ByFci+TDR+cJYKkdyAgr+ZhI13MQvXzibjkkaRGkHaVjxFbfRcPVelqiEcO8MdnAGJBKaoicqviOeeqIRG7GnE7Ydo5VV0sQOMW3hBF1NqY4miAkP6MgjWB/itHdWz103ZkBwTmVVVE6K/QRgaqqokhC4rlVLbQV3SCqMWcTqPJsMcSeokZqDzHKO4iCuQ1Pu/hpGbIJ7/GRLBNm73BD0zqSBHptTeJLrtBgQCbpz+GNHBXbRkXtXQopPnUJwhLqygjRqEAniyiyRyi8TpIoPNr6h/v3X5v8Hur6lkjhzogshSVGev8Ri7tKDeT4lUywNIAJ8yWPQYkkyt4rod1RkeH9zFKS6ily8TtXYVkNdvHxIl06SdNKNWn9h/TuWzP8d/8Td+lt/67cf83Z8S/7zO8SjAC0w+dcPi8Sb83q2AP/qlNF94vcI3fn+Ha6+dY/PZHuWJItW5EvWDLXQjR6pgs3Z7jasvXqXROKHbaCoQ2tbmOufOLdHrjzltdOn2dBoNObiMuHhpgSvXFnnw+JmKaco2c/nCeU72jxiri3xNkbg3nx2zenWKRKbAg9uPsW0DK2GTzibJ5YrMLM/z8MN7+P0hi5eXaTXaNI4bJC2TTLlAJitwy4DjnQFaWqdQcPAinfn5CY5299TA+bd+e4eNIVwsJ5U5RWpP2bzJaVNAqwG1apoDsQIPelxayvL6Czkq53JsbLrcemeNH/rCDdafbGOlDZLJtHLR50SxmDC49/2HXLt+RT0zt5484cKlywxGXXqKDt9Xv+vL55Z5/OgJCcuhOFFWYLhMMkW73WJqcZbT0xb9Zl8pEvvDUDnmAz/g6tVp8pWY3/2azv/2bzZ48WqSVstlsSZftDkePt9ndaXCUtHgV7+6R2jpvPMPPs21H7lC9959GusDpl66yuDBfbx0loQYUmR5UK7CvixiCiRWLtI7eIw90OmnsqRNF+PkkDf+/i0+cXUa3fE4bnv84LmIt49t/uTtLod/8jLd1ikfvnvMysIkgSUNIpNsOotu6Nz54BbpZJrSZEmR80VdGHjCytB5dv8J0yuTGJao/nqkbZt+36NUk2SkTiRVG0kquRGjQY/J2SkKpRo7z9fod/ssriwy7Lt0u23mlhYUa0HOBJbuqO14sZgTFhnFSomjnR1MxyCXz3H39gYXLyyzcrHGe7e2KOTyTFUCVeE48TL82m/t8uUPe/zL//EC3QZ87d11XnuxwlfeqzNfzfGPfmGVbDHJ7e98SCJTo1op8OzRGrlynnKhTKN5SrlaVvypo/o+CSdFuTLB8YEwmUJMGUD2xxSnZ9SAK5VN0ak3yBayuCOf0kSRwNXY3X6GO4xZujhNdXaBB+/ewYtjJkoFBQ6cmKny+O5DxeUYDAZSoyY7kWT/+Z6Cp81Oz3N82GRueQZv5NJsjGj2usxUDC7MJHn7I59P/UqL1xZjanZI2zMpmBr1RsT8gsbvvjdk82t/m8Url9j/aIdarYIrKb3Qw49sxm6L3MIXscIGo62vY9Q+QeztoJmzaphrZ5eIxQjROkSbelUR603LZ0wK267h70gq1sae+gJ6cEq/ewcndVHF7fXenjr7ygTfEt2uXCwjqa8tqIi0WZ5gPGirWpj05ZWtJjwllsRfalrZCDSB8MqZ3nOJJy4RikZcCO7DA2WuVXYUX8qigTr7ybBXdI1RU8CDSZJxlrEYe7wG1ugUr/KCSnmMnn8Dp3IeR9kGOoTK1HKEPfUyfnNLcUrEMjPa+Dqp8kV1fgxGhxiGwGRtdK+l9OTuwddI5l9Sw1QjmyPyhebURzfTeKMTrNgjTJ1XFjNNbD6GLPnkLB7jRh5W6Rzh/ruqZqIXbkB4ynjcUenUhACz5XvyVHz0ozMGkXCnGg/UmZ3uEyI5OZZfQG9uqGq4VMcdLWYcDBXvY+h3Sei6Amualqe0zQjXzXuO77WIzEVMSRQGYpVaUclRGbCY+RXCxvfRc7MEYjNKlTAF+DzaVMpocueJ3EOSGWGPJRnXn0B4gDH5RfTWOmOvQVK6/qk8Xv0DzNQKUSp3Vj0kJmjtYUxdJB72cIKOqiG6jW1VxzXz00TtYwVZd2WBY8hiMo2vC9dZoLICZfaxEg6xvNdBT4HwHWEFyCCndaT4PHrgEeWqynQm1qdQPo8CNpfhVixJvK7S/ErNW2xbSWNE2NcgnSROF/C23yUxIZYgjdBtqUG4VMUJXcxxF1fOJYkkjny2hTmXSKkEUNzawKi9oBLoQbd+NliSantLkvwVTAZo/Vu/GvteG12cw0YOJ51meLSNLfRHmdbEOdzuczKmh1/+HFH3A+Xylrh3rA3UtjCKRfdlY6akWylQimMi0UNobcLAwpQagG0r+qPEND3ZMNhgTH8CrfFUbcvNiavE1cvE6+/g1/+SxPWfV/qGaNglEgiWXyf2OiRKQm0fgpAkOwdopSmi4VBeDeJMQcV1LTuPu/1tyMxhZuYJhN4ZhegT0i8cqChSKBFXgQxGQphs43cFtiHka1vRvq3UeQKtiyVqOlmSjw1sM8CT6LREXBRRuKA2h2FqlfD0lqKjB/1D1RMP599UYLuEK9s/g3jkEo03sCpX8IXUrJ2R7j3Z8AvLbryDFjkEcuHxmyQrb+CKy3PUxRevdvueood6qbmzTXBzC80yMQs1pRrS4haalUIPdPzOMWZlSQ0t7GwNt1snSibRPE8lGMKT9/Ez50hUX0YbHEHnLmM/T7o0qS5EMnSQS4/qesuluHQDTcsRH72FVpWHiEBixBnewN+TC3AOQ7zuYYewta1sBob0+HstzESJMCXbLptYgHWywZHPmly+LJ142FFRK6lQBO4QW1Gsx3gTn8dsvq8OFgQ9tVEeD+rYXhOjIImEttrCxvlzqu8etA4VoTlRuqQOR/5wC0O88XLhkfRIKsWw9YiEU8MwRmjOImE6D7IFjjuEvUMcuQBFDsQeXmhgDZ6rZEsgDypJOYza6FpfaY687hEp6Z6pLwwTbzzAGPcUFCTMVLEFVta+TZSdIRIYoXxGTdHQmTjekEE8JhYzgBBp1UNhVz2ktcwSfvselsBeMtfRmh9hpiVOJJT8EzQk7txTnm4BS1rSFx/uYo/rBIVLaM4UYfM9DBJE7QPibEpZFMz0wpnrVjNJyaVWcwgHmzgTq3jNFprQzzNZ9NGIMBhhFGcIAzEBJNHCU7UljIUXkRa6fEwwbqv6CLlZIt3G1IZE0hGPdKwoSyw9VG/EsPOARCqPlr+haigq8q57eO1nmNkFRs07ZOZ+FN0PcTv3cJw0Y93BMpPEjXXcoE6q9sOEuQKGTD+jNHFwjCVfEGlJ8gzOfpeMAf1hj0y6Rq+5rg7vico8UXuLcX8TM3MDQyB0kuVsP1MQwFjqPBMvqAg9wzV5IKEbvrqsjx0L7XALUiOQFFGUUId+RsIu6WKIK1cYJdLvly/TYIjlFFSMTeA6keWogQBmAsJjMAqqWy6RwsCMSAhsNDLx3brShsqlX6wXsXh4U7IJPobuAVH5qoKYcfyIQDewKy8ojRB6Em+4R8LI4tr2WZVKT2FZwmVooUd5RbHHCHGsGqNBC9OqYznnFWBO6TRjg0AX0vgMmhaoz7TWfUpy4a8wlvd9dKCSDQLal5u3XVpSGxa854SZcxjjUwKhNctwaHhCqnQOd7BHpAnozcZoPycyfeLy57CG27iNj9Czc4pSbMjXb+s5fmpOffFrwvDQcmj+CbgnRL1D9e+2ai8Sp6+jr/3fuLqBMfVJ9MhU5g7DtwQbqt7SIFnCDi21yYgTi3j1P8W0FjAmLxE1HoHUrrSUitdJSoPYwAgjBVaSYYouwyPvhCBZxA4MvHig0jJR7zm6LTFID0Mi+pImkJqQAI+E8i7blP4xZlLMMyPM1CRu8576rnKmP04YngFGhdMiW3YBiglY0O/ewchdU6971D3EKNRAUhrdh8T194gyy4pIjAxchD/idzB625iZFaX3C8UwkBCbSKDeZ6ns0Dk6S02s/lXCo8ckNJ/AmcQdfYQuw9agQSQD2uQSsSbPI1NaxkRDscQMoHiO+OgxXvM2mWv/ldKwCqOmkvTpN2Pyb/4IJ9/7GlOf/EW+9EqBYeiT0C3awzHDscHNlRS//s6Y8wmPD//wdb79+x+RLsZqEOT3PW5+4Q22Hq/TPTgkUckrpaHoH9WQzRszvzzPk3sP8H24/vI19vZ3+N43D7m0mmP53Cxtoe/HPa7ffIl3v3uL2lSZXCrLsNWhPRpQqk6oKL2dS6gB5PLSHI/v3mMwcDl/4RxDd6gGnbausbu3zdLSecauz2y1RnfcI5dOsrV3QMaUqKpFFMR8+cvrfOnHlpm9Psn4uMNHa13+xe/usrpYIO34TORy+NaAhJbi+LDP5JTD4YlQeDVsy+WlpRK1aY1zF2b4sz++Q7WWVDA+iRMbUcjB7gHliQqZXEEBqXq9Dslsis01GRBZVGoTtOpNKpNl9fkRDkHCNJSOsFatYaQS5Is55a7vDNucO7/MuO+xcHmF3vExX//z+3z640skp2Z58u5DXnkxQ+N0yD/4wzH3d0xMe8TNpST1tobW7pKbLPG5S5P8+3e2ee/ZKSupLN/41dexqtdoHT6nZKfpywHI7xE223Sah5QXX0LLpRj0T8EzMMdjhv0GKStmMA5w5lfVQCBbyfM//8wv8u0djWsXHI73T5ieFlCsw9s7Ln/n80V+8idKvP/dbaYSeTwLqlMpjjaPaTYHTC5Msnz5PDtPNtQzMVeZ5MmHH3Lh2iUs26S+XWdrb5OrN67juwMcqfSJg3wMw2GXmYVZ9XpLiidfrJDKSeQ5Ymdvj6mpCttrm8qqNDlbZevZFi+8cpPH9x8zNT9NKZ1ld++IcrWkuARrD5q88uY5FpcX2N3YYGfviIlygVw2T2ZSvqvHHO+32d/v8P9+vSeYaV5fTrN11OXmapXaVIF/+m/W+KFPp/ipT6YUVDedr3L09DF2tqAI/yOBtA0D5leXaOwdMhqNleZvb3uL+flFRJF1dLjP3LJcjjVseSbZDg/u3yedEPWlzeHhkRpolKeq7KxtkC/kVK/4cGOHmcvnKBaKnBzuE8sAWddV3aA76DFodqnOTlMpF3n+dINQN9QF6OT4RMrAXLt5mfX7z9U/e4zP0rU5vvTz7/GsH/G560lO+ybdVofZcpFsKc+/+oPHvHo1wTfvfxcev0f95AlpfRG9UqPbuIvW2id99b+l//Q/oHcOsa/+Dca738X06phLPwq9tjLihLqHnl5E6z/HyK3gdfcUc8nKLBJ33seXJYGWwYwOMKIMgajlJP5tpdRZNBgMlFZai/NY5fPqIu+f3FIVM23qM+ide4wlETVokTz34yqqPRo30OUCKKSqnlzAshj6kEhPo+VmcBtbJCT+XZLhwqmqL437xyp5FfsdtOwKRiZD2N7HFGVcKGdIR/HH7EyVQKJdEkF3BRVk47cOMUtzRFJNGDZImTr9+vexpj+vIMcyYPOtDHFzEwQ4K/re47cwqz+oAMO0nhCn8pC7SuQNMJoPIDeJZct2O1BaQwyP2JxRKuKgsYk9dYPQyEL3sao6R52niqcTyHJO6jHDU1XBGA2eYwc9At9SdiE1MHB7BM0d9JmbGHhY1hJu5z6hYWBXL+LVn2Fnauo7MDy8i5GwCcyzO4aknjUzg+8dEvfHOJULRCe3CZwChpjnXB9LQNTjDp4kBJKJs6i+mLXMEraVx+vvE8u9ISs17UX01vu4hk2ycJWgs0UUJNG9LeLcMo7bYzjuYxUq6LJAzV9CE05P40AttOziPL5mYo8O8dSSLsCRs2BoqPuWwCsjlfLIEbpDNFkSpxeJ3Bap7KpKlnd3/xhDln1SRW9LTf46fqirZ5ZBBnewpT6LWqJC0H6KJRDDMSSUSX2bOLOAkcwT9LqEfotEaQnf62LLlf3gDplihqjwObzmt9XZwEzX1HlDzvwC7g0sU931GB2hR4aqCkg1RawBsRj5BLLsCui4i9Z6/1diie6nU5PKwRl6A5ziVeLOQwLRUCXyJA2DYWwosJE/2iNBGj1XUg5EOxoowr+oGPzxGFOI7OJil2hvIqni71ZOem1j4vZz5Y0WT6NsJUTzJAMDAaLFwzUV/40KF4nb+xjpBEH7EEdikRb4bhuLlJr8aZVZ1bkOuycgmipborgtnOKLxMkc7sFjTL2FX7xCwkgTjHbQ4wSxkOVFneZMoYUBWtAg9JPEwYnaJOtZ2TgGaKNdDCeLG+mqH2VI1F8XDWBbaUv0wk1s/4Duxh9gX/45OHibcOJTyn2O8AlyL2N6T4na6+iVV88YAratto5GdhFiE9M9ZDTYJ1U+TzAaoTefEORmCJwMpqiqfFfpywadNcz8RfXgkImVvA6idpEiiuhSxqcP0SvXiPQksUTSkwaanlD+x9jdwq68jt+7h04RQybpep7x/vewpJJQO4dlpBnVt4lk2iqR34F42suEVoienGI8FP9zEj9RxBmJo3ySUNRv0q3S80SGdNIfKj2JxHtNR5QhbaWdcoMMiZTJqDvGtnsY0jsLZOst0Z8hdv48ut9kHGWx5EHipJTH1Os0sGsv4o7qWFYN398jIUOd2EDvH6lDuNK9+TLhtImkYqH1iKUz4zaIJB6enkNLTDMORiSMpEpzmIHYSh0FY5NoqcRb/VDoRSNIn1MPKa/7kLDXxcpOgFMg7D4jKaARgXQEHeyyVF52cHe+jb38eZnDqcGDLrUEmb4VF84u3E4Rd3RGABf9mSFdN39A4G0r8JwwBWSCZyWn0OKBunSH8vPZCYLWE3RrAmvigupDxWYHXcaOrrTUbOx8FV+iPJpo0cRlL3GlLLQfE43Fj+6ilX6MQKJDdamOeNjVl4kGAlxMo/W3lLXDsVNoMt0cPMUIk5CQjWl01vvXM+hCfO9+pDzmptBFnYCoI1WILLoMb04+VOwEmdLGg1PIrYK/rVz2WlYuJ6JfzYrlGEN+3v4+JCJcYxZbhgdSa9cm8Pp3iI1FTEfIuqGahMo2LG69j5ZZJk7No3sCLZOfcRd/0MBY+mFi95DIO8bWJC5bUJuCOLukyOwyRddLr4KKGsbYVszw+D6O0PWDAF1SEWaBQJJMVgGvV1exNj22GEmdSIYQtctEhx8RTpxHF6J874niZUhPUFgMWhCpg6aVFkVbD83KEQw20Ywy5sRF/MaGSqY4hkSXR/iJktI2ygAySFWUuz1uPFJxfQQyKEo5vYghh4bcpNJ2iinEl8+7XcWxxE3bJpJnlqLwjhQAyPH2VaxZTwjgqq22wGTOY0gUzagpYCISbxu7aosi9SUE+GmIck9OPiZeax9dNtXeHro1r7bF8vrGekFtpPESxMPHSK5cFI8K3NfZO4MbyTy6+4A4ruFULynnvOXtqzh3LLWSVI5AIKbyu+U7Z1NxbGJ7TNx30ZJJpaYS6JAtLA1NunTyHSL/DNm8C+Ts8pkeyJrCrp1Tr4P6+T2BmFaUKkeR8w2BI5YJZfqekoGoRyQVDvlO662rDqEcYIXGFPmeSrbId44+6uD2n2OLlk+ZCZIkEiXGnS3M5IzaKgXjCDM9jTfeULA9+UPH+csgtbbkFGZ+GZprqmen2zFh6BFW3sTuPyUMOmipEqEMohXpdUxspNGk9hAOiDoCDiwSFV9WtF9VzZJDfDAgEM2tDEHLq0SdZ6p3apkFLMmhSUWnd6D0VDLQ0tKThP02tG5jCjsjk4feLkO9iCWbUD2PaXoK4BoLyCi7gu5tYlhTxLFs4o7Q3T7p+ZeJPYkXZujvPqL8xuvqUPHCpZ+kewovf0z8EAkMJ8X2YYuXlib47t0G6/2Ynf9vSUW3N+6cUJ4pKbL52vt7rFyqKZaA9NQnlxcZNXuUSjkVI++1ulSrE7SbLWYWZxn1+vS6I4rVSU7rh+QL0r9PqANZrzPGscQjbamO+KMHh3zycy+i6Rb76+tcvHEF00nx+N5dTMvh6o3LPH20g677KmkngNzT42NmVpaRSunmI3HE51h/uIVppHjptVWe3N5gbnGCai1FIgtf/9YOv//npyTyCaYLOZLZQC0+9g/HeOOYl18scrDfQLeSHB0NpMXIL/yXV+j0d9XQXezqHgEzsyu8/dZ3eenVm7i+y/b6c9KZDLob/v0UAAAgAElEQVRsy4a+2tBnyjkq5TOOhnTAq1OTQuKhNxhhWwmq1SLrD5+pTffs6jLuuM/U/ALbz7ZpNsUYsES3MaDZ61HNGpyMDK6tzJK9qPGv/p8tfvk/jlia9rg643DUdLl6rszOfpfVySIPj/p8+VGDqRB++aeX+JG/+Vk1dB+uDfBE0zxdpfngAwXbSlZqqnscJjXodolPWiRmFxgGAVZ1kmRpDu3kmHF3Ez29TLE45K0//Tp//d93eXMqS7HQ45WL0zzaG/LVh02mzARf/aUFHpwec2F6mb3jY/W88oe62kqvnJtjd2dPnX+WlubZfLZLqZRXEf5MPq9YErlSjpnZWd7/1rvky3kKpRyPHzxhfmqag8N9qnOz2JZN4/RUpT2y+Ry6YeIk03z04R1eePkGqVyBW99+R6nhLly/qM6Ke+uieJxFE27JaHSmYTVCsqUCB3t7TNSm6NQ7nBwdYKccNRgSDsH0VJXqwiT/+nfu0Nh1ORyPeWUxT3k6w/fu92m3XH7szSxf/MIq7751Gz9KMbdQ4XCnrixaEwX5+QJOd47JVUsEUcj8zCRPn21y7vwM2xs7FPJl/DDi2dM9Jiopli6u4Ech7eNTJmcX1JA0n0hz0u7QODykN3Z58zOfwUiY9E7aPLp/X/EDzl1eIpMtsPtsk2KtQGWiyvP1TdqtJtdvChw8QbfRVxR/M+Xg+S6JYpaPPtjkhz+3yrff3+az/6jLP//5aT66c8LDeouclaOYMknmdH7zW6e8+2f/Cze/8LMc/Om/RAsCMhUBPYtm+gjN38GZeA2ruMSoua001UJ410P3zETluliZIn6vTjh+Rrr8CuPGhkqomgJf7W6gddbQ7Bx6QjhmLXS18RcF9R2cuZtomStEvWfoTlYlYkRzHIdiAPsu4zCJJem23gGmN0bPy0IzQ2TrRAK0TheUKjIp1c5eHd1JKICqbL8jYXX5Plqkk9INfAEtdjfONG12Tg01DalkSU0mK0s7YQA00JMVguE26dIP4sY7+KMWttSupZLo1hXMVsCBdvmaWpAJ2I/mQwItj1koECFK4Fl8SQOMj1RNMJbl2BhsS0dTOsIGoZdU6VzVC/M76nwql1WxBQWC6MssYeXyxNvvqHSxnO3FbBYdPwFJNwjwS2ogegLPtNAEqi1ARYnCywBdIiPGFGFvG00bqlqoHUYqNRd3D7CSLqFWQ09kFazbtKcID7+PlpfK9o5K9ho5qSm2CZ5/g/TFz+HKn8FtgF5VtWvdHypYrqQrJZFgJpfpj46xunfRogrhxBL6wW30VE3B5YXXYxkBXtgjHsoyS2Pcu0e6+JKyvA3FOpGaUxXocOSilS8Qy8VYUtT1D1VFL5DEQf4ausBr/BMF5VZAZ8krxnLv7JDOTeEOWkSWgTM4YiA65slXiMcbBHJ2MHMI/EbzJFazjK611fIvkkVIZ5fAcLAtadFqBPkVkq1HjE7voC/+KPaooyqI1jDCnLpEoEVo9Q8JS+dUmj46vEcoqcfcebWY1ML62YIkGOK5Uh1dIm1qhFKx9mVw08ZIT2M4Vbz2Llr7+/84NsZHxMmZM0+lK4ToWQKh/0YFotIFRZUdtnZJZEr4Qi4fayBaKiOh6OJCy3USZcJAiPHSuy9gCS25vYYj8VT/AGPiswy23sJIaGil6zitTcbpInZOfL0a3sk+9lCiOnnM7CLusI7lHRMn8kRjmTLtoicWCP199MI17PwUbrOBronSSqZ/dYKTO1ilGTSrqgYNaho3eE5UXsGjiDXeJx6dqu2NAoWZRTSZyEkvXWjjplz0bfUh1/yRUrCYSicWoGdSEJqKYK9VFrE9UXdIfPJFuhv/jtT8J6V1pbabfmaJuH4XvbtFUP0Y9mgPbUK27Vt43R3i3DyGlwD/kGBcR+vXMVd+HL2/hS86qOrrRN1HWH5IlCjghi2cMImeFAXXSG0W49wC0eF3CNpb2Of+GuGgTdhbw5q4prqdUX8fvbKIK1spGbZIvydTUYR2oU3HpRcwJBKdnkYLu9A9JhB/qQxkCpcJwgO1jfeSk1jdOmZ5kXGQxGi8oz5U0Uj600205AKxt6UuvVpyCU2TjVoIAvLTQ8KoS+xamLksA98lIxC5cQvt9G38yschttXQSIjmMpXUSIHjYxxvMOoeqhivlZ5Cl26S20CzF9QmVvrCkRCvBfaiIFk9pc2T9zayJs84FnLpF4XX6VMFd4zFudp6jCGOXtl8Cc/ArKiHm2VlGYwOsO00mlkmDmOlo4vkMyJxcsdBk8jxuI8vES0no+wROgPG4rOfuKKGXgIvQyoGUhsIhmjyeXVdKF5RaQbDXVcgSt2PiaQyYWdISNxNVCCjEU4iw0j8s1IjGPeVTUA6VoaTJ5QKjQDQAnn8JZSX2z15C7v6KppVVGRSvfNITeud8ov4p2+r2LwneklfhgtySZxDl45wRjyhvuo7OclZAjNH0N9C94Q4nlYdrEguYt019NIrCuSiR//JgpBKqouM9JPi4DmW6MWsLE4ySdh6rjbVCXse4ZqqVHrsq/6aMa4TOgJbLKB1DwjpqOqK2EHs6jVG3brS6SEXZRnMjPtqoCTbakNL4svW3n1GZFg4stk8+hZW5RUVz+/1tkinLxHHXXU5dgcnOGITkc+O5SqNl+6JdnKXURBiJgXUWcHw98G5rKbAQSzqvIoaPuAdEdqLhK2PSNQuEssA5PSxej7FgVB+u+gCpNMrSpXnBX30dAl92FTGEmqfJm7egiiNnq2efdYMmV63CIUQKzcPMwIBS2oBcW8PPU4SysFh8BGhPYNRvEHUk85ainjQptfeJ5ObQ7MN9UwUAOpY9JD9I7XVjjrb6rVKTL2KJ5R3gdQ4FSLRmgYdpYSMuptEAoRMpEgGGq53iNF+AhMvYdhLeIZP0Bbf8glW6jruaItQOA7pKdy9txSo0Jr5PAzXFfTLEK9woowrSlF3hFNZJh4fqMi5DMOi+keK2Ct6SyOOiOT9Nn3FmyAeEflN9SwzQh9Nns26o4wUgVFS6QnLld+LPfyJ66RkY9y6RTjxMRJeoA5OFOXvTakBcuR6xDnpvidgPFZDKtFIIYaMjCR4jrHNmmBS0STWL3HJVAYjfY5QQIwSrzPTBHKIka2NwCVEqSjGCtPB6x1gyRbC0tUXvvye2GaZUeND7NIysV0l7m2pYVyUmcEZ1fEG6yTTlwmiNlGcFpSYOFpV5SOSQ0ykE3miE5L+XwJfFwBiRpHwZegscVVN0kf62SFCvpvkUCmgT6v2Et7RnTM4aT6rBjx6ocb48R+eJQ6KF1X8VS6PYuoIqy9g+wO8QGpfqEFIKFaL5odnQ/jCVVUHMofHxJ27+M6surgmK0lYeI2f+fib/Olt+NQnbMK2w7VrWe49brD+rMeLV2O6o0n+4ZdqfOwTeW5/2CAVB0zNVHFHAx7dX2fl3Azt/lBtuuV3sFKogGPQPj6h0+koEGBKDDwpg93nW2Tyk8qQcHpcJ18qYZuaqnfJlrVeP8JSWi6TXC6jhlhC6t/eeI4vXflsEse0KE1O0j0+Jghjhr0uk/Pn0KwA15W4r6Y+K/X9dRbmz1E/PqDZGHPjxjnSZZPcTJGNR3t85ct7vPNwTLEQ8Ne/uMyffHuT/UODX/rvVrm3fszjpy7Hp20+8eIUfmdEuhrxqU8vU8jl2F9v0Oy2mCidDamG7VMF2TVMk50tSafB6pVVdvf2CL2IylSVYVeSCq5S3wntXc4kd+485Or1VVZWhc7+LqlchkyuyLNHz8gVskyeW1TbqUI2T+u0ztMPDrh0tUp2OkUxCbc2TviNP/D5aNPiZFRnupbg2nyOt241+PxLiwyaB5wm85h6jzvfG/PNX/8MUy/dZPC9t+jHaczpebSdZzi1ObqH+yQmqmjFCYhTjB78Jc45OVSbaJGBt/9QbJho82USRoHh0Rr13WOWXnqR7GSOn/offo+txogffWWJnXafYtJhMPQ56Hl88cU0P/Mjy5ycHsDYV6mmkRuSVPYaeZs11p/skEyanL98iVa9TqvdYW5xjk6vTbVWY29jj1w5RzaXotOWZEeB46Mj3HGXm594gye3HzAY97h87Qrvfu8WL754nYOjYxr1Ohcunefg8IALV65ysLGlYvKiY5ThizB/atOTSjHXF36RGSkOQ61aIVPKqy79aOhz4coFDrf3VSrWySSZq+q8f3uL3/yziMkpk4ErMV+DlRlLUfjfv+9Tyvn84t8V/tAED7+1TiIbY4iW0NNIpTW6A49swiaRL7G58QTXjTm3ukKvdUoyl6O+c6QSLuW0fH/KrsAn7UgSy1Csoadra7z6+scZ91qcHNdJFUrs7e4xLco/TSdbKJAu5NjbPqC+t6+YA/1ej4VFSRqIgj3Bk0dPmZ+ZxguERp/EMEM2P6pjpkxS1QTXL07xxn//LrefmfzNTztsnUQMhhF2zmI5m+arT49J9SMe9t7C3j+kf7qFqZsMOwG6LhfqacLMFZDUo1zEpFaXncAbbmCJwerwIbrVxdTn0LIpRs0dnESVSKqLomIrXSUSyG8s3/0XFF0/Pv2QaOIG5uiUUFSCltSC02dnuZFEb3fQ7CXcEBKjA+JcgUAr4bgn9Nt7auBPVu4oRUwrcQa7S8tQoIAhF3K3jiUb/dx5gsYTTNJEEyt4h+9gFK5jp/Kqq23KYkcsXZ0eZu0awdFXSTpLuE4KU4bjmsVYNvHJlEole1pCbdqdykt4Q7EJ6YpfkpB1SuiitXahIGDXE2XQIfca2vE3oXiNKF0j4bXoPf63ONd+HkOgkFEHbdRBYCmi3WXYJnQFNDiBnypijn1iUwCegTKiCRheETZtqazm1HDabT1C9011PwsL1TMAeWoBXSqs/jG+nG8Fkjs8UXdCzLKK4KdEfxwkGa79DonJy6pCPG6uEbp1bFXFHWGMdVVf0JIp/NhSw2ZNataZEtEgIOjeQ8vMkihfIpD3pCV13ZzSFwvkGyuJn5IK0jcxa68SCmtp+y/Qay+gy5A+7BHt3xYqH1HuGnY8VnUDx8grLo9A7COp7+19gJbOKvaCE+eJ7YhR5xBn5bPoR7eJs5cwOMJnQn2PO6FAY/O4fhsnHuD1W1gzn8AbNjG7m9jTr6mFQjhqYQgYUJancjEXQKSwrsyiFBHwnCTWcIgnaT5R9Arjzk6p5ZIr8YBgxHDrXZKzV7HiBIFKVLvoiTLGaKjUhpofETeF0/M6hugk23sY2bIaOsTjFoZwuwabKj3iZEp4J5to3Vu/HseDhwROGT27pGKR8mL5vR00KTzLpKz3jEjTSdcuEwTSD08RbnwFZ/5T9Lon5EtLeDKpkS1H4Qpa5znBcEeRzs3cTYKd31BxDkN82+UXhGqmdG1Cu9TtCr7oqQwTO06quoHELhOVZUKZ4gUhloARugeM0pOKZCsTmDA4Vh3uqCdxHiGH2mi5WZJehCuHaTkoSzSlcReq8uWURZMecuF1NHcLrfOYqPoJpfBym0+xMrPKiWn05VCbONuCykXM1hk3dtRAQJ99DbO9w0hisrOfVb8MY3k4Ic76CM07ISartl22QO7S53APv6YANKEzpRyUooCKE9IxOkD3Ynwnj+3u4OXfQO/fxZSNcWkZv7MJzUcY8vDSdDSnzHjURR9unh0ic4uYongaC7U0JGj+EXb+EmNjGb35HoGdVl1n2YiD+G3FRNBVW8vYKWOaFl77uToIhqIXk+llaRWj9REj6ZZNvo6x9w0CPYtuF9CL0wQnt4iseaXPCTp3sAsf4/9n6c2DLDvP+7zn7Ofue+/rdPfsAGbDThIUSIomGVOSYymW7IpKZZVTrnLsVLlsx5aiJE5ScdmxqmJJli2XlMiSJWorK5IoQBRJEAAFAhhiGWAwMz093T29L7f77tvZ4/dr/UVWkTVA99x7zve97+/3PCShejELlC02PAx5WElkI7eAiQyHViA6JDjdwCldViaDOJVDq79L7MyoqCTthzB+jqTTwVaxVdmUigauSOLXifMrGEaOsFcnlZNO/A6OYTLQHGWGMOThKFAN6V87Y4o4qg12CMRNL9WCoI4bDiF9UfWmEqG6yoPQGykIHtGOgiPJwzvSTOhvEctWUQ4ciTi6R+jlBfBl47ujusf20GMoEDWnilFcgbijwGm6ENo1T0X1BVaS9AS85zFMdDKFa+pyFEoNwa0SiDEhijFT44RC9pbPeZwmGq6Tkglt+jLhwbcx5z+PIV96AcfJRHP/A0UIFipr2I/RSpfQZPMsAEj5PokGM13DHNbxR22cyRuEBx8QdFZxxj+jiOmyqbLiv6S12nkMUchIN20YqKm0KfESqa7E8mLIgd8jGG5hmhJdKirNkrAlNOm7yVbbiFTHO0lq6G6WUecBKYEtSuet30DLivM4VByGRD4fsrV2ZgkPvosx9oRSo4jJwMidJxb9mEyUR3Kp7CgicFR9EU2ibQLIq1wl9g6he6LsBor0GzYI7CxG6xRj9hpa+4RgcJdYyynd5GjYJyWXosIlIqnTpCSCL0BEHb/9UF26TKuqLs5O6SKeDFoGG+q7Fh29dfZsnHpJbbXjnqSIIPYa2Jlz6gUcdg8wK8tnYL9EhhoGgd9W8edQ6jfdQ2wrh2+OqZSLcDdiwcR6j8Edw2vcJ05XcbPnzoaPwQl2ehG/fh9Nb2IULqvtL6lFNZyQLqBoEuUZGMh0WkL1YU+lEBRs0RbtTxWvt4rtrqgumdZfJR78l9VeSrQ9kkgoQreLfvodmP0RND1EO7wNRYmLH5CUr6PJEDPOKuidLkOOqIcvkCMzxAw6DE/vownnQrNV/z4wK0pnyvjTREfvkxy+g3nxJ4m1EBrrOGPLClQjQE/TrSklUDAMVBee9AxIpz4Sz/FAXYhFLWZVb5D0toitFLZwFCSynp0nkU156KFLXH70iFHnBKe6rEBNgWco3SZBB1Om6/22irwLh0G2NpGeVvTwxBMdZOmMLB9GJIEcaJfPdIu9x2jpOYLW+9hpSfbII8DHzCyRJH31d+tLrU0SHFI/0D31HZZXlMB95EUrh1krdxGKol3tqzqZJl38SAbMcm5xCAZDkmwZZ9hjJM8UV4CsMmSvnXVJpXYUZYiNBEMGG7aJF7YwtCmixttqABNUniLl94nECZ1exHJzaH5XwSeTRFg2YxihgFU/JMlOYMs7QxP9oAxwtwnbB2epm8x5QulrZiQolSKXdzEXJnn/z/6YZ//ar/DTn5+Q2A7vb3VZmchz2upwY2maf/+tLf7GjTQ//zOX2HnvkMO9ltoYn784pYBPu3snzJybpXd6ymg0YnJ2gZ31NU7bHW498wyDXoej+rHS8A18j2AYKlPF8VGH6Zksk+fO0Wm0KVRKvPb171CuVVi+uKy85tlchte/8RaZos3Tzz/L4W4dbJ2UY3J0UMfJyOayT9YVkr+8B2PWHmxSGa9i2hHT87MYRob9gwMuXKpghT633zvgP71yzKMdjR95OUMqnWFts6HOGpdXijwUbd8gZGkxy8Fpj5Fn8dJNh6sXK6o3e3TQxioUmJqeZOPeOjubB1y6Os9xvcXi8gK333qP6y8+xagzIJPJ02x1SMIRzXaTjJumOjbO/QerTE/PqE3j5GSN5uEJjzceK9q0aOh8P6A6MaGSC4alKQ+8nXJo1EekXImENzHzY3x454Cf/Y9d0k6JF57WFUhZWAlvfP8I1wnVcGTnOODRccw/eSnLz/zTH1VQrO7jfbXBE33yUIYvRx2ciTnMQo6BXEJtUW1CWlgbY+eJ2ydKuyVVqFQuw2DrE3UAtc0CkeugLV3Bbj7k27/62/yjNxNuTSdcmqtyXG/y7sMm1y4UeOW2x+v/R4WPd3ukjTzjkymarQYT1THefPMen/vi0zze26JSKDM+PcHrr36HuZkpitU8D+8/4sqTl1Skf2Z+js0Hm8orv7iywOHhAXnh4gw8Ou0WK9euKu2jwBXnFufwhgJKTsiksgyDIfNLS9y9fZvyWEXVLiZmZolDj/peg+XLK9z5+D1V5zE0DX8QMjYzqRI2W+vrPHHrutJCHh70CYwhKSPNxNwYWavL3/m5fe7V+/ztL5SZmTY4OOyzuaPR9UM++3SVH7iZVamWYVdXZxfH1Oh5PdXl7/Y9Bo2GUtk9/eUv8s1f/xrZXJp0PqM6vxev3+Bkf49G44SFxRUap3W21x5TKJRo9TpcfOIS6w/XGK+O0+o3qVbHVOImY6dodFvkskKd19SZ29QTVXHtDnpMT4lq2ef+vYdMV6cZBCPSjtivcpwcNqktVEl6vmIGeP1jPvNzTS7N52juHTE+UyAK00SjFm1f4+1Vj9/5Fzf5kf/+Fzh6/T/gTLxwloiTdKCZx8zmVRpGLnaqWiiLl8aRGrBL1Uw2nbEsFkTZevqQVGUefyhWgFOVgrOq51G39v2HirUivsOoc4qRFZbWPOHJu+qSKveaxCwQn65j20VCFe0bkDgy4F0g6d9VPXllgOnsEnr7mHoazx/hyvlDKQh9UrVlgoGnzsFB6y5oKZUAgZKCz8ldSaoTo4MPsJa/BJ09bDfHsL6vXO6DwCGFnNMG6JqBXVimu/afFcHfzMmmVoabDvHB91Rl0hfoTU769abS/sk9KhoK2PyS3AoYDXvENHHyl2ivfZ107WlI9kik0id/t/YE6fwEg9N76LJNzi4oGJw+OBVvl2LxyIsxkftHqoiRnlfD1bh1Xy2rUqMWviab7BVMK1b6Y0OG5GZObegpikLbIehsqQWgsF400bBHHUXGH/kmhlzCW+uQvoSWkvNKR9UGDakhHt1DLy9hiD5cNM6FebW8DLsNDLFNHdwmkU17SvR/LqbU2OwV9N496GyglW4R1d/HKcwQ2wX8zT/Cnf+SUkIm9XdI8ovohqWGXpEovUcNor5s/eVHeIrw6E2V0DBmPqssEkkorCxh4ozDoANhA98b4Egt2u+BI0h7B02265k5VSeNhmLSg6y9hNdZhdwl4tYaRs4iOZBqgSCRllS6E3OEVrgB4QlxawvLLOOndFwrS9CTKapxxhETmPn+2yqRHpUvYArhX6CGkUSS+uTks6GgjePolqaYPqKy1wWYv/Q8oaQjg4iot4OdKhC4OfTGHlr3g19MQjlstTZIUhnC9jG27hAV51REJ2ZA4mcxyjW8B7+DO/sZteUM63cxK1cwu3X83KTyafr195W7WSKm0clDHM1jMPUcmWGAJ/9/6TJPPEXy+BWS1EXieE8Bn5LjDaxcmlCAfRI3DYfokYOnx2TTBfrdXZxUmUDc4FoO3RElYUcRX9v1R+Qmb5x1NnFVrNc7fRM9d159MNXUS3UlZUN+CJkFRVSnXyeU2HnsK/WFXHLFGiDRGlEkJSrOv4WRX1a/aMd2GGbn1Zc53nuHpHIL3RRe/UjRQofdQ1ynpC4joR+h5wR2uIFRe0HRSHtHb2IWz+Nkq0SicTt5A92qnmn6Jp8jbNzFQnRoc9DcJyldQEv+0srQfUCUv4SdnyJofaIAZ25+4myTNdqC9CRoKxg0wTXOIFatI6K4p6AWEneK5KI0OCAOBphlATY+xol7Sl1i5S/hH373DBZhZoj23kIX9d7EE4w2XyW9+MMksn2Sbkn2PKO20H3ryisa28aZ6mp4Fy17VR1c/cZt9KSMJQfY04eEk08Qm/Po9/4tWnYMa+JZ+oNdnNKy8q3T7yGfwVHYws4uYY726HV3yAhJ3zLwtr9JUF2hkD9P/+Q2ksPTSy+gkiutD4lzsxipKpFcVBurhEkPu7xC0Knj+j38/AXC6AB3IJfESWzV3xHKuNzWW0qxImRXocfrrS1Gox2c6RfQwjRhJFDCAVr9TRXlSgq3VM0iOhXdmKa6S4ZsCyNdwYYENOeJxip7HiMI8O3xM7Bk/XUS8yLBcB3THCiyvTY8JJGNt1D/vb56WQh0LfCGJKH4siZh2MIsOkSeXE46KjKP9OExCaXH7EpnbJNk8BhNiP4loc43CJufYBSmCU8+wp76HPQ3VEVECPWxNlSAxUQuzOKulbSEUN1SExiJoXp2YUs4GGXl03XyUyRD2axbyqwg22z5fNBcw5h6llizlfJRSOm+/BzCEhAg2shWwwBhUZAXVkNI7B1hmgZ+fwusCeWTDfsDNL1PjKXi8OGwrmK6Sf6CipdLT9oenOAHTYzyeRLfUFth28qqySmtM9qtTR5v+AE4U2h2lUQYERL/6m3hli4Typ8plzAxMSBhmIyCK/qdR2iFq1h2DQb3GEnEszSF1t3Hnnkar3GMEQioLyQ0LCxDImDydyIvpRrhcEQyWFNRcZlnaUb5bLMdh5hWgUiSNcOuGmxYuQqhKQmjUP3u/UEHNyuHkTKGfN8jB81x8E/fw+g8xp75En7/mMCpYYt1o3csRTFV/RB+QBgJQLSs6jOx/DNCSfNsng1SUjamNyISKF/nAdR30CvLJNWLqounZ8dU9SXa+wPsyhdJgi3Vl9emPk/UuIvhql+Sshz4Uk0whdrfIum1iVPFs3RNpBEZWVx6auot9RAkvJySutYGxtAmKkyRRB0sfYQniSWrqA5aRqZGICmXzh0Md4KRM6vAmdJNs4I2scT0tYRIYHxRW1VDpI4V+nU1LBCjS9TZQ8vOYarPzRGmk8H3+9iGRSCUZregfgats4U1dkUN5CSDr2cqKuLrRDaewJJkGyxE4+ExTnEFTzgaElOU+J4M6oYxjAuPwSAcRBj9R+q9IskiAQLSW8XMzRCby4TdNYzhCUY2Q+RexkxksLaj7AmJKPkEPjoakchgx9eIBaQkqQkVyZ+GbI1EBpbeEGOwR5i/QjQ4wEoOiCUhJQO6wgrh2h9hlsRtnVKDFOxpOnvvkJm6CknmrPolVYHac2p4Gmz9Fu7Mj2BnSwyHh2hS8RkOYXwFs9tjePDnOIZOqBXRJr+ErHFNu0d29grj48+xPJ3mSzcn+WS9S61gcnu7yYSfIrWcYud+i9/5uQmGPY/85Rz5w68AACAASURBVAvsf/iIQJOoaI/jwxOWLy7hpFMc7+zjpGxV+bCclHKRy1t0bGKCo4N9cqUCmYzF4d4pY5MVFde+d3eTfClL/6TFzMq06rgXKyV6nQ71gyPGZ6fIFwp0W126/TZev0ttcpZW44hMpoBhmOQrZQUZ3FjdZX5JNKZDFfcfm5ljY2ODjbu73LxZIT82xa/+p495/X5ErWzwwvn8mTlEN9k7jXG0kIXZNA92mnz8MOKZlSpT0yNevjWHJ51NS6N55BGFMYsrs8pjHvmaGqr3G6fq8jYxPUn98Jix6UnWVh/RPm1x+fISp6cnzJ1bVMBDSzMpVYv02l3e+e4q159fUZyE4706T16/SmfQ55037/O5H/4sXnuHk0NPdT3taMT5y3lyi+d59Wsf8Y//7TZHWhrHGfDF63nqTTlTJMR6xLWLkwy9mN//4JhOI+Hrf6fIiz/6VTotn+SkiW+KujMkNIvkZs9x+sbvkZmexF66TuONP2Xy2vP4eopB3KH/7juksi7upZsMU1mycZ+4N2R49w755z+FO3GR+h//Btlz81Ao8dRPvsqnrlfotE446Yb8+Gdn+PD+Ea987PNTn7P43//Xl3jn1feUpi/0TdY313n6+gVmL1/m8f2HnNYb6neTLeaZnZ/h5EiWLx6ZdEn994m5CUaDEa5uqqGKgKPDMKbX69LpdLh88TKr6+s89cRlNrd2qI2P0zg+ZmtrW6n1Go2WZLRI5OAdiVYyRzad4eHdVbwo4clbVyiNVXnvjXcoT1QpV8fZf7yhBsqG7ShKf22ydsaFaR2QkCXjNCnO1Pin/2qNXlvSHinyzpD5qktraPD9j7vEScD/+8vPs/7BDu3ThNJknnb7VIE4u52BuvBXp8a48/7HRJ0RM+fPsba2xvVnbmLbJvc+/Ii0W1CwS+FeFXI5Hty/z+UbNxj1+urPKpdKKtVquTIAT9jd3JOTJ7XxKSyxKRkG3W5HnSMl4TAxWeLg8JhKrcJ0bYzHWzu02z0ymYxK0OZrZSIBUFYLpLU6v/uaz8/86YAvzoVsNAbEuRSTsc3clMOf365z1Ig46L2Fc/Aexw8+JFOqMXQvYnc+UgNQsRYhw1R3Ga1QQR/E+FFLvUvF+jDo7ZB093FrS0TC7fG2MeVzePKRshLJOSZ2LQw5FzjyswojS8MozKvLZig2IZnSZsWyMEX/+Pu4AicWWn5bLGV9IrugOExiywrcRcLuDq5AVvWh0nSLfUsvzeC4ZbxAKpptYk04HSOSo3WcqRsESUx08iFG7SZh+2P07hFm5TxhEiqmgTb1pKpFJ0cfoM99ntj0sf08njbCTldU6i/UAyzRe0cya/OwREEbDJWGUpSJeuUJtOO7BMNH6MLDGjbUncbIzmAVFhh2+lgc4wtXoXwJPzhSyxLfixRMNurtYlWuKhCj1XtErHuEZNElLZsW89Mxlrxbuw1sfUBkjisgsN+vq865Icp3+a4PzqxRcX9PVd2s1BSet4VuSX1RagBy9riuNLRGf0ctKPFHZ0OUvJy79olk+Sl8G7Fk+Y4ChOsCARRTj7j3xBK296c4qcWzRV5mmXi4TeL30HIljF5IJJd3OR/IosqXhHWMnptSvCulp566StLcUYtXSV5IHTYORQNbVYwASWhbvSOoLBIfv4een1R/lh5CqEcY0amy2IUCws7NoccWw96aqgEMOye45SV8SS0KH0fAiakxtTgQmHgcWMRiGBLrhWMRS7V4/0/Ray+ou5WAAJLMDNqgrZTAUq+XJIMkuEe0SVvCnTqkN/TITL6Av/2a+s6LRjPJ3iDyHuH6A0L5vcSiRU6htT8mMcZVYlXAhooz1RILmSzqDLTmW/9nomfyxH3RuRWJoiHhxuvY0zfQtD5h9gKmdHEGPcLeFlG2hhP4hNLjt6poh9/A93qklr9MMBAVWItAjOIS5Th6jC6aobmXSY4fKjf8WedlF7PyjHJpB1GCPeoQewaG1SE00zj5eYYSgRHlkWivJH4cORj9x0S5JUyvg294JO44eqKRci28pES09ycY0v3OX8X0T/GirnIu6+kyXnMHLRZvdh3NnSEaNXHEhSwKm5MHMPUsUU+25bGavNJvoJfnkRW5ETqE3cfqL9GzMyoKxOEmcWUKTB1t2MeUwUVKJqG7ePUD0otPMzx5hCPxX+l4ykFXou+5GdWZHsk2T0BnAvQqX1MTRUvYQbpL0n0DrXAT2xUQm6cuGjKsyBTmlEZPbVVNh9Co4vRWFbk7HHuWePcboAtB/ocJegJHGaH3T1R6w5p6CV/++doxlig29MKZy9yTrfYhpvgu+w8Ix39ETbno3oPMoqpyaFqOrijfZFM8fEiQlHHmvkBy+F1CLaP+XQaPfwt79m8Q+Vvqyx9LnLT9IVFviDN5jmDYwd/+DqnyLeKyDCvEQz+if3KPzNRzanLqdyWenMf2u8TagMieQ5OHvWy7JBI2+RK6QBH7u1BdxDj9iFCgfYXLZwfg4Q6hLxWGZTCqaHEdfbBHMgjOYGCxj9c5xXbz6B3Zpo7hhz5mdpzQmMT07hM6k+rhJ51+tZUXIF71SQWclKmlli+r1IEnPNDJLxC07tOvf4hbvowuU8LOx6qrblbPM2odErXeQ5MurreDGduqhmAITV8I7Z197FRMotdIjJHq9dtaFt1dxBytEkqVg5DAC3FTNUXmjiR2bQhYMASvqTbRuuCJhwP0icsqEWN4+wTpafTkTNUmBznDD0gkdSB/fm8VYgdfhhfFq5hRCqNzm0Bi2sQYAkGU6WPSxRTrR3oaundANDvycuoPScqiw9xV2y41We4KqDFFKOwAMyKWz1hzHbe0SCDeUmMM3cozlA5W7RbByFdJIPldaQKVkW56KBq6PI7QqgXq6S4oyr1pOnjdVUx3Ds2S+PsJZmlZsQCkqy+T2SSbl7YdQwErih7QO8Iw8uCMEfc21OAq6W4rSIr83YQnu5hRR8G4zNoKfreuKgoSkRMKulZeIW6tYpeWoHgVTj7Ck5hxZpao8b7aXmtxQBD3ISfKzIIiw4YCa5FEBz2QS6OdKHMA0h1vfB9jFKFXZBB0RCwE9tQMWmmGeDhC89aIjAKRJro/H3O0Szj+hLosaYNjtIEoSnXIVpVuKxaFkAAC7QyBF+DGLaXYtJKQUeMRVmpGHRoIpV4gibxP019/FU0/JT35BWIFSApIukO06jX09ntnHuTKNaKjt9GcIlpuXPUOo9ExRmoBjBJad0NtUOQPNe00obzQzaJiA8h3Wv4zlt6mmEny89jCaiBCJ0sSHBHbkySm6JXquO4Cg/23MehjFpdIBJ5IWSl9EoFcSp3L21dd7Th0FQyITFGB+ARoZ8SCI5Fa1jX1z1PbcntSGS3kuSlGAoEV+e0HihdjF6eJWtvoGTkMdkmsMoFc3imQFCRdISmpBlGk4ZSfZHT0lhpo6/pIVYMigZx1HhKMVtFyN5T1JpaX96DJ6Pg1UpWniFI1EqFT45HIkGTUIRyeKLe7mG7kUqHrwjrInhkJgqbq2htahjg1o9Smfn8fV54T+SqaKe7nPeLWJkb6HKF0/ctzKhoeez0VJQxGu5jlz0Gwqmpd4qmOTx4oy4298AUigRptfhvnwt8m7HyALRaM6VtEO28QhLZK4FiyXdDG0ONVvN0NhobGzJf/O977o1/h2R/+Nf7nnzjPg0/qbPY8lisuU5M5Xn/Q4O3VPt/4h1U+/ewCb35/nZvXlmgKhKjRI3FS1Pf3GVuYRPND1u+tU66V1YG2Ml0lky6yvyOpNqEs2+RrJfZ2DwlGHinLojY7Sb/bI5VNc7B1pDZwxXIZXQ9x9RSNXpdivsT+1mOmF6aZWjzHQ7l05kqK89A5aZIv5eh7fcxEI5OyaI184p5FsWbSqLd54maNtGvzyp81+OVXjnBNixvLaYywx40LNf7iI6GBezDSqYwXuPPRsYql/8O/NcNUzVLVR4mEZwQKLPWNlM/R9jG5Qom9vT3y+YyKpm8+XD+7NJkWloC9ek0qE7NqK93tCEQqQzpboN9uqQSU1E39bodcsay6x4NeSw09JucXKI4VaR40GB0eklTTLFy5SdzYYmw+xyfv7fKbrzT52tseX/6MWB9MDus+U66B4RSVmmqv0+B0YPLNOz2emHB5+z/+FSiP0T+K0cQ00B9gDgLSFZ1WP6S8cJHTD97FGJvGCkOlw7JrkxhawOnWNplUGr1cpnH7NtrwmMzFW4SSxux0SH/qq7D2OoONVapXnsOenOI3f+EX+fuvBFzNRDz3pKRD5dhxwuITNX7jD0/48199mrTVZedhk5Ekc/Q0o94IQ49pt87A07NL0ziGzUnjRPV1U+kUg+6IfCXL48frTM7O02t0aNVPKY1VmF1cVJtygeRVSxV6/b6yTaQyLusPHzMaDbl+6xn2dnc4rR9x4eIFen0P07GoH+4q8v3UdJlOd6i0lCsLE5zuN0jXCrRPuhLkxbAsPG/ERHmKg8NtxaYx4xEp2SynTBZmBCA64F/+8iHfvtPgR1+u0esl7B80+cpfmeC3//iQVkvn1//5Cr7UEhsn9PuioJZlVcT+QYvp6Rr5sSzN4x4ZAdPaLoV8mr2dx+r9YOg2+WKKer2pkhhu2lFLvccbm0zOjqv6izw3j04bjI2XmZ6aJ/QH7B0cUSwU6XbaDHt9eu0ekzPTtE7rip1QnCzy+MGmusQVikU15JKBVL5YIOz1iYs5Zi2fYajzg790ylzGZKwCaVzu7ncpFPKMVQt87c8e8PVf+DE+//f+N07+4H9EG79OujqJ3hzS73yMEfQwKrcUqDSSmldqGcPooadnCUW1JwBa/eyiLCRz+m21zdeFf7L1TfRsUaXX9OadMwi4YTPcfZ305JNgzkrjjjiQatRZai1xJ4i6IzWgTxcLDMIRdpwlcWyik3s4xRq+J5H0BK20RHQi6egWsZNT535tcKDI/1r5IlF3oNS+uqh0O1u4k88QSaJULFjWuDqDGgKR3fseRnmayHZU8lVzTHWmURBWe4g9dgt/722syrMK5mbaCX4o4HCBkkvqLE0UeCoNJO9422/hZxaU8lTgzcHoGDtXQx/V1TJEuDBmJs9QfjZdKogjhocf4rh5ZXIaJUNScn41KwRhUw1nQwFbmxIr30EryLlnFbNwidgwsAY7KgkgQw9D7o2NT0gK4zj6HGHrNrr8rFqB2BPY8zJh/gJJbwdjsIohyxlhLfT3cbKX8ZIhwd63sErXscoT6N0dtYRxssJ6a6A1tlSF0576rBpkSGpAfo/h0Xcgd5ns2GUiJ0e4/5F6h0g6Th6eQgpItJB0ZZ5uY5O0M6VYZZr4t6KIRNmcJBEt+cm8OsslnUcErS0y+ZuERl+pIf3mfdzqJYLIRpMH1aBFzAhDlgv9HeLMJEbqEt7e72OVL2PqAZFWJo6HWLJgkkWyaHXNSaKwh01bDSbiqecxOw0Sd4SVmWbY2z7jkQ27yJ1c7FpaJPVXDT81iSVDClF/d9cInZK8IZQ2MR4cYA7k7ixpXYGcS79PdLkmem5cadaFH6cJ68gdg8aHJJYAA0top3/xs4klsCa3QOg1ccc/TX/7W7hxB6wxNK9NPPUUo9YxRu8TrLGXlSIqbG9jTl2nL0RV2Yq3N4nLYxiNI7zYIxm/iSNftIO/IJYIQ3kJLb8E9e/iNx5hzr4k2XP0pEeo+poCRTKJRhZavIdOkZSA1wzpsGeIBNYxOFUHQIlUI7Fr3VVx3jjK45TmFA3aGworoII16uPLhz8/RTwaKFWUXqsRdPoqtmZlUore7SUu3urv4cw8jVG5fKbIaNwjySyi55exT+8Tlebxgwam76votlw2/G4Xc7hD0NxSF/pYLpS6hbXwEnp3H3k0SXfDHB7jGgmRs4whUx/59wiH+HIJlth5eKQgdkjfyTHRA43+7vfI5cYZySBCIkTZKSIBZyQye9IYSES/+Tr6+H+lJncpo4mXnsDa+QsCietOPoERNNVDQBITiSgBnaLqyGpTT6ueatzdIbHHMUoT6MMDAi/CEc1fIlG4WG2ikkFdHTrt1ATUFohbG/hiFsguqKmTeDtN2ag50dnPoJdVjNioSKwoJOntoxfnFSXVlIeW9KclGxM3CerfVakAV6iVzgRG9SKO5uMd31M91EQfU3Fc2Wbrk59mWH8NzY8xs9cIGt8lNf6Emphp+b+8TEn83o8wshUSN4vWPVDai9DvYrtpzNQcQftjxIblpmdJRifY+XF8LU8kXlhDuOQmSUY6sWK/CIkEHOkPSFUnIHcB73gNLS0trGm87vdwcnNoIxPdFKjbBJoQ0OMcurhipeqrKI19jKnPKiWHRAYVrM3w1fQwEnJ72FaXClF3mG6JSHr5vkTqy4T6BHa8hhfNQ7KhgIKabWKOGvQ98b2W1cPUkFfTsC6MFmUqkBhd5MygC/hD3LGjHRXBtvIX8YZ72CMB8FWId18hLixjla6h0yESZZ9EmRmquFkYtJUaJYgMpcIRhZ8MZhLpfGVXwHSIfB8zEvuB1PZlk2oR2+NoXqC6tkEQ4soqOWkykApHYQGjeJ6+8DoEJqMlBFGo/Li6gDllBCfPo7ivEttCcTWyc0TSc5Y0S/djtd0kv6S8s8ZAYpYesTWF3flY9ROdyRcJj76PbgltNo0uuDJ7kkHnEVZGeqtSbZDeygBd6k6Ro3RSTnUeIzxUW3jEhDFsqm5e0lvDsjXszFVFY0Uf4KdruJKa8IZq2hpEbUxjTP5oNNFtBkMcUycQkvywhZUpK52MHPYJ5HM0ge6OE299nSRdxC5dw9v4Bs7yl1XnT17kSeEK4eM/UvyD0MmjqYrFSDnaE6FRERCL3771ifocRJUFkjhRW+XICs6c95YAQ7MY/oFSGBnZEprAJCXWJymT7iFx8SlsfaR6ZHbsMJQLpiZ1jbI6hArgR2wokaSl4jwyqQw9Xx0ORNvnb30bPTuOXbkKsWx3B5jOQBHmlT1ENu6hSdT6RKXGZAMiEfjEcPETiZuCIwd82TwMHxCL/lDMHWaHOBRorFyY8/iDHfRkoAaMESmM4JhgtIPrzqA5BQYC4FMJEV9ZLeSCLMkDQ1SkQnITnoHoHSNNAT6FlGTK9qJzginKTneaOGiqwxqSgOofqWigAC3jfkt18hO9Aqffw5BDaGocX32OIkX1Zf9jAjciKc6rnzdJArSRaLTm1MJJAKuaLc37DAigMXNOXfrlzxPeQWhMnBlP4jaJ8GZ0SKxzmBkTvXOfOLWAlq3hP/6G0qs6yz+A6Y4x2v5jpWwVtaSVGQe9QGSFwhhFD/bRpd5n5tV2UTSiiQAd3ZyKdgvcN95+FWfmGcz8RaU90kpFgvoahXPPKfr14qW/Sl73WJwQy4SpBsKtzgkvXZ/it96oc7Fo8dv/5hwb3z+mJ4A/K8v77+/z7ItL5MYrPProE1Ipm91tib+aXLr+FK2jBomZKGPL1r2HxIZGPl8gm3Fpd/pMTNVkXsORxPm1gHPnzxFFCYcHx9gSixQVk/w1Olkm52Z481vfwQgSzt+4zKDXVZtY0Sv22kPVB9/b2eHa9Uvc+3CNselpRd3OZmLcjMtHq21efavBJ7vw/FM58imHsjx77ETBxytVje9+0MKJLE5aPX7oC1l+8KUVgiCg0Rypf89iOs/udp3yZAZvOGB37ZDpi/N4zS7VsQqP1h9z7pzETzVGQ49TUf3GOpXJGoZm0msLeylDGEbq85/N5Eg5Nhtr+1Rnq2dQzgAK+RKPVjfwmgNSOZ2x5RmaGy2uvThBbGf5d799l3/33SHxgcfNm2mWMllank+ro/H0+Ry9UZeeP8Ht1XXq/8VW8L/8vZt89ad+DH3tAYfHAzIXlsmtfcDqg2PGn7tOsr+N39zGCyPK5Rm85TmC73+INTdNb7+O3vexChn0Qpa45yso3LDRIDe5QH39LoWxvFJAd9qnpMYWsFsJmi4g3Cy1n/pjfuq5NANP49H+gGdv5akmIfd2HDrtHr//axd495V9+oRUC3nVSV+8ssh3Xr3NM888qYYQ7aNjNMti2O+rLb901Z2Uw+lpk4tPXGH9k/tk0hn6gwGZYlpdjkb9gGIhR6fb4nCvzgsvf5q773+swJC3PvUCpqGxdu8+djZNImlOQwCNIU89c4v97Q3clK0u2a+98h5JkPDCZy/jGdA8OiYvF+hej/HJKdqHR+iWDNVsckWblFZQKr9cPmFhqcwv/do6n2ynePqpmGLa5f27x0xMpXm4HfOpJ9L8xF9forE3pNcasX1wQrmSw3XTtBstCuNCiJf0HgxHkqDT1MZ6dnGZg70NstIdDnw2Hm6xfH5ZCWx2t8R05LCwIlrOTbxel/pJk0KxRHVCNtkBRpRwcHLCcy88y/rqOsVCQWkPZy8u0+n2qG/ucuGpC2iuw9a9R2Sr4zjZLPc/vMdkoUAzjvj8Fxf4oz875If+rwM+t6JTy+i0RzHNZsDKks23342xgiGbvT8heLhLGJwoY4AkOt0nfhJtWD9TOHe3iPunOJJYk7phWFfnGeF1yTJOziaR1I9b2xjDDsb8Z9DkzBn0Gfh1DE+u7B66sHSkCiYsLFlaZNNEek1ZX6RQbucqDPs7pOT+kZlTkEeB9cZ2DV2S0G2pKxtEUsscDNCMhkoeODJc7qyqVF7kFNHNAM2oERsR0amo+iKS/DJxfx2bLFF2DuQMks6puqgkOM30PIkokw//HFN4Wnqa+PQ9nOp1hmSxJI0cNrH9On5ooGfGFVBdalVS2wyDPm7xJoEwf/w9dEmDuZJuG6BJl3y0TmTI+6eLIbafVAbvZAerdlWp/uQ9rpElPvw2TnGRuPQESdzA9kaMZOGQWcaMmoz8HtnKJbTerhqUxXYG180RtB6jZ2awMmkCMV3lqkrNLqkdS+4N8n70msp5rzU+Ue9deS8LfFqG+ObwiEF3k0xFEuERYZw6syXFR/IAJpIFrTDSCpPq3JkMH6OVr2P2Oow8SalWGEUR2uofYi1/Fau0QHDwpoI/hpKOaGyBbaIlkiipEHf3VOXJksR3qoCRjPC2byultyF/v/42UZjBkCGSAHsFEiy1aUuGthn89ga6dPhzs2hyfmneU8luUfuEoiUUGr8WkahEsCxci+hOAb97im3GqtaiFcTQ9khxfoQxlIQd9OwUZmON0JKl1biywzlhn2TYQHPHMTM1hq372MLZEgbY0UdkV/4qwckD4tz8GRD5+A5a5Rpm0lN2hsFIfs4MdiGN1xMFcAu/dYil2+jCavI9tPa7/3eiNleep4jYqeotAr17ts0xJY7v4Z98RGruRwlbb6MZWeLAwIi3CeRC0tiA819R2gw92EKXuETaxd9bVds6Jj4LB69iGFUi0SQE2+qS4RYm8U/eQzu5h1Z8CqN2hdGgTqZ3wlA295UlwsMP1HRQi+QI2iETZxjJZMuxSDLn8P2hgkRJ1Hxwsg6V89gyEek+JJFfZCLaJYOgsUGSyZMau0rcrRPJZCcy1UTPEPd2ZhIkhXD8PRWPDQV2F8rETAAMkXqgxHZJHRI52SSUjdHc59Xk0evcxp36ilIrBM1V9NwMSWig2SFJ4hC0D3GLMwQSzRfKe+uEkXdEbuwy3sED7MkVAj8mHp1iiL/eXVH0b600j959pHpnpEU95RC2V1VH1pn5MlFvjdDbI+4N1GE1lRaQm49hOIrHYAs6NIjRJKLT7ypaumGNYxkJfnKmtDC8U2Fi4E3eIG5IV9gg1Ey0YKR6LQokMewRpIqk0gXibkttySw9wJeuqsATRakVJFjVRVD9vzRec4/ECBTlVOnWoj5ObQVPDqCdHriRon17vlCkTWVn0DurauurZ1fQAkk9bKPbZaJkqOBoQviPTt/FLZwjzE5gSFxXfgehhSGwv/ys0nMY8UBNC5PuHrrEjMIR8fiTIBPZ+gZJbYm8pdPrdLHzZXwZMPSbREkOM1c+uzCfvIlWflZNOzl4TU0Nxf9tx3K4X1GueL35gCC9gGFaOLarXraiGkE8o+KLNfIYovdLz2M2XyOqb2HNfQHv9DZWfhY/KZDuPySSyE9GAF6y5jWIpNsdSDeoip7YCnATa1VibxVbbvjuBEHUVKwGo/IciSRd4gCw0QY93NokkVEmkMqNlVOwN5oNLKHtJgnB7itY459VG7ikeZtAN9FKl9XvXe/LC0SD4Qa6M0dYnCY4uYdrp5WzVW1xpSZSv3+m2JT6wqhxBkjTqtgyyR2uqwuCkcuSNA/VA1x854meJ/G2ibsNkvIlTDpogwZkZZO/gyF/fqqqol7ye9RSF4hVQmYDLUkrx6omL4D8FGZmknj/m0Smgx6JvrBCkmRJvH3V+wr793FEHSesgr44x4skcpELPbVpTeQiK7FYuaj3Tgm7MiHV1YY7CCMMedl0H6KnJT00hn56RJgtk4T7aK0mduUp/GhfOaJDe1rFs03vSF3qpW+diDJGBg8jqeSMEcdt9MERgSUpCANtKJvRccxciSTu4j34FkwuYQzaGJVLxPJS2P4OceU6TlYGdx2lxpPDhHwfNE+Ug3nCoIcVhYRSHckvQ3tTUXgRBZAYDva/jVW4QjL9RcKDV9VnNp7+HGkhkosVQIZWdlENBI2oRZw+hy5QRE+2IhL1M1WiRrelj5pTqkoj7DBKTaDLS1lUZhXpw5tqCy/xPVMbJxhtnF2IQ40oHmFJ9SI1RdJ4l8CtYDtCJvbRh/tq6CTwUTNzjijonP2daLqC3Sko5aCu/nddEhyZabTegVLrGUmKIBBV4PiZCrP7QPXrydRIolMYybNdBqaCaGyhCym58xgjN4MWd/AHbcxUDU2SbLLJGHUxxeQhYEB5drpjJL5oKyFMXyAeHWCF8gL3CQ9uY06/jO+f4MjvOfGJXVepP0NJJwmgUzp8svHv1tFzFbzTh2TFKiBQ3P4uZtwjKF5Rhxpc4XU0SIJdTFGGCrnacUjqHyk2goBKh36oUhKiwJKal9Y5HjjVbwAAIABJREFUOuvu2/Nqk5UyCoS5FNHpQyKpEwy7pCeew49Qhwbh3MgGSuBziahLbQ3P28VOqioFZ4oCVTY9ev9sEOO1Kb/0N/m5//a/4V/+xio//vkKW4cD5fzeO/Yp5kx29+q0tSLv/doVBkGeg3e2OOocUBiThIapYsauoanKz+H2EZVqnvHZOR5vbRFJUseyGZ+YpNuRCpjP+NQ4q2uPyBg2dj5Lv9tWENSJ8Qq72/ukHUfFjTvtEwrZMY7rpyrpMbm4Qq6YZtBos7EtB+GhAjVmpIpkOBSrWZqnJ+hRwsbmMQvn5lhYcFQ/9Td+82PeeqCx1+hyacni2ozL0emQ2YUSq1t9HmwHpLE4V/F47tMZJlJ5FhYL+O2Qj3Y69E4bXLw8RTpTot2o02k2cLNFyuNjBH5Ip35MaCVosU0x43LcOJVXCa5tks3nyOfTbD8+VpWsiZka2xuHCvx3fHhEuVYlX86xu7HH1RtPcvf9O8zPjyveR/v0QA2Ar9ycITFyvPPd7/Gbfwq/+naXC7UCzz+ZImh6RCmLqZzFNz7Y4eJcjcetPu+uDfjScpr/7z/8GJJtDQKL0/V9cls7eC/cpPf9DzEL0+SmXALPIZF39M4Gxtg5YjnHHGxAdZKwLssYeT976HPLdFcfkz03g3P5Obpf/3USb0D62rP4R338jEMm6nD4cI3q7BUqLz/Fz/+Df8PPv9bkJ56vstnqktFz1Ntdlsd0vnE/5J//kM1X/vpN2i2Ph/c2uHR+hZPWMX7XZ2xqksebm0xMj3Ny1KRYyjMcyADa4bB5xLn5OQYt+T6HasjTliSCmyKj+vKipjToSow71qi3GtRKZdLZDKfNltJBet0uVirFyVFDwW3dtE1hrMSdd+5RKaY5f/0yDz96xPhMleZJj1qpgJOxaPcGxEFIOldQnBxJLou+67hxQiYNve6IcJRlMBKN4Dl+6Vce8u07Hl98PkNH6lJDeZcLE8VSquu/9qkyU+enqG81SRwHN++yfucRpbEaKUfj+OBYAeaWLi6xu7VDsVrkdP9QKV5nzi2SsnV1hv3ko0+Ym50kjDTShQzDrihz02pgL8OS4liGYmGM7Ucb6j0voM2TepulCwvqbLP+YJXrzzzN/Q/uUCjmSBVKaqAcBQJv83i8c8TK5Cxu0WDYqXPuUoXln3qAadpMpUPGhL/AkLR7lgT72lun/Na/+Dw//vf/JZ03fwFr+jN0TtewRg2lVB0JrTy1jDnaVAPU0BgRtU/JCotKdxg8+hNVcXTK5/FaO4SkyE7I2UwWPmMkYRc/6BAe3cMdf0o9Ew2pFqTGiDqHasAuCWEZTtGW5N4pCFNHt87SpGTRshV1Fg4llSfv2vZ9tMyssuUI/NxwRMWs42RLeAcf4Iri1s4Tn7xDZMzD+DRaNFILmmDzL1Ryyxq7SVycQw8DtalNRJ0sz2PRjUs1wZ1E13N4g/u4xRX8QR1dqqVaHqSaMGqcQbGFKzY8JoiGOLIBb26gySDIGSdKydm+SSTnkPK8UqnrYgiTy7eoygUuGyRow4dYRhm9tKKMFsHOmxiZBcIxAfuFRGJDKk1gxoGyGCWZJcLGA2zh3BSn8GITR3dIhocM2mukak+ILRhPEtvBkfgJMGuXGe2/hTEaQHlF2ZeC0QBXjC6BLIWOcAeHRNUbeL0t0rFwBeQo3EMfv4keCZOiiZ47p+p+YTjCTVcI+tsqHREPHpGoRZcMPiSBaGOVZxUcXRuICgGS1ro678UTV3HDLlHvhLCzhzV1Qd0r4sYaRmmFWNfwWoc4UkN0MugjD69/AG4KLSlh1SrQ3kP2PmLvkWGM4U7jbb9GGLXITb1MKLXgYKQWWNaoQzRs4FRuEghIOJL7UYaRpI69hmLZDXbfJT/7vOrkx41tYk/SAqL1jNGE82UXCKQG2NjAzM0qFpGeyaoleiyqROFhCHTcKaM3Hym+nCQzdWFzyezl+BOM4jR6YBCHdZLWAWRLhPlFTGEGHH/nZxPxizulJ9UHJok2McovKrqwAAPcxU9jdE6IE51EyPoCb4haGOWnCcUhn8opJ6zunZDkn0arv42WtohS1/H77+LIRVK2rwLRiOTFPEkQn00aZRPqRyPhKODn59SLzegfEQ9Pz6L8romWEtr/J0SiFZy6iS7xcDX5GWPU3MOSrrwhAkWBNxUZjELVg9Mzi8R+Az/uYFg1pTaKW/cwxq+Ji0N9sUzDQ7eniYV8PnkJ9t/Hb0rfVlQdT+CKvqPziLh6CaMvEa8+TuYiQfv7aHpKQWNk46I2lkKIHJ9HJ6/8nPLFlBdOWLhCdHpffSDkcC+DAlEragOhW4saSmjQGbSwrf69BE4WyGY+GRAIOGT6FklsqAmPxEDF327mZzB1nVFwAvIF7gtN2EH2p6IxGYmX++AdLIHuxRJdlc77EXb+SXzaigorZGn231VqQq0gl+6ugljpeoYgaCggI1ZZkUEj6dPsf5Mke17Rsl2rTZS/TiKqNQ0CPYehddD0CslgHV0vkoh+pHeEMS4sCVcdSJPuHTRZkVY+R9x+i1geUNL3nr2lHhYS9xZfpsMQP3cVq7eFLx2kyosMDv8M+2SP9LW/RX//bfXvJg5WU77hPZnKNfEzE2dTx36HSC7X6RncjHhCj0lGbcz8EoE8dA+/h1u8QmA6mFpEFAkBRDLSZeLhPqYjvfNJ9P4q/va7GMs/TOhm0Op3iFIz2EmTsL2PXllCizxC34FoX20H9UwNQ+I4k+eQn4SgD14bo7GlPuOm9MJiE8scEDW30QTWlZlWnXKaH4JA4DI1/NNHaBLpkTrCoK6UYnbpIqE7Scp2GAkQT7VnNVJaCk+27fL7lAeLPDy6jTNdm/jepYMdm+hDAdGl8cR9OpQNlK82yRJvlkqAXC7lARebOqaRxbMyOPJ5kESAkVexIZnCi/7TMiJMs8hIhmxGiBbHJElJwagkmi2JBF2umoVl1cseHXwL3V5EyxdJJPEjlQ4hs0qUf+frmIWbaJK+SJUwukfIzUs2xPI9sjSJyT1EVy/EFpa3DRKNE8Be65FSkcmxQg4zhiZDCOlZawqSKbo5Xab6o32StrxgU8TyEt/5JporWzOxO8glVnriH6rPFdUnSfbfUBBISZTEyhBSOJuE97axC0to0l8b7WML5CZdJTI0jPYeoZ3ClKSHnlYsCnqPsWsvM2i+TTq1gpAXhZZvyO8y7hFpEotvgUqGOAStdZzJF0iSFtHBHbTFLyuITux1FbxPax8pPonAieTwIT15ccEj9PkkjSFkbuMcUbiFvvMm2twPKPBmOOhjpyRCmGIYpNH7a2hi3ZABUZxRQD3NyhB5cjEuqXicrdRlWfUc5fR9nOItQreKFsmG5gBTUiSiHdIc9XmQf4akI/RE+AhtdH9InC6pz4YMJSxbrCR7ClgpDAlRVhrS2RP9rJTsBLgonxldUmBttPYBlK8oa0B0+h5a6jy6Y4CCvF5WPAfciqo3RKLokRehGBiikNjMKdWn5ZQZtbbRCjVoPj6Dzor2K4lIcktAFzyR9gaKGaE7MpQREn8NL+ig1++QFKbQzGlMMY8IVVuGhPXXiFIyOJtA69wmSgrKrGHJgWW4Tpg4ONk5fDlktzvEjTfQqi9iCOnae4BuL6i/z1A+Z9kquj1OmHSwohxaOo1/+DqmQFKzRfRIBrMu5un7RG4Oy11Uw5IkmyWOXIzBx4JcV3UhZRRwJ6DxffzUedy8DK6GhP0RSfdDTGGTpHOEkUXcvoce6piTy8QDGbzs4lRmYO0BmRu38Pwh7uLf5ad/sKDqaa8/8BkTWJYbMzNp84dvdfja/zDPV76a4pXfPWRuLstgEHK812D63DhjYxXWHzxSh9vqRJVMVqjNIXff+5B8uUClUKJQFV1aj8bJCePVinqXDsU73e1TKhUZhgmzSzOMukM2H6xzbmX5LF0Vxqru0zqsK1J7sVyid9pCTyKuPPsM77/5Fqlsjrknp7n/3hp0Y+aWZpAzXFKwebDa49//7j6thk8+r/E3vzLPG+8cU8wbzM0XuXN/h1Y75uLMNFcuRBRcnUtPjpNZXGLt9btsbm2zNLWAJ/Wq2OJILl2jPhOLcwraNz49xupHa0zNjitjSiqb4WB7j8ZBg4tXz+NHPr708SVpIP3QWC6llrJWlKs1dncPuHD+HO9/7wMqc+Pq8nn0uMHx1ilPfXaRdMYiU3ZIRRn+8b9+h198rUet4PIDS1mKuse9dSFNBUzUYr5wfYVX37rLwDf584c6P/18mn/9z74qOWh6myeEubQCTvmb98jc+gESz1fEfDd/xugI6gdk5s/T2dsnXaxSeOIau698jUJZYMIufiqDM7VILM+pQcxwbxOj18W++QKZbJHO7sfYegm3WGa49l0iP48+WyT38mf5wuV/xobt8uKsyQ9em+HjnX3ufdLgyrka//mTY/7gZ5a5fmucV39vjVxa0qIOsxfP0W/1ceRCrzimAxzHxvdHqiYwt7DI3u4ureM6pbFxpaurVEqs318l1i1uPPckh7tiBLHIVUUH1mF/a19tVleuXFL/vd/tcvWpqzSaHSzXJV8p8uFbt1U6Y2VlmcFgRK/bY2p+ln6rwfb6vjIUzC3N0+u3lNLUiizu391k5dIMk8sznOwekspkKKeLfHT3HpdvnCeXNfkH/9Nb3N6PeemGy7OzVXpRyFEjYHsvYnHO4u/+13nqrTx7jx+R5FPUChUylsXWlkSlA6bmxkm8kKHvMb+8xEe3P+TazSvcuX2X8kSZXC7HcDRCROCy9Z8cm2YY+fSbTbqDIcuXL3J8eHgWSw6GuFl5nqdoN08QgurFG9fY29xm0JHvl6ESWalUmtFwRKvV4spTVzEdk4d3Hp/FnvWIpfkKj09MXv5Hq9y8maeW7hENZBBvki2FvPcg4vigycbm/4PtZDh+bJEevEFn9R3Mhc/giFKaTVUppL1Louk4My8SHn+EbzkYf8lvki2yVODkPJuIPlnPKZtUHIvpycIWaPJI0jUVdcbStBFeUkYzhR4fIRZc2WYry5K8W/U+TmqK4aiF1vpExd2d8iXoDxToW73bBJ4XDJUiN3F8iASMrhF15Yw9p95rsgiINEOlkoPmA1VVtMs3CYWqHyfYtqveofroFCtdRVqciSxgCrM4mXOMjr+OLucFv6sqyWa+Rq/dxhE4sjUk7idqQC+b4zgZYQlwGlt1+mXbIdvnUC9jyplKLrGSvJU62dGHJOlJlVJMGg8wahcZ1ndIVaYYne4oG48zdpFh86HayItZQTb6TmmeYKSRiD5YlkbZBUad+2fU/17zL59hIwVGzk6+yKB3qDg+YapIVpKEYtTpHqoloCmDxCAhZdq065tkq/Mq8WFVr5IcPyZMBipFmrRXMUsCwu0p7pM3OiQ/e1a71QwDPTtLcPge5vhFwsJFnPYao0e/j/HkP0Hfk0TDLH2tgNO5S1wS+Ly88z5Q9oZB6PP/s/TmQZalZ33mc/Zz7pr35r4vtW/d1fumVmtrkBCLEDCCAYcjzMSMCQaH/Qf2BMM4JjwewDKBkbE9eAYmxtjGxhiZVQKE0Nrq7lJXd+1LVlblnnlzufty7tkn3i/5W62qrMw893zf+/5+z+OJ5lve7cFQQYmNaO/EjtXp4JRHSTrHGMV5+vtvkxtdUtDloH5XLWhys0+RNI6VcSqRBVljB6tUwB/0Mdr7uPL99PsYpSkyMbnVbqAT4jhLaHlX/ZwEAh+PncGS+kJTFLRCTzLw/R3c6msk7Q/QZREWHaM5Opk7BwJudwVs7qlFhgwph5GrgIsyUBJ+UirJaZUCNNQZWrTEQVjDdWcw7BJobZKspM7OWve938hSzSXo3MQuXYLu+gk8TwB+oYUhm6eRabQgVVEUmVrY+RlsY6DItwKu0I4fK0WPOAxFc6APIlLZ0oc9LAFgdHYJ6+9jrfwgplEk2v4SRn4OU3yYrXX0nIB68kTDOnb5PMlgi6h3gFm9qsAtrh2cRNbFVy2ud7GsZWCI71I6+IXTDKMjHIlgSL9CFHSR9IPlsCZxxwmyJCJq7ClVUCr9lsG+ApANgxDHnSXLAujs4EzO4PdSNHnYW6tEsa/gUcmRUBwnlW9ZgBeaKCdk+ykXHzGBDtsY0hs2PaJBU1B4OM4YodgBBJZmFpTqzoq6RDKV8ns4EueUS79dIgn7GNKlrq+TOAXsyooicabSLXLHyTobRM199JnzCqwk3RXRGAl0UcAbcvGU+KawTAznAiTrhLllUvm65JIvU79EJ6x/HSsdRZuV/mqecPfPMHJX0BOh+MfqwYq1IqaoTewi4cF72MV50sp5nLhJ3N0jFfepqNCiOppcRqQ3VJjAbj0h6m2hLXyErHVAluximMuYIzmG3SPV6bXHrsLgiOHWt7CWPoYV50jTfdLaTZKZq1hJnoAujjNHIkkLIW1OP0XW00naN7Bmnibcf1vVKKz5jxE0tjEcucAkSrsjEeiwu4VeWsGM24Spi+mvgUzVip64H8m6T9T/LukIY/s9/MEqztTLGObsSUQsOgLDI5H4cvcGWflZpSpJvSpWv0uoXi3iEhfv+wGmKFGSI3qdiOLix9UlJ3v0OxhJmV66w8i5nyXW2wx33seZuKwUJGFzh1TiOtEeUWyoS2veEJbEFEOzQhx0lblAEw1M8zb4x1iVBUK/gzY8UL8fQVLE6O2SjV8i6a1jtfbI5p5Rl4KUDsgwpvwspvTE5ILY28AQbWJhHiONsNw8w6CPER+jexeIWrdVFSJ1R5WDWswQ6eABcTrEKV4RgsfJ5NMqEtsOVmERTbSVSQKN+wRZqFIycfE8WueRsiyoTn9xQVWGBrX3KC59mDCU6K1H6g8I6o/Qhoc4p36AQOJOwj2QZzGokZmj2PjqYioHL6HqWtkE8dHXMMeeVrUAPZaDt0yMDTU4EfWjNuiT6oZ6ycV+HZo3MSblUm1gBQckE2+g1a8Rt++S2WcxKgsKKmhZY2Q0yATE5xXVhF3c6EJ2t6xxoZYR9msncW4h5ba6WKNXSPWe0ovqUiORi2B8qGCbVs5VgEyJ5gpbwYzahNYkrmEpGI8QgRPTxcxLeqZDJgyRKFSDvkCsBH/DpxCuSGbn0PQSmpEQdI9xiiNqwiuhEOm9xeKhlZer+OkdSQA4mH4TbfIpMn+okhnCmrC9glLsGVqPpPaWiotb0x8iSkzi1jdUxNFWwMZAxcolIWLmpklk0u6U0JtHaMUpvJFFhs0bygVvl+ZVFUQGBZnYUnJVpdCLuk3F1xC7gTBVos4qltTAhj5aoUygNKvSiQf9+BFZdVl5ik3R3pSqpJ0Out4njhy09mOM0iRJ6Qx6Z1t9Dmt2nlhSTG4F6vfVdkE2bsp4Eseq22kMm8S9bfTqKDQlLmySSIdOnyQ3fVVR9oO9tzHL84oXkAy3SGXYKj8HGSZKqqG9pyjCCowUDtE80YR2VNLJHrukfgZu8IQgFqWTzORd1fvV8pNkxhjRxhcxnZRs7PswD/+S2J3EGrmoiPzSVZT3rlGQmOA6qWzUtAxXIKXeIlq+gtYULeQoRuU09NZJ9m+RWhpW5SkFFNSSBmgjChDrlpeJxNcsosmSHAgTVUtJC+fUQTBLNjClC+mnZO330awlzMoisRFgiqIIqUY0Kbz4vXzqjR/jnXdqfOaFKqViic3aEZWikA1Mvv1wqAaGD/7v8/T2+hzWddxKxMqlZ2kcN2gf7iti/jDQSbM+ru3h5VwOavtcfPp5mo2aeoc/uP+Iseqo0qttbm6q7vmzLzzPzvo6tqVRrBa5+8FD8oUCSRorB3cuV8ArFRXPY/PJE/LeCCXHpjhW5fjoiHrtiLHpKfxBm93tDisX57j80hKd2h5v3Tjgne+2eOv9hH6s8fd+Sm6QKQ+2hpy5kGd1vcuTQ5NskPLfveby6ofGGZ+f4WCtxtFBg/2dNsEw4dk3nsUftimVRui22+qwf/+9e0pHt3xmkbWHD+k2+py7coF661gwRmgCtQxDxiaq2LkcX/ri23zszYu4lTH1NXfrbbIgYmp5kmF/iN8LabQiBSmWRIw3Yqt0zJWnKxRLOr/2a7f4/DczXM3jpVMQSIqgbHJpeowHj49xJ4WnEnBkWvzuX+7zA1cq/M7fX8Z+7mWiWoP2IMbohoR6RtJrkhPu5IXn8fafEActFRPVpxdo/IcvUP6ez5LWa/j7B+Q//RN0/79fx1iYJn/uaXUR8fe20DY30WamsP0OnHtBKaWDm7coLi0prZfUZYSXZJ1/hYNv/hnnPv29HK6uMf8//BX//SujdHtikhlw+VSVenvAg5qAmEO+8PkFZrQctx82uXTxDPvbuxxvbzMyUsGt5lQCb29rC8crKKtRt9+nOlqlPxji2DoTi3MM2wNsW6fd8wn7vlJCFkelVuCT8zxGJ6bUGXFvbwNbdymNjKmt6KDTVYaGSjFHvjyqBtNaEtETanum0zhqkc87qoYg/KhczsPzRKFrc7i5h52zaHY6zM+LrjjgYL+jDur5nEH9oMH87ATj4w7/7k8P+dYtn+9/Lcf93YR+J+a5y7P8+Td3+dWfX0LPYh488plfLLK5vsfs6BjFsTw723vMz0/TbnQ4brV45qWXeHTnNoN2l9mVJRzXoX5wTBAGyixxuL+jaibV0QqtVh/b0dSiSnzz8kIJ44jx6VmO63UqRY/jWp3phVkKpRHWVx/Qrvc4feksuUJOwchKlsON9z9QWF2rJDDPBWXFyGfHXH3jApc+ew0nX6Hk9mj5FsuzHvXDIYWCzddudfilv3OVf/Bb/5j2n/wevjmDKdyhsUlMa4bk4AGWJGVNqdIOSZwYrXGoBuV6SZZNTfzuDm7pMlneI/GlBhqqTa6kCIQJk4RNVUlz5l8nHZ6cK8LuqiL+u8v/M7E45P1HxNo4xsiy6rLroqLNjRE1ttHlXeUco01/9IQCH8aYYxPKwKG1dtBsucztY42Lh12g3vWT94MMs5vr4IxhaYHawA8NHTcZEqQ6VvUUcXtbmWmS9r2TmPfoSyRNgYGHxP0Oqfjqj94lUMYFUaZWlKpWhoRm4TSa1iYc+ti6RVIQ01BXpYE0tbBxVGXXyE/jD7toTYnfT6vEg9gNTv6MeVWVM+ofkCQmqSxcBXQeHEizEVP3yQR8GB8QxJni9ljDkGzkNE4WkbYfq0F82LqmlgDO1OsEQUux3uL2I2XuMpwqvePbeNMXsUT3LkyfWCN+8jsY9qSqxwg8VwYloVQKjYK6Iya6VAMNkuMnyugi/Bi578gSOOweEkd1rNRViV9JiQbFWWx7kd7t36Z46sNoUs8T8KPwmNryHIqdzSLb+Kaq/5pTzxDK3y0q7yzCNqWKdIypGWjCVBPzWjBQ2kCncEV9bXIGV5/F7hip1C/DIWZ4pGqrSsHtzhPnDVUNEO22mcriUaxgFpYn9jHInEW0zmPS/gapcJMMG8cpMhBOUGMVe+qKOnMiiUSjQzAcYpYXMeT7psmZXpJAM2oJLrpp3ZmFeIDujJ+ojA0Ht3qadFgjGkjF0UfzJFVrkmATyr03VyYUYLgYylrv/EpmSt84OyYVeIKxQNZ+D6ewSOJNKC2CeJKlVxrbog4SSN4osb+LJ3TF1iP1C287S/iDe+jlKyDbSbeEKdC63vrJgR9HQT00v0ksPdXCFJFsH00N15tlKOpAcdcXV9CkQxE2ce0qQdZRP9go3sZihNCUjxq5XM+SBF2SwSoUzxMeXsObli7MkYpIZJHQq6MT1ZZywtvqMCV9WE3gV6aJKT1Y2XwJlEL9QApYbolh9wm2t0DY3MaqzqCLDaF3nyx/mWT4BEvPY44ukXR2SL1ZwtY9VZWwLA9TAIP9B6oqQUGizqmKSKXSjbel49lQTsbu2tcpzVxVmibD8IjSLo4cjsV3266R9A6xpy+fqNDIKZiMEXUJOrsYmahFQnx3EieNlYUgkSqE5xH1+orGSfkU4dY3MEbPKV98KhNOoY/XrqnYisRbs/J5TOn9tO/Sb+/gFZZUbF5+gROJh0Sx2h5rvRapRHVLDp4xSxjmiY+/SM5bhOIIicRRc5PEtTvYAqdSFoh7Jx3mzg2MsIk1/yNEvcdKRWGbLoO4i1lYVomIsLupGAV2dRq/LoyBcZKoT9LvYBbGFYlfLy1iRolS4UV6ASvonlzIox1icw4jO+nOC9nfLgpkaoRMGyqzAaKV2fsuurhJ3TEQEJ4mB20xEHSI9Sa2K1H0AXayRlJ4CU3SIRL1sSX6HmMY40RJgCGKN3lA3YD4cB97dAojHcOP62ramthF9G/+HeIgwhufJmi2cauTRPMfQYsyRQlPpPMuV0JPUxcXZDNopmrL3t/8Eq4hnfg8YeFpFcUVMqg45UUR6BUKDGQbnrtI4q9jytdSLKO5K0Sb/xGt+gqGVBN67xO1j7CmPqzidAUvR8w4musz2L+lhnRi9pDbszaIYHKBrNfCLq4QS2omkLhzRiYfvAUxcIA1PCQzLBVhFZWUYc+rZE8SN8nJMMmcht4qXukcQ9n8tuRr2MMVyGLlZbLb/5JhbhJ38jmC5g6F8hhp+QJG9w5JNoHWf0TsOVhakViiJQWBn/XRNJtkcIRR0NFNgc7JxdDD9tcIxz6knlPDaGI4pyCuqyRAImYH/0AN3uiuEo2fx8mmCdb/H+ypj6DJpbVXx5BEUWEWPdkm7kYkgxqGNYIxtqRYIWksUfIDIn3kpJ+tl7CMCqFE+YMDMnlTCm1VNIgCVRG9X7CllKdpbkb9noVS3elL4shRG2jNc9TGL00cZTaRuDiaL3EDsv66UmNKxYmhDFt0Em0aK1snlcGiu6D+P66VY1hfwxQScl8SXAtqkx/Xv6N0hnFZ4ocDVXWSgAvttkoNRWFNbWtSaxZDHPBxSBgdqtqS69pqmxBlJoY820mN/t3fI3f+b6G1P0DTq8Smj9HvYEw8hx+2leLLSEICv4aVE19yCS05PJmoO9P8EB+tAAAgAElEQVQEg300ObgM9tH331eqVmtcYFy6itrH0ueu3yOLGiRjL5KXKbZs7ROURUPgkLJ0TjNTwSITcwxHAETB4ckwK+qiSa1DKP7yJpbEhyhc+48Ur8UfNLGFnyB9t8op4uYWcX8dR+KIpkkqFbB4QBLrqusrPQLNmCISUF5/k7D6GmZ1XCXTQtm254qKgyIKrLD1CE+ejYkPEz/4K6L+dQpLn1MgxKC3prgGoSX1JXALp082V+27BM4cThaoCoPZOSbQy5jUSUNdpXw0IXSZEyTDVaWAkr6nJlBNbxTj+A6xaEzHn1Nax0gOQTlR/KWk/QaZHUkcQhlxjPwocRKR+KsY8Zj6rIo6dShOKbBvaiUMWnVymfi6u3hSNzFKVJ5/hi/9+m/wI//gv/GLP7zCV27vs7IkYFwLr6oxlcvxm3+xybd++QxLTxX51pf3KZQdqkWDO3f3efkjL7B9/6G6lJTGyoxPjHN8cEin53P6zCna7RYP7j3h9Ol5RU+/9s57nLu4Ql4O8SLktjWSMFaE6LxT5MmDB1x99XWGYZ/d9TVcM8NwR1TPdXJ6mYOtJ5iep55VifaaesDS5VN88O5DpiZyzJye5+6dGn/29QMer3WpzDgsTI0pbWnBjNXl6O07IW++VGV1Y4e4a/J3f/o80bBB2BavTYxvaVTLE+riqNgbuk79sMn8zAQHe4dq+DBeHaXVbKlKSKfVVYfavZ0WKysz2K5NvjjC1saG+m9e+cSH1LBje/UJfqRx9cUL7D7ewu/2OH35LM1Wi+mlRQY7dR6s1VmYK7L4dI7MTLl1rc2P/R87tH2NZ+d8Lp0aVT711Y0m0uh99kqRkm6y9rjFH6/FHLRg7V99ilMfnSHarBE8SWjurTF+7gzNnQ2yQY/Smz9K0tjE3z/GlmTN6IpKKHlL5ziW2t7DmxTmzxNLvU/evZ0a3sWPKTia1T1koEkIc5fcpVeJxAA16GFMnVb91/7hmixl1fBg/FOfVcqz9J0/xRifonB1jn/zj7/MF2+11HCyWoAXzlf51oM9pvN5agc9Xn5ulL//U+O889ZjxueWyYYRYTakUMnjd9qEgYABW+qZHJ0ssbG6zcrpJfq9vqzU6LZ7FEfKtOp1rr78AlvrezSPa+QM2UYXlQpPIHe5fInH9+8qWN3SpUus33nA4cEBV196joP9Heq1Y8Ynpzg4PKI6UqY6MUGzfsiTu1u8/NFXaHfarK0+YkG0krpOfxAwMlZUer3r1+7z1FOnCAY+B4c1Fs+epbZ7wIiVY/ycMFoC/tkXHnFtJ+HZKx5WHNFsx+wcZ5TzHj/54UjR+HPFcVqNHq5jopnyWeVS9ExlhNpce0xuJE8lX2J7d5dTKyvsHdaoVEdoHjeZnplSF1dDElZBzNr6OsURMecMqVRGCWWp4phMzMwpi0G7IeYVnTAMqR/VmZoeoyoWgPVNXMeh1x2wcmGJ42OfydkyncO+Oodt7ByopMjrb4zxpb9o8Jlf3uR/+sFFjrbbbLV8LFvn3OlZbj/eo37U5+Ht38R/9HUC+3kFSjUlfi9VKz3ET230/hFpuK3YQXqEilu7ck6R1JzAzqKQKNVxxk6pLXw26KuqYoL09V2VDM76xyTyWSxp3fp9vMpZZewQOr28A4QTJBH3VBaHAi/zzhB3a0qnrDbQsnAThbfjkjT2cCozmLGDLzU02UCYwukQwUyo2AFOukfcamNOnGMoqxOJ50tSUGB5YQfDlfd1nbiwgBX1lbJV4vuSXIzFsjV+BUMu6gKiljpelKIHR2rhhNSDtSpmsI5/9FCpFFOzSpbUVPIuky2v/Lslw5f18PJV/M42miRyx19As4skzftqWSm1XRlSxFtfwT71SXXe9YMWdmuLWNhBsuAdkQXodXLFFUIZLIQJntOmNwgxPYckdpSdQTSBRm+PTCqMUUY2lJ+Tgy/LQqkqj5zCiIWQf0Bij6NFxglw2wnQEqkc7JO4VXXxz/w6Wq6gBgHYizjdhwwSB0sWW1oevThG1Gvjlc/jt95X8D2BEloHHxCbwiM6Rdw9INFTXFfuq0fgH6AXZ0kEUNi8oy79kXCFJNM/ukI2HJykXIPjkzOnGH4OHuFOP0smCwm/TtZropmSeB4wEFYaJQVSjMSYIv367i5J6RSWf0Q8c07ZITh+wDAa4o0+Rzo4IirNqpp82hOVcJFUkp6ervTCkb+jaqK9ow1KboV++yH55U+SSmJs+xrWxFkyqRdLcljUgzmp+B6CqA2lrqhF6HGJ1EmQsGSc5TAzi2H7prI+BJJcdkaJZbEcNtGab//TLJPDaXmKuN1AG51UkXQrzWDwhMw5TTbcUpt/cUHbYax6YPJyllejHDLkABV0HqHLX5YXevY76qIlnUPZhDPcJS6eUzFmo7uhaJcCwJFojl2cJuw+Jmjt4OZHsUqLqn8zjPoYnoUu8QzZYMuUo1sjskzskRWG9VUM/4jc3Iv0yRGv/RH22LIisYuTOhvW1cNslU8TCcRBItoUsbSBOmhFw6bSA5mTTymog6/rZPIwFS4R6kfkYyH+z4HWJa6ex9r4Oon0R3Pn4OiP0Iovqu2QumwLkVOo4N2HSiWFgOnCI0xxQArArPVYRdNjw1NUe716WfVaDKtEYupk0q0V9aLmksk0cfRp0p48+GUVJ3Jdh8EgIgnFET2qVGgcvqtsBql4rUdmSY92ML05Mq2nLq8UXybd/UM1bLFnnjkhUbfEcX6WqDBJcud31UFbKbqCQGkobIkgWy5mEhP0N3BG5N8RoEnMtfYtjLFLRJH4Ug9VLFV640H3PqYzhSlGhe42emURhkO1FRO14nDnazjlUzjyM6vdEaY9lCfxRpbVJtMOOkSukOm3SHtdpT8UgKGWz2PkzxHsX8fQhoqijvjhjx6iz39EXeyz4zsklrjCI3RTPKIWmS0fal1MxyU1l0l690idCSwhtYr/XCsSte8rpV4q09mRs+qCry5dta+ileeIpz5BerCFm9whc0+je7NEyRHx7jWs5U9jNG6ipSaJgFQa31XQGKt4WlH2tdrvMbjzR7hnP0k22MV0c8RCdjVkg3cWa/yq0poZ1SnS3bexxq+ghwF+3FOxe9WZpkAcH2AqaNyudCxwiyX89g722POkSRc3Cxn0RY3jEjUPMCeWlNItPHpX8SuM2e9RW2j98DqJV1Wgm0yYEHaBYPVLmJNX0QtldcjV8ksYkuxI26DnSXPT2PJSE7q4AE9EX2bZGMLCiE56VQJxSbpN5Uu37VFl/hCTgWHNqniOdC+NzibDsKPUd4y8gBbIAMFAt8r4teu4AreUOLW/SpxbUW5y4XLow5AwV8JQHWwLxBsvFN2Jpxk++E84y58mkehb7QamUyXLmlgSxTLH1cs9EqheNlB9R3Gi2yV5No+UUiUbvA/6DG55hsFgGzNzVZIjSeqYEqkXdabE+kWVGJvowgdpPVRTb6HDiqpPNpoqhh33VS0kW/ioSp7YosizPFJjhiyrkx7dwJ5+jaS1iZ6roOMRy5DKcpSeTaa2WiyfU8EJHVi+DrmASpldolu9J4pnITqmODXxSmeJol0ysSWYnoozytBAnlFdhlPC4/DXyZwVEkX+3cZKu6puIJkVUUUO+7vkpj6OJuoYX154AVrzsZooM/2DMDgg87cU7d+eXCbqd5VrV5Qz2uL3Q76A0T1UusgsrGE4o6p7a0r1I47QJB4onX/5PSmuQPcOqehRB220sWdUqYBBgzRNFThSNuCa5pBYNqYaWGjEek51COXwFR3dxbBGiQvjivcitQesWEU9ZTBojsigRAwgLQI9wEHSDxZx/zpY5zBMiX2mxJHUq0ZI0y6m/F4YLrHpqPqBbo2Q+E8UGVtownpuGa3+PvGwhV4YV13xyG9g5MRwUSERxkeQYc9fIRrsoQ8a6OPyc76GKbHCTOL0Q3RJWiSS8LFViss4EP3tDKk5rQbc8k4wbZsoK5HWbyp/sz32KmH9PQz53sUpui3aQwNTTAzTTyvSu3R+Iyn/+Ee4uk5SWiRq3yOMhrgyVM00wsN3saefVzWgaOsmaVFSKGIgGZ7YcHJTBHIRCPew0zKBxEb7a5RHHeKrP8r8/Cd4YWKUU1WTWpJg6Sk7tQGlfMbtzZQffMHkX/5vL7B6bZXQrpB2Q6UoW3t4j+Wzy7TbQiCMCboRuZxBLMNUx1REY5msjZZHOajXOX3+LNHA587dWywsnFYLgaPDQxUzdWyPKBaQ2Rbf+9lPsnd4yJGABDVNmRTynkPt2GdlZYLafpPO0RHl6SrV/AxbO6u88omnyBVT/sX/dZc/+HKf5SWXN18cU5pfN2iyPTAJBzq9qEEa5Wjt+Lz8nMVPfO400dDizo0dzjy1wp0PpCsL07Nj1I9bghhQh7SnX3qaL//XL3Hm7BmqcxUaB8c8Wd9ndrxKq93mlTc/SmN7i73anpBByRVsxsartDtDDg+aXLp8SsW2g3afZrvNsBcoNdzeRh9fhmOdHs88fZrZJYvITtk71vlbv3CLDx5lXFoqcmkl43ypwM1NgViWKUodKB8rKOEfv18nbmv8+BWDz//iRzDnL9K59UB9jvvbB5gzBYadFG+iSiTxY6nM7NyCgY+f8yi8/jnSr/8eR0/uM/N9P0Xa36P3ZA33qdcwgy79W3cZefkNGh+8hS3nurFxLImazMwx2N4gPz8P/SGN7R3Gn5WUTJn2xiNyK2foffXPqT77jEqeycE799QSP/76L/L+fsrpeY/F8pDC6DiHGy0mluaZ1lt8//fYzJyZZ/3uLmHoEQ3bnFte5qDVxnICPK+oqpJyLh10erS7fRaW55QtZW97l4VLy3z3a+8wMjHB088+w72b75PPlVh/+JjFMyt0+m0mJibwXJd+L6DTayPfmOEwYGp2hvxIgaPtQ2XBKRQq6oIvu6U4GuK3fIJMx83rjI2Ns/FgjYWVFQT3ebi1T3V+ml6jwaNHu+Qsl1c+epUkS7h7/TG2mynzyrPPzJNqbX7yf3nI5EyBV5d0DhoaQdRjmOSw4pCrl3U+9X3PsHazTlsSVi2pH3aZnK4oNZsoybo9oe1XqR8fqmfNcAuMjOTwfZ/pqWmePFzFjwaUK1I70hkZkeHcPvubu1y4fIHWUYvd2iGnzy5zuLNLrlJmcW6J/YM95SJPDJ1SsUi5UuHutRvqsuaMFFhYmuXujVWW5qcoj5V5962HnH9qnMWX5pl+9S1evljBLSY06ymu47O6l7BUtPjy/Q5/8Muv8Zmf+Uc03rmGpXcwp84TSpKid8xwZxV3bJ4oiUjLK+r9JPF7WQgFcpFud9BLZRhK5L6BZswpvpCuG/h6FWOwpS7mpuYwlA12KDnrHtn4S7D/16TuhFKG0/1AmXzk8p4cvaU0sZonIOpEaQMFVq3MK1j0Nr6KOSrLs8toApFtPUGTqPewrWCD0teXY4teWFAcoFTe0XIWEPifANFNV8Gf4/4xXm4JLScw5UCd9dFHSAf3wZwhTfsnAGVRh5uTcPyOSjwbVvVkUOAVcLIyfvM6Ua9OfvpljNy0OjeFstGnqS6stvTCR04T1m8SrP0BztynMOfOEOxJ2gBY+Dja7tdJ/R7pmNisSiRqcVMmaKyhFxfJDu6qP1ti5YYWEgtXwBlTAGTbLMoJmiw7EK09vpbg5OWCL9DcFN2rMth5D3vhDVVhCPa/hjP+kgIMx4NjrEGLxKugDY6hWFLJ6UFrFU0Sw+WzJFkeLWlhmx7D2rdUFF4fv6zqCHK2cHstAreE3a9h2DahWyLtNdViIpOlSpwQWwaOVFMb64QTV1XqWtSOub+BKqbCVupsk4y9oP4bu1xRlUK9u64sGGIBoH1H8dyCYZu4coVi/ry6WEvqL5EBku4igACByMemTnH+o/Q3voKWuegLr2A8+Ws0rw8jz6nviVQZZWiSJAOsUCcWzV+wiiNwaGOCuHkDa+xZlezTcjPEUskVdfThPcVu0vJTCizoK55EiJbIAlqWnz1SOVzFGpncvUXl7UklYBy9u69MfjIYS8N9tNa3/kmGv0lWfopMiP/BPvbch0l6sgFuKJKw/OGxdGCDYyLpqo3JJXhLUe0Hzij2MFVWKOm0+61D3JEFMtkeSt+z+AzEj0n9TH2gamPLqi8iD4tyDkdDEumcl08T9o+VTz0ywdEsFSWVWKto9AzpyqZHSnuUaVUsmcQRqM6+M7WALhHx/Ch6f4soM7CNgIE/wHYyBUuTf0sqB08hb3qjKu2g26MkvSMMT2b1I8T16wytMcpTV4l690lqd5XSKb/wGsO9WyS9B7gLP0rY+A5WWkErjqvIjtAl9cKiIuGL+9KR7XHlFSLRVElvP81wxl8hOvoauhC6ywIDGycM23je5MlFTfrXYUiiBSqiZRUmVLVAyNGDziZFgfkNQzyBiMR1xUVwilPKM2+GTcJBXW1aFRkzqZLkKlgF0WVIl9oi231PkjQkY1eJumtkAvjwPAyJ5s+9QYZ3Ej3WIpy4SySpDoGydQ9J8yvEwY7a5OOUyPrb6NY8Rq58olarnCdtPCHNj6sBiHSaHc0gFAe77ijICP0Wib+GZUoJU6BeOaJAdBwDFefNOkIp7+DOvki0/Sck+VNoky9h1t4BUUYevEPYuIErFypvnixuo7e/q/R9lpaSCdMgk18cgWztqwuRgMaE4m+Vl1W9IeynkkMh6m1geSX00jJh4ybW3OvIEEzrbMHkebLmAal8jwqL6tIgK9RM4lb77+HOfi/h0Q0ojmKZOZLWLkGxQl4GX1oPHvxr5UkPlUPWJTdzjkS8o8k+Vul5+oULaOJrzk0T9O/iFi8Td7cwjUh1uPTCOaK0iSWxeruAJjYCpZjbJ2rcxBG2hSvE5aaa1opSTjbymWjysknFIpDLcRZrGJ33SSrnFM/DNcvq9840RkgpYKQCqKvC0S2SsYvQE0hWF3JLanijtR4rdUlmV8i6B6SObKw1perTS/NK52aInUPVd0pE7Q3QmujeeeL9r6mLcpZbURqcUBIkne8qXYyRv0DQXsWVNErQIHRlE20SRhFu+SxB4x2041WlyDGzCYbDx8TyQZcXDseuilbJ9zn1tzGLF8joqW1Bal+BUGi7AyL3vEpOpHKji3tqEKjqMdPPYIQOUXAAbp5Msvz9tlKKxf0t9KmXFAzOCXXV5+rJJDyzSYT9UThDZ/srFGc/TiJDq+467sQKgyffwJh/FU0GFBLxD/uK+K+RJ9n5M8yx50gyG6uwrNRe8lIL2ht4uUk0yyaNxJbgCoxYqX0szSDoPFTppBOKvoupD9XvrNSjhJqv67pStkWavDAOTtIi3VXs8hmifo30+D6e6Id0F82uoAlxWDSjUk8S3ZAjVZJ9NEmQCEAvTokTgbIZJ8aA4Sb+4Q3MiU9gjM4x3PomeUkYuKcZ9iXdIGmHcbTsgCTOqb/fsHWSgXyv25hmkSTtohtlCPsqWSWqukz0eH5Nrn9YxQmCzi30zMUaP0vSli31kCh3Rg1hrN4j0uJFRemXbq8mKYU0xRh7EQQgKHReGQI0BVhZUNReAaQivIZkiOuVFVFYhi3iYrbzZdKsclJzEkBdbw3bXlCAs9hvqTSZWZA+YEMZVwzTw3TGlZ4uEvhkWMNODHyJOuYmyNJDdHOKLH+GeOffqe2UVnqOrLlJqvvoMrSWu64MN9r3sCQVZRWIw1hBbHX/gDi1iOVzqH+AUb2gvm7xaYu/1xBQZXQyzNVzZ0mDjEwGu8EBupcn7vroCsAaQd4kbbcxvFHMtMuw28ApTqrBZxbsQ25SxQ91v0UUhSoqKyrUdChbtjLjUwv0ZLjXvU3pqZ/ii7/98/z0z32Vz705yW69qeo03e6QszM5bm1mtFpDVv/wdY52trn3wTGjc1Wk7argTXIZzOVxBWibJezvHDA+LvHuPmNTE4qPEch2s9lQUL4gjLBdR0WSZYM6MiZRxpB+v0fruMnc8owaYtSPaooQIZygQrmiQEtyFlmYnOXB2mPOXr2ApLA37u0wPpIxvjDPB9fu8Pn/3OX6Ro9f/dkVvnl7g4d3TV57tkjejnnvbp9dv8jVEZ9PvqbxoY9dwcx5fPsrdxiGGmcXR6jVQy5dnmf11kNSR84JOjMLs8oasrW+w8RohX6/j44oCycwbV2p6cR4IArd2u4xk1NVcqUS3VaTiVFJYZncfOeG8kMLaV4PEvLlHAXXojo7w81v3Oa5T1xh68YaxaUyG7sdfv+bXf7qvRzLswlzFSjaeR4fdjGtCM8WOKFJq9+nF2vcetzh0Nf5xv/+Cpd/7Idg7xGN1U3CgUZpsqC68bEFI14Ze+kSvY1byDW0v7FGefaU+h1xp+bpHjZwW3sMzYzCxY+g9Zt0j2uUz1/g+Gt/ysSrH6G/uUYaSiJDtFUNLD0jLK9Ig06paSVh17/3HvbSWdxzZ0kbB0qV5px5ieDJ++SnFnCnPX7r8/+Ff/0XTT720SnWVn2KVRMxxQ67HXqxzWQRfvufPE978w73H8fMnx4n7HUolEYZRiHNRgev4Kk4frfZpjoxTr5UxG812djYpzo6ypmLZ7j+9tvkpIc/Mk6Q+hzsHjAzJxe7CHnlrq09ZnJ8nMJIjkbtkFK1ytFBndHJKmmUUimWafXF0w2dbp0XXnyRTrNPrbbLxMyUorY/uP2AyUn5ukRz3GPlykV1Vr393n1OnVlkam6aD95+n7mFKbVQcfMGm5tNLp0xqc6c43M//x2unvZ4esXDsVIerGX0Qp1bdw/4Rz8zwVPPneW976xTtG1KFY96o0UxX+aw0WRqrIzlOexubarIf86TAXFIlMU0Dhs4usn4zAz3799iZeWMurjMzE/z7rfeYX5OLjdDttZ3eeq5yxzs19jc2OPqc1eUunPt3mPiNKRcLWM7Du2DJrak2RLwRlz6ddF6D9A0nfHpeerNTeYmda7ds/n0rx3y2WcLjHgx+wcZnbbP0lKB63d6GJ7Jne0vM9zY42D1HUbnFvCPmlh6qOBoFgPiYYI5dQmjfcAwbGCJxqzfYuivk1v4XgX+TI+uo0++qABx2lC859OYkiQwPRypBYYtBcsNtT6afQrt8BqaAOP6khDuqHqaAFEZSL/4BIQtEe0kqBNKpc4rk/oJtlsmiRvEjdvouTMYscTi5zDS4QkIvDBP2tlX779w7+u4536KoCv1SmHzvkrQX1NbWUkU6vEBCRNYY1fQhuuEvXVVsRYdX9ATjfU2SWEWM3WxcgmxXiFt17BL3slSxJHoOtj162TeBJHo/qIGxvynSQbr6uI37Oxg5ubUAlfA6tbklZPFXtLHGj1HeLyJZVuqvmuPXyI43sLyNBI1IB6oKqdVXiCRCH23gam3CbNpxZeJhz5J9x5ZUXS/DUK/iTn1LFk8IJYL78xzuKMvEDfeZdjdxRt9gSAd4EY9okj4bBlJVMAsC28kUBwRrzTCMBKLwBgIGV+WCBOvoInZgfGTRYejqUH2YOMeNutkY0+jG2cImu8pXaZRnVefR2IHolDEqq+RLH4cCbDHh9cxirMYAi/u7BJ54+jFcbKdt7HHlghT4daZCvgs8Phg622shdewOutkhVMqeZbt/TXG6R9SQ4coN0q8cU9alySjz2AFHXTaRN4kSWtNsR9oXmfY6+Kc/n60nXcJPQHU26raI+fAxO9gFpcJejvq/JRVllVNwBjUMeUOYFXRU2Hi5dBzwktLSKTyWyzjGqOkalheP7FSiclIltmTsmiWe5CFVZqld7yqzFj5oiRKBFA6RGu/928y6Xv7YYv08B3ypSukEhGQKZkjF60mTrEiqUaSdIBJj+H2TfTKHLYA+vp7UD2LJxuVg+uKjKhXTp9EuaVbph7gLv2Nt1WvxpKH9fAd1dO38hPE8SGGdPZl4pXUVVwybR2SmR0M2ZS6owwHeziZ6NYmiERh0LpOVD6FIQfMuKYezMQooCd90uAQM5YesYs+uageliRuqX6XZs9jei6JRCUzXTlAxbUkcWPZvulyYA676oGR6G5h6Q36jR1s0R6Kx9WRT7opBvtPsEVVKF1nuWwZOdL2bZw0R0RI1L6LN/89hI27GKI2m3idcLiFLp2U0gLhk7/CnX6ORHzQWkSkDrhDtDjCKlRUP1wI5OIKxi4zOLqLK2RoTdIGU8RRF8udIQyOyecr9Pbfx65eVKAUcZln1Uuqmx/KBxSiWhPaq0HmGUqlJNtxQ7Rbaqs1pT4IJKptyc+2cAlXYisyIavvYkzPQedIQShIBZAVYsuHYv8JoWipBNJnjhK3bmOURPE2qTo6liHqnSauqDRKI2qbJlEtcXTbWkAgpgaVHJAUwiKOPEjhnqqbyAXLjPskWRdDDuSjz2BKtCqoE1UvKqZCMtjBM8tE9riKNouTPZatqWwYdZO03yOL6thFgXC4DGqrOIVpDAHhSI9n5lX1UGphRpYbI27dxZl6kaCzp7a6zsg0qVBGj+6BE5BZc+oyKV3lODem3PESm5KEh567QBJvqUFMsv0V1SHEsxl2auoZCLwqJXG0L32WcPTH0Fp3yJIuWu+J0qbIZSYbSAzpFFG7ha4LQyJPIht7hsosISA4ykvqMh6376tLuKXUeKKqkyHFEN1fVxTUdPYjZAdvkexdIz/3MXwxWHiTaP1VBQrMSrNog20s3VUHGUdrMhg0MUfOoednyXoHJ45x2bDmRog7TeUath2dVBIDzjTD1gPMJMD2Zkk0nzAIcKvCZ3iLtH0f59L/qDqRasLrjZB094nkgGjKYcRV2i/xWtl2gTQ4QnPPKW1gMOhgF86iDzYwk2OG9hK2IaOwnnohB8I/GBxC9XlwJOkjWk9hVzgnf59srtMuSRYqVVAsYDdxqDujWPkKobql2Gp740idIAgh66jptugFRTGpC3Bv4kNy98OQ5Iyn41gzxM33ifpHCoyT1W+TjL2B4W9hRNvE9nlM2co7JkHrFm7xPFGWKe2nKQqeIFDU1syeUBR4Sed3NwcAACAASURBVEgZ7TvEcaDULYaAYMJD0l6GlW2QyHNQuoDdlp59Ds1NiVvHONlQHQLkWde1BknxDHYYENVvYorHvvo0ycHbGP0n6BOvkThVaK2qC6zUCgxR0lkpcf0mmTen+o66v0VcOIWmUlEuA+lH2jOqG++NVJClSRwMKHkThN1jknwFy5smlkSHgl3pBMRYmQzKZENfUA524UxIr93IVdXm226tEROLe0XF1YLWnko06RNnYSgvuoL6uWn+Y1KKUFxSpPhk8Eh9TutBRl8OfPkJBRZNSjNowyMysVEINDbon2xkooECZMrJVLgtWndPBLEqLo9dVDDEJGqpTmEi1TBhbdS/RTbyHHZ+lKy/Q1/qR/KMkSm4qi0E5P4umqWjJ5ZyF6d738Edu0RSmSXbv4ZeOkXiTKC1HpEiEMw5tMoSBkdEjQZGWfgFG6T+MYaZJxKbSaFCUrutEhmKK2OIj6KMLiA86pBbwMInqz+CaJ/EW8aZvEg46GD5hwreKR1RZ9ghDPqkxSksqfMKT0MGiMmQQe0Diud/WCUELEmsaTkS4ShUFnAyh56kTIYNSmdfw5pc4UzlPFMTBufGJ2ibQ1wZurkaI2j8x++2+Jk3PH75H17g7b8+IK+HiqweyrCVVFkcRNfZrh0rRfDK+dPqMj/o+SpO3DioK3BaEIcc1Y45e2aB7a0jbM9QCSWpp0xOTeEH0oHv02m0mZqfVx1vucyIlrDni+u9wtFGjfJskZnpOdYe7TLcPublHzijQJe/8Ot3+PK3Q37gzTx5LUaPHRYkHr5/zPhCjvdvdBktaIyYPp/55CJL5xa4d2sb2xB+QkqQWDQPtiiWikwtVKnV+szMz3O0t4E/DFk5dYq7H9xmYnZKdY7X7zzGMGwWzs1TrBYUd+fhrduU8iXKpRKxkXCwf4Cn57FzDoZlUhzJM+gNaO22OHvhLDvtOjNnFmiuP2Hl3IKyWvzOF7/DF35fx7YclhYDgsDmU89PUm+1+OPvNDk753C6ZFCdn+TPv/uYdx9Z/NKPlPnZf/p3SQ5Fj+bQi1Nqt65TKUyoDRUVgbvaSo0XHa7jnr5AJsOpoEvOK9O9+228ladwqlO099bJz8wTNXukd79B4YWP09p6rEjShcoYoebhLawQ3X+X3t4mzvKCggcOj9r4G9fIr5zDsqcJG5vokUmUDEm1gOrZV+m29xh8+y3K00uU33yW3/jn/5Xf/Oo+Hz5TYWUmY+2wD6FHzjK5cThg1hjwf/7cKZZenOer/+Uel86PUasJeydkbnEe03E4FtuDrjO/sMg7b71NMBjy8ivP8/DOI8FBcfriBdYfrimrj2gEn3nxFe5/ID31ohp01XZ2GCmVGZuepNvpqstE3x9SrJZUtUx+B6+/e435qSllLRJ7het6jFWqbO0fqrh9TpIp+we4jsXEzAT37zzkzLlzlCslHt2/T2boDDp9yuUKrpMjpMetWzu88OwyYxO2giB+/j8NqIxknJ92uPmgxdIpk9Gxef76G5v8v//rElrRpHGc4urQ6vYoFssMuzL8G+KVHWX/cD2X4XDIznZNDUYmxifR5UxpomqhWZBwsLvL1MKUGnLI72mxVGJjY5Pl88tYpkNz/5B+4OMPAibHJmh3mwSKYzGmvs+KtRNG1A6OGBuRc4aNliYEcUqia0yYXaafPsfyD79LcaLMxXLKINHp9QKm5lPWH2rcbnT5b7/0Jm/+vV+g+e3rShlM0sOdPkdqXyas30B79PtoT/1ttPoudG/C/OuEzQMsMakkNRi20dMBafkpzP4ThnXhZV3BlXRYbpqBMGSiY7JcFUdqcWNPKQaOpJ3FBpVKnvn4MbGQ1yun0IVnZRiqDphJgjHIMFurDMVkMDJPOExIww66naFZFRLp0mcWTnubSDrY4TGacGnkPFWVy5zwA/pEdg6384hk9KoClkqSS/g4enEEMxF4X6Ri2s70s2q4LTWz4tLrDPbfw28fU1r6BFH9EXq5pGCvSWcNXS6shREMb4Zg9y+UC17ecZnvk6ivva0ShqZY0tpNusIZsEKM6ktkhkZweEslvuVcKMu6ZPUPoThBGoVY40+jhR1igT0H+6TWKJqco5M24cEdcuMvEIYHDPYfkJt6nlTOoKI7lLTdsdx/hjD1Apaki/ffBs3DmDhH2uugdTYVwNUdPUfS3yexK7imhn+4iiZLjnlRfu9heK66B8oAQLbpfmdHwSQ9a4kokvtHkUggwPl51eGP/YcY1grJ3lvo1afQipPQvKMGy6J0NwfHJ1WM3BLuxJLSPA5DD8Nz0IvCKJDqa1PZGWQ4nSWBGioZ5adJDZvMFxVtC19AyEyjjc2jdY5J9r6Kc+p71Lm9v/cu+aXnQSqfcs6sfRc9N0OWn8bya/jNGvb0C8THd9W9K85NgjeG4fdPkiRhm1hg1a1VnJELynTV3/4y9sQlslQ0iQmWPSBuHalkSdjag0TDnntV2fHkPpOfeY3B8QfkS3PqLhIcvkvhwt8mCnvEB3fRSqNonWtfyOKgiW6OkWkpRrkMB/dIhOZZWlJAMrP7mCTRiDSTYmGM3s53sIryITSKJX39Xl3R2+XDReJ1gVDqJfMnLIDKCqY4wcVTWR5TkRL5IWXleQxzSlGLBdiktFapTANHRcilpjcyoRU9UdyryfQB3ZU4p9DadRJfYEzSFykQax7p8fukwx3c8kXCwixG+6aidJqijwj31eZASaG83EkPyC6gS6dWFDaRQWjKJRz06TOEtQdq0o+zgNF5SJK3yBkrdONtbInyJwY5vUW/28KkojY+8tIL5RdH1zFzs4TNh5g9cR33FQhDTcOLcwSdNaVF0+wEzVki6uyQy2UMj4fIEl62M5ZMp4pz+PVHeDlxaUo02iL6G5aBeFfD/gZaeRHXKDOo3UH3HKhcJBkM0fRYbemzoyfos1eU1svzCvSTGDeLCBPZ0jdVxH9w9B5ZUCN/8SdI+j5G5y5R7jR23GbQ3cPxltHNJtlANroShT3EFuVg5GOOLJG076L7Ev/JiG05SLZJpNctXfvuI+jvYMvFy1hCV95w2WxPEHUEEmIrgEZsuXB0B72yorY9oeZg+z203i3i8gvoWu+EmGnYKtKs6Xn1wCiwUnxMZjvQ2FIHaIExidbSMmJigaulVaxsj+GwjVe6RLr1J7SHXYpnf/xvOryTDNq3lN1Bp0fabpJUz0MagMR7xTYw3BMTOsaoWB7yRPW30HJzmLkVkMtm6ybkZtRFrP3wt/AiG2vhrOqrG61VEj2ntDHiEzfmPkfU+gZa+UXlKlXDDnkeBnWSsIFZWFBeeF30hXKoznKqay7k0KzZJB09gxm11ORVqMOSaNGHR0q3qG5VQkGSjlNvBzc6YliYwc0tMmCgwDj68a4IZE58t0kb2zIUjCSMNayoA40bZGYeY/SMAkhmlsSmB+gS6S5Mq8uUrodk7iJGeESQxlj5BaKwjt2vE1qWgn+lsp3vPsHoPSaRNtrkM4T+EDM6VMoXs7OBLvrA7qqCCer2OOH2v8fKXyYqX0STYYtWJmt+k0Se72AdvfAs9vhF0sY1KF1UED1hQniFpxk03lYd9Fg2wJ2H6AJ9lJ6UGBjsNhQ/piJqNB9hl5YIJeou1RGrSOIt4egRUVrD0CZJhx10zybyj3GGG6SlF9WlMtaHymbhSXzLEC/9Ovr4GbS9G2S+9A4NYmscrXIGw68TGJrSkiZDgcfUMF25gFfQ5PdMgVc3wB3BMkYUyE6v31LVJ21cNt/yu/NtepGctS8zwMZOmmSYxOkAR36Woui0xzBEH0kLo9sgFm9xQwCcwgE5rYBT4oAPghBjcBM9twCyoZfh4LS8vFO8pKOo8JlpkzgmjlVA67VJOu8S2c/glWcIgjUycw7Hl5d2gK1Jumio2B9ab5Mk6asUVBL3MMIhRmFe9dHE+GB4E2p4J9N9qTUF/j6uMYnpWAq2I1sQ015mGAfo4SHGyDlFWo6TI6zdeyTuBO74i4QMyOrX0Y08sWEoineWHyNtrZGJYhGHOGlgmjNoQmHu75EYLkZxQRlosuBIRePk8q2qLFGoPkdMWsSyORm/ejIoDo6wkjYDo6ouhElTIKLzAsFA0yfINNFHXSTqb8L+X5Isfw7P8Aia7+MYY4ROHtOMyeIKUfcWTnFOqTNT4b8UJzH1EbTSJGFgY8vQR+o0gY8l9RO7DL0HJPklzMKKSkPovW1iP1Te4kRMFxKrlMPucIhVlAtoCXmHm+ExSWEOpG5hyk7XxCkt4sv7weyjl57GkM9p0RAKXbpyFtrvYvtVoqJL4fnX+ZWf/of8yu9e5+d+8hUFW7MMnWZH2ChdHh5abPQ6bPyLy9T9iP1aiJuPlSK0XC2yeXeN6uw0ExM55S0fG51Qf9+2XCjOnVOx3O++9W2m5uZUDHv7yYbalM8tzlLMF3l07y4DP2H53Byt/oCp8Skah3VVMalWxW4j+EFb5n1UZiu0dxu044DWfp0zswWmTs1y49YO/+w/t6Vsw4//8Ly6aIWpcCcdpkoxtx/t0wkkoZLw5kWHNz9zhnbXp/bI56BxTMnLMb0yxcHOHkV5zm3YXNthcXmGSC46tQOKxTz5XA5dPm5dh/HJCdoNiR/r1PZrChIojNjFpXnlD9/b2WNyZoZ+36dR32Z5/rTSJMogWpzgA/lcF+BVb4dLn3qB4dY2//bfPuT3H5Zo1HV+6HX3BKCr5fiL+wI1c3l5KUdOH9J1XIIjnzu7PlcnRvlXX/gMVkkn3gpo7e7Sb+5hFSepTo7ROn5Iqk0yceEK3dYm3e0nDO/fI/fa91PyUlp3PsC78DzRrfcpnV6hFQ1ID/uMjFUI5bmZmlf1k+OvfJHS2RXM2csk3Zaq8URWhi1A4yCmfbxBbvYqdsmi//gR+VMvEMRNouMabiFHuL2u4MuFuRnCrRrF+Sre2Sv0uh0u/NC/p1xxeX4x4Oz8DEk/paVn3Nxp8MxMmbX1Nv/hV8XC4vFwfYBndFTqp9duniyh9JMFR67kkAwCiiPjNJt1DD3heO/w/2fpzYNtS8/6vGfNe57OsM8837lvd9/ue1tSa5bciCGIECiKyBiC7XKqUhWwgx2TUDaJE0euEJzKCA4Qu2wqCYZAMCDUAiHUg1rq4c7TuefcM89n77Pnvea14vc7Lqr/QFVq3XvO3mt93/v+fs9DfX5BGTE6vR7zyzOKx9A9a6s02Pj0FJVqWdXQjg6OVK9ZDAGyGMrnHLL5HPu7OwoG+erHb6mBm1yM159tMjc/zbA3INY0bFujXBlRiZbADVhYnmNtdZ1iKcvpaZvlyxdxTIsnDx4zv7RC56SJZqXknfOq5/RFgzt3zvgXv+syNW3z2U+O80d/vscLKzJQz7O1l/CPf/kCsZeyt9nGC0J6Z2esXFviow+fcPXKAn05yxkae5v7XHnpBcU12N7eUuBCSdm0Oyc0dk6oL8yqz3ouX2R6YZI49vF6ISenR0pne/21azz83gMWVhYZDgfksnnFmup1WwwGQ1WxGBufYDDs8uzpmqr0yBCh1RAFtIcXlbhyTePtbzb4/v+5yU9/n0TlA959NGCqZvGFf1sR+Ge//4SF0ZTvPviXeAcbtLa7OJLq0o4ItSK2DJVrctGPFZdG9wOCoY/FKYy8SLz/iMj2ydeu4CYpGfeUWPR+MrTf+BOSiVexhifnvCsSgk5THlmY5jhJvozf3iLjFPGP3lN1NyG/q+WLk8eIJJkZKpOWLCiwpxicrWF1nmPPfIGwsYEWH+HMfozB3hqJexd75kdIvQMivYQjw2qvhS71XjMi7DxFL14gaDzBrl1RSvFElhByDqxdQ69dIxFrgLxPnTxxaRH/+bfIOSZx7ROqnqeSmrbExGXplcPq7qNXF/Hcvvqca/kZ4pP31e86Kc9hWSPQ3xZhHKbE2iUZqZUI0wGp8Dou/gj6yTpxeISWmVQVX5n6x8UqthsIjAfXzmB1m+jjSwQdDVvbI9RyaG5PsdbkfauN3VKQXHf3z7AmPo2pp4THz9DyFposC2XppRnY+VFVLZR+vtgXxHXvtffI1pZUHUbi+HqwQUiNrCHz5BLxyFWMsw3C449Ia6+gFyoEJx8pblpSXMFyD9DCg3P7Uv4KidxZm3eUWUCYAfKPlWwQNlbJTbyG1xP22CG5+dcUQykW9bbmYPhiByoTDXvqLipnQYELOfkagZirZJAjxic53zoO0cY3oVDHrr+I35NldB7LGGXYe44l4ODGQxJZgMhy0plS9RPv+btohugbrxO7Q0LNIm/m8Tv3SOIi1spNjCglGspn3VUQQT0ziaWfEKeiKG2QyRVIpMbX2cUQFkGmosDNwgUJmcTKJcTeALezTjb7ArEs/AT8XLuBHnhKkxmLCrL37j9KxWcsEZSkf4Iu2xOBFzlZMoYBothqHagPlsCIksTCtA1CZxZDoF2aqS7rqTi5izMknTUVNxHncjI8IjvxovpDiwpBd2oEu28q0rk4DaUnIVHWRGAVwYAoaqOZckB2ifoCVSsroIeV9kjtGoEQs+UD3jkhlgNucZF02CBTuao6Hqm87AqjDBNdTXV0gQVpIVr+hurZJJ09NQB3DNF/xPRiS20v0sEZiHPb9/D23yIp1MmUJuiv/h75y19RsZpEutV2SV2MZNOsosHDdcL24Tl7wJqg1/wuhdwMSXnxPIIuekSRdAkXoLupYnLSJc1MvIT7/JvqA+DrAaZ8iUoXgD56KJGqtvLT21qWNF8kDSMV3RC2gXRYdW0SP9xEE62DQOyKI2QkfiPbXfcQxxyQSqJCBgECWgwSQs3AyGVJvQTLCYlin6DfIh/HeLkF7MkFvLu/TVyaxqmuKO+6kRQwZHvfOkQrjJIYFnTWkWyrgAmF0hy1hD2QR48MPBkApX1MZ1J5yCViHGbG1EVON4Zy0yc8+y5Ub+FIVF1iwWlNudBTSYGUr6APHpMO25ijrxH5u0pzp9szuP19nKJGNAzQ5EKVKSl4SiR0a+lJ4auudpxamJWLwhQl8E7RbZNsXMQ1cyTeCcXqDMOT+8pWYQmdPjepDtOOMYXf/gC9LG5QW8XO/F6TNJMnk5siaT4jyZVJzLyKogoITHVpM0WCuESmkiN+9M+J+wH2WIXe3hpOefp8qGWXyZhDwsI0mck38LsuVmaeJHhImL+MLXRooebr4+Duq225NXoZ5O8h29mhjiaRIUk3RA56oaasEebJPaLsqPp9BUkAwmCwZokyCXpnk0gAOgufRD/4HklvD2PxR0mO76FnEjxzgoLE0QXakqvgSKdedJvGqPK9xxmbbHGZWMi5rduk+Tl0oZeXKwReSBgnZJM9AqqY0icPHHRvg0Ri02aqaiB60IbyFcErnEPvjm5jFGaU2SIe7JJT/aYDUkv68S1CvUYuOSTSRklk6hsN0ToPiCbeUL3t5OQbGLUvkegN1SlNhrtgS685T9CUyNO80kxKFUfL19QsxA89jLhLYoyo/z9K22iFZXT53YlHN5GDUlkNq6LIwawI56NO6rbQBaAWe6QVIdeLheOYXGkRT9ewgyP0zBiueGNlknu6TuptYFYuQ26C+GwTI5VKRIEo9xKZMMLtPUTz9ogLK6TOGBnhu0ndIZPBHZ5hifbN0TCjUAHPtEFbJT2C0w/JippQeB1yETz6OlHpZRUB182iGgTJ81aIV6Y1jmZaaBlHAYP0MFTJLcMuYkiPTCb9oiIVvkCiqSGvYVmEckHNz2H3NxkON3AmPouVv0qYdkk3voYxelGZMYL+EaZslgszaNqQ2JPYvfw5SqSiqxFWjOglZYDl91QyQ1gghG3FaRh4EfnqJIEZYkQl0qCp/kkEGDrcPCeIZ0eJRGXjhWiTL2N6Lt32GjkrizX9BfzGHbXVsJ0qsWTbpUfXW1faQtn2JLps5jzMOMGQ31Hsk0qqITNPqDfUxkU9M2JTxeklei/vA1FcaZFQpKXAqWGbsrEMCY8fYOYcBUuSJIc8ryLZHozdJFn/fSIZjJUnYeuPSLLzZOa+gHd6B8kbKrdz+RL2yGUM2Yy5x6RGVal67NYaYfUKtmYTtD5QA0UtUz3/2YkNIWiRxoekmuzeLfXd0ntrijBOTuLmBQVblL+bMAcyuYvEYYTfeJds7YVzTo+kIOwc/skdDNH3zn0Rv3+GIekdMc1Est07ZmQ0Q2COM3/tp5mrZ1kY1QlSea57PG/GzNZs3tls84WlIr/zD6fY3wiInCrdwSmtnTNu/pVbNJtt3OYZw0GfsdlFnEyeZ3fvqIHFSH0Uw8qSy9ocHB2RyeU52Nzm8vXLhHFKp9dhpFpTVoY4Tjg+OlEVinzOZGRqSkEjRQF6sndCNp9l5tIczUbAVK1AJueTOvCv/qDBg/Vjqpks7eaQL78xyf11l8OTHlMjJvmxCb711i43FjR+4ecl/lzmbK9P39cVfXx45tPodJi9MMP+XpOk22dmaYqD3SPqs2OKvSFrhFa3Tb5SpD41zcn+ETKJ9t2AQrWCkWpkSra6eJWqZXq9PuVCmY2tTaZmp7l4cYkP3v4IPWNgGAnzkxM4+ZB8voR3FvH/fH2dX3kT5mcspksGA9fHsROeH+n81Os1Rqox/+MfHDJVz7EwN8HdD/Yp+BG/9Ncu88pP3EQf6pze3seppYqO33/6DmFhnuKtzxIcPMeW556Zof1sldlPfp7W5ipuu0n1U18i2ljHEKhv1qG/dUiy+ha1r/x93IffZXi4zcjHfwDv8fvonHOHvFDYHzk1iEcuVaUSRpIS5/PqrGAebxFXp5DwYHSyg738At3TbXKTK3hbT9AEDjZawTo9YFi7QH1JI7q9yuQv3MWpWfzQUsxYKcvJwGTvMOAL1xLa2QXefPMx3/71JZIoZv04ZHp0ju31VWoTI2QzNltrOxTHatRH6yoVtr+3z+LiLHs7h+QLZfaO9pmfn0LXTU72jnBsi/JIjSiOVXJydXVd1TeuXrrAs9U1llYusLe3oypShVKVudkp9vaOaDelPjBLf9BjcnZWQQYPtnaYnFugeXqCN/RoNYaUS44aokzMztDpdFUyTeXBY4nDNxkfqxG6EcNoSL0+TjR0mVsZ5xsfPOGf/u89fvxLRZxSls1HPfRixOpWn48vVvjrf2uFzQf7dLoBywuL7O7uMr2yqFKHp0cn2E6GXrvDzKUl2ifHZLMVnj64zcULV7BzNrffvcPFly8xMjbBzs4OUwtT3H/vDrEb8NLnbtJp9dRWv3l8QLfTI4lj3IFLuVKiOFZVF8zHtx+zfOOK4D5UrFyYPbodq0ve84d3Geo1Pn3ToTx7gbE3vsH1ixWuTVk8e+ZSG40ZLUzwuNHgvbseT772HzHz+idJ1lsM9Q7xs+9hVeYVfd6ZuIV//IhAz5Kpz9NvyhBZ9CZydsxgHt8mmHxdMZGinbewF76g6nO9jT8lV51FtwoYhiNrEPUcQuDlAkKTxNjpGlrlAklhBltpdRwSTXCakoLsYkQDBnKWau4rWFt28dMkZ1sEwmgRng8CoA4VS0qTetXUq0TNVVLpl0vaTWpw4VANE/zQVz+buP+MjBjPutskpWV0qd1KGjBqkR+5jBub6r/nZ4qYbpd4/y9J5z6GnZYJ9j/Amv0EqZVgWAXC1TeJHJNM5SU0WULIAFtML2KsOH1AMnoZUxgDUUfR5PWcWB96pB3x1B+TlOrYkqJzJqC7jSV62cRQw/tQLvaxg64NiYZNrMyIOrebSUBUvo7tRERSC/W3CeIKdqmAcfKcZOIacdiDXh89X1TDeycoqoFqLMw0WQzmZNkr4qGG0nWnzUPCVMeavIGWeqSdFlEoHXZhCuQxC1cZHPwlZncd48bfId7/jkqGGv4RiT6BJfyC9kN8o4xTv4J+epsozCHBPzM3q34uRmGBuDiG09pC3vrp8UOy41cIhlKhq+K1nqHL2WvkGlg5nGRI0DkkFoW314fwDF3+3TIgiU7QbPlzrxGFPubc54j33yaRGsT06xjuIUGsY2oCiK/Qj2OcYZtkfJ5UoIkDqUlmsMI27um2qiWbE4ukHRc76DKMGgoMKGplYeGY0quShZwMi7IlvMhVrK6401JMMTGtIAnmYl0lWZLTO5jVGfTqFcJnf6FqAGm2QNx8jD12kyDqobU/+tXU3/+OinQm4mHsPVcbw9g9VHH18PgxhkQGR0YwAoOkVCDtHJE297DrK6RCXJYLVaqR2DVy0klpPFFObycjijfzHEY18zHSXhM9CoklIiIU9uA5nJ2il0YxI5NALgx2EWu4f/4LkG2XaDvimGx5Rr1o4uG28sxTWkJXHizBRYvm7BmaNkaSK6oemt9voMnDKOgo5WAkkc3uIU71Gm7UIB8d4KdTKnkQ+8eY5WX8000cKybMllVaQBzfoX+iDkGpWAeGJ+hFoWuaioQpkA4DCzNfIew1SayMcjpqvUN8Q3zNBuEgwbS7JJQxdZvIhFgOve2G6tgnjkl49C7WyCew5KX6/Nto9WtqUmbEfSgskEgM2JpUB+qskLxd8WOvnA8G4kDFTp2kpS47qRgb5Ivv7uA3t8hUrxAxwGg1ieyc0o+kg8foJZn2VtQ2OJLNosDbZAAj8VSBlQhBPckSCZ1fjA2ysRU6cHGSmAx0N7ArU+rz4kvSovtcXeS02kUiSTkI0JERAq2L1nxKOvEpDFGwyc+wchktEIL6AHP+S6SdNYZP/jXmpU9jGy+iiUbP1PDk0D+yRP9wEyNbIM2MYHZ3oVJB6wfEY8sqbhuHGpqoQqTqIIROPUOctNVgyvP2KVRmiamiJ/LZq2H2DlS/CbFYtHZJZUghf36JHxcn0U7vownHIjeBncQkxcskRo9o//a5G7a4jDH5GbSjZ2B3FVHeKCwxePMnMZ1p0nKWjJklcluqXsCgD+Jdn/sCxtLfImg+UJs12SLL71D0Vqn8vGVqHYWqR+04eQaRg5WV/v+RqteQmyUzfZOgvaO2m0I9Tqs3iOIOP4e8CgAAIABJREFUli+x7juk0j8vLaD7PsHxXYz6J8QsqpIl8l01I7EeZNGyJQilhxQppoQM9qRDHvUeqGmlDHHSTFmBWUL3KWbhuvo9CUXeyqwokngcRRiWozy9EukXMF7YegvsGmbpJWJJrEQDVaeJpUKgCdywo7aCYeiTZnLo7eeKrCt037S0rDZdWdNk0HoOoo0b/7iKjxuuR8IBeuWagtXIoEu+e0lOFIE6ll1TAE09YylSfNjbwBQYaK6uJsrJsKOAjEhUPUwIsxPoUQt/sEtG4IFicBAOhHcKxWmSOMQMuqT5igLwmKL9MQM1HBpu/54iuuqjrxM9/F8wxq/D1OvngM/MNMPTjzAiTXXT9WioFH6qalSpYTR3oPwCerhLGriEQVcdylMBwBQmzn8fUilyd7B8H23m04Tbf6GItLZVJYnPVKzf0cUKckRfXlbDEyxlHHBUhzH1fOKkq+KH8rOWgRpixugfqmeWZTukpvT3PAWj0ZyMMjAo5kJ2GqvzvXM+iihU7Wm0YJvYF5rwBJ7hYIZ9Yt3BFCqx6GRCgerFaoumNLDlF1RSJzl+n6R0UWmzJDYnFRfpvYkqMDx7oGCv1sRVNWTSpQ84Mk2c5tQGXE3jZTBjWoRywPLEXlBXoEExo8hgzsqI47tLxqwQD54r9osc9DR50QoYL2hiSHIt6mKZeWUckMSNWAUUK0BPCKOUXGaUQLSH0pcXzaYzgiYWi2GTKIlxZGhSkN65AFsfYWbH1IBAUlB6eVGBj7z4AEOMEPkxpU0MT74HzjhGfpRUdELxgDQ3TxIfYQ2a5+BRpcm9hSfDpqHYa6oKkBnLi1nauaKvKizjNh+rilNm+hO4B29jZ6bxi6M4rX1V/YnrV9WgnMEDjLFPYQwaSg3r56Zxhk3C4C76xI9Da0+xGiRynCutqEOg2dml0wkY+8wbfPMPf5sf+Knf5rVl0UTpLF8cpy2EYSui2TR4sBWw+a8uMDI2zu1vP2asLlvPU2zLVPT5Qa9F6puMTtbww0DF1g1L52hzn3xJtI02o+MjuJ0eO9ub5PMFLNOkOFqhWq2x8WxL6ZVmZsUSESr+gue77G4eMzU/rdzcoh9rH7QZH69SqNlUi9Lb9vnqb2/x4vUa22t9pmcNpIiQmBlWpgy+9kGP2zsuV0s6f/dnaizdWmB4qvPB24+JfZ+L1y/Q63aVInjj6Q4rV+cY9Id0T3tU62U0U+BuddqdMyzNZHttl/JonvJ4mf3np5RLOXW5TBOTsZkqY1M1zlp9/IGPpRVYWa6rA7Bva4yaFo1Gl+GRT6UMkzfGCc80/un/eZ9ffTvh5bksN2fyrLVc/L7HF69P8cHmHgWnRMXJ897uARfzJkdWzObTlN/++69x6+VLhGMVug8e4m0cQSVD7tbnsI7X8M+OsWZeZthuUJ0aoXH/faKTM8orVwlsU/WqI1GUffSnhKLPu/o6htQampsYoU670UTb3yMtFcm9fBNjOGRwfEBpdkkp9JL2Nvnpiwy27lC4/AaDs1X0/UPMlz6LHrhkvCYn9++RXVjCqNeJ99fJ5MYITIvC9AL9vWcYocbwpM34zcuSmOWrP/87/PrjmC/cKmB2EjaPW1y9NK+qaNWcxpvrPrVcyjf+1yUOtxOer7exvZBBTicnCUwtVom4+lQFfzBgY2ubS9cvsX5/ncsvXSOTsei5LkfbBywsLeIGnqphNg6PqE9O40WhGgr4gwDfcxVB38llmJgcJzHlraPRORNafEZB8xyxLwlwjIS5+UWVpPXcoYK35ktluqcnnBwcMTU/z+HJIaVinmgYkytklNZR3oWVUpbS+AR33n7A6GiBUfl81bP8/jeO+Re/d8S/90YGv5/n4OyMhZka3/zOKZenivzy37vAs9tH1BeKHB+4lIoZjg9OGV+ZlaQ/h1vPqY1OqISKTNQyWZva+AjddofRiSnKpSJnjSaP7z7i2vXLHB01KOQzOIU8jmFw++5DXv/Ex9l4tkZdUiTdHqVaSaUANh6tcvGla+SyJZ4+uKcUiJWxGkd7RxTLWVKrjNFt0xumzF3M8n/9zio/96bNpxazzJUTSgWT3eOQFy+W+c0/2eHVm2P8m9/9LQ6/9/tYjk5+/CrIeSU3hdX1id2HBE6VnGxHc2NYVg6/L4u1FZUEjaTCZucJJWYedKAjycx5zPqrhAe3McYvoOkVgqP3sOS5PHaDTDwgENbK8EgB/3xDOFFlwfmrd5tc7G1Tzh5FtUCKJRXqhxhzn0fXGkRJjXTj1zHnfgxjZJn04ClhMUfaPcaqXSISNpK3j13/nFJrhv0NssUrBDIVazxWHW2zeJXQFRB4BXtsiqj5gao3ZEdvEfWPCTMp+aLAzEV5d0ZkV8hoOdAC9YzPeLsk8uwtTSgtuECgQ0mRRTpm9oJKg0WJWHcg6R6QRA2c8RuKoaIAy2I6ckx0SV4ePThXuI9fJdq/h2GPk5oZdLErZUpg2iS7bynDklm7ThB3yObmcc0Mjmzui/MMj55giSVq8tPK4BBKQre9plK1xsiLRGdrKtWrVW+QugI57pHIkmBwSuRLXauhII9IQhWXIKqiVybUUAVZ7PgpmjCcNLmlmQTugbqEyxLVGKuTHj4j1iJsSQSHkrbUVZJWKrypNlDaVDcxMSvTpJ0OdrZE4K5hiJZ7cEx/eKBU0tm5mwoWHg8Gqs5p5gtETbm3ybl7WWnQk77o+LqYYiSS1LPonpMhkQISFkmsHPgtxB1tajlC+RlIAj1fO4c+B0N06fEcPsOXeqL8md0ToqCDLgnWbB1jeEoqAHSnhiWpNE0F4okbzzDHXkTv7eK5ktaeJixMYpmoWkG/sYct1+OxF4mGq5h2ET+2MRsbGPV5wl4HrfneV1MBjumVZRVhkEOxkPTD7odYtReJTh+j118hilOMs/voRhZ95AW1zXYbd5WvU7rWjm0Syl9MPmBBH23iU3J2IxSIYOsh1BbQpC+cthXxWCu+gGXV8Y/fVU7PJJILr8TkJ0gO3lXKiNSQztoRTnaKILZxgm0V/ZR+sm6X1aXeaD0nqlzF6EmEA7Sxy0oZJpR/oUYi0RP5MoQ+Rn4OcjW0yFBqMLm0pFaJ6Owujjjdc2OKgB/oo+hmB0OChM1dMJo4zgKDqIudn8E0ykTxPnpfDlkrFI0y/nCXRC5fQqmmSWrU0b0DYulA166rRoGAyHRbU7RHiwFJeRw64iwfYgQyGTgjsUy03DTp0XfOY62i1kKgUo7adsoFx+/10QQcJ8T73DKRPkRr7Ch3uXzYde8QXTZ0A49k5DLe5h8oDVFm5a/i9XdUx1vi0vLQC52cirwpv6VhKgp+EgkxfOP8wxz5+OEArBHMVGBHEvnMEZs5RaJUijx7WlHGzaN3zj2Y4t/Wy4RnDzEzffTcZ5SJwbTFLLFNIDHlyMD0WwyiPkV5CVpzxCcfYY5WiDMrJP1NUv8MM85iVaTr65KUBIyyR9p6RlaitqJiE1+63yEWYKHErfUYfXCEZuew7Sq+UcPSYzU4EqJ60jlTnSKJJFlxgyQ7SXj8AYmdUZt++ZxElqNge2z8GV59GgO5ILWVXsUqF4ga8vPNouUWSdwEI5+gtz7k6C9+g7EXXiZon2FIJaS1hekJUHEeJxfihXnslS/jxAOGoaHgKKkr2qnHqpfryAVL4jniYk0Ozh+OuZriNugyDOuvYteuEUcB2rCPb+rYAjWJ9rHz83jtXZUasSYvK71J6DlousT3xfk6TeSdorkyEBPwZBddNspRnrR/G91eUAwHv7eFZdbUg1aGarHXxc7OKFCJp6VyFwBJCeXL2H6HyLFJIp1k+ABn5DPEsRDdI7UpJdwjzk5j9vbw5KIg8DQxYYjipVRTqh7pMEmfi9yM+sxp1rTqffutR+ilFXUIGR6/j25nVaRKhk+a9LlPvodRuY5u19GEFZGdIjx7fB4zK82QpDIdr51rDuW51N9FE++s2yMMHmMUPoFdGScdHBFrjnqhxOLl1VAT+qB3pC6den4FM1c875W7EikvYhkj6GNTyjMcChBz90M13NGsHMPWKnYsYL4rxIlPHO6ohAZJiViSD40H5xRjUbrZNprUjLT++QtJon3dddLyp1VkO26uKVZF2voQ3D5e8Sr5jKE2kbG3jqZn1XBViLG5+ixxZ4/I7aDZAq9zFelWhmZh7wgj6hHoRRUFNHLL2LMfw9j8Q1wni569Sjy4p4BQhckfxPW2FARSUj6ictV7pwRhBz0nG2Gp8JQgCdHjWFUZCE/V4UFebnrzfSwBSeYnifUAPYgIgz1lOdGNCqYMf7xNnNwyQZIqnaRELIkzKmqYaHkM0XbKS9vrnes9Jb2j53C8Jm7UwczPYURNYn0MI1c9v7jLZF6gfMIMkNi8r5E4WZVG0OUfp4rXPyCTnyIZnJKK3sgoojdXccszinlgBMdi0FPPU4FlySYhdaX6UFM1DV33iHKzatAjCsO4saoG1kZ5BG0Q4sVD7FIdzRyD5gNC21DDENEvadIvE0uIDPu0IrrYIqIGWmuLyGvA9GfR3UPC5BQ9KWPJ4GkYqARWfPKB0iBaEzeVb1iYJ0HrAXZG+CZCUj7BdEYIUnDkeZC2MHPzMDjG7+3hTN6QH4NibdjhKf24S7F4Az2v09x6xtT8C4SXF7lQ/DKzF2PeWFrArmbYP9hgbTtibinP1qbPi/Mp/81X8rSTcQ63pPYXMDxr85LEobHZ39uid9Tk5ddv0G212Xy2xc1PfZzt9Q2VRpChmnzBpmdnaLa6xJ6AJ23CKKIyVufkYJ+RWoHGSVPBAcvVEZysQ7sp7nSbsZGqopwP3AYvvTzHxuNtfuE3uoqsvjSjcXXBYmcnYjC0uHQ9ZXXdo5wtsrnb4IdfzfADP7aMVr7AnT9/n07jjJdef4n1p89xBwElO8vIhBz8hZMTc9bsMFqXjnaGgStgpYggiOm3mipCbdkG3tCn2x0wuTBLFIR4bWGPhEwuztHvSIUpoB/JxQWGTY/R0RyH7VNufGyR0vgIOw93+LXf7/LHqwP0SGN+KsuLFYuSFvD+gUeaWgRaTMYMuFAZYXQxy7/82nOeH1T56Usd/uu/8xqjr32R4e33GepVbDsiGQQEmqe2uFHPJzc/jd5soM0t07z3ADPqkf23VY/MsIl77wO08XGojVMau0Dj2XvoA43caI7h+hrFn/lFgsNNoq37mJ6FPj9JfNJQ30ljYoZA/mLrTwidDHa+gl5fguYm/e1NSssXMC7cItxcVZYO2ZD5BwfYxRyWU0YbGVMRY0kGeY0+evsIfWIRnr5H/We+zH/5s7/BV9/x+Ku3yszkDZ60QgLXJS9HOifD8xN4/WLAV//uS/jNAU8OUqZqGr6fozRi8Xxti6DpKhDfzMQYtbkJ7t1+jOYHjM/UsTMaO8/2mJifUpfhQj57nphwXS688AKnJwcYkc7YdJ3t1TWqE6N02h36fWHRQPekyaUXrqludM522NnbQtMN6pOTrD9ZV8/++ZVl8tkSneapiCM5Oz1jYnSE8dk69z68rwYAo2N19nf2Fctz5eIka2s7iv0gsEAZqs4UAm5vefzmvz5jZGaCYnRGfcpRMNgPV32qRsB//rOTfO+DAZeuVHj6eJebr71EoTTG/Q+/y4u3rtE4OVOmpDiMlUa412wpa4DUFQp5gR2eKoDi7OIyxwf7ylCws7bLyosX8Lqu0gCWSllarbbq/guE88N3P6SQyzJ1cV79+7KS+ogjklBjd/eQkarD1NIceqyxvtvnhcUCtRGH4o/d5/oVg6IX0pKzne8RWx5xVOLpdpf2o/8CffEVeh89xJisk7Y6pH5IVBwjHHTJ5kYJm3dJ5XwrSmzbQq9cOU9tdY/U5t7JV/HNcfQzSUv52JVlvNYaGV24KgnmcIgQQ+PIxai8rCLmyXBH1RB9b13Qf8rXrvu7ygQQmvnzrXBvF2vkotqcBt0dbGuCNDolHvQx534IwxwQ7vwFcaeNtfC66r1H/gCvcZ98/QpRb0stDu2lH1XMHlnQyPZZLRz8toJg25lJUlm8+ftkypPq3OqLstmWBYBBkNGwrMvE/S3izh2lvI7SEfTsBJ67jqOV1dk3luWhe4YlNTK55/gJaSgmNPm/cayMxCG7akGrl6dJ/S7B2WN0TeC3E5hjK7g7X1c8FG3kIlpfrC59dV+KJdEsic7+Dtn8Cl64h1lbURwGUZynYnhrPyU7du08VSPp7zgmPF3FrM0paHTafE5cyhIPQ2xZUgb7WHaRKEmIe1vYeplUFnSd56q+bY1eQRtsEQ5aMHpVWUmEQdff/xbFhR9UHX1Lfi9xnszYCwR00PpNpcoT1pjR2sAt1rBFn3t0H7/3iOz0p4hba+d0/cjAz9fRWvtkRyeIAhe3I73/i2it+yR2+dzU1nmMOXaLREsU+NqovYpDX8GT4+SQRDPxHn+TzMQKxtg8pik8mxMct0GSmxWiPnEg7wbZCYm2eU0ZEwTyZ7lPlAYx8YdKqe4s/QCmTPGEcdDbwjBH0DIWodtSSxcZMHrH38Gp3yCVZ6qwfLQRYs7QpSbYb4CkUeRu3FjDFFh7JoeR9Ek8n1SeZc33/mEqUGdNoirFOmFvn+joe6pbY+VnwN9HKyyQxh2S7jGmM6q6hTJdJ5KDx7g6KPuareiFuugAjj/CrN8kFKhFLBvEDijtXQYtKaluSDQUmrGtetA4NfzUwWw9UgTkuO+SmX1VdWS1zDh2muK3nqkvs5WTbW6O9PQDUsNFjxLshX8fr/NIRaedqS9C+zFaToYKriL+y2RQNkNCifaHj3FqrzIcdilF+0SVW+jhGWEidOi8AmS5/Q7FjDxEbHSvTRDGCmSm6xZx87aCb2iVZbT+npreoknQRzrbOolcEoVSP9wD3cMqvEAUtgna99Hk7yibJyOjDgrCMNBMR8U9fIlqRkPs3BReGKotfHj0XbXVEg6CUV0hPnuiHKmGPUaSNNCyEyRJU/17JeYrfRxRVySmf56SKF7GGR4qQIaml1Q/N3KPseuvYLafEBsxVjyClymqCHqmJD3HVEESM+VFpR6SzbLbWyM78wrRcEBsa5j+EE0mgalQ4S30s/eIitfV1tEqT4AroIxdpdvTqi8QZUZxMmUFPUvv/xr63GvnU9rR74N8B3d/F2fhFkZrSBLvEJtCsxYo0QZpZwdr6rOKWmz7LqFZVp9JiTOnzXvoY5+F4Fjp6BIzUVwJPxItZkLYfk525Irqanq9LQhsNeTQCyUibQQOv0VaHsMsyud7qDaOoXhWdZu4u4Pub2DWP0PUFviWVIA1Avl7ZMZJ9/4QQ6LhgYM5f4P44Pfovv+nGKUqgdciN76krBhZiUy5Oyo1wvQPE09+XP15AzE9OKPoQ3loiFdUqLHjpPLZEiijpE5OvqMo8hJlE61ampNBjdDiM2rAQ/eQ1Huufv/iPtWtoVJAOY7QfE+x44hU6OwyxS6KZsgjGXgqfpo0V9HFpasNsOTBFsjvcoAuF//uhnLWaomNoUWEmVnIldCPvk0iF5D6C4QDeYjsogtgsHBDJRwkDRAqenkTJ04I9Sx+aZ6CEROdPCU2RM8iutAAc/b7SYTSKs00UfYZYk0Qb3OVONzHzl0hkgdT0MMQJaCXEmSrGAdvolU+RijaPl1T/V71c0QiWY3zKolA0IT+PjxTfyerJKq4QxJ66LmbpJ07EjxDs6cUpCWWC5MoJGVTnUp3O6N0d0I0j1IfSypREqHOT6pemJGp4fUPMSx5cI6ixUOS/nOS4jRWEhC2djBLC4o6rGfPt/+i2RJ4ZhR0z+nwflMNHWROkgZbONVPKSquYpJ0VhUxXlIgvcY2mbHL6NlJNF1T/85k6JEmcslbONd+ZheUQjTY+wtVy9GqVxXtVj4soVFR7lxzeEhUu6YqJAzXSAwHrfOcRMthjN1EMw3So49I8jLxL5A0b6MVBIIzhyZKITtLMlxHd130/AKhd3KuVDXLqhtnZZch56BF0flhBl1F9IUILZt4HBk49tCGH2IkNsnsD6nDgmxUjIL8DCPF5HCcEfwkBNHkaYaCyka6pbZuoryi8QSmP44u+kuJ9CnVXqAitakfKe+xWDbkcmJLv1AT0ZHU1J4QO1PY0scf7GK4LRVl1CUOUL6KEZvqEJI6UxgEJJJucUZIjRSv+RQnTZR1IJGOsd/AKF7Cz5XRu0cYlTEiT8BBu1jChJEDgVMCeclKRUF83eFAJXB0oSpbeVJLKhA5QoERine4dA0zn1F6M1HfWvkJZWLQpdsnqZnSkrKEGL2nBNasckhLJUMUhijLwCihOYYuaR/dIg0MDKeNLrF1M0NfVEC55fNO4+A5Vm1aMWvCVoPy5/86q9/4J7z0pd/itfmMil1fulxibf2MSiXLR09PcQKLD/7fT/Env3MfI2Py6s1Z+t1zsv/9dz8kO5Ljxs1bfOuP/1xFg5euX+Boa4OJxTkGHenup5ydiEUoZGJmSoHTWs0GgZ9SHS1yuHPM3LIwVhIOd49YuHiBnefPSY2IxeUl3LZsWWT70VaQw7tbPb76W10cerx81eHjF+vcXe/y+idq/Nk3t+m5BuW8LBVcfvHnb2HXSuw93EfTHfpBh85pi0plitAfYjo6w4FPkHhM18YUFFgGseMTo2yubSt4YSlfoDo+QuPkBCcj0equgohaTsLk8iyn+02EqOrFLs3THkXTZv7qRT589y75WoW97TM+dqnM9OeusvPhDl+/3+Sd5xZv3z1jqZajXvb5vqsl/uJBwImvMTHpUNc1ND1hsT7Cr735mNFaiVdyBn/jl17nmvB39h4Sji5xejIk3b6Ls7CEnqtAv0/Uaaj3tDFzGW/1I6zJGvF+k8L160S1RaLjHdV3TjyX0O/ibT+j/MZfwx6e0l9/gB9r5IsVmFgW/iud99+htDBPmJrE7T5mvYrf87ArI8S9PkZjn6HwjKZfxFl6if6jb+E2RX9oM/7qpwnyVdx776ANA2JdEpV5TKtIvibDygFmbZLB6Rna00eYP/GTlM2En/vp/423nvX55F8ZJ2m1ODxM8A2DakHn069M8I9+c4P/9CsF/vaPjLO32mSoW8ws1bnz3g4TS+MsLtXZ3TpWXVhJvswvrHD7w7tMTtXVQsu2DYauSyFf4PTglJWrK9y7fVdpvaYnpjlqHtHvuExN1Dk9OVUVj+UrFzne3EHPWoovcbx7xPylJXWxk3OgPIdGx0bpNJoUqiUONvfUsHR0Zp6hO2BvbZPqxDgrly7y7N49eoNAVWoXl5fpnrXUBfvBRw+pjhTouzGj1QLXXh7nv/2fnvKdR11+8gfrPHyqURzxqRQTPngn5J/80ssQ7fDh3ZCXXpgkO5Ll6UdP1PNw5tK8emYJYNPCYP9wnziIefX117j30R2y2RyeNySXL5AQMzc3x+r9p8xfWFCXsUptjM0noitMGCiQp6nO3OK5G6uP0GydCUqF2niZUqlAs3mm9IPynXLbA3S9rL5XXhBw65MWP/sPWvzl4wE//FqeD9c7XFsco923yWZb3Hnk87d/6gp/46v/jM6d7xD2TtGKZZLj+5ijF8nmqrgnd4iylzEzo0TD++iDDkZ5iWC4i+OUMMuyuX6bwCnhlOexIle9V+WZK0yjOBxilV5S6a/44NuY41cUD4zTp+hy3zGq6h0SJ1J3vavo75JGkiRxKhBq7xhr9vvR5B3ceYgl7JeJm2hyqQt20ZxLuDvfxB5fwJSUsKhJ5KNhVZShJRlK2jajwIK6XSIUqKFwk+R/f+wGDNdJRBPnnRH1nqiqnSXLTmHTDHdIYnmfeWq4aJavEQ9bRJ0PieUiKrYdb4gfnZKtfUxF3uPj9/GcskqLopdIJK0qQ/jeprqLJH4DU84lZg5zIADxF1TSwAo6hLLgcE/JTtxS9QGB4elpXu66OHoVt/NQQbslRYBTUX+ftH+KJko/OyTuia63gVW+yHBv7XxzXltSzLHw4APsfJ5Yr2JWVhQ8OJV0bX4OJzOjkpm65pLImV04Dady/pINexHLdAl6u6QjL2L6Fgwf4uau4WgDSPtYfkj76APK1UUivajuaomVx5KUoJdAtqA4QMPjJ9j5ouIQxIF7zgCzctgD4TBdIRYNdWYcT3TdhTGc8dcJzu4Tnjwkzc2QLddIJD3pxQRiOBONpCHJRZt4/CpGR+q7++jGmKrK64aok0/QjQJR94mqSxFFBKlFdmyapPYS6dkehgCNk/1zrXhrh0jLo+khcfeAOBJV8HWB2kgcHsOsEAlouPEEPxJ4eqAMSG5mXi2ghQ0Q9DdUslAgxUGvqWxvptxfpbLZef+/T0UnIJHv3NRFUmOR6PCbGMtvoKcmoQCQZGtYmiMR4qXsfDsd4tYH2NXrqk8j3fRA8vlCVhz5NESnmGYG32th+n2M6ReJT0UrliOVL1JulDgUMMMukbDvsjPEciDVOkTH9zCydai/Rtp+orpkhnf276jJi2jte5iZLF5cU/Rt899dxsODu2i00cpXlbYjY00Lj58wGJCzawp8Id8d3xtiiZc5L37kb2GPv6qUVakzgx2dEGhC4sxii3s79tHkwp5NCI8FvnGGljk/RFmyDbLkkiR97jw+LlpSw9Z1/DRRzm2BVclmKsHEkhhwYZlUDvCi7pIuh2gCrZLScMW2ie6dqAdQ0ruHwThhoUbWLuPbVYjE6f4WaWaKWIie0rMtLCstlAD3YolEkSEZHCtlScEyGPRkip2QVC9iu2cE4S6WPUGg57C1iEQTwoZEziWi6qEXJojk56hp6FXRAbmYcoiX6L78HrUCWu1F4tZtEtvAMctKQxIqn2VNWQ7M/ARx+xGpd4Y5+WnwtgkjA2viAul7/5WgadFjR32udNvBkC7TxOdIZCorXyAF3YjRzJjAKqu4vilgLLtAKjyH7iqpKRWQc5pnEEkKQP5skySy5XWKJPmK2vhK34nGW4TVT2Fnx4lbdzClDyveVrsIMx/f1P74AAAgAElEQVQDIYd3RG2iE4oWQ0COqsvsoc3+OFHzEY6ZVdCwVEWMY6XUMfPj0G0TNL9Ffukn4ejbeGt/CDOvk2k+IJH4jl1QF3kByoh3nrELJFmpOJgYyYBQ99VFXi7NTriHe7SBPvkxUle8nY66LMrF3MpIEgN8p47eW1cXirQwrZgWaXlB9e6ExO6J8z1NMYQKL/9uif0X5tTljuYBSVkuYWeKvq/VLoHXJT17TGxPYAX7SplmlV9U3cQkla6zrxjopgys5Pcbdkj0KkZ/VcXZhO5qDvZVD1l8sKHfUj03o7yA5j7DKLxMIADM4Tq26EwmPoM7bKAlXWK5tHsH6PKZJavAleJRMSKpRAijY4jePUAfXVZshFQor5qu4HhxpUYy2CGVflXcI8nWVaollRpDdYZIovgy1PCP1H8mnUtJJ0kaQsFb7BJ6d4Oot6m4JZZRxpM/u1Bk04GaLkeR9I1kYKujjd9QL3upYEg0Pe2uKdK91tlVlR5n+gcIug/RTu5gLn0FL43ID+4QmYtEkYeRl4l5mfjwj4gycyqC7uRyBL6pFH1h7ynO3I+dv/TtFn6nh527hLrpyHczOAU7JZXhjcTMZ18j9Y5JG6I8jZWOMHTFArGLVrmmXvT4myqCnoo6R8XdxzCiE+QnKwYE3ZFKVRut8QitehGFGU0cAm8bwx6B8iTBwSM00SIZBlbhAoYMasSo4g1I8Unz8wquJIcc4QnoaaJqVwI0kotI7B1iyos9f1VtxDTpVXo+QdRBs8poWhNTK4EmdPeQRKwz0swTQ8HIVbAm0fsPSSTeR5Z0+ha2cBnCU3xXIICyQRYCsKQITAUoSwxTaYtsp0I4bJ73M+VZLh266rLS/lhijwg8IqkyWRNoMkTpr6spv9pWpCmxKEVbdzBqN4hakooZKoJ51NhFn/wkTiGntsKJ0PQzFTU8MkWtp4k28zFaYVER6+PkDMPrIEXEpPoKlrdN0FjDkLimxMJdjfzEPInAgKwSuqQiOqtEMgxLE5zpL6oBthxg5XuUJhpxbgpTHL/RMakmsKyIRFI1urR6xsgVRcGbEjk10s62GtwbY0Xi3EW0QUddOESD5O6/T742jf3CD/KlKzdZPxzw8eU6H+2f4IUpS9UqY3MBv/ftkP/49RK/8p+NsHsgW4YMvaMWtekCGAW623u4cUi1NsqpbIgtnYkLC8zPzvPun76JnS+oS/PY9JjaPz25+5DZ+Tq5fJXGXoOJhWmOD3c5PmgxNzfD0fYexVHRl8W8/MoF7t3e5/n6AV/+ystk/63u7D/5xbdo+wavvDRC6g159hwWp0QvmBA6OrurPhfmNf7mf3iNej3H6dYGa09ddWHxfbEjWMo2IaA233WpVXPkK1W21w9IY5flpUXu3L3HxMw0bs+l3++RKxTotLrcePUWZ50Gzx+tU6lWeP78lIvL02xs7quU3cXXlqhmbIZDg6+/u8aPfnYZ02hSqYumLeKf/+4eX/2jHo5R5qc+IxajY/b7mrIDRFHK2KjOaddjoVrlefMMPzB556nPStbj//65j7H80z9Oqrlw+xFb22s4xTy1Fz9Detbh8L2vkc+NYM5Ok527yHC/QX5kBHtijv23/4jKogw3Rui+/cdUXvmkSlta8VBVbLwPv0Xu1g8Re22GR4fK5e5vr6G/+hlo+/Tv/CmOWD7K49gLF4itLE7cx6rO0Nt/QrJ3Qm5iFH3pAoPNDbyNVYqLl8lNr9B88Bb2MEKr5EkcB12SV/Ic6zSwa2N0Vp9SqI0SFXPYfqxqh6PzdRgf5eOf/2XWu1l+4vtK1IwcvdMej3sRZSPC9TwILN64meVnfnySvbUjUq2KpQ8YnZ/F7Yd0uk3cvqtUlDt7u9SnJqnX53j6+AGLC4s8e/CE2QtL5MoFHn14j5XlCxwe7uANfC7ceEG9AwqlPOuPnqgEwPLKAg/uP2ZlZYXGSYPx+SkF4StmMyoFu7OxqzTXpVJJAQ+9wZDAiyjkcmTLOfxByFmnycVrV+k2T3n+YJ0rL1+m1esyHEQUSllVexHw3fTcNPsHbUpli3I+5e/9ymO6XsJnXs7Q8E1OjmLaLZf/4PNVPnurSLNboDRWYfXBI0r5PHMzc2w+2yBXziqrwYMPPkKzM3zis5/m0d3bnGyckC1ZzF1YZtDp4bpD6lMzBL6nVJAnx8eUSmW8wFfwv6WLF9nblWqdpQakzbMT6hPTzF25xP13vkvz7IyLVy+RK5bww5Ct1WfqcmlkDdZXA77yN2/wb97c5kf+8To/c2uElicGBYeTTo9rcw7fu9fhpA/bna/TfPwW7DVwSjVF1WfvrtIbG5JQnL9BEgoYWMCbokQ7wxweKMJ6qJuE7WPsgkBmDWL7KuHqr2KW5rBHboBRJHKPoDStFm4qCSlKb2+VQEtJnGVsTSpUJ6SFRZWyM6KWYpNJejHc+ENiq0ju4g8S+j2Gh6vkx+fh9Ik6U8qiLkmlKmBghK7ECRWYWLdtQQli9Rok6SkkWUJrBEnHJ5k6aVeYDVm8zm0MlQKQGfIMcSpNqD5aYOHtvYNRX8HU5KLZg8JNjKQD7hapbP71ArFUcKwIZ2QF121j9jeJjaoasIeZioJMm+0tvP62qihIitiX+509oS6ZsiiJMlNk/DZeHGBLxVti7GGfKBngZBaJJfXgDdDKN9RdRRNWk6T/ZABfHlUDaKne6U5J3Q/DQO4aLbVojSVyn5sgqi4pbbflGPg73yYjoDpLJ9UOSYc+iVXFyZXpH94hUxFY4g6xLBLjlrr/SMc/DS2iQYNUlk8lWXrI+3aIkZ/GG+5ip4m6t2RGpFZxRDg8hYyFVr2JZSQE/q4671qtp0SFOn4cYgtrSt3Ruhj2FElWhsgx8ekT0onr6JlxkHOjWMF0qQTeRZc7m3tEOHqNjJzJa+PEQYakcQ+jIL/LRFW6Zdkb4WFoVXT/FD03gi+LcFmmWQbG3Btox+8SiCXCXCY7WieWWmtRagEJZnyGTg7XbVEYnyUKE2V30qRS1TgmW51RdWJveKwGX8IQs90WSXFKQajD9jO0MMK0RjAmrqmBrdZ5539IU3OIlp1Ucd+0v4apZVXs2KjfUpse090lJktiOzjeJmHuOtr4ZXKDJp4o4xSx+in+YA178gsI6SFJD6HfU8AHw66RGF2MjFQLnmJbdTShNarRWBc9dZTGwKxeUioDcXsLGNAyYvREU1Mq1+2TnfgUuO8THq2Tnf0irjOGIZc+Qe7K9CkUQryjDs2JWcTRXGLpQGoRWFWl1LM8AZVESqEXDNrkRiYJkgqWuBPzE2qjItCPyN8itibRBtsYqUE6skR6ehcjP08gcL0oVQo7TeoAg0eKEu0UxvD2/lzpw8yCRM/HGfYfYFSvkLFtvE5TxYfTjEucZM4rDzgE/T31BZOIdCKQEAENBnLYdvGOP6Q48bL6QhhBk7iwjJG4hP39cz/nzMcIN76m1FpMfR5ncIcwzqPJtA6P0CoqEr8cLsyaqF3GiGmim3WlBhHtIe4eWn6JyDTQem0s6dZrPnEQobW3SUsVEqHYl+sYZoFw/xFpfgLN21cPPD3OEuptcqnFoPMcbfyW6nYmg5Y6bMr2p7X6fxBuP6R69fuxMya90w0Vj+8f75CZuUL2lf+OqHcXM1PAp0pqyYVH+sJNMnoLV9SC1ZvosmG0PDXNlnifxKySwSqJNUYm9hnIg82R30sM+ZdVjyjsb6ook1l5Bd2QPnFL9fNDzcYwioram0QegSKvjmCqHu5AbeNF85ZoBeJ4HyS6qxcwBPw39LDNgQJe+tk87tv/gKy3jTV5UUWqhq0TtL54S8GevkXw9C0GRkLx6k+cD38sA73bh/II3tafw9iXccyYONoG5xJp1lQxes0/gcwFwmgXTZyhUosRRYlKftSUOz2pLKgHgZHm0SyLoCeapquY/nO1GTYDgzQXIYtSwwxJzGn1Z4gHT4TIgilpAmN47nH3BDQ0Q5r6auhkBR6BmcVwRklbd7Cqr5AIYTzqKA4Hex9Arowmn2u5tJuy+10gPPz/1ItSL1zBoqM6wbKx18RjW5hGS4bqBZAI9T1un1cAQuluCqDMVnDPZPyKekn7Z9K7nlZJABkUiWpPuqe6UnNOotNFy88zPLitFFuaDKpk2JjoKlngOBZx9xAhhYkDPpXaQuyikcFIB4Si+hluYVM+77F7MtGeRjNNgs4B5uiEslDIxRm9rCL8hi004T2M6qtE/S0cUYJ275CW5whEN3O2ijU6Syz9bnuKuPsU3euTGV8hkIayL2q4J2Trt0jNMtHunxCPXMbKLEO+pCwCkVQ3ZEswlHrPMqlsD9x7ZPPXlSImDDZJW5tYk58jPXug3OTG6JJiLiT9g/PaTsbB7x+rz7c29v+z9OZBlqVnfeZz9nP3LW/ue2btS+/d6m5tjQRCQsIgkGAAE3gILwQOD+HwTJjBM/YwmFAYzzARM7bHBjvMjsZgAQINElparaZbvVR1de2VlVlZuS83M+9+79nP8H45+rOju1Wdee853/e+v9/zXMHoDUhaD3BGJgj0SYyDr5Fkzyjlo3AJ0Ovo2Qq6PnJao7AdFfXWoh201CYaDkkLE+oZaZQXiVMbM2oQCV8jjtUART5bUCYabJBmyliyTendJciNYFtnSKQfr/zMI1ilErEXqwGQ4QUEUuExbFXFoCugzjFCATfZNaUT9E5uoUlNwMjiN69hOXnSwpO4EnOMjhhIyiBXx9V19fJMdInuSP2gSJr0lBElsaTCIEmaWKUHBPSorCWGTOQtBWEldpS5wEyFSzNFUppCN7KYUQt/4KvkQqYypiA/YguxKk/gdR6rHnkqjmX55tumOpQq/mn0CN3MKCDr0EqxKKAJudj3SKtjItA7BUo175FINS6VZNVtnJrQr4eKdaGGWVqOhL5KswkESrfGMDQL3xNAk6s6lFp4gqlggkOGzUOsQp5EkiDCu4lEX/UY11im373F6Pf8DLuv/lumPvZbfPblOh9Ycrmx5fF402OykvDWXY+Rmsb1L7/Cva+8zjCuMHlWLsYRje0mhRLqO3O4vUt1ZJTqSInIC/GHHp2hTzDsMbuwRLZaonfSwBBApeGw/WiFpfMX2Xm0zn7jkJe/72OcbO0qsrjtaOyuHzA+u0D7SFzsRRaWx1hd2eBf/8ZjClNVlidsvEGfxsAkHMYszmi8/yCmPejxicsVfvzzZ2g0pN+bcLC7h5spUKlnaR+11GW77XUYG51WatPV1VVG6+Mc7jawXemLphRKeTQxTWhQHh/jcH+XYqHC9qMNqiM1lcZxso66hJazMpxOaOx1FIBy0Opz8ZlxvJOEYWxTrtr8xpe2+Z/++IRzNY3/9e8/wV++vsrdRx3mpgvkbIdq3aF93OX2wyZXL8zT6R/y7bd9Zosmn/vkBP/oh55kOFWm+c23yT//YfyTY+xGj35rD32mDictjNoMztwsnTdfRRfjyuQ08WCIMz6BLsyXw026QYDVbBHqGqZrKvBlajjYGfkMDXDGp0mr40T338TvBCoWbz/7Iaxuk91vfpmRF78Pzx9QymVo7W6hyz87MY733hvEU0sglOytNYqXn0W/8grx4UN6t2+jzLjZPIFt4DoVjFqe/r0V7KnTA7JAwHr3b9G1XKbmJtl77XUm/tbnOTl+zAs/+udMTpn8wqeX+aPXb7Pf0/jwE3MU0qEasH7pXfjsSwm/9HcnuHU/YGJqlMbOEUcHx/IVJDYN5udnaB2eUKiOcHK4x95Bg+deeJLjwyatVpMLVy7xxnf+msmJMUZqI6yvP2ZqdpbO0QljM1McHjZAKPQYTJ9d4HBrh8crj/meH/w4K3dXODo55qnLl7h5/YYahEnXXkj85ZEyGcti/f4axfEa+XIZM0y48e4Npuen1M+kMlpmc2eP3bUtrjz9BIVygTvXbuPYNqVCBjfnUizr9NH4j394zO5hk3pdtomyOQ/4zo2Qj13R+Nkfucj2ZpPUCchmSwIrJw49esOAjbVdnnn6sorAy3BfFh2zl86zu/KYyPcpjNbU7/rWO29z9uIlDna2GZkaJ+Pm2N16TLFUY3tzE8M2WZid5+HKQ+YW59Slf2d9h49/6hNsbT5m+/EuOaWb1nBzWc7PL7Gxt41tapRn6mRzAR/5h495dNDhI1drPFzv88rzoj81uHHrkNdWO/xf/+AD/Py/+z/Z//oXCU5WKV/+UQzTVw770KgrYwL7d7DGryqoW3R0WzFuNPKkwvCTilrUw2vsKm+6KWBh/SI4A2iuKZhaUp4gEnClkcfOZJVxTJeFh5DtAyEadhRoVZSwuuXjO9PknApR4pAcfBXCCsbc04p4nx3/mNKPO/lR2o2buCMvqXdC1HhN/RnTtKDO4n7kYWdnSL2Q+PB1rJF5NZjXBtvohXE808JwJnBb2/TDJqgzdx1z4lns/jpDrYgl/XK7giXcJceQ+CCJNauqS5G/gR3EpLKBtvKKIaP1d7CEAyUxDdH5WfIJ1vE76ziZMcLMJFHnFm7hjFomGJJUHv04abhFsnubKCscoR62mJ7cKijWWaAsYkbfh3Exfo2hBbKVXyEr/z4zj994B0veVd6+urf4sz+IEx5idm6TjHwST8wLrq8SAJIgT4f7JIUrSnuN8IGKC+jOFMbgHrE9guXmVbUuEr21wHCrTxLKe1cWQbZULVIyjkdwsk0idToBIMdtkLNtdplg5Q9xx55W3J2g9xB36qMM5K4g9ebEI6q9gC1pwf4Wvi9LkEUQlaOTVQk6LUwYillNtvFulqwkLd15OjtvY4otwZ4k9HZVBXfYvIdbPUPQuY9Rfw7db5GEQxxnhqFwrKSiKQMbbxszlTPCOGnzBrhFVYtLWsJXm0MrnSXYu4E9uowuQGKvo+7pYuEK+xGa/O79pkp927IgkoRt4qLFexhieqtMEjTeQ3OkbltTywAjN44cx/RBV9UKteZbv5qmflvFJrXMHGnntoK5mfKQkJh3QUBv22gnu0TVMxh2BrO3Q3/YxXYLpxd8Tkhrl08rApFPknbRxM/tZDFzM0SeQB6yaN0d0tDEmniWYP3raK6PWXtBRSoDiUaKp7N6CSMQqN8ajjAIXAtdLkFpVn0QDKtE2llXCgfT7mJI7D0/hZ/a2N6xopVLL5SjFfzwhFxxjkDLY+Yc4uNNfC1S0VldYIICFGs9xigX8PZvYVQvYcpIbtCl7x2oLpBeP0+S1HGCVYJBiDayjNW4RiRKh/KMekAQSQ93EduUbuYWiHvaE/95htCchvY7pJk5dHE8y6VHk+impKjGCAcb6hJuVi+ednUDgW0sEiVH6IFP1F5VHnskIuoYJK0tkuwkGUfgFx3SuIUZlTHsrupbDwdd8qUpDm/+Lrnxy4qfkIpD3jbUxko835hZBT7Ua0+hNd5CE8aCJAzkcD3xYZleKIKmWZjGczIK7pZoIfHRTaWQMDNVgkxZuUBDu4R9ImaAiNCaUTEeZ+kH8A/WcKIHxDOfI/YeYrzxTzBrzzM4eAN39KqaFuoTF0ia67TFVTnxveiLnyHsDrFtF93oo/V2CJ06YZgqr7LAHs2Rq6rikfixqkCoOLNcAuVzIFtHe0wZEbzBeyTGBHZhGd27q9zzcZIh7a7jVpeVdi1qrBFnRF85gd9aJzfxgoo1kR0ja+fwj29hZCYIGu+Qqb9EJNNlieUbVfTMKGnWJAxNzFyG6Jv/VB3IZSgUZaTPHal+U2zK5UYjqxVIn/xviDLPEWx8FT2/KDZLLCfF37mp4jzm8mdUbycOmhhujpAsetKFtgxaRKtWwsiXFGU07a1ilZ/G3/kK9uiHSLs7hNEJenYR3ZZOUuHU+SzVA/HZukUF05R4XtS6j1k5I78y4riLofsKCGekkpmJyBSWldZNiOKmxKilGpCfUP1yI+qoWLSoHGUjHYvqUY4VctHLXUAX1Y3E8TSNQLayOWFKdEiO7hEGbczSstriBr50uWeItT6a1EH0rLy50f4msuv1jsjkRwmzkwoek/TuoRsjaLUnMMKOgoXq4uF1IzR75FSZ6FYJjt7HzRZJ7VmlLdQyefWSkHSPVHRkqWvGnlK5BImLVZC6QVfVP+zCFQKtj3lyS2lZ9OoCWnNfeWsTV4pYKZrYLCTR13ukLu3yrJN6h2NYePl5NOn32VV6w3vYmrwUakT+tuJdxN46+uJPkfaPCU/ewiosktqi95Kp84DhsIGTmVFJi/jwTaH1YE98krR7Xz0jbJlwGwVVedCDVdL+kLT+AlbrPcLiooJ5KmioWAp6XRyBZg4amPk5En+XUH428z+Fd/QNVblKd29jVubQK0+TCvzQlOmQTZQEauPh9bvq0KbL8FZSA8LVkGSQqp9MEA46ClQnXmUkoSWQxJFJoqHQzXUSqVXJQEIMEXqEo43iDe9heqLKMtGFTCx/aj/CzBTwg4ek/R5u+SlVbwqscVx/T12EndIiUesRdO6qPpyAUaVSJBP9MO5jSX1D+CW60LQ3VDw0lq2LHFyMUdWnlEGMXaoT9HbxA4PcxLLiJ2gSZzWqimYexMdoiLZxiJl20ITMLJYQYRpsv4ldmiA0bSw5sJgFEvkdDhswbKjqmwyeoqSpDhGmqAz1AnEYqmhi0BeexLz6HYr1QJgaafeA2DQVoVh+jvrhO+p7aI8vKfCk1pbNzkDdOyQZoOfr6lAfhRpxLFFbiySQd+hFtPBQxXwNTVdgLPn/l+GyDJ7sTIkoex5T7+JtvY4++Qzx4zfIL17GOfeD/MhHPsJr7xzwyZdrbO10mSq6tMOIS4uj/NofbfHtfznGBz/9LO/8/lsk2pDK9AxmNubP//gun/zEIq3ukNGxUaqjY7z3hgAkdS6dvcA7b7/DuTNnaQ76hH4f23RZebjF0uKUGgzHcURvELEwO0mYJKzcesjyuXmylQrFUoa1++vUcjnydbi30eDP/t8utx4nnF02mRsroA1iVXd78aVJfu+/7HJ7o8U/+ZE6n/zJlwjDkGtffZ9SMUM2Z7G3d8L8/CTbslEtZHEsk05/QL9zRCGfw49SCkK/DkKK9RHKtRJ7e/vsrG9z/tJF+gOPw61txqamODjYo1TOnQ5TvJTDYZNqvsx03aVQKnHn2ipnr4zyqJvlv/uV97h/7PLcAkxN1Lm/fszlpZIa+JecItfutXnp2RJe3+C9nUN2jjRmx20e3m/xc5+a5ad+eI7SB14kvN+jc+sGOyvbzH32w/jbXUpjJdJek34rpXX3LcZe+TjJ9CX8v/wd9EqdzFPfh7fyGq03v0v9U58h7Q7h+AizXEN3EgK9iOftY/kyVM8rzopwBzJCoB4ck7vyEp1vfpVofJTKlRfw77yDOzbL0foqpbzD4OQAM5dFy5UwS6NYSUwgTI5+GysKFLCsf7BNvlDA+b7/lpPX/xwHDa2+RNpYo3fzW1Q/+4+J73wXrZJXKTlfVMyqG9yBnE35TIHDP/kq537hBp95oUzqmFyu19gadHmw0WTohXz/JZt7DZt/8Ilxnnve5NXXDxSj47mrEwx9C68/5Na1O5w9M8fE8hI33nwHx7KxHJOsZdDxAvonHZ794EvsbD7icH+fM5cvqcSHQKYFIvjSyx9kd39D6cNGRqfoduX7B9s7e7z44Q/SPGxy5+b7TM1NMTo2yd7uPl6/T8Y1OTk+oTYxzsTYGLdv3qFYLeM6FkHsY5kOg27A3MwU91dXKRYLTMrm/uF96vU6w36fYqWoNL1ZI+Uv397ni19t870vZhSHYqoKf/o2ivHy8z8wztUXJrj/boNmNGS6LkwLTW3sd/d2FcTQyeR4+9vXWLo0S6U+yrDvsXb3PktXFul3fKWkLOTK9AMxPNhqkCecgIUL59h6vEnjcJ9LVy+xu7VN4McUcwX13vbDAbrA5GyLar3Gg3urXLi4yMr9TZLegOp0mYfrXX74sxf46l80+P5fX+XXfnaJa7f7FDI6b622cc2UM5Mud7cHvLvyl0Qbt+nsrKk0rlFcYij1KK2P7YsRJaOAq+nJbcL2HlZtSYGAhVelK0raadxeUphULqGd3AX3NEkb+V2sjEZkzpCe3FTD7KS4iC3LJDkXGmJgGRCLCcYo4G+/ila7ipbVTnlZcYFo85vYpRn1DNBLEypN52YW1ZEr9vewJp5Uqj8B1abRIVFrH1MsUnIG07MkmRKG2EOQocQ+emmeFElF99G7GzD6EpYk9gSULXH1oIM+PCGVBWnaxpZ7FWDpOfzWFm5ZGFguiZzvUpFWS/WwS9I/Jp04h97pKm2l7Yg2toOWl2pqiBHKom8LPRVz0DiJnFcSSMafJD46wDZbRKmj7mCaVVX0+UCAZs0HxN4xhqiNrS6xSvGZp/UBs4SRFajyPr5omodDvNIIGefSKf/HcPGkFh621FnElbTC4X31zxtSmUxsiLrqvIavMzR08rVxlabwjx6dpt/kYi6R/8jFF6ZSeQ7L84g2/issfhLbmWcoPCKxsAlQrzSFlZun9+gruONijRvFDsXmdQ+ndpZ09S+JhOE2+WFsT+6jkh7MIXRqqYjI4F2TDbqsm+tnGG7ewMpVcCaexd97Q1X7pOoQWwn0+lCeJpF0gpyFRBvoib7VR89Mycv8FEopYOfxcyRylzheIxFdVnZEQfwi0Y33N9DDCNs2lTFA1Rz1ilpihkaIJaBRQ+CUG1h2hYGoDksTdB9+ncLZFxVfS9J6+Nsk5WW02MJ0U7zmoQIUWrKQ67zzb1OkA97dwuw+JqwsEtt5BcpQnnCzqJR0EhUxY4uepZO3XfyjFULTIyMAuL5E7+dwKlcJ+6sgSjpzHHOwTZqIki5DXBjDHfYU/VV+IK7kYIeOomwHu29gmlWM8ixR/z56cZbUP1VLkJklaq0qcnUUe6cx3KgLzQ2l2zJzU4TS7++s4LgV1T1F99EEmpU4mMUCplk/JZ17xyoanFpysZKYeYnUsUh6TXDGMISmOFhDl5iMRLfzk2TyJa56WQgAACAASURBVPqr34HhKqTjmIvPEUYm+nAXvTgPvYcqGk+hTrT/vrrM64s/qMifqRwmtRSCHdzKiyT9h/jHa5ilK2jx2ql72ypjCzHcCvFFsyHAKwFv6M4pZO//106pg7ccpk1LQThEMSE92EQXx+c68dFbKrJkTzxL5Eyjb/0Jqe8TZ4Rwv4U29gHSXFFtnGSaFhy+A6YQ4xfVoS5u72HrshB20br76q+TtlVEPnTGIDzGGvbwAzlAnMcUpUTqng5n3DzD5g2MQYC++DkM74i08yq+ULPnPoH1/u/i+l8nWv4JBt/+DTKzV/EH+4pSK270frtJXtsgef5XCAITo/1NEvOiAiYKz1krTGIJAKTzmLR4gSiRKEyAkRQJZQDiTquousUhfu4Kljz4oyGBUKil0y5DHumqy3+ffA5k+Tx+Fo0Q/eQRklHwfamTTGG6dXqbr+JOiEZLvrAzuAzwpA8vftS4q4YUZtYiLr+C4w4w+hvEd/8D3dwCRruJOzGJt/UeZl764gX6a7fIlUexlr8Pf/Yn0Nb/FCM/Sird7cb7JMVJLHngGKIam0cPNwkTQ8F45M+THr+tJtOqIyb9cN/HKE4i9WK5fMkkT9eKpE4PIzuH3z4iI1Ny2WaKKz06IZJLtjAxsgt4R99Gc4uYxSeJgiauemnIe7xAJE74oUD1Sqo/Jd8lqQIE+98lV7uKLtvn/VdJRqbV1tIxayS9R0RH70OhgF08r9ImVtojiaqEeg8ztTH0gSK8i4pH4DSBEaBbFdKge0po1wuYwTGBqHCUqsoGUdHky9gywZWLq55i5J4m7K9hOwVSa4Rw91UMUQXpAbY+jeZW8fsPIBxi584SyAFXKLH2pHLGG0KCl2pEsEskFQL592gJ8jWVIR0S77fzqnsdHN9RhwozP0Mo223DU3o5+Z9uj2MG+3hHb2BP/ARR47tq22BUFvH33lO0WyF/ynNHz45iNB+iV6boC/Rw0MJ1UpLCJZLYPx2aKiVbjNN/pEwIEl9PZ17CNGukR9vo8UMFrNT0EVLZjsdSeTAYntwiO/Ih5QNGzAjywjJdLKlANW6gF6sYMhjce43MiGiHHp9ut3N5WRqQtES3ahAYdZUOSk5W0LMl9e+IRYsn6sm+EOpraJLQkBC3xCalV9eXw4KJXaziywV1KJ5fmVB4mOkkUdSEVBzbOfT606TbbxBFexjjHz21j3R2SG0LBHra7WAZPcguELbfIB2k2CXp7lloiYcvCY7BIXblDHrtApGkIgL5PFTR1l8lKJSxigsk8szPlIh94QscqQN2YIn6tao6jAKqMsRPLMDYMFTmllRSY9Kf8weqQiCArEg6/Ie3MMrPYRSL+Hf/QCn67PIZ9ExGDeMUVVi+t5k5+jvfIlNdQs8tKTCksGwsbAUh8nf/Cm3mM5jFs0TrX8Jyy4SFSUg9dGf0FFIpiZf928Tz53Gy88QHovgs4WgVtOCI8OQhsWGeeo2lr6n1idMacWsVw4jU4VZpWr2W+v0oArVEVqS/KkyCQQs/OkFLSxSmn6f74IuMfP8/Y/39P+fCy/+CZ8Z1yjWdnGXT9nU0v8dEbZyVTotv/fIsu3dbSjcrnJfV1WOefOEc1755mytPn6XZamBalroszC0tcu3t9zl7UbS2oXKVr9x5QGWszPj0KI5UA6UuUB5h2O2yt7tHviwH9yF76ztcvLJM3+uxvdvjybNl8jNV/tX/foOVbYMPPl/muBmztX7E3HSJj35oiV/6v68znc1waSbms3/rDCOOTzus0Gxt8K2/OuSnfvolTo6POGo0OPfEeTbvbnHQOGTp7ALFapUd2XSO1Om3WwoKlskVOdzaVZ8JefdmRvOMVmrs7BwQD4csXzzL+uo6I6NVVTvZ2ztgcnSM+liC5zVZ7dX593+4ShS4vLba5cNnR+j5AROWjpfVmC9X+NqtXZWWK+cj1roJTsHkTK7ARmvI2lqbL/zgKD/80x8k/8IPk26/S/9xB1/UsIMQp1olHRzT3DxEW1rGcrPkJ8p01huwcx/dMDEuP0Pa6JIcr5J74hX8sIklafmjLZUIyeeLUBwh9H18iXlfvowxd57hnbfovfkXVL//7xI0NrALUtWMCdZuwOxZ9GGbsH2CU53CP9nHLlYwR6fRDrcJJS0xUlbMj6jRYxAIByYjjxrodzEWniBcv4bW65E98yRh++iUqyMVkpW3yCx9FLMyBu99g34lT21yic7DFYI4z+xPPsXbf/Aqn/ufrzE/m+Mf/dBFvvDFW1yZsFUl78qCy/aBzX/+1gF/8kszfODFMo83m3SHZdxMSCXvMuz6rKxtMDVSozA2QqrHtA977KxtcOW5yxwcHrP1cIurT56l2+sQy0NW0xgZG+Ph7bssnznL4bFAdD0F9BN2xcUnLtMdDth8KGaDDFEYqPTAUeuYqZlZxQGQn5+kARLbYmKszvrKqlIO1sfGabZ63L1+m2deuMru7jb5fJnxySorD9cYrY0ThQNODnymFytsPm5iJh7L50b557/5UG0lP3Le4dUbHcbHLdodl6++ccRXfvN5gv4JnSAmaqfE8ZBUN5menWF9ZU3ZDRzbYWJ+klvvvk/rpM8rn/qQGlgIDd4tZmkfHkmshzCB2blxVu+tqc/V4rl5gkFErEm8/zGTs5PYmRy1kRr37t6hedDklU99D81mk/feuMHymXm1bRy0RJ+mE5opE3mN8oU8C5+/x5mpIv1+j4rsdjSDs8tT+JHPF/9ym5uv/hKLV+t0b26o/rZcnHO1s3RkK37yEKNQUxXWTKFK0O+Rhn0SIyURDa0sGoMW7tTLJHGqLl70bmNJFH30Jby2VGENtOw4hPJOP1QQYcPNk/Zb8sbDEdOLDNSjLklviJ2vqfSKXPTNKIcxXGPog1laADOEoWhke9h2noEYCERx6e9hjrxM1F9T6bXEEW7BIa6RIS1PEchdQAa5leeUJUb0rUY6oUxj3tGe6sbHmq+g55bXpC9QuonL5LSYQC6Cog2Xy2TjAbos+nQDXcj4ku4U2HLcx5ALv39A2lpVQzpfc9EO3sKc/PRpva9zk8ieUNYoib7LPS/yWhgCLk8ORM2EEfbUXWMgfKx0gCWmK+GxyKCgsYKu90ljA0ci6NkRktY2qfws5cwaDdU71hyI5joP7mX8x/+ebPEJhlKla7+NH89g24HaZBtpR1UrUqkhGhV0uXQLlyXIq8UvReELVDA2v04q2kep4gqYuPk2qVUlkBqowPy6EqM3ibKz6Ntfx8wvkWSqxGkB0+qr2L4swmRZ7A/FGJAlLM0rtaBZeQZNAc899MSWj65KMctgP7XLmJWLRHuvnTKeqs+QnmySOBpp/pza6luVWaLh6WBFCP5m+eppnbYn3B6xN8gSJFEQfE+qE9EelnWVwIqwe/voxRJxu6HqKgLqVpawaKhSAAoAvPV1KF5WbLigLffJeZVO1vRAqWWDvS3MyqiqjYZeF7OzgmaPqvNENu0TkyfU5U63i3b83V9NVTwhM0rQ2sCuTKpNsXxo5fIfCtG/cBWzOkLy6K8g7RLLJUWmB9JNOH6gwBK6lFWEwJ0bRTOK6P4RqcDLRG9BRm2YzWwZy60TSQ9YNiDxQFGSo+YdouARTuE5kp3vEsnWeeQFwu5NrExNfbkljq/7B0qR5ZbOkki8I7WIvNNYhildT0fAhNZpF9lMMDPz+N4RRtxHy5SVYi08WscanUQXPWEgioISYed9nFEhYYvqS8OWL1vQx514VsXk0wd/DOc+jTk8JjhYwRh/QkVlzcEDwty4ipUY0jltHqu4kFEWE8G+fGQw5ZBoZdGcCkGrgaPvKlWYv7+JVixhlS7h+6sMdm+QEVDD5EdgsEmUKePIYEM6/NK39fbArGM4LmmvT6oF6qFiFuv4J4dqqoQ/QG+8hz79ElHzAK99k+LYZQaiLaktYcqFpPmANE6IMjUpH5DIxTEN1GZPfNGxJ33/Idb40/iH76ru/GD9W7j5Sczzn1JgRYEESr9cj0SxUVSgojgzjdXbIA42CbMLgmTDFEXj1ItEu28Rbfyhiqk4uvReGoRRlkzVJZEDa+kc3dW3cS/8FG51giiqkI5eIuw+xFUaSAtzuAlWVfEQTLk0yeeit6v6L+Lu9f0mGc0kSHUVBTazFWI/EBE82AJ8m8YxLQa9rnKky0N4cLyCnR0hNXXSUCPUugpgZUUSt1nFKT9FoImmRB5kMakAH62MgnMk+1/HqiyTCsRy+Ajvzf8DvX4Jw9/EHTtD1G8pTZ30t9vtAbaV4meW0SuL5MeexRcyqWyS0y66JTErgyjpCBMEhvtYEpMXhZtmYuUyDDsSn3WJh0eK/mmWn1ATVHXobz1Smj15oMhaQi788vCQz6BUUcLjB6d0fb1BnD9DPGxja47qKsp238yPkwSJMg6EMuxrPsCoTuINA+ge4U4+hRaIraCHX5sl29onsDM4jk4QZDDSffXwkxOD6BT18jxBKsaHLcxYJxEVomhCBURzIjRTndiaxtAlKdRTkURRE5qGT2rWcBKbYbirDiGm6E7sMQw7JBpIggUI5PPvoVfmVD/bcKZV1zw2NbXJSlu76pkiPlnhbkRHf43pTJ72sLwdIhm4lc5gpX18BaETlkZTQT3jTEXVOlSdqDCrPoOihAl7DdyxJRADg24qor8mcTjDJcDFdH1cMVkMdgj3r2NVF9WBwhj2GdrjpP0VtIGoNVPM6asMQw2zs6MqGnFbKk1X0Iw6YTDAFoK+sFLi6BRg6sgQbIS4c4AdtgkkdZWdVBF9U5I7Aiu0Dcm0kx7eU9NwuehqAiSMu2REJWoWGG7+OdnJjyp9nfy9En1Lgj5W+QJxcxt9cJN45JKqNWlxCy0pgBqQnoBbRdeHJEkGQ7ge7SOsmadIoixxR2BFcxhmhjQ4IhWDQvkM4eCATNjBi1OsSgX60tmvEEoc+fgeaX4Mu3QOb+vrCgyr157D87bIprYCEEkVTDp3Rr5K1NnFtooEYpmxpM70FJpUxcJU6WBDScoEQzSnTqKLH9dWMMIkK1WOFEs+74MGmi36IJNEenJiu9EjFZPNSPZFKxMH21jy/c5MK3WhdEeD41UsSUMUFol7mwrYannHCnYUiVawfpX45C5G91BpeaJAWAsSIZdq2unzKpKtlNQj0gFaKtu7PH05gDhzpNEO8e5b2Fd+Fk3Uhs1dshwzPN7AmXyKIOyj+TG66avBhWVUiVqbqm6j4H+yGZNNjCgwBw2lFtO7m8SS7Ks/r4wQafcRtvBZYo1gT9IgC2Qu/wx/76Xn+Yt3m/ztHzvD6uo+ZdPizn6bfLnC6nqb3/v7RT70qRlW3z1h/6hLPDBZfGqM1uOQ0myGXquvtGa33r3DyFiJuXPL7D/eUUmikbFpNehpN1uUKxV6Q49W85hcqcjJ3iFuNovX9Uljj9r4JDILenBvnatXZ6ioTXtbbXO/81aPsXEHwxzSSzTllQ9iDW8Yk9Hh8x8b4eIV6X473LtzRKJ3GR8XuLDNyeo2N98/4Oozc4wv1jnc3aXf9piZXWR/74BC2VRd//W1TTxvSDFfIhaWhWZwvNegPjGK73cJej4zy/M0jhs4psn2+h4zc6OUMiH15TFOjuELv7nO777VZixn8MlnakSxRr6Qcm+tx8JomW4zIlsKOT4J+Maazwculnl2Kc/vf2WHISEfGbf5tZ9/geznfpxk6ybGt99hq2cxOr9ENznEu3Eb+8LzFC6dJdk+Jm1uE/W7BPm8ckDnsza95gnZqx/Eu/66AqwaMxdxyjb+4SFpeVxBoaLHt/EzLqUzz+Nd/4Y6N5jTi/gDMcaEGBefwHvzazjlcfRKTVlvVH+1NyAzNo02aJPKQbTToN/cxbn6cVzZALcO6fXaCvxXmJkh3t3G02IKE3MqrWfMztH/+n+BvAwMQ/L5LO1dsTxZFM5eZvfN1yiPFDEWFvAf3KPbCRnVGrQqV5n7mQ/zJ7/8R/y9f3eL588VGfsbpWPPM5gqZLnx+JDpqkYvjWgeuvzeL86Qt7rca0LSDqmO5OgPIvJ2ntWVe1x66hKHjUNmFqTPHNDrDKnWK+xubjOzOM/m+ha2Y5EvF9lae8TE6JjaoJerNSzLZvb8GW6+8ZayRNQmJrj15nVypRxzy2fYWX9EdWxMbQr3d7fVGW5sdgyvN2Dj0WMFCNQNne2dbWanJxkOIo4ODiiM1FhcWmR3Y41Wa0A2X8I2E/XslORMoWDROu5RyOrk/4Zr8fP/4i5PLlXZPOpxcSGLk7o86HTJDjX++3+4TO94yEk/JWck3Lq7ysXzS2RKGfq9LuXiKJGp0T06JugLJC9RUOyJcdEcWgpe2Nw7pDJSod8fEgcerZbHxGydg71D9V4qVyvk8gU2V9YU3M3JuRTKcs5P2H+8i2XrnL94ns4gJZWFjeGw87DP7GKVqbMxv/pvGvz2tw4oVHLk6fDyU2e5s9djZ73N1kGfD5wp82f3vox/+y2CZpsolYXbM0pTnQhvR1hW8kysnsfO6WprHfWPMQQqLHDcRDbechk2sSSZG7jowQmaLinJacK9FQWZs6ZfJpSe9bCHIUBb4Yg5ZYzUVqwZ07bVzygdPMSe+TxGe/VUhVw4Q2RlicKuem6lsVzarpG4OYzKy9hbX8LPncEQBpiwo9xpNDOU0jPpyfv4w5Ds3Esgl+XKAqkk3Ia7GGMfIOq30cINZQaJ5BJYu6CqZ6I4lKWUnHvlbOQH8vyv4ORLRME+iVzWBWoXBcReTw1/jKwMMgQn1KNnlHCEr+QfEQvVXiw1uISdNXCknpcnFeZbaQzNnqf/6IvkK2doySWz/jwZ8dAXx9G7hyRSJ8hUsOS8mchVzFKJPgHmWpKiUNC7AGPYUelQ0jmSnT/CPvNp/MFjzFjdENCShDQdQucITeB3xRESWaJaGVURDU/uYMhZy63B/ptoVp109hWSo3exjSq+v4uRm2dwdJu8VHeFMzD6NPrxeySRi1ObJQ1DZX8y6tNo2VH69/4r2XyOgDIZN682/xLJN7s7eEc3sOpnsfKz+EGfuH+kIvypWOnE1iN3n9pFTDMiGEZEW1/BWXoFK7NI1NuBpK+G7DKoiBo3wcxhFs8QtO5gZOYwxEold+GRcwS9HQWsDhpvqzRcbvQl0rRDYlTUWdbSXSLvBG14opIPeu2s2vDLclm3y4TtbXSnDImYyOoYAnOVKotovoWfZmsEoX5aizdEwz3Ab6xiTr1A2Limqiha+81/lhq6UPiH6HLYLJ1VgKnAa2NZDkloY2UiNGeSyBCab4VYogyGgdddVwRsBVfqn6B5LUwrPVV1CagtbhMbedxoHz8QbUGO1JWuPkpBFwv9VajuElNNDtH6x5CbhMw0xvF1tYEyKxILM9VWwxSSZrRPbNRVPERLDPz2HXWAtxyJd2+cUpf1IpFlYvsH+L02SW4SS6nnUjR/Q0Wi5GCMUyeVTd5wTfkWA+nLFTKKzCmbfGdkgWSwjc8kVrGE//jLZM//LL3jR5jbf4o28mHVJxb/eKY0TyRTN1HkaCm+XMykma9D1NrCNBzSgjg5LbzNb6lfpJlfJjl+Q0VWQ3tcdV9tN4t3dB9y0sNOwZOYRx97eMDAqKuNpSmbruGu0llFuoeQFIVQz8iyIhGnJ9egdg5d/KJHX8epPUnw4Bt4/RUKZ3+GWIvV4dTwewR+CyM7pfzaqfzOJQGSCp1Buq2P0YI9klSAdiU1TZSOlfycTbOigEtWmqjto6jjtGiT+OQxUfk8lng3Mzls2R57K2pyLtTxXusuabtBZmwZHQtveEhp8ir+8WM6O7uUnvskRu1TBEfvojkLJLm6cqNr/haxAAm9Iam/jVl5iqS1CSMCFJJYdFdGQOrzqGfqaLEQ74/RcmWSOEGPQqWdSxJZhfgYmTwBsqULITNDEjeVRkOimWZpDv/gNQy9jog040FXbc5TM1FfTp0mDIdgjGFMzdH/sx/DEaKqW8Ixc4TBGv2+TbY8ih7nyGS7yuygffS3CR79FlbvAOofUHT11D9UVPn4eA0rN0lcOkNw/B1sZY9oKtepPGQlrRI07pPWzym9lz54RFS4oKJHShEppHy5WPf7xBIxTgWsl2BEJwxlG5N7mjT1Ton3oscTcFp+HNMsK62iL9Hpwhz2yEVCAeA0H5HYoyS2KNRKKomh4IeG5CWkz1/C71wj1kfRkw5u/hwBFkFHJsIxVnWZxJPt8ZFK6kh9w9CEl/GQMDOOLf7U7gb2yFXVyQ4HhyrVIVt0LZaOdhs9aBIOD9BciRwLtXwD2xwnyo1j9YRFMoEh1oGjFXS53HgtSCKM7Dh62iUSIE5mjlgyVYVZ7EBMARtKlSmAl8iVBMsQM+4TFWbQDm+ppIO28ClMWyB5+8Ty0imJj/gEq3AWXyY03TUsPUIrLKtLaJxWSOIuukBhghBrZBHv5DZ5bAKnoBRYZEro4mE3TELLUgckGeilfpc4JxqgBKP9DUx7nlgsE90HijycSEJBH8WoTZF0T0h8ST9MKhVMZGawc4sk4Q5p7wi7OM5QInLyczFzIIeXofRgayRJB92I0MtnlfdbVDRmGqsoIs0DdNckGuyp544t3AE50AvwUBlUcmpAEphZXKFFD9skJ6vKtEJuiqC5rsi39sglYtkQDA+IpQ4UNvCGLTKlUWJDdKYCxGsReR30XB3bLimNqN9YIZubZBh31LMZYUdYpyoj+fkk5ihab51Eb2OXXyHt3EKToYhsdrLjxEmooI2nBzENhjuK6ByHMiQVqKp8HzqE3lBR/+380ilrQICfwoqQLl5vj1TSB5GPNfqEOlBFK18iM/UJVZdKxRKTOwP9+6RhdEoxL8yeDuT8Ab5ENS0Tp3qWvt/HtSskoh8Rvoo5RuRvKiWhldbQqqLqsTFad4gTW2mIVL2if0BimhilZcW+ES2qQFMFJGppZczxGTXs1ocB3vr/gz37cUzRVEXiTk7w26tYhk8inyctix0eKi2X/Dm81k0KUmEwZunvrzH14meUScKa/mmeX8zz8pVRXr91SNGOOLdU4E+utZkybN78o6do/PU6d7s2i5Mueztt6hN1jhuHilieyWVpyEW6UqJYKHDrnetkCiXy1TJFV2fn8ABXl2iqjibgttaQuXNnaR8e0/M8JhZnydkRd95cUd7z+vgkYfeYnb8Bvv4vv7zHxKLO5z8yyd3VDk6mwnsrGyzMlvnam11ePAu/+HNP8ejWGrWZMXIZi6P9Abt7B3TabZ790AcIewMVgx4GPdqNDkvnl9hvNMi50huNONrv4OTz1OpFRmpltnZ2VEKhlHXJyKWmNMabr73L2EwJN5Nl62GL8RGbyqJNIefQPejyz3+rxY2VEMcccGlxnr2OeKQtLizmqFUy3Nk4IXZcwuOe6gG/dGGWzc0Of7FxRL6d8HdezPGzP/8KTtJXRpOTO6tqUzTsBeiTNYKTNuPPvIS3fY9+q4shQy9XosQGycxV2HyXwd4J5Zc/TWvlHbK2hjV5gUTOJivvo1dH1HLCnr2At72GXa2ijcwRNNawU42w3VGXjkx9hEiGiHL5EXaJoykGh7V0lXBnk+DxNTLjS8oalF77GtbiVbV46Hc9XMch2Fojf/5pmje/Tba+hO6k0OkwnFpEv3WDwkvfrxKQ0mNyZ+cYHJ6QSwacmBGZToSVdQkPD7A/8L0Ed69jT04SrN8h8coUL02Tmc7x+7/yp/zkn+3y489N8D0jJ7zdyrLf8pWu7jPPzPDlO8d0+n3e+L2X8fw273+ny8iErqqPxVKWzfu7pKnGSbfLwtKU2upPTYwx6PbVRW12YZ6Vu3cZXZyg4BTZWn1MJBfeWkUtB/YPD8i7eRrtAxYXFrj7/l18D1768LNsbK+j6TpZx8HrB2qokMnmWHvwmEJRhmUt3EJZDfQcN6uqgRPTU/jekF53gNcdqrSA0PblRruwPM/Gxi7rtzZ55TMv0e36DFs7LF9d5AtfeIuOnuNjHxznwaMuYU/MTwnfuN3jl39mgXNPZHnv1X3MTEiuOIIXdJmdmWZjZVu2Ugo4Z1uWqu30eyfsb+5x/vIljo+O6bWaatAhUM1szmZsao7b199Tf//4nFDaLQUKlO9P66TJ8fERy2fOYNsWq/dXVEJuYWkOL4TGwTFjkzOkcYfA08hnXAruEe/c9/m532zxzMUyemKRKxi02x6D4QAv0Li3MWTz8e/gcsz+ukc2I2wfg0hAyL3HmI5N5+ABufIM0bBBdHANZ+6HMHMCfx0Qh3LOlzuI2HZGFcdGH3iIAVwgea41ofg0Yr8KE7nEJrhaTGrpxLlzGNjQX0UrjpH48s5OcOMBQXuHdNDDKkoEX/gjj3BEnZ0ZUwpwWY6ZjihcV5WKVRY86aCtzAu6KGITSVYbZKfOMdjbxEo6CiIbHV1T+uJMdh5P09BCD0P66SJC6tzDtCuK9i7Mm+jojuq121Z8at2R87oAx7FUkpukpSwyaeJgaF2VyExigTFm0ZHnXoMk6mK6c4RGhJm0FS9JamzJ3g2i7DhOfkRVA8XgZQ93iQpzpOFALTrlDJ2KdUyrKi6G1r1LnC9j2XXC1oaqeeqmTnRwS23y4+P3cc98XhnT9KCldL8yMEibh0R6H7t8DiuyGA5XcEwxOtn0uo9xqsJI0Inau1h6HrN+jqC5gm7LQGCMxPAIHnwFs3oVrSr19VXMJIOeLTJsbmBbPnr5MlGaIe3soXsbaomol8dBIMQ94V1VCHqPQe65UltNZdFWJx1sEleegsYdqMi9q66qTUY+p4CNaWuTtL6sVN2J3qCQvchAk/N6EVeYB7KwEw6AGLHyV9WSC38PPfZVkk9Aw6LnjiUl1zoAM8WpPqG0mT3dwhVw3/ARhuYS9huqfjhsrBENj7AzRZKghzX+pPospHoGOz8F/iZxXCQWcH4sy9kcWqGiFpdunDAc7OLka4oJIO9YxTbovPnrspYllam31yHSXVwETYaKdgAAIABJREFU/CUbjCxJ1FDqr0xmhMHhTVyJ5zviCL+NXnmWRMiXQYfh8X1sVyBaeRJvE7vyJKEQmUWvINESAbZkZ7Ckmxo0iCS24cm2ckO57mWLZNY/gdZ6Fzkvu2PT+IPolBTf3SNMBzhyyRASYk+0SVNohk3Sk9holaD9UEU7E6kvSJ9NBg2NFeU6tWvnMFKXgajusqMEZlUR973GdbLlKRh9kujwHrF0Od1JEvZxC+Kw9NAExmc46mBobn6DzKW/Q+g10Ae7JAJ5chcwwiNiLSIlr+jNllFX/XihqqsfcmyrTXCkRWhahaR5A6f2BFGujtdZI1u5RNQ/hN4DpRUJ3FH09iq6qUHtEpGkLFIXQ4jxm98iO/cMMQIWOcJrnJCdukTcky3FJrZTUx10/Bg7VyToHiq2VTJyjtSukjl+H9/IKM2HH0tyYY5UmFuDfQxzkiAN0LoPMGpPk8oWKT+pVGDJ4XUCuliWgRbpaHZCWjhPJHGrOMG0ExV70SUGH8tk+Yjs7Mt4vVW0zPNorTfw7/8qVjKCVZgkFMp8d5fQ18lUBTo2Rty/oT53zod+E//wVVyjTKTbKnqIL9u0RA2RZFusCzTs4LsEhUW1kTWNSdJsFvPkfUKrRFRawDlaVZc/UW9Y0lnPzeMd38MtzZJKdYJ1gmOJMpYhdAntHFawrRIsEjsTYrocstLOI6WLE/K7EctE1yaWL51sWkUF9eBf0t16V9keinPPMjjcxE5zWPUMw6MOvnegLjz6C/8RY+vLpzwMy8B0pN6ycTrsGd4ncadxpceTMRjKdrm/gyFJmeJ5DO8xSKImf5bk5B3lLzfqF9FkACMb5nCIf/QqudrLGFn53h4TUMKKbWKnpC7b2vgTGIe3Tin5k89gRbqabPdiAeUV1SVEy+agG5F499EoqMFC0j0gk3QYTjxDKoTd4IDEli2HqcAxWvksDOSio34CSrvjyHdSqgliMtA87FAnktpB0iJypnAti4FsouVFm/gYwpawJXkhZgxHTZAdq0YgRP40VqYRS54nYmTQBTkhLIIycdoHMTWUrhLmRJnWUkMzLbcARkIqk2CxVchU1Mwq0JtM+xPdU4MFAUQKhd50c2ii2SzU1Z/bFNps4JFECWZumdSV26VP0t2BvCSINKXsi9r7WKNXiX0h+8bYukbPFGdvmWj1t7FGX4ZcDVNewqls6jOYoUcylAPnMabAWaImUSA/O59E0lXJttKwaqnA8w6JdR3dludIQOoFhPKy7W2owZtKRA12T/kouWkFPNV6D9AyU6TDLlZhRG0iU4Hl5ObRhXY/bKtumuEfkxbmMcuLRN2GmtbLi122twJKkmm7iOXjYQetMKeSNnF7A1P++3NVQs/H9Hqg91XFRDpl8h6RwWXSf4Seu6QqN6YMV4XUTFNJDVIxl8x9RH2GpYqVSkxYoIOGi2nLgeuIaHALe5AQ5ucwrVglM1JxhZcXQLYLjW+T5hbBEer+fTR7CU3Uj8FjLFcqIZOk3m31Z4lkEKaPKIaFlXGw8vMM+6voEvEUp1HhIrp3AJ1bJKZoACVd5ivwYjg4Oj3QyffX65PIz08+i4VpMIWWnUX37qkYZ2IaGHuvEaYZ3MKUssSk7Qeq4kD3fahcIZZEzGBbVUvi4RauW6fvNbHrT5Dpd4i67yrwUtw5wsjnwZohljRd2sWWWKotF34LPXygPpcyOEuFn6GlyvEu22tDgShDtTkoONIx3mQgtcT6ebUlrRpb6E/+KP/qF/8p/9uvf43PvzJGGGrcfdSjWtEYL9f5vTd2+bXPZ/jcR3MK/OcJanO7wczyLFu726cHZIkXC+E4J7wJj63NXeaXZllcXuThyn1WH+wyOlWhVhGHcoZC3qHVbBLrKVNTM6zeX6c8Pkmvs0Nzv83lp64wMmvyH/7Nbd68EbIwn9I41viBV8r89fU2ueIpx+bets1nP1zk6XO2ArgKYX37YMBQusbC8/H65OXChktjb13F5IXtIzBQYSzsHRxy4dxF2q0e+3un1TeB9PqmwdhYjbev38bF5uyZUSZnKly73lTDvPkzFpqtUSjF3L27z+tva/zBewbvPD7me54eYTSX8sxMkXfuHdDzMnhmjOOJEi2k6iQsz57li7dWaG4P+IVPP8mTlSPOXD3P6Icvkux4DK6/Rqe2TK08wuH2dSpjl0i0AaZZJDrelLcvVccmOveMGkAefO1rTH7sk+p72L/+DTIXLxBu7nK0tsLMZ36UzrXvYNYWxRZJ2BSSuUZ6dKDel7KJMu0cQxkujc+eRv2P9ygUS3D2CdL9PXWhScSKcnQECxex4z6DBw/IP/M8w5MWTqlGGoP/4F3Mqy+StpuKtRI+uI919WnSpo9WK2D1U7qNVZJsSnH2CYb33lfvUns0RxS6+Dv30GMd5+oVhtffgEyB3PwiweoDgn5MaXmGvfv3GZmfofpj38uXfuH3+dv/+S6ff3FC1cVcRyNjJTzcN5iwffxsnp0jn6/+1lmGWx3eu36imA0CWSzVclh5SSql5HOyGZP6ZYZep02v1aV1cszc7KwkuNU7OpPLcLC9y9zcIusr9/CHAWcuXOZwb1cBR3N5OfPFBElCMV+gWC6yeus+Y1NjZIol1u+vMr80jx8MONw/YmFpQdlseu0W7U6L/e0TxidHWDq7xP0795icnWN7fZ1ud8hTz1/l4d1V3KJNLl/lcHdPqQx9rcvcuM31602+8DsHvPiEjetIF9rGcEzeuXXIf/qVpwj6KYmR0GwM6XdbVEZq9Ho9MhLzTiJaB8dMLc3SOjrCV1WFPIYesLW+zbnz51QNr3VyxPbmDtOTY4yOjNL0A3KFjPrrBBrnLl3g4coDBoMBi8tnuH/rFsVSmWw5z+66RO1tpYpevjTOrZsb6hI/O1Nn+fIon/jHb7G5HzMzmSOrm0xUcjw4kO9jme/cbvCf/scP8mP/w08zeHhCOjAYJBsw1BSMOlOYwBvIIrKPJme5zkN18UuNCmH7DtZwC33k4wTHN9ArFyBfwDh6qJg2URphiMddC1XNLKKI2bmp4LyaEAR6D1UKzxOAsiOw7F0sT97dBTU80ivTJEevY9gLaGZBcYUGqVxbBWKrYSZyof8mupZXl3tdziSZZeJiDbO7croYscQsFSorg3TbrcRWy9Gwva4qr7okjyWh6wck3QfYcr45voNeOYNZO098sqYMY2HYVVWVnKTT1BIsUu9h0b5Fw5ZiPEm9zJAhhSjrugKIralYPgrgrmOXztA/vq1StYZpE/Za2HJGF1WdnUf2Yolckq0qhtzlxl4gzo4TtO/ilGbx7v/x6XtZLDidAyxJC6bRKYSwLKnYA/T8CJFYyUSxLRYmIdjnxJpjYw4PlSpdK54ljVO0k2uqtqFJEhMfZ/Qqg/XvoklEXjS+ork18ljeHuHmm8STr2CJVaf9QNmCyJcx9Sx+e139N2lRQOStq5Sif7hFJmORZMTMJMwpAT+mpLKcTnxMWXqIKcIA09RJ9t8RpziaKBdFEd24AbVpXH1UmVDS49skYU+Z63SBCcpnrbWKJkOquU8o5lgkkOftVzHGLmDJMElSE6aDla0x2HyH3PL3Mmyu40jKIZJwx776bpnjzxPuvo7X7pOffppQ+HxxgFP+ELHdIW3eVTDh/4+l9461LU3r9J6V187hnH32yeHmXLmqqxOdcffQ3dCAPE30yHjAHsmCwQLZGiMh9wzg0WDZwDQIoxnDzICslgGRmqZTVfetHG6OJ9yTwz47h7VXtt7v8Ef/U6q+t+49e6/1fe/7+z1PmHjqDhx7IzLVM4RyX5J6oZjOJGUqg2J/iDX9HGm4T7B3G6uyAqJI7Lz1u6nATIReaw47+OlQ/UBCu4BTPE2YJiqypOAVfogvH0K3gpZ1VNQrlV9E4pHScZC4Qm4JbbRx4javnCcaHZJ0NtThXrr1+mhDXV6Vxqp0WfK86MYESSA6uylCb18dvoVMrXXWlHZGKTgOXiWpPkMqCrPuI4yJD5BIxzMjWEtNQan0nHSKQ9X/lI2pwKUE2iGQsFR0Y9FQ9eqDw29hVS9i6ROE2Sz4QjXfwZSL99gnln8/l0VX/usKDLbU5UG6xlFrjTRt41SeYTweY2WyhK011fex3SViu6AeQIZ3jDb1PEl3i6SygD4OlEbQKq8waj9Wbnch7xq5s4SHb6suayp6vP4W5sRFdejWBWK288ZJzH3mGfTuYyKBz+gWZiGPnj2jVGcCj0jdAsbRI5LyggKmxGt/jlk7S5q7iN25zshcQZMI1GCHSCb45TNYEr/PVrFGLaIowQt7ZDI19ec3LBfHcekebeI4GoYjf8cWZBzc0mWGjbdOnN1HrysPuQADQwGamRauXP6GT/DdOWi+huMW0Wa/SPrerxBsPcK98KL6Igr9M7v0DN7BBqktW79pGNzGrj9PUv84wfAeSdvDFdp4WcjjhvqcJuIJH64TRyeRJzkMxc4McesmukSOVv5r9aDSjr6jvrjiLtYsTenlHNHWlWYUt8KV4Ur/vqLfIwq16Y+pjrTeEsDeEr5RVi7xmC66nkU3hVi+S2rNKr98Mr5FzBT66v9NbJawLZskivE9iV1P4JTy+Os38cUFm50he+5nifUhSZhHz0lfq6AuY763j6MJ5PLEjez3HqJnl3CFfKrZRAhYbw83I9PubUWnja2zGN03BKKgOBgCflGqRy1ShxFLm8RI2nie9KBNzHydSCAxrUdo0Ri3+ozys8e6o7QgUucYx6Ha5kvvzHbm0QK5ZCfYhsSkHfz4CK1zgH3qs8SFMnZaJPJbmP6QKNUIvB0sgXnaRYL2DSx7Tr3MJGap6/JAWkRLhkr3lxzdJc0KlGSRSIYTtrwYljESX/EmJConw6yxf4hjykPZINHmsNMmoaTdBw18PadgXmlkojFSMdVEXjDiotUC7NI5fHnBjXdIgoa6ACdSs0kC9OE2oTmFOVpXVgS56Oq9Hag+RSzDgL03QLbM+TpJFChXrEp9JJ7y+OpWgVTUNCnq+yhDtNQbKRimwBXN6WsE/UOS3iZG5TTyL8TDfUXx1YqzRHoOU/6uw5R473W0yXOQEaWjPIc3Sd1z+OEeUXcbZ+FlbP+IcVJGzzhqMi9KTPk+GIkkcCzo3VBwPi1zXg14ZDMuOjYjzhKZQoYfq5eC7xsYWoCbdxm29nH7q4Qzn1TqPhVaUoccC92UPqWNMRypLYeA8CQxZBbr+N011Ze2MzJIi0mEOix9w0gH0dgViqR9GYqmWPI8Lk0RdDfJu2USXAaNexQXPqYu5loSE3a3FdQojbukvfsw/TKGXiTc/47SFwmIVi6/oVRidv8Oe/ozRGZRKQONoKUAgUZuhcQxMYL05J2VsdQhIBk3SE0DN3YZRbsQWqSZAqa3q5S3cmCWZEzq1E686BJa7z5Rf3YrP4XWuE2SmCQT06S+ge0U8WXQIVFJf5vM4meh3SA2RozSCVxJBxkTIOBBeTabGazy88rhK4MMzcoTeBvq4j/Wp5Uj3PFvkcZlwslrpO1t9GgPK1sgSvJYpkukScplA618TelJUy1G7+yh5cv4nT31ftYl5WLPkGRkY9NUw2sBDqXRDkmkYQvfYyAArQbudAHOfJSy+2mWpmIuL1d50muzVKsy6dr82feOOVtN+MZvz/Lg4ZihN8IONcYpFKt5FhYXGHk9Bu0BO+sHVOpVVi7Oc7DfobvfUJvzUrmqetGFUoVhv83u3r4iKZerBZ5s7jAxPaU0iVaS8ORBjxc/eYbSQoG//NP7/MGfd6jVc/zUFyq8+mabO2ttvvjRSe4+CMGK+JnP5im7Y/JzC2w/FNCXyajdwesHlCbzlCdLuK7N5uYO589cVNT61dUN1eP2/BGHmztcfuoqDx7cYXl5ke2DBrVKjYePdrh8ZVbVE3OTRd59dZ3ukwEf/FCdiQUT00p497HBH/7FOt95zyDJG1ys+Hzy2Tz3jxK2dwIWCqkang2NiLpjs7E7pnTKZinVufXYZ6EU8PlPX+WFCyVyL7yEebDG2D2Nv373pKP87Cdo/fUfYk1N4MqZYOoU6cEqgd+mWL9E451vM3H6iriT6d15F2NqBnPmDMNbb6BXK+RNCFVqKMXK1RUlX5KCmaL0RQ/BrZGdP4vW3MSvL5Ie76H12kQzy6TDNlovRMuMCZ9swsQsVhrhPX4X+/yz6JLA0zWlm9V9neyE6EYDvLs3yV64wjhXxGzsEzWOyNRqRJKSmV5heO9tqE2SyZTxV29gTExjTNehHeIHLdzAIxI2+dJTWM0thlurGB//MsnX/k/yH/g48cIpzMMm4/0WVi2lYA/46t/c4pf+aIfn5wt8+FwG3bZ4uDui4gYszszx+3+1zo98oMz//r+tMHxwzGpjwERuklIlo8wmj+9KEiwgX8hgmRYLp5bYXXuizrJhGHPv5ibLpyeZXqizen+LxVOzTE7NsLn2ANct4AVDKqVJFi+cYe3WTe7eXOPZF55W9qL9zV1yxQz16TqPbz+mMxhw/vx5bFtne3uH6mSFTFGAdGMCX3gCPs32MdXSJLWZOu22ROYhn88rKF8mV1bDhmanRaVUoVQqk5m0ifv7/Mpv7OM5JlOTCeHQwBvLBl3nxafK/PRnCxzspnQGkVrArVy4QOSPuX/rEZPzEzipzmg8VmaI5ekp2u2OGs7Va7MqddRpthRkUZ7phuOoS//ps2fotduqQlaqlpVeNfBGtBpdFlaWKJRL9HptGgfHlIpF9nb2OXPlDJZms7O+w/RykWZjxDPPFfnLt4b8D/+2w8VFn8axR65QZCprkqu4/N17hxieRsP/WwbvrKJrA7zRJo5xCrNWZNTrqDppcPQPJHNfUlDHaOcfTmxfrnzW72HmJ9UdxAw1DG+V0dhXNS4n9fH6GxhxhrQyhdF7yFjqz3MfRHdmiRtvo2cmSQTaGu6f3IuCPlp2CTNTJhzuEPceYRVOgzOLaUoL9M9VXSwcDpTlyqo+TyD3I1k+uXWVdhattjMSg9MITVKoU89AMFI7kFjebbikolCPxdQiZy8xvkSY9in0nE5slEnaj05A4aI+ln+/tKgYMYkMYqMBemZaVZslWSppIjkbyB7BsSV92VbMqCjKYExMoPke6XCPuN9CF72nnD3tGnrUQ48OicaGAobGuospMfjsKeLhXQw9d9L9FxtTbkVttVXDzZ3BjLr4Zg69uYExuUI62ibITJGxxSA0IhK+mZaDNMXyW4SyIGWMRg5dBthSkxTmWKGg4PFRf5vM7KdJOu8Q9FqYtYswkOVrWdU9ECOQYxINAzSjq+Cvws2i3yYabGJMnEETaKDpodWeViR8213AG22T7n4LY+EjhKmOE7nYpWmGXhPH2yeuLCuOg9G4TeQUsCXhPRAYfYxVOU0UtEi8DkYSo0+skBzeP6m8R8dEaRbLEb31iDQ7obTfuis3UVsNbMyRhzU5RSDpYDNRiTPhqJm9AYEnqvJlwmRI7PlkSksKKqmJ7WIkw4sCg1EPy1rGCRvErgwyAkJfU/Dc0B8RD4VJMIOdK+EfvKWSJK6wL5KQRKna59G8TVIBOXfe+UpqDZrE7iJhPFLRRu3gBnbaJZr9LNbokOG4ix23ceY+QpCkJL3b4LvoclEQWNrIU5O9RDrJciCpzaseivgvJa5sZPPoWo5AesatW4SV81iytU2OFUwpSQ/QfQdDNvFCUE5iEt0k2H0NQ/gC8z+AISA7LUF3Fhnv/y1pFOLUzxOmVexYNh8hev4coXzhwgExjtQeVDUh9jU0uWxnyqTy39ncJ0qbULpCfPAGbrH2j+TokjpMRaL5G0t82icxBObQwS1fluQ4BNtE0QBH4CISvXZypPkl9OYtojRRk6gkcIi9NezcpHJnanLxCQ9JJT4sgIneBobWJdQnMcTXPeyTZlZgYg4tGJI0bqneL1MfJxk/QR/vYuVnFfCBwlNobg2j+T28QY/swmeIDr5FYhQxnDx+b0dFkXVfQ58VSnUbrb9GLH+eyUuqoxq3vq9e4EhXO5C+7JhIz6t/T3rTo9aO8p47Mx9Fi7dJ+iO0ghAuT36eYfs+pmagS+UgCgR7ijkj1Mk1kq1X0KcvYwjRvPkm+txnSG/9OsnL/4Ho4VeJbvwXiqeuKqJ+3D4mDjUyeZvR/gFJWfpKLXLyBbv2v6Lvvkook0HXgFjHKJ1XMItULlKWqB7nieKmMkOEzQ20rKV6MwLWiiU+L3Hj/BTmcKQ69WHSVDo4w5wCUx4YFqncJjNFtOEWFCRmLXEcSZKnaLYMj0IFS5RprUTFE7eo6NqGbFPiPoFwjd/6NYzCIoNRG2fyNLbeo723zvTpjzE4vo82aOG89D8ROcvq1xd+hsTADDdVrAAEZFd7njSTU8C2SEAgSkspGqcBGUfDN0pqiGSO3iXRy6QLn0Xv3GXQuE2ufpHEl6ivTUaP8RxRjz0kjk8Aa0bvdRL7lNrg6pkcoT2F3XiHsLiAkerquyr8f1s4EgLL81sKsCMvfT8RYGdMmAqQsoVdmiP0J3FXv0LgHUGk41aEILvAYPHnFPjLPvo+I6tERiCH4yOsJCKS725vhySbwcgv4R3fwxGNnzulXn5abpG0e1O5bOWQKjFuudQrUKWmnXhnZVqeClivRdzeJXvqi4y7t9EF2OSWFck7i6fsBXockRZOkYgnNx4RD3axs+egWEb3EoLxhoSwSeS7620wjiQcIAwCl9Sdx4ktImNEOjggFSBM+Vm0zgNSwYzEQpgXNoNUUg4J+pICeEolYdIkIOrdVQrHdPlLdF//Bcrzn8Na+CGi3rto/UM1JE2LZ9CCVcyRj1aeZxSMSQ/vIGafOL+M7hbwZTOsDUky59VnREj9AgEM3Qxa4RJOZ42xPsQtPUUoOVQBlYoq0K1jTZ5RCiXT0BkK0bs4j2VIt74Hbo40s6jsDakMFYd9rKUPE0rcrXUHa/plEiHMiw7PG6hpvlW5RNh5jFaoY0tlqd8gar+DNfsxlQhK+tfRnEX0NE8o/52lM2g9qXkJtyGPLkkV4ScId6AgAMUeYX8bLVPAKlxRwMv48FX05gP0xU9hF1cYbv01rsT79ASvuaPsHULdj80ClpUq3oclyRex1gj0M9rBiqfQnSxJ2vlHd/MEmtZSj6mMgC1FvedMqSFVOpLqQpVg9ARdtJAZATEeo0l9IoqIBTTVPMI2UqLxEZSW0KMRjFroxUni9mOcpR9gLLTdpHvynE8j9LRLKJUBYYCIvMsRdedYEZ1Fx6PJ5iU3h5V0iK0Svt/FHuwTZbPYEs+zpjHkPdC/TUgRQyooAsd1XHTdVvBYs/sYJhfUu8YSwkDSxe9tEWdWFMDPqS9iOBUGxz1cfY9wGGBNXaV38Jj6pae4d/3bPPdjf8g//WCBQLO4s97nyrzB0myBr756zFd/vMhP/PMVnrwjCrENMtkyri2plyGdQcLymWXaRwccN7osn1nAsG1G/QGWY2GmhrroZAuO0pE1dneo1Wtsrh7wgY+/yOr6uqAlmJie4c6tLYp6zMufucTf/P0mv/HHh/zwR6RSFnJnAxbrcnd08QYD7t6DL36yzA998QLvfuc+jw49LiyXmZ6q4RbyKg31/js3OXfxPIPRkCQx1OddaO9Hx8cnisJAx292sQoOzUaf6aU6pUr5BJKXH/HWq+sUckXmTp1m4VRKtqKz9cZt3j+o8CffbHLnocb5ZZ1q3qIRjVkwDIqTJTZ3hRMy4KUrNZ60xwzDlGxi88Zqh27f4De/XOMjT02wvDyFdvUTeHfuKZXW3u01ijMLil4u/Vwtm8XJTRJnHLzVG2jTC1ii9JucxVieR+8HtK5/F3u6qqL5o7f+Djc3o6pw2tQy0fptddH03RLGwzcYj3vYz3xKwcmG6zeJRl0KT/8A4f33CXbv4F77OJnpSXqv/DW5uWvoppi+9ik+/UH8Y+EYuWTPXcRr7Kh4u3b0kHC3r54dVjaLtnKNZPeJ4tIYS6cJGw1Cv6tqflqxRuX0Mxy//g9orS3M5z6EtfISyY1v423fwl08j/P0p/BffxU9H+EFAkQUTpQkWnSlMDPOf4rB6n3inIa1s0n7sEMpn6f+E1/ke//xb/lf/uA1PvPCMqEx5q0bffw4IpMLmVrIYA5dss6I/+vffYj3/uImdnkCJxfx4K0NFi4tkkQGWVenOxioxUWpWsQ0baIwxO/3KFYqHDUOce0co3DIpWvXWLv/gKP9JhcvnlPP7H5zyKB/TH12Di8eE4wDddl/7ZXrTE1OM700o/7ZxtoqmWwGx3WoTFSJkkRBM207y/TsDO++/TbBeMT09DzZoknoRzT3WpiWTqFaYGJulsbmHgdHDcoZC6cwxbnLMxzu7vPf/voaz110maplFKvo4jM1fv33N/nFH8pzZjpkHORYXi7S7Qp4zFSfCTcng7ku5UIRI2Oz++QJJLJJLqkovywUDjZ3WTi9zPzSIp1uh72tParlEseNJpZtUpyokHEy7O/ucbDfoD5TpT4zqxIEtakJfDnXOg5nLp5hY22boDdgYrLEjdvHXJhLOP2RU5z5/H2sbJcPnJ1hMIx4tN3g+YszZCONP7q+S2vj35EpPMvx7b9UF9Lc/IuMG+8y2v4e1TOfo7X3Dnm5oEkKUS6SklqZOKu23rq8320b3e8rW5U8j9ODN9Q9RxKPRqFOHLtoUsQ+3kSr1NBlUdJtEHirmPY0hmYTGiVMJMncIjWzahlhKoKlpNck8dxXZi9DSpBaynhwpBhK6Hmi3jp27YMk7VsQdIgLp9GUqzBFG4SkuQLJ4FgA72j5RWXh0Xq7Kl0llQBNQHwjj0QU5pUr+Mc30fymWhjK2cUYNNT23MjUiFJDaZNNPVFg48idxR4f4TfW8NKAzNTTakCge2sgANBxF3NSEqX30aR6PQ7Vczx2S6q6aQjuMjJIMwnm4Ai9eI046IEljIEWurtCLNwCAS+WhHHgom1eJ3Ec4oLQ7l2K5O2UAAAgAElEQVQcUz9RQIvyXGqFdl0BGsP2Q6xsRaXEGQ5xp58ntGVBdRd96ir6qE3Y3lBw+VR0fWlKnJik+cqJCtyZRE9lMVPFa97Bqa6oVIDUjLXqZaLuOsne68RTZ8n4EXFxXv39G2Jx0OTvJ/ePWs8YKydL2038yMWdvkzSeI1UmyKVBHfcJQpCzNolknCENTwikIFI5OPWZ+lvvYe78mFCL4Xtr+Oe+gKhkcPwGww7m1iZKZVajr19LL9DMHkVu38X7GmS4TaRXUTzmmq5p/Ci/ScY+TNok6fx3/odnLM/jm30CcbC15Mqaoeo/4DEyuDIAkZStgxV7Rlvk0FvhCN8ovpZNfgXEGCiV9EVKH8NfbhGatRJiwLL7KJ13/vtVPRLpiVKCrCzZ1XUQcBiEv9NjYB454bq6VinXyIYm9ijVeLUUR9WV0CA4pZv3laXYYkQRVQwHVFaGMR6jCud4/Ea3tE6mfIlorpE7t9RSQO5lHpHbypPolX/yEmsZdSgkD+rLiUyDfNEwzb9nHKP+1aBXH4Wr/EIo3hedWddicKLaaC5jiV2AdV7CJWOQoL5olAayQ/M76EZQ5LSRRUVSY6+qyBn+vzHCOUA1x+oGKloTWR7Iv1ec+Azig/J5usEPQ89o6upm947xDt6iG50yZz+WWK5nIsSUC6X2awyBBh92SRJlNwjla6MHMAjHztxScIDVZfwx9LLkC/6CYAwPngfu/YcAQPCo1Uyp39I6T8i0ySVH+TRqySOTpIITCbByM6gjZ4QC+yufAU93iLunsBEYqFkd99Dn/0EaRiQHPw1SfYyRn6O2JNkxiMVkUnkgBq31UBEfKZmf0tFO+PCivq7sITmG+2rdEK2UFUKLN0fEufniTq3MCUgOXGR4fGbaFEGc/5FtO4GfusO7tkvoo8kwj8i8Afw6F8rtUdYOIUedhg39nGyM7i1qhRPiDZukVn5KPFL/zP63i3syjWlMSPsE/tj1dW3nJN4uUWTpLWGufhFYm9DaekEsiepk3S4gZGbJVV9mKHayulZUWb0iXprpEkFpi6T9O9jK5jhCGv6s4QH10lGTfTKNeVDl760eOZTuUEMdkikv45DYgbo1aukYx/78b/i4HCMG8dYpQnlcI8dXTncNSPFO96hcOUniay6SilQf0F1ezSZIPfukcgQwp3GyOknFzkZaGx9E7uwgCkDslggJNMY/S5h1MdwJDHTVV0+XbwzmRnSsKM2qLjn1PY2OnwNI3+JWDpcfpdIizFNIdXqjLzOSTSv8px6GCdJW7mJaT4gzM9hSopHP0bUsRZ1olyR8erXyF/8AtHhO/Rf/y01xMjmVojaeyRzNeLeEeWn/gXx1CeIO4/RMzJ9M9VUVx5SAq1Mjt/FFO2cPBcMTV38hV2XxJYavBE01YtUXrzx+CHocvmXTW6OyPSJG28SpTXM+jKp11Hg0ciZEpIEhpga9IKadlqSdJBrUbKPI6kaGVoKx2KijnV8os0zZEAg0NLCHLEkisTkYS8Qh6vq95O0iG7ZxIEBo13M4lVC/z6WXkEytfL5ipwsjvjoZZIqQxepNwn47fgBceqTmbiIJ7WRzvqJ/nPyHMHat3GyebTZD5Puvkpq59DrL5P090kl8SSHEH2SeNDCcjS0TkN1xqOx1J3exMh/FC2rk/i7hIOe2rIGiYEmOfqJSzjD+4SWcC9yGDJ07O2SyPNs5mnS1jaMG1jlZcajPTTROgqLwtsk0nLYUqsYH6G7k/h6CT3qYgjQzrcwp86rLUbUeYSVmVbx+9Q/8bonou2RYYLkreRSngTE/g7peESUXVZ+aS/wcKzcyZZfVHatA/SkhVl/8SRFIhfjTBm981ipDmXgZqRdgsozWK0H6s8Sz38STTb6WFhWhqD9WNlhkvyyAm5qst3IFU+YIUFCkptWNhBRZMqhxDVdhlI7EN6K64DUQgxbgXii0ROMtKSo1fI5FIBsrBIKJr4ZYre2CDMVkI2+KG4zJdKjezCxop6Tiktg1tDCIali5OTQxF8n/cPxA2W0MApizhCHckrceg9LngHVFxjrCVb3bcWliOVnKVUVSchFXexsnXF3FbO8rIa2eiZLVLiijCSx2E4CARsW8DDJZeaJ9TFJ6wFR6mLbMsiwINwiKdUJuyNV+yh/8kv82FOf5u7umJ/98Wt889tr6JqwzfOsNUe0OyndV1+ktdvh5vePcHIBU3PTVCcqHO0fc+fmIz7+iQ+ysbHG7IKkWSQqfMRkVUCRDgebO4yjIZWysHoSekcdquUiZi5HPxiSFT6PBauPGlQtk3MvLvF//IfH/PHftlkuu/zcT0+wd9Dl668N+fzHcjy4b/GNmz2+/QfnScKEW/f6vPThGVpPfFLLYNQ9ojcYUatNYhkGuqHRHntUciVe+84tnv7AGaVUk23n5uMNrl29TGfUZuvRNtnSJIWCw+MHsv0/Q7855vRzJYJ2k2whx1/83Sb/+s/GtLSUl5YcnFjj7KUcEzkBiBs0Ry4P1w6o2hZawabli3FCZ2ttj4eHFj902uQrP3+VmZeeUerYzs4teveOCeyEqgCiqnmCYzGSaOR+8Edp/OkfUH32JXV+ae9uUyo4KpEQawZhe5fMwmX6996ifOZ5oplJtDu36e0/IH/ugzA7TXKwRbq/hXP6BfRKiah7TOoPGDxZJb8gVg1hytgMGsfKpCIk/6gyjdbZJ5JUADlsqfll5DDewE4CKNWUotOYOU0UDsnMnqUtrIHJOfTyJOFxByts4K8+JvvhTzM+3CNptClefp7B2nWc3PQJQFbo63kB/M6THh5g6hZebxvddHBf/kGsRot0eKTafsHjO0pN5j7/A7S+/mfkz5zFyMn3pUZ8cIQ7KR19jVdf3eFf/uc3+OzTE1hhh28cwzOLs2T8FvWpIr/zlz1++7+z+NJPnuHGNwVmaKkka+3KJOEopnPYpVTM02v2cXIWzWafnCuReofdwwOuXLzG/uEunWaHyakplS6RKL5A/gSTFHsxR81jTl04TaFU5PjwCEtxFHSMnE3rsEGlWMLIuNiWyfrDVZU+aR01ePToCbXJErlClsXFZba3Nzk4OuC5F19S5oFB3+PUxQtsPbpHfmKClQvLjHoed96+S226jGFpLC/OcGe9xVe+usfMCvzIi1PcvD/i76+3KM2afO3fPsvxboeDgz6lySJHDRkqa8ydXiD0Yva3t1TtYzAcqO+oZVkMRp7iEhQKJRoHhxRrU8wtLbK9tsb9W+u8/NHnVQViKIMTx2ZxeUkZqoSx0mgLJBCybpaD7V2KMpjL5wnbDYgcinWbQm2ORmPInN7gT9/Q+co3unz55RqH7RE7Gx0W5ibpR2O+fnvIr35+gX/zF1+j+8bX0OI8YaIzbK6SkWj45AK6bpFEJpETqou1addIFHF9nchP1DBMKa4zZTIC/zu4SZCr4c6cZbC3RrZUUzq2ZDAkllqrAG/HCXZxkkhSNGGbQeDj5hZVaiwyXfTCORJvg0gG/7WzjLfukjn3eWJhRB3dwCpeIWysYxttdZYcD/cUj8udXMbTslj9VUzR2AYp6XAdSudVDSUe3MMw5pVFhzggcerYomb2hI8kHJVI3RGoXCPeew0tW8HypXYQgqRV5dx48C1CrYi18BKp1PPEgjQaExd0jMIV9WvH26+qSjTn/inxcFstDSQSbwvbR4wLmvTTu6rmmrb3sJZeIGlsEuojLPHH2zbm9AewGDLae0A83MWcEnhw7oQ1FPjo1UskjbvYskhwHbzmKnblkiLZa0mfNMmRhGLLmVJV20SGEVZBdeWleo6ACn1RK85LUxyjMIVp5BkfvYZVfU4R76PGHWzdJRQa/9RVlXwwJf1YWFCDmrj9kMzUc3jDHQxh2Ina3C1DYZlEqhpSWHrwV7jzV/F1HSc9+d4Gwx0yZoVYzgRzH1KJUjIT6KHYdO4TpGXsiRVCL8EYratzLFIrPrqNVr5AOOzgOCG6K2eaWeKjWwT5CXKyXLanFERV0jtJcYpg5ztkak+pBIddO03cFAilodLfankybKtlt9S3Kc8SHr4rb3o1XNUMg2jQIz3+BtbZX8BvvoNulTHElBccnxgh/CGB/LPWLRLRrx89ZtTbJls7R2Q6aO3rv5Ga+pAwEeq8idddU1ALmRSND9/AWv4Y8e4N0mEffeF5FSuOescKGIGzRHDwbdVzNyfO4Le3cNxp0oyAHHqEorySA5WZV5PH1DtETwpE+Srx41dwTr2koIPBO/8eY+ZZ9Okrqvfsiw+8tYdVXFaebO34Fkn1PLpMWAer2BKxrFxA03rE0oGUjV9pgVR1WwvY7jxB8AjLFw1CA9txidRgo40x7hIZ+gnUzZMYzgLa4UPVsYwtgcf1YLCtuqwUz2Kkss0/QM/mSUtLuBKZ6h1gVSYxIoG47RCLF17SAuN7MPk8NG4oxZgz+yFCf4Am29xRC6d4hWBwQ3Vl5PJiS7/aKCkTgdClSVqkehm9eo1UKODNbxGNbJyZl4glNaB3CMXv7o/UoMKUAUIY4NYuEnXvkWoRdvEqiYBKWm+eqMHMLM70C4yHW1j+Npp7XsWy0+CQePt7hAKlWPw8RQH4pVVix8aMAnyB4SUjUncOo1DC3/hrnDgP1ZfQjbbavuky6czmGEtnenxEakxiZqYJR/cJhRw686No3jpp/waZ87+ANj4i+PYvYU7VCPoeRmWJVC5Qu+9TufYJdM3EO35MsHmDwj/593SPbiFL4GxlUbnZCUVBdoAmkz4ZpggkpfWQpP4sbn4BvXsfXya9okiUbrWWUf0eiWTGjTfAncMSAJiYIwRcJwoxbULFu2yJEpcuKbiipbZ/JeWRlYdE6tYkBQf9J8qVbJimigFr9nnovoL+3u8xNibJnjmDJgT7zYdkTp/B313HrpwhbN8jlq3y7MtE1iJ6aZqkd4CeKaEdPkKrC7DMJnjwx2TnPkQ69aKKfgtsTx5UWuyRVD9AOrhP0l/DqH2UtPEWhnAujIoCMcl0WhI30v/J6AlJdhk9bpPKsEK0maIwkV63qMSyNSK58PbWCNw8bvkpFXOPBu9jGNPYhTr+SIinx0qBF3nfJ07y6HOfQ/+Hn1H9r9QtkcUnlC5pflJdgqVCY0x/inTiImnrEcjWNCt8hwnGQQPdrKiLXjK6pxIv5rhPmHbR5TvQe4w2dQ3LrBB4myp2JnazRMBwbklBzUxfUht9IruGJekLbw+nsIiHcEjamELDl8vncA9t8hK6UOHlwT3uEfgtDKmJCOMh0rELM8RyUPDlQqmjG9LXq0B/X8Em9ahFaglZ3CXQ+tihTRisYmUvkRgx6eF9KQ4TUyR2bZw0JJUBlW5BfhJ8W/UvTa2Ivv1HRLnz6PVnYdgmChtKOyQHX5neejs3scrzUHsOw9shaq1j2Rm0mRfxG7dhPCAz+Ry+XDI8j6i3gW6OMbJnFHBJ9HiaHEiMspqIy5Td67xPYeoSo4NbGJkqZuUpgsZ19ffv+2NMPSK0J3GyFUgbhMe7J1pGt4YmLw7RNEokuHJBJVJM11JaUyHiCplY87ZVTcOQ6HlGII9VaN3ElOFc4bTqp5mOrmwFo5GoDgWiKNvmWZy0RSD9u9BTUMlo71tgrZBU60TjJrkIYhmymnU0Ma14a6TaAnZlSTEbwkC4LksYIzm0yXNBtr1dNEnjZOZIehvKAOBUFgjHKWKUlI5zkhOQl6O4EEZxDkSX1L6tIvWGWVfgpFAuPFIfcqaJB2tYdkklUkZ7r5GdeVoNPOSwrMuFPz+LZlaxFfizq2wh0u2kc5dQL6CLYUS2uomPpZfxOjewdANt5gOkyoZRRndiImHV6EPM+heJuo/QOzfR8udI5ecmlYPjt3GqH1DJpLT1CqPOkaq32DNP429dxyjMYAovRZIyqY8TDxkfb2EvXsNKffqdgQIYWukb5GdehlKVbO6HuVT1qU9kCEyXp87nCQKdP3/lkJ//2CS/9pXT3Pz6Ojdv7vGFLzxLLwzZePCEgpuhUM6TxBr7u0e4eXkOh5w9e5bj3X0e7mzz/LWnyRVtNp5sU5uoqirZ+uNN5pam6HRHuHaBsTdidtlh6vJpfve3/o63H+f41Is53ri7R7uZoZI1WZzSsAyLSPf5qR9fJBMZbDySmprOwWDE8kKF1rH8vUtdKIM3CmgeHTNZLVKaquG4Lq1Gi0pFnh8psUD/Dg9wnQJtv0fezlCvVtg+8jjutPnYp1ZwDU2xDF57e8zv/73PjYbHhy+UOFNwOIhDLs07fOv2gL3HAR+5XGRyOoeptdnuZ2lu7XPgmXx0PqWQh1/55Z+n+oGzKgXV/cbb6hA7lK1+6pN95uPoGY3BMCQ77HP49psUXn4Jp9UkQiecmGaqOsdodxMvGeL0pV9qYjvCk2gSDvYIwojcU58gzeYIb36feOc+9sufJNlsMD5YI/vxLxAfd0mOt0hdV6ULs7NL+PfuK01f8YVPM378Njp5nJl5wsMt9KVTxPkqwfp9zL0ttPoE1vxV7LzO8K23MIt5ElFMdQ4VyCoODTXEiEsV3Nhh//W/piRg1Wdewpico33nXZzqhPp9Ndekd/0tKleu0H94k8K1l0i6A0Y3rjOszVJfOcsgPLHa2FI5zdbYfu87rHzxFxgfrVGqL7N767qq7MxOLNMdb2DOv8TP/tJ/YuAN+eFPnOJ77x/jxSMm7AKzUxnWjxq88zjhld85RbGgs/powOyZGdpbh6xv97h0cRorn+V4a49Rb8jKuTNKyecPfRbPiVY0YXNtjVKxqjStjx5v8+zzV9jb2xVuF5XJKv3BkFK1xMHOHucuXWJ3bw9/OOTiU1e5+/5NBeFaOn+BKE3pN6X736dSLjMc9pidn1Eb9AS4eO0KTx5u0O/0lNY4m82oFIIAN2VovrC8RLfbodVscvb8KXa2GmTdDMsrLr/zu6sqKdAJhrSbAV/83Dl+4z9u8F9dC/nv/8cXef+7m0xOlWh09rl05Rm217Y42GtRn6nQOjqgWjt57svCZHFpiW6np/63tynvIgfXciiWyxiuoYYjm1u7nD8tCtAjqaBLsJv2QZNKvUKtNs3G4zVKkxW0GHqdY/U+m5iZ463X3+GTn36RvpiXdrc4boS88JtDLld7OOUMK/UKO9ttLHtMvTbDX71yxGD4VeK9EaNmoJhC1sw5Bt1NNKl7YpIpn2MsPe39G6S5CdD6WL1j9X5PXFGzCuDNVe8c3dbRoi6hVceSRGvvkerKG4UySVTC1MekMjh3hTWTYMR9Ik2qnQIXnkLr7qnqpFGWJWMRO2rjG9L7N1Q6VOtsKWOPWGvk0p6pnaa/+U1Meb8HHoa8cwKxFVnohTrjo7cp187hG9Norbcxqk/ji7Upm8NxlvD9TQx3Vj1DdLkbOVNki4to/h6+WMdsB00GdHInkIFy2iYMBXI8ia5J7S9VqWl154n28Jq7ChxrVRYY7N3BNkOsRFPPHNtJFAtGK1zAiA9IxBrmdVXnP9Ejou6GepZHQYoWiqp4E2PyeXX2j4QRkF1U6QjdEuaRjxdsoSNnhS10SVqWLxEc38AwUwyVImzjZApqQ+4bRbT+DSJzEV2gJQJRLF8V3LRKoZuhcN/OMWy8ih7qmJXLaiOfGH1Sv4sjgHIBU+pFdL2DVj6lQHeWYyuAMVod/+j7Sl/u1K/QX7+JYexjV88Q5a5i9FcF+kEy6JLKXdU/xKwI5NSGwRpacRp/+5ZiQyTVc5hhg8SMFWxbWD5y6Tar5wne+T306hyJLdWQkEgq5H6ELuDpKGKc9jGFZZWOlb5c0sGRLsmvGQxLkqmSUkiIZSEndilxyVlyDo7UUMnMy7vMVdrC0cFDrNmXMVtvEGXmMI0UTRMIIAoM7GYKRJK8yk2odLowxHQjxCmcVp9nr3Mfrf3Kv0p1K1Xb9PH2qyDajIkreEFITi5QQYcI2doI/XuC0HukoFFxcxXX0ghzp1UsMbQnsKItEoFWZS9gGCHh4VuYmSKGXLbzl0i1PklvlST0cSSfn45OSO0CTDIdzGhIrFdxdB+/9T76xBXiThPLdUgEwuZMkey/qcjg7rnPKLKjeDzxPfT6RTWYiLoPMeSJlFlCn5APWVddzm2JhYpKw10hsWaVpz7JnRNQP8n+dRVx1QVmZDpKnyREfDMrAKaWIouj6ypGLJ5129IJxbkYmETya5t5IkXcbmNmJjEDqR00SCSOaRdJZMP25Gs4yz+MplcwMhV12Er9fQV3k/iNWVzGl/hr8Qxe9x5ZAU8FYlq4qRIPYRqSHN0ic+pnSIs1os59iWuQtPbR9QFG7hyat0ss8VZtQNK4jVY6Tyg930JCbC9iTz5LsvsKnn9ItvwsvsD+nGmcqXPKHWt6BwSGg5WOMfJn8Y/eUwpC3Tmr4vGGEeAkDfr7b2BkRMUIev0CZn+NyPexCguqMiFgxsAfYcx+DKP/Jvrud4kmPow98xKDV36CyoToGUNGrX3ytVPoxSLHTx7iGCHFC5+jef1PyF75EtrKjxM0bmPFh0rjkp0Qt/SIKGxhGDPEZhk3bDEcPcYtrBAbDrZpMGxuYuXm0Bxxmgql3cYtFdDbQyKJ5Ipbs7uLnY5OJnKlM9C+h3f4ivp1jOIiXuiROXwHZp4jFre4KFP0IvH4gFiSBC0Pwx6SHL5JsPMtLIHGBBKVXsEYNxVsSqLrVnla0eit2R8kuvaLKh2Q0oe1v1QHtzT3jCK1GqI86TwmydYU/T3Nn1V6neT4dXSzrCBsgbwEYtkImSDcg8hV6kvb38UbJ2Smnofj10nTJun0Z5U31cou43kbGMN9jMI5NRCQpaBcPcfHb2F2HmPUX4LKM8SNe4pNkNo1BbQLZQspv9/xXbJP/XOi27/HaPdV3Np5rNBnLC/hXEWlh8RDKwM5v/ajikOhxQmG9Nv0HOlok0jXcETBJvBPTYi+IwyjoHpWkTYmcctY7Q3SvFgodHTZWgoQTrF2TbRxW6krJfUikTFFRi8vKRc7bfECL5NkKhjxIemgh6fP4EodwLbUUCHsvqUc80L3l2h1as9gCugxeEKSuBiq+hNjjwN8p6IGDF5nQynxRJ+G7Sj9YBx1TiwTiYE4CQXmpzuO2oDgjQiGm5hTL0DQPtGvCRRv0MaoXlbaPTlUSB9conW2q5MWpzFF1RI0CKwMmmwzbBdTqg3Vpxn7KdboHppsmaM+Wu8RFK+d1FKSbcXN0DSTOJKXxrG6jKa7/0A8bhIv/SSa9wQnt0iQ+MTN93EnXyTVQ7TYIRblTKiju1kM11FxSPq30cdjYoGshl20wkXGxzfJV08rtsB4eEhm/pPo3XVV91CEfnkORccqlSKHnjQ/Ryrq1VBT/bVspkqi5+jvvoWrOAU5gsEhGSergKda6w5maQGKl6B3X1VX9HwVXasQ9x8SSOqluKL0mKa84JMxcTIgks9ccIRuVk9YCGJmF/J5KC/8jFIbyXYiFXuMvEqdrBrwCPvErz9N3L2P7odkRCcpHBXEHLGOk5k++ayNWgRWgi1DHiFPCiz3+AGWkIWTQNk7FKPFHWHkT8l8EtO1SY52MGvLhFIVaD8kztexqi+Q9CWlNMCeFN2WUH5XCWJhbFSUVtUXhU95FksglW5ORSiJI3QZ2A33VcczzsygNe6q+GrozGPJ5ykaKutF6toQCdxJopFF/O4jCQnhTF/BjCXs9jbZD/8zvv47v8XP/PKf8pM/WCeNTZp9nwePmiysVGm0Iv74V+osz+bZXEvUYDBfNBUbKOsI4GyV8lSZmZk52q0Wu1vbzC/Nq4vD0c6WilDPzs0rkrkfeWRzDoc7LbK5PJPzFYbtAUOvTcGxKE1U+C9/scUrt12W6jHXVjT8XJV3Xt/kMx+vs7oZMpv3+PKPzpP2LbY7sPVoldrZORaXSjy50yJXNSmXq+xt7yvKu9Qpfd9TWxl/MGBqco7huEehWmL/ySb5kvipTSaqJfpNj3TK4tRsmUw8pDvU+LvrDf7ln+zTbpl8/mWXdtPAoMdLp3PsDSocNpvMLBV4671DFqeFQeJwa8dj88DnRy/qfOXLKyx/+acIxzHm49u0hx3S3bFiA1lXnyI+2Gd8eBPHtBkd9sisnMIslBnubeDOnGewJjrFOfQLT3H8vb/ADDzyi2cZiZ40TXDqM6CNGbzzPoXJuvqciLUIgXJ2etjmmGRuEXMcM9hZV2Rru5Ajml7B8APMTJakNyQ43FBsmdzSNWJXQ+8eEx42iNKAwoJYMFrYxSr93TWl2syWZtSzLRaoYbmkhvHWWHRlI5IJgXVZUMsQP7iHvvwMqa2Rrt8lcHLk62dUbSYp1LCmF4huX1dDrOLZZwmyGcIb72DUC8SbT3CvvIjXPiCXm1LcDbP9GH36Kba++f+Sn5ymUl+m3z8mX8jTb7SZvjrNaGKB6atfYXkS/sU/mabbSnn7UOpOW/yzT8zyy/95j1kzx9/8zqKKHO9sRRw+3qM+m0E3BdiZJZNxeLK6yeLyvFJyaalJp31Mu9tVn/XJyQn63pCt1XWWz6yQnahgoLH2cFUtDIRrE4hKzjbRdAPPDyhPlgn6J9C8re1tFmbnGYcj4kjnlFRomse4bobVx6uqtnbuynn8ccpw2FXcnnw2x9HRoYLBTkxPcHB4RKlYoN/qqMTLtecucuP6I57/yJyyufzcL36fi0t5PviBCm+/28QPHY4HPr/4ozNML8vv06Xd6PHCS1fY3N+jtXnIuafl94zod7ukYawSAo6dsHj6LFESqkHIuSuXufnGW4zGfS4//Qyba1uqTjgae8zPL7C+voZtGDhOjr3dA17+9Ms0dqQ+IgM8k15fDDQ6GbEHeAkz8zXW17e5fHaZfL7HD/zqAVv9IV984TS3729QEG1wRufFmYRf+/ND3v3TL/Hsj/w37H3j62TsGKd4nkDzVCTcjDcUmDha/iyyCLc4JBXArnTKS7JAlOFzh2i4R2pnSIwqTnRIIOYVY5pUFhoB5bMAACAASURBVCr5WdJkSNR8ojavohqWwYLtlhknhkp0GeJiF+2qBONjifsPMAuzRIGFFQ0ZHX8Xs3AeuyJJ4T6pEatIvyEVUoGwxUO87etklj+DLoyu1vcwdt8nrX8ETaqW3W0F6hNTmWi5jcwyQeM7xM3HWDMvKtWd1MwiOT9GY8zcBSJJ3Q13sd284vAEvoebn1CXO/lZxpaB7u2jpbYa7qiFh5klyS2ie1tYo4EatBsShw/WVdVQG+wSpCP1jtXNGUxNI0oOMVQFs0oshh7XJTi4jymT15mraO1NIjuLLUyyAzEZyf0oiy6qa7FwyXmWKokkLY0RUekq0c4bODPPEMY22tY3lFrPkDNAdEgiYL4oxZBLqyO14I7Syaf6HEbtCvQfEXSO0GVTbkq9PEtSnEZrbxDEPoZAl40CwWhL/bxigbkLrD6zoPg647RIbI1xBi3GiU02L8k+h1F3F1f4B9Wn8Ro3yQjcWfhAAgMfx0TJnmILWFPPEw42FceOzIrS0nr9BqZjogs7wJiEqE/UeUzkHeJc/GmirVexjEDVUvX+tmIhxWK6ytbRInmStBQ7KiJLJEMuAnW+jOXRMvfUiXJ6tEeaX8QUgOXhXSxZ+FkGVnFFcZvCvVdwJq4qA15qSHrFJ1JLrg6GOXGio499VaFNpX6e9tCab/9m6npdxs4cRvM10qUfgsEmpigKDDmwCyUxh26MVKQ6OJCIy4yK9ie9Y+z6h0iSJlFvEy2zoEiMSB993MSsyYc0IewIFGUar7ODLl19iWFIT2OwowAaohYUemViakr5IJtFP39RKcVy5bqKt6dxG13QjELSFHelwNjyV6F3V+YlKtaptR7gLH+QUEA0zddg4kXMXEldAoWwr1fOK3euXpXDVxsnGBOaA/SBja+0NRrWuMDI28LNTmDKn7e/QWJNgZDNG28ynjxL0hcrgk5iTZDIhM3fIZILW6gRWH0soXNLX4UBmuaTdHQ0N1ERGVG1IDMeidemPaLcKQKBYFVPS1SC+PH/p7o+AjZMbA0CU0Hd3MkrRKMWlmuiCbFXLiIyHNIdRuMjbPmkiL6jeplx5w6JAM3yZzFLeYzDO/hpgUx28mSYM46VRUGXTnuxRrj+KpE/wpXpqZ4hLM4oWJUz3FaHqUy+RhyHjCXinheoyiGJd6g83gJtU1/2/jFyypTIvFt7Du/oG2Ryp/CMooo+Go+/hnbhC6SP/hP++nWMufOYg2PGXohhZMiVy3itI5I0xC0YhMVrmM/+MmlrFZrvE+Uu4FYXCdtrBI17uLWniXMT6N6BMDDUoAX5oLtCinfQgyHB4Bgj9NDyVTS7TiSO8kwNyx/gd56gSwfeNNRDdNzZx5k4rS4eo93bOFnZmOTR6jNK+xEnCaZ8Wa2c+jloodQ9dOzdd2g1VykLzFAu0xIODCz0TIBbmmTc7hF5MebZZ9Dt5xiPBzgZqXtMyuyJNCM9MVkmOxgTy4wH6xitVWI5sUceurlC5Aog8ghTNjmzT50kWhrbCu5m6jb+wZvkZj6uEh/h+ED1l50J8bDvYCGxdI1AN7HkuzzcVW53UdslzduKCK2LXULPYLYfgeg0xbxgi7ZNJ/CfkJuU7fETvOu/jGlOMAr7ZCfKiHpdPNqiUMpdfA5v9Q3Sy79EpnpZuYUTbwtDYtSRp/phwWCIU6krlzn9hlJ+Grpc7o8YS72leR0rWyWSfrzYACRp0DtQ//2pJj7eR9hWXfWkg+4tNSxL3Gn09rskziyQRY920CZfUDqa8OibZKY/ozrdoooTAGEi8Lp8XUgFqtetEyuCayoTV++IxK3iSrxs2MPv7WLkihjWPL7RJ5uRzmCoXlC2XLrjmEhqBIZQxsU/LzWRI7WUl8GDEYrTtYpRmcYYjonjFr5sbyuLijshG+zA65AywiycJdn7B6JMCXP2cxiN91QHDQF5tR6c1DKsgiL3iiUhjEQgK8YKYVH84wAi8BQUMrFd0s42VvEMkXjnhcbrZokiTbFOkuYNIqdGJpMhagjgr0AqvAh5XuVPydKA1HZPgKhC8xeAkXMKW3gnjXdIJ66RSvRSt3E0E//wLQwrIrbPKcNFVvcIB4dEmoAz5fU5IrLOUQgOGI2aKiYoA+Awv4AhxpT+LWJ5lrozaMPHJ4yEqAGjAVp5SWmBRNekWS6pvOziAHPcVZTbaHCoqmEUz6Mlwiuw1fDBlIi+bP3HB+r/TzIgKSwp8m0iCaDOFoZEnQXISFkNrDHmSUZ3VDxSgJwSQSYISOwOSSDc+wi/I9WiEk72FKGuY1q20lulaQvdOyYtn1MwW2FD+IfvYJQvq8+0gDXlZ2OMQ/zephr4ykBcGzRJ5e9B6jyRpuL+0mM1a09hmgbx/vcI7AKam8eR914iQK+MirSGwROlzJQBTDh4jCXU5HBAFAqo6Bzh4D7pMFHJlsTQKUVN7Jc+w5cufZoHxzo/8GKGZtNXoMub97aVRu/g0GP1/znHuFIj3fK5+2iTwB8qne3sdJ3hqK/MJEESkctLxSDEzVc42D2kPJFjfnaGe/ceM+wMOHvxvAKLdUfHzE/Pcnw0xLYTFi5Nki/W+JVf/S7fvh3xMz9WJpNkGAc+/XZMd+wxjiV5rvNvfvEzbD96yL0HAhNbUluvfkdn+lSNvbUtlcZyMxaWaHYNk8pEXtkA9rcPJKBDpT7NwBvh9XzmF+qMYjh8ska16DLx/9P03kGWped93nPyzalzTjM9cWd2ZnZ2FxuBJUFCFEgBBINFmaZcolSCVDZlybRN2XJRJilQZVKskm0RpCSWTEqmKAYARCIIYAFsXuzO7O7shJ7Y+Xa4t28OJx/7/Vr+A1Wo2jTTc+853/e+v9/zTE/T2DlgvFLiqx92+BdfaLB3GLC4bHF5rsJYOqLWGTA1I9WHWM1jNrYbfPRCgYMjePeOdOET+obP7/zdq1z6uU/jvXUTe6ZA73ad1tqrFM5cIZFBmQBWQx1fItGdffyBR3r8DHbewWjs0homZE6cxN+4TafeJZWzcC48S3TjLaL1R2ReeJG47RN2xZedJX3iCeL9+2ijswT3rxPJJk3ec0cHKl5qVMax8yX1/k72dhS/yDR9shefx6vt4kdD7FBxxum+8S6FF54kV1lksPcIrzdUEN306CKx5xGWMrjNBsWzV3DffYM4m8PK5ehXH5I/+Rj64tO4b32ZeOcOzuLjpD7yMfrvvk7U3Kf8/A/R31knuPshfn2P3EufJrz5uvp1R6J39iVlliYz+hhuaws75TCwxMYTK62r/LXg1ttYy8vo06vY3Q6DnS3s2KChQ6V3QOYHHmPv7W0++xvX8coWOc/m0O1zcarA0SBgtgLf2R6gNRK++Lvn0PZ22djoceqJ02yuV0k7OTr9FiWBSEeRgu3J5j2VMqntNNWfhUSvTc1kdLTCTnWHKEqYnp7FD0P6tSPGpqfY2VxnGMLi8hyFfJGDgz2V8nIHPZxUmpSdwg0H9Jp9hv0BKcdi6A4pFCuk0yk8b4CeSTM+MsLevgz7I3Ll/HEyst3m7oebXHj6lLJjtdodxmfG6XeGzM5XMGOT//T1u3xv3WPCiNjddPnUZ5b54Hqduw+G/MnvPsdBZ5M7b7bxgiOuvvQkjYMeBzt7nH/yCi05M3shuVwe1/N5dPcRqxdO0awf0m50mZufV6DRdqONk0vj9jr4w0DFkKfnJjjYPyCdyysTlOM4NGstXH/A0uopmq06mUyOmcVJHt24S7MxZGI0Q9OHUyci3v8gxwu/usUnn06heb6qy0mprDBl8sW/qPFXnpnm91/7Ls2XP0+Sy2Drs8r2ZSRSl9TxJE0p8HL3iKE9q6LamreBWT6rwGtJHJAIiyw1SRx2CE1LMWgQC4xs9SPhIORVKjQSDFJqDC9ooXtHiPc6DANl4LISC9+R9NwYBNvHtcLgiCA7inW4QZKWOLs8exfRDj9Q6mGxl4mxSpanSX+HoSRrBbxdWGBwcAdH6PlBX6VEJcUaOjaGH6mFScpKE7iiLjQULF2zJRUwQ+jtHauFE4Hf7WHIv8+UZe3+cSVCIH2JphhFQXNTKb91TdhVKYy0sG8eEInJZkTo+n+Gs/SjRPKu330Zs3QSPVOB1pZaRiW9DQXqEwObqNoNq6DeB9awjSbwPTsNR/uQm8PMF9BkC+/31V1EVHpG+wBj4gIikDd76woWbRRPomsHuPe/jTVxFbN8goFS2GZUKlRo/FH5JHp3h7B+E3vyqnqv+s0PSNq7pMvn1RJDFrVycZc9+SA1Dv27aP2hUscHsYOuZ9EYqgWcDAW0KCHQXSxzXFVjDan0BiFayscwK8dQxRiVyhPznSQLJL2uGXmi7jXMkqSf8wz2voadX8KUSoVRw92+oYYg6eUfwBu9QHjvD7DtOexMGvfONzDPfZJh50iZ17SZx1WFN+pvYPWbBIYovEfAFJPFIwW0Jb8K/UMsqUsmEiYdw5Q6gJ0mESOQJLTd4fFdx21iGWXM0jieLAbSSxjlKdzNd9Xl38yMYJcWQZNUdxOdElq/ilUSYGUHrf3GryaRdFsys5iyjUilCN1dYlc6bWPKgWxkpPNyD80sIbMxidN44iLPponNKTh8C0tUR3npKdbAKdB78HWc4iTm3IsM738FU2Izo4+rCZIA1CJnTBEZBW4XyqFW+ooCcNNCpVrJaT79+gdYxVNEpnAn0kTZACN9Gj84xDy8Q5iexbQgjGXCM6F61dg9wk5A0rqNM3OO0BdqfIzRP1CXrWTgKzUD+RLazMcUuM5S0CdZGjkYsWwOdnCSSFUZInHzxg5+sYiWZLG9Ia63pyZumcIl/Ma7xINDBXUSbZapd0Bto6SnCsG9r2FOrWIUL+C199DDJnpxGbLi+m4QDaqqDyk9aF8uSilbOUaTrktieiT6GLHAK2S5I9qQSBIPfTQjpS7snpEhEeDY4AGxXIDiCGN6GSNMkzTeRxt7lnDvmySjl3BcFz+uKwCHLdBBicTqFQIjRqtvHuvH8idINEfFV6P9N0hK57HEAiGXEXGZCrvAEgJ3nuDwa2SWf5Io0PE2voBuFtRWLJ58hrj1HfTWLtbcs7hdm5TRVx9s9+G/x7j3RYziJcxyFrddI05p+EeHCsaoBzWSTgPjxI+hnfu7BK0HatpqGFmicICh5RVTQWL9vu8R1N8kM/E8gVgfxIPpG1iSzkhXGAaBogMLHESsDGKpIFXGkN5QKGTrIXFulkho71JrsYZEw1gpHSXqJDTxJNZUTNp3JW41QqRo6jKhzxMVLxGt/Wui7a+Qnj9HsPWIzMg4gVYhkBRF9xGxxKXzOmQ/ilZeQpPPuKUR9lqYQvA8EqKpTThyiayj061/SEoTgKVobmroVqyi6+Fgn6B/hCOdY4m2DY9IF08Ruk2Czj1iYxQ92lcvPamUxO0PMMy8inQZWqg8pvJnLywIq3iGqPZ9dZmwKqeheUg8soTtdfGDrqIka+KXr7+JNv2M6prx+j+leeca6VGT3NRp+o0dItdSgxJnMs9gax/DDkk++tuY/iHuoEVKLsmxhSkvD9EcDo6wSleUr1ReeqFEzfs1RdgX+I50nqUDHQ1qWAJ/kYjeYE+9rKSShMA9G/ewS7L5GiHpdNTFVpyoEQJyWlD+XcwCenmauL6Jnx4ljSjR6iRZUeEYRPJy8zzSExeIROvnZAkGcnnsKwij4VYJwiFxOotlzai/x1S+2AaaHohdUEHyNAH35WdUx1zP5kEUNAJvE8e8pBFE92em1SUpsizVWddT4vrNEvWbCswSD+UFvkQgUM1wS8X4JeYb1N/DyKTRcyvHGsTOFrpoCQvjapofC5k51vEba0p5aGUzKq6na0MF2EQOJ3FD6XYCq4CVyxN0BKo4JB27BDlRGKXx9++jT6xiyaZAqNSSMxdYj5PB8EM0Ywi5JXry2ROXsiXb/ob6LsgzIewcqAm4JBlid0AqI5aAe+jyIh+9pBQ5id9Vl2bNH6rBRVbsDtqAeO/7ygwjSjBTDsfeEaawTPITJI6B4Q1w+33s0RPoflf1MyM81f8PZcuTG0MfdNH0Lnp6RSUzxMAikUMxSsh7KvSryhmcHL2BljuvPldh57baOMggNfaGKkUgL0tr7BlCryNeM8zyM2qDaCdD3NYBztg5taUTXWTS3VRDFt3KErh9bE2qMJKiqKARoUkCSF6uGU09k013C1+XZ+MMlqYTcIA+7BKVX8A0j6DdxvVaqjJhRQOGzgpZI8EfdlXyaLj1Ogg4VwbYvbsKvCqq29gsKFqwMFjEDhH7fXSthJkr47p1Mv1t3CRQh9zQjRk5+Rjd4W2WF/4Rl04X6Q88Tq5MEjYbVL0he41x/vlP+/zgT1zkwWt3cD2Pick5Or0WuWxORZJvvH+D6YlJMmUxgERsP1wnP1JkdKyi1GWS7gvcgFTaIUgMRoojbO+vK2iwJAhyxSGLj4/wq7+yxvVHLv/w5xd49a0dxkbnaLYPyaZtrt3yeHzF5G/9F/N4rvTz77OwMk+3P6BYHuPendukHJPTp85ycFRj2I/IZ2xqh3LIT1EQHagW8PBBlaxd5OpLF3jz29/j3IVZDruG8t4vnJqiUrD5F//+FtfuRPQji0E/4fSyMB4i+sM+VtRnJ8qTw2T3yMUpwU89v8oH97b51usNPvvCGD/5s88wuVCCYaz6we17Vfr726RXH8dv1vAfvUfquR8jb8cM9w/wq9s4toM7N08pHqoDcf/giPy5C2oI51fvk2zcw7r6UYyJBfXMDI7a6N0WxrCHfeUp+g8eIE2jWAZPjkZ46y3SK6cIZPwsf6HZwCoX0AQiK17zziGWnGcktKTZdG+8Sfrx54h7RxjjK5jtqmL9aCvniO58H7+6SWCnSZcnSWZnSdbWCHtNsk+/RNxuMNjdIH/+BYbr1xkOhhTnLijwn8CABYoW3foumlFGK1UwZk4wuP2XyqZjmhlVGYsFdzU0sW2wT4vSUGP/L75I5cR5krFxOu+9SfHseWw9IRy6hJGBJg7x2XnqX/4C6XMXGbnyBOGhROA16lv3mTz7OP2hy/In/28y/98fx//4V8r89ss+P3Z5kpculvjdv7jPB1WXoOew9o0lYip876t3mM3rFCbSRGK0CVx6dZd+1MexUsydW2V77QETk6OMjk2zdvM9pQA2jVDF7yvjZYpZk+2dhgL/Pbx3m5nFOVZOn+WdN18jnS7g97tI6G1+aZGtrQ1OrJygerBPoZhVZo6jw0P12V5/tI7b7jI+MU691aK6vseVj1ym1T5iIJDtOCJdLKt3jzAuhIVhGIaywXS9AWbscPbxZf7pr7/CYZjlo1ctNh7q5DIaX3u7xV//WIaf/swCWwc58lYbPU6zdn+dmckR7t56wNKyQENN6o0GZ8+fY29jl16vy+T0tOIApLJZGvUjxsZGqO8fqsGzmBN6rqvUtKIYbDVaanCytblOPPSZXV0hTiI6R22VwGp2usydGKe5VWN6ZZXb71/jyrlpissn0D7+MhenTH7sSppX7se0mj2mxvMMogHXbvn0tr5CYPZpbNyiJNWv6UmGhwWcrIYnoGHkrKwTJiaGnGv9rtJ6G/kFwsGe4pHp1rhKiAXIcqcJviiyM3iiNUbHKZxTYL9Yzl+uJCIaaPYMuhGqxZYmkpuj99AFBjvxMaXq7mx/i8L8D6oalTzT8Q9IFPOsoYCplE8QS5I0vYAzfpn+wy9gCytn9qMqaSDvL89fJ45Kx7HyyqqEjWFQxcqtMhTmju5gZBz8joA388SaAGdPEEc9on4H04jUItLUPfRhQCgpBssikFSbVVT3rXD/PTUktM3pY4ub5uM3H2KPXiXs3UYnA4MWSdZCk+eIphN2GqJ9wSmcVmlRUfippI8A3AuzhP19ZSeKc2eIAqksX8PITaoFpl+7TiQViJEL6meUSU8RmrpKCQsfR+5soqjTMnki55jDJLBmR1KhUZugdIpEljv9e5jDHgElBbSTJKgsoNXvrbZOUhzD1GRBrKM5MvxIofX2lcY3cWawJ5YIj/aJBw+PwYlyB0sMXKnWOmXstCi47+BLYstIMPJnCf1DbDck1gdo9ihmcZ5hY42kuU5m/Ioa6qiIvYBVt17Hmlkk6UZq2ZVMPAb3/pK4vESU+JiNu0rbmGhy/rlJOPIjWIOHJMNDdbGX6povpqpMhqT2kCDuYpdPqzq9PbIi0yi0jiRoZLTUUue6uPXg+Hw5eo5w8+vKeqYfvaeeBVZuXplVjOYBUTJEz44QRTZ2uqBsXJos0oUu4KcVq05rv/3rYoxRl0rfrWJVHiOSPrv0N8wR1T9RjLLuA3zXhcoZDN0h9I7QhvsEgybpvHjTxwkEVOcPSOtlopzAsWqkteODkedLTDijNnGyWfYFzjaQjo4QX3QFfQjFDVsSeqSlJklBdEgcl0jsREUhxYcrL2W5LIfS+xvsHlPC0ykiLSLsDUi6jxTF2sxWcDuHOPERAy1NSro3rTt4gRxOZkB+fyMX8BPx2sumWJdnBInfIS4+gR5uqC69xFjCsIFTPKl+sJZEawX2JJOaYU318FLjq1itOj2BW3SqGMXTOCPjRPX3STInCMxR7O59AtvAlG5zFCmmgpcckEnP4WVHiGt3FDHSyM8xqF0/ppp2HxzrtaRTK9FVK6N82AIujA0NIyuby4EiQEfWOHZxHm/9a2paSOUJ9fOKxcHptdFMg1B89KnF4w6x0LXFZS3aRYnN9jfxtQmc8jT02wTCNugdkp55gUAcq1FH6e9irytDV1zxxtc+xJg4ryI4xqCueAKBGeNYsnWeRZd0hu6RpKaVjstw5gj1Nsnd38etV8lmSvhGBH6ihk/G6DxRNESXKf9wm8pLv8pgEEMgFY4ZpQ1MaKqekDg0o+b7aLJFKE8RHW1iO46aREr8RTozMogxmneIMtNoziiDYJ9ULB0xiZ8Lo058pDWS/Aml7LDcDoFoskafJAwSzMEagej5QrEFtEiNLqsXuumt42s5nPICgw9/g1T3CN8uqKnasHoD3W2Tf+lv0771HyklefyFF9ByH1FUWOk0e6Y87CXe5BAMutiWpvR5vmj+4gG6+N4TT0HohLIvU65gsI8pvyeh84+dQQsDNXjyvQ5m3FXxM6W6MwpqKpz07mFMPg/hEVF/gDO2imZMkwhV3u8o1oVcvoQ54b77K1hzL5KUL2P0rmGkThBJfz7lEeSfQX/0OcLqe0T9iHRmglQlRafbxdLyBMMjNDn01R+RWX0elv47gv4tNFFqBsLFuHv8/1WUro3mSrtxoCCZum4SdNbU1FIuaSoyL0pBiXynRjH1NFEsh58ALYyIcmXi+l0k6JeqLBAIHKW3RpJeQBOwmyb//B6mkGv1tIpOJ34DP+goOIvWf4je7mGPnGCw/w2YeAq7s6sIwQICYrBPqOsYzqyC2sn2Puo9whIYTiKf/zJhap6ULnTcA7zmIanMMpo5xHW7OCkB27hoKaG+9tQ0Wza3AlWVwxq9BnFxRm2spRupRRqmHigOQzQMcETzk5Khk42dNJWuRw4C6nkoPI+oip5ZIQkNvN4dFTuXj0jg99GE6SDDrShQ8TS9uIQWCZAuUM8DR3ghUUTQ28YRgn3k4NAnGjSgfBY36CndYpDYWK1bxOkRImcS3E1MfQotV1AHLDwTzbtPbOpq4BoLLNEuSBhGpaUkbigXPzEFJIa8U4T8WzjuIsp2PlNWmsN+Zx9bqk+WjSGAuu6RUgeSnkWTF52VUs80edZE7p5idATyPtIcIom4NW9hF5aJUhUF2RFDhAySJI2rAHyALjpJ0StJLaKzBdNPqqGzkfSxc6u43U18cUoHrlI9+SmHRCorh2+iF5/G0PeOo3VJ5vjl3t0BiY76phqa6JISqr5NlF0l7K0rMKAAoLzadVUJsbJygR1gZyrEkp44/L4i9EfFs2hiLBAYrDAQ+o/QEl2ZVWRgoo0+QyzOX7F1CBhI0iDDBsboxwgTSZJ4x8YOYVfYRVU3E8BWpMkmwyDubBM6aRw/gpyB2y+QykdkFlb5bz71c/zZa3V+/EeW2N5qkclmOH/S4I+/vUfsW9z8w/N8+Yt3WV2YJl1IGHRCvMijnC/Rcz2a9Ra5dIpMJafUThLpr3UbzM0vQZiwuf2IbCrLyTMrXH/nAwr5tEp4bd9rc/m5SYJ+nX/5x23qvk4xp+E1h5xbmSNbHFAupfjyl49Ymhryv/xvP0j1zgbdocajmxssrcwSm6KNixgdGVcVxYc315g7sczqyiKNZpO9/X1KoxXKxQIfvn+HfL6ClYrIOEXq1RbZskVhJGZuJs3b72r87c9tkNjyszR4bFlnZjzPzkGfwyOfC0tFlf6YXRzh5OI065ubfP7Pd2m2LKZnXP7hX7vEpz77KRwaHL23id/qoE2ewg4Pcff3qPzgJ+nfuEbv2hsUL19Vmya93eKotsfYUz+MXazQ2rqPVSgyfP2bZAtZ7Kc/Tru6jSXaVPmzywq8wifuSSWvSH/jPvrJy5RFbbh+Ha/dplCcop90sEWhfO89/KVzjJx5mvDe63iRS1g9IHf5eXq1TfyHG4xevawMS70Hm2j7a6Qee1alBHqv/zm5k1eJshVV6dIk3WNZ9O/fJHX2aQa1bfVss4LjOqR19iqNd77F+MwUfdvGe/8VRi99ksb2HbJzpzGnZ+i89U3c3S3yErG9+CyW9L6P9tVzb9jaJJufI8rEhIMAe2IezfBw+z7ZRCMYDtQmOrMwT5KeYvCNPyBO2qRPPkP29ON0G/u0v/clspNL6OkR7Mwkuewmf/7qA/7PPz3kZz+1Qjny+OLNI2496PNzf3WK2+shb6yJFtfgtc8vExgRW2td4iDP2Wcv8PX/+CVOLM8zuVThcLOF3/PJTJTIZW3W79yn2+4xv7pMsVhWw4LQ9Wk1GqSzWXx3qCLxkmhzw0CZmIrCPPECpWP1XI+R0XGGwx771T11sZ5eXODaG69z/vIlkkhjZ31DygRE/wAAIABJREFUwWeLlTwZJ4cberg9iSBHTExMqm377Zs3qJTKdBpNJuemaTZqyl//+JPLtHfb6jzxS/9uh1IqYbZikCml2FqzedTo8G8+d4HG9kMGXpFcySA9Po572OTmjbucOXeSXr9PsZClJ9YnS8MxbMV4cRyLVl1I9SnFITnYO2BqcoqpFRmyaty9u0Z1a4/V1WVVfRArmDx35+ZnGAYJKU3nrdffZ35xgsVzJ3jtW29y8ep5ev0GydDi8Y+f5PmfeoWjvsGT5zP82es1njpdoGJ6DPo637s75Pc/9xN86hc/Tf17H5IuztKqXqdw7hMEm++oGq0ofslPYUcW8eCAQPTgzR0sWUZJx7q7RSxgW2EA+CFR+8PjhaSuqUu4bJ0RWDQ6Wm5FgaeFvSSk+zA6UBwlo3QB+g1i4VsVJlWC0w8DTHMGnSM1YBMeTtQ/UoR63TAxnCzewQNl2DJHz6llhiacGM0UdBNk0oSdmvrcGHJu6NaOa146SkFIkFZcAytlExx+SCSKXieNWZxGa0lSNIedW8TrtNDtkNAYxWjdJAoa6GPn0XsdxUNKDt9Bt8eIZGHY/UDxZYTNJOeEcO9VksosBMJd6qmflzxPomhAKHW2qSvE3pZ6r/r1ezh6X9Xr5L2QEiCwpOcGHaLiaZV8Ez6X58rnRceuXFDVViMOFHPIkDpA2Ma3S6RliNCtq/olMjRBU8MX6u+qf2dSuoAhy6yDV7B1F3/2p9Aa9wi7H2IK+DebVzpv+f4biUYkrCupQjrTGNqQuL8BUkssrBL2d9BSKyBQe2URGxc8GnGYIvJ7ahkXDbZIBAQsVH2npKoZSrkcD7Ayk7ii09UCVWeJD9cJcmWlsRZAYNxcQ9eH6r4YtPYxJk6hSZIy1nGbH5Kx8ypRoSUpwuaaSg+blTmVoiSK0Ns1VYk3x04pPthA7BGj59TGXioBhE0M5B0fq7qf6M2FU6APBoT6EGRJVXmaOKgdc4icSfzm98lmJojcNt7AV4YyuU9K8iAuTEkQHa355q8kycF7WFOP44Q+bvk0ke+itW9DlMGQnkvcQtOL6tArHRUtNaXgepblEesjGKI169SUy5B0WfnmhWaeyi8SRS2MfpfA28PJFon1HPHRbeLxKzi5Bfr738Ue+wiaaDL0PIFpYLtttZGUA6P0oUURZWWm6daqWN5d7PGzBLoQl3dAui5OEcso4B+9jUWeOCWTbonrHqLrZbR8EWPQUtNBAQkGI6ewhlViUS8FPXRnAS1fRu+vEbgSnZklcreJzTGc0izewdvotjjEA9K2bIMPifoH6tIiXlC/dwvdNbBmrxLVNxkOHpKbeF45wrXeXWJRh+BhOPMYg018Vw4LF0hZeXxzCn2wSdB5iDF+USlAov59wiiHkRlVYClNiJDdbSwBPclmWQ7ikg2xHLTOIbGg1G2JzW6jMUFsDIibd7DGrxDJF04TuOGRulwZZelT7hIfbZJMX1aJi9htKpc5QVNtAB1xoYZDrPwYnb3r5Cc/oqwNdnaEQHo9/h5u7RHZyctqA6UGJ61DIokDyWbwwR9jjJ7BHLlAZOQxdYe4vYZfHiGbWaL/1q8R7F9XEeVE03ByttpGRn0XrZAhadQV7DH/5D/Gy51HD3aI2/skmRk1mYzcXQwnrYY2SXYULfaP+9GBoyJJlkRUW0L8jYk1j2xugsgfqAiQ0Ec9gTUKtdSX6NSQOBIeQ/cYwihbSH2EODenNsBmVxSZ6eN+sy5nnxRxNFSxHUuqI1v/O3qrTSTb4rQkGoR0PIU9dYr+vfew+3uEeQPnqc+r2FwqOcI3i+Qkcd6R6eAlPMsguf/7qk5D/gxG0MXryIViRJGS5RLo+z0sAWxaAl4YA719bLBIF4nlopaInvM+pp0msKYxEl9t0GVTbMY13NY+mfIKvj2BvvsVBUszK1cY1u5j2EOV9hkOhHabww5yBN4trJOfIXnw2wxf/QM0vUBSGcMyAgUyyqUyBP4Qq1Qg9Ls4ehrO/SzJ1Ivq1xEL90A2z1ZFOVvd3hZWagTD1AlE8ZeaRNFKNJPY3yFJxI36IrQfEAtUMlcgChIVX4/jBvgaSaaoYpixDAT8LkEYqxh/Oj+NnlkgaF0jzJ/EiU3c2qvYedkuywbeBQHm9R8eK3NKH0VvvY5eWSBsH5JkprF9Sce0scQhzBhW+xpJYYHYFy3kiMzsse0KoShQRRNZfg4rOlJkWd2cJC5UMIxRfLeOJvYPqdBYcul21fcDu4LZ2yL6/9M14u2VA0Z2RoEtdSHyZ5bxhncxtfJxLSPooPdrKr1AZZm4dI7k4BXwOtiV5wh6NxQzxdKFmtcjFNK8OHmLK+hBQw1yNbOMJsySjmztB1jCQJCXkLchqDEVTdZERTn5JCnhQ0j6y7TUJTMKstjZtEoVKWtJWEPPnCSWeoj0zrVEXVYiV6bNFnp5jqhZRS8UidPjsP++UuDJBiL29lUMMc7OELhV9MgmPXkRv/oasThw5dCmZdCketVZg8pZEjn8yiZGhlYjj6mDkxY0iOXQFYdEoj0yCiQy+CKD5m6C9EclyqdryoUey9BHK2Bn5kgEuCfbNNHV9proo2ew7BT9aASr/Qaxnia08urnbw2uK11OkK5gZ0Qf2CHuVpXaNfCqxP0hdjaDr+WxK6vqeSuRTEP6lZ6ogjw18IujNpo8g80ZNLeP6W8T5E5j5Yr4B29jF4/ZELE/IBJQmz6DE1XxOmtoc8+TtBsqWWLbNkHnDoakTOQ9KpWN4X0V/0f0g5LKa9/GThtomZP4YvbJFdRnzNEzhN4hqSvP81NP/9fcePSIq6dKCuJ4Z6PN8nSW794J+VtX0vzmb53mzf9wk8xYhexoiQc3HpLNpZS7/N6H93j+o09x/R2pDoVMTkxgpiStZNFvtTnaFyWrxcqZFTWAHbQ7WNkxClmTbmeHExfO863vbPEHX10n7eicGNMVYEsNO02NN9/2ePqKyT/6Bxd48PaBSs8IrT415pAxC8oTXq1uMTIyQeB2qB+2WDp7itpBjerOPpNzkzghjE6W2T88IPYCRkYW+ItX3+dnPrNKZibLw7cO+fnfaPKg1+OvXszx7m2X02ezLJXT7DV3WR4Z59G+Sz6xODefZmYswy9/aY1ZO8/l+TQf/9icik9HUwv4b3yTICoSWgZBfU99LnvVTUbPXkJLpRXjpjx7Dt9I6K+/T1a4DEMfO1uhd/8a5uSUGhplppcZbt8jkQ3Y9Fn01gFeo4mzOE9U3SXOV7DnlnE/fJtofwdj4SSRYZDqHOFNnSRv6WjFHP2DKqmhgXX5Egdf+LekR2YJul0cr4vp5OlNjSkQq92rYy+uMjzYI3f6In63rwwhvQfvYRRnyIyPEcqf3amzhI/WVI83qO1grlzEONigX1+nePZper6OJbAsY5LujZfVr6n8/CeJWnU62w8pzq9iNuv4oyW1sY6GbZy5c0QyoN28JjgUKKbRBjH2/EnCegN37z6pxUUGvR5GP6C/vYtzch6rN8RaOU1aYIzf/qpKOOSzWWUQrzz/AsMDG/Phe6SvjPOP//s/5XPfafMvf3yUKGPwhe/0OH8hx9GjDsWxmN9/LaRoeOx/7SP4xVG+/vmXmVguMZXP8O7tKk89d4699Q3295rMLU3QqXVUv3dyeu44pRlrVLe3WD27SlfAtMDRYY25xTn6nk80cBkbr/DB2zeYnp9Uh/ZMLquqSMNuR51Z265UdWIyKUt9Z/LFMo2jQ4IgYn5hjt7Ao5DJc1TfJ1PK4/VdOq0eo5MjBK6nkondjlymNBbOztE46HDv1iGf/nuP80e/d5vf/mKXH/8hC7+XpVzWeFjrQkPjf/7FczxY28bQpQLWJ1MpUS5VWL+3rqoz5y9d4OW/fIV82uLUmZMcHtapHTaUXWtyfIpMMcO9tbvkUxkqUxNsbmyTzWWUWWJpaY7q4SGFfF6l1N5/8z3GZ8dwbItCcYQD0YYedHnqxSew0w7f/dJr5HMZTl3Js3tQ5pl/cp9L4zHPXMxzZ6vL0LX52Hmb//DVQ9wcbFW/SfzwAQN/QPXV77Lw9CfxU3L+qxPJe1xqdYSq8x3GRWy/TZjSQGpWkhLOzqiOuR2JJUg4NxeVrUwGW2JC0rw6ARWVdhALD0lLOenlkilgYNtKgdiNZMBRe4VI2GDpCTByWMJsEZixphzSJINDTInga7pKiiVipdn8c4bGONmzfw1dlnDhkaoACpg3kjOMXFziJrTuQf6C0tQK90zLFomkGqY7Kn0rlztt720i0XLmBQAoXJlThJ19DFm4GUWC7iG2pDvDDlrSwIhzDMwsaU0jaNyBsafQRfnefJco1NAkLi+WrtK4guFFfbGUeZhSNVDD5QBNdNlWAT108QQY6bZJ5VYIentqMZc4o1j9I5A6VmoSSwDLWYFnJuo+JQk4b1jDkpt3ZUnVxsPQJZsdw2+ug+iPsyXCw1tkZEstQF/5MynOoTdkWHoSSauL313PCfQvwUxLbXyfWN6tKRmOO5iV8wp+l3TfJUgvkB59THGoEjfElMSm1JwjF7t5DYqnCWqvqgSGNXlZCuvH2sHiaZUOlE27X7+NKYaDXIFQzgDlVWXpEYZE7IQY8n4VRXKvQTJyUg1oqG8TG/4xf0HMPhNjhI2HRI0d0uVzhMJiOnoV/BRhNkWmME3gibpczgsmoaR50xNK6ziov09++acVVDqSJVVk4JjmsX2gNIvRa+DXPkArzSgzSHC0hyFA+2yFSBhT9S25iCrTQ+yZx4vFqKdYE1rju78sJh0Cu0TSXcPMzyndWSKX1LEnVdTdbK4R5iYwNV35CI3SAn7rLk4qh2Yex1hlcyPRUaGMS2RZOolJ7JDEXTLZGTxRKYwsElffV9saIT/KF9a0ygwHAl+6TUomVd37GNkpQsPElC9caOI3bx33tYV03jwiNbtEGE8Q+03sVJ5QPPdhg1T6NINgoFyWQgOSSKtQyDUnT9zeJBLae2pE9VQFnJNJO3ipEpnSPP1GVW0cdcvDb++QLqwSSFgiScgkPXrNNUw5bOUWsMIhoS0E+ZSi9cvEy+/ewJIeR+k89PbVgVk+NFEqj9kWx/ykAo/I32N7+3iBRdD9AN0cBVsnEU1Wbhn/8HX06R9WW2w1LbPHQYCCoaQdpMciKjeNSEaETllBPbTuAzTZGkQ6gTZUxE2zfROKTxDHQ4L6dVKTVzDSswz769iJQXx0V3X5pEtkj19GcwcKUqWPn8Fr7mE4FnpmGSdYJyCtKNqW38PTA/TcFLrbJ5DornyItDJe9ZuYpTGckcv4m9fQ83k1QDGyo/R3voVjzWOWc+piYA4Dhtd/AUsvoEmUOw5ot7pozQPSSycx+ibD5m0KV3+GePbTqk81FGiaLmT27HHVpFsnVHH6orpAmtKB0gz81kOcdBm9tKrAhPFgB1MAeoNDot1XSS1+XB2Y8R5i+AfoziKd1nXswnnlKheNhiYPC+EZ9MEujNNvbykOgkURT8BpmqNcuX52HuPmr9DfuoOTLajNKnYar3uEkS8Tt3eOX/5jl4kWfh5tcIvQlQdGmiidQxvuqImrUXwMb9jHzuYJ22vKrqELAFB6WXEPS0B3QZcwv4iZmiSsP1RfaPGhhqmsulh7w4aKxSZxQWlERJ9nxAO69SNSYzPo/j6RJs7aJonvq6pOaOkkuUnSMvEW5ojEvJZ/nOGD34Tpn1CxS+31v88gzENchLJJKpuhUJygvnlX7juki6P4nSbZvEM48xPEKVEXeviiJxQsm9vFGjmDJipC9yHkLqJH8mvfJ04yiqSeNLbA28YYe4rBwWtY+ROK/C9JACclzwJHhsPqoieXKKlVWEEdHxlYzBII1TCRB2cAQ3HkSrxJakt1AoldN95REX2XURzp+ZkRhiUdbJNosImeLTOo3sQZPaEitInWRKvfJ0kvyz4Ao7ioYGi+38bsvI9nTeNUThN368ewFcMhjGqKHC+kbU0+OOlJxTTRw0D5h4UJYgw3jjka5VWMYYdQIv7y69h9GTJZFdU2e3LxsfB9AXZlMfpHJJlRxVSReJjpzOJ7+yTSQTMCop7ABk10w1EqPN8IsCRx0doWiaoauAg7IJYhnKg7h1USt441sopmT6vaQ9C4jZGdUTFCqXgZlfNE3SrWzrdJpp8gyIxiR5oCGcUSawtdosyUUrcmfh8jlwc5JIkf1yiix10C31I/Z4FDJTLEkYixgDE7Qgs2VW0hkGGZPM8EtOn1SETJZxlEtVtoUYOwsIzlNhRxXjpQsVHCFBe98A+8HXy9gpmJifwUlqgikfqVHMdjHIn9Ww5xZ+OYt5EZV+kQqYtouVlo3yHp7kNGNgm6cvH60i21XFLlM8SP/oh46q9jdO6gRvmWQeyMoaWnMMMj3KMHyiQgse2k9gaMXlAwKKXQFWBjdx/DymBax0klAbdF0u2zc5jDJlrYJUrJz/AQnFk0zcDrb5DOzsNwA98aJ+UKyXpAJICl1Dxu7z01KLXsswTd2+huU/FVIikulpaVglCAvphFos2vYhUuEpg5lTgpn3uR6u3XOfXRX+LqpK3qduOTFo9225QLOV651+UPPzvGDz09yauvrXPisTHSVpkPrn1IPqUzNjtLp9Vgfnme2n6NpdOnlSdcIGUzi/M06w1Vr1t57DRh4LMvbnjNpjkIGSuHLCzN8T/9s/dpdRwun9E57CUcNENmKwL8NFirmyzku/y3P79AlGhU7/cxSpIojFlcXmBz6yH5/Cj+0JOgAbubG5x/7Bzt1kBdLM6cP0kqk2X73iO2qk2WzkxRf1hj9fFFiqkBvb7J//WNFp//Sou0MVAAxGcXRvitP7rNyekKW02fE5M5SmVN2T3ur9d558aQYsYilbL4vV+8xMkXPkLQ7aO163g7Nfq1PslISPrUU9BsEwinwRXgWETr3W8x+sm/od6x3RvvUbjwFINr38Mo5LHPPEa4u0mwe4ies8hceonhzhbe+99At/LkV07QC2L0w10MqXZIFbN2gDU+hRaG+BJxFYOHkxCbFfy7bzPsVCldfQFtv0fraJfU6imy4/P48k7ZW8etbjH5/I/g37hO494bpCsT2KVRpV0V5zjLj0FD6Pu64jcIxduaWCQU3eb2++QXVvB9g7BRI+61KDz5I3i9bbp3b+PdX2P+J3+WYRjhvfkOzI4ed/d3auRmp2iLUnF0hu6Hb5I5/zSanKwa8vn3CRpyYXFV2iI9fRZ/70jRtnMf+wSYeZKdNTzhSeXGSa2ep/nqd7A6WxQvfgIvA721u+gpm9H5CgeHHqP+PtnHP8Ln/o8/4c++1eczL01w/eEupWyRM9MFPlxvMDpl8mrV4cGtQ7b+dBl/vcnD9jhTYxb1gy0is8zAG5CxHXKlDNWNbVbPn1aX88bhAd1mT3ncx8fGaOwfMnNyWUWCg36XYmWM3Qc72FlN1a4MXdJaPrv765w5J7YdT50d0tnc8ZBD16nV6rTrTcXMkH+PROk932NqYZZOs0mpUmbjwYYyYhSKBfKlPD23z9q1NZ5+6SkOqkfsbe9y6vyS4gN1Gnt8770u97cd5kZ1+m7MjtgHmjF/8zOjvPTpS/zF776JFww4e+kEsdRkiSnkchy1Wrz9+jof/+HHFN2/3+ljpW1SVkolbNKpDGPjI9RrNQVynpqdUsONOzdui8wNJ5ciJ5YrQ+fhvXssrqxQqmQ42K2xuLrCxsMtEj8iSvq4/YRSZYT+cMjZMxMs/p3rLI1VuDQPO22f2DdVQmh8Lsd/eqNG88EfUcrb1O+/ItsTvIFHfmIBV58im7FxN19R59T09JOEjgBtN7GtcVUdRfPU0sMbHClLiz1+VVXYkn4VKf5H2Ukp7SpejTE4AHlHhAFhOMQRflHcQsAkUUpSBEVsgXt7LnrUUsBApc9zG2rrLeaXSFZpQZdgqGOPnyTQXIy2JKxPEfhdZVGLm/uER9/HmXqOUBgEAhvs14kERJ4qYMWBurOYUovu9tDLUwpaq/TE/Udq8x8nZSKjjRXrhHtvH+snR8+jZx0CGcabWVUXlSFyXJTK3LZaOoWdbaK9l3FO/JSqGCeHN4/Bv5LcG7SJbUcZjAzbUKauWAC0hoku9QhJMIvFIPAJ62+h63mYfA69d19Vmkx5Vwqs1ztSiTapRsnPMI4MIq9LYurHl+RIw7Jz+JKsC+tomTn07KSyb+liBZDNSf1VkpHn0OwQfbhBmDoBwg3af5lIqn6l0+rcTmoJO2Xjei6Gu0cUtTHz5zCTPuFwSGA72JkRwoObx/pxw8J2FgiSQ/QwrdLDvqjcp69iR1I5NfB330UrzKKPn4SDXYJwDyOySaWyuOlJlYoOh3Wy2TlaB5LaXlB1CYHF61GDJH9WDeklSY4zoRa2oSihRy6gy3Jq60skWVmQSAU9xhdgr9lRkHpTl9yP2AIkAdmC7DxaeIgRDgmcCUF4ow1dkIXWoEYwMo4ZV8DJKRuY2X5HLbaQOqqn44tqXqDfUg3NZAmtIvqwJgyAX0vIjhJ1tjA0cZ6X8YIIR/cJpDtthqrDJBoQr1lFGzlB6O2QYYRQAGreIbqAIShhauJ2zhHocuR10e0SXmMdY+pFtP4WmkC25KK6/IP4699WUzi9eA5r/5tKn6e0SdJLyxYIe4f4qVkMv6Y2XoooWpjBGAwZDDdIj5xUZGsrstUHqnn3m4xML6KNf4RQKgW9tePNu1HAPHiZcOIqWls8403s6Y8T7b1DaGoqepmUTqEdvIFpSl9bujUHRBL1VIAu0bKfgv6B6veIszPxA/XBRgAgg5rqhaiof/MGVtEhGmQIwh4poZsLiC/qEPuBJGwwxDrQFJDDOnZmVTl+g3hAsP99dfAM9QyaVcTWYobJUJEg5QtnGjPEcUtFTfXiLEboS8KdWDeO9WcC/tKniHt3sLISYdpWBGxj7BRRVzqAkhJI4SU22fIsfizalNfQM/P4YRO7IJfijtqQys9EqV1EFzZ6Sina5OWvmSHpzBie9G7l4u7uY4oHPDOLd/QBlhmTjP8AZijUzwTTrStAVjxYx8nliXNXSfa/QiKmg1v/ipRAMOwyoYAGnTSpwgz9sK5eEEanTjC7SGb1vyRsDSBXwhTVWeZx0LXjy1S3TrowQySABOEwkIP8GIYQXeVhNRhihEcEMi00FjA6b6npn1G5pB4Qcfeu6go7Wl/FrL29D7GKM8quIM4LcbPG/j5BZKJFPQVxDMljJhK5DXF3r1PMuuq70+h0KYyfJhrWifoBubwoNwziZ/8N4fa3jsnrqTyxFyu9XZRNo8WF48+JMDHyS4St99QQJ5QrnZDw8wVJB6mHrtLYyIRQIsJBDS01ozZORtqGzrryRCejL6DJsK55jUzhAoG8SCQqPXYaLX8Ko7OlhkHy0BRdY5zNq5i+/N7jzhrhoI6hjRDaQ9ILnyZ57bPovTa1ziFGYFFeWqXfbRDGQzKZElqqrL4Lid7DKj2Ptvgx4t62uvxb0iWLF2CwRuSYmPqoUvj4Ag9t7aqImwDS9PgAL7DVxVyGiGL4EI+7xMblYqMJK6Rz+/jiJRo/LVSRKCOJMKQqIcMBLKLgUAFuxL6gC/xnsEuw8x1Syx9Tvl7dmlODMt0ZVdPjINghkupJcQGtugYFiTdO4/c2sGceI2rJ972OJp97iW8N7pFyigwKjyN7p976n6Cnp7AnXiRMjtTBPAojRNMr7BDZEiXSi0tJPCaD5u1jSPwuTJTxQDqCAsMjNomGD4k8m9TMC+qCLpPzUB746YqqcKi+k2YSVt8iPbJMNHqGuPqK0vVIl0BAl2LAkDaN0MYR6J9AVXVRdR6pIZRRGCUWIKeYApIC/VB+zgFObp7IE9fwNolEKPsN3MM7GFOnsfWS+j3FdFTPXFUCGKIJWNDtqKGr7lRIkgxJbgTDlfiZOMPv4R9cJzXzPKEoW2Vw4qTRs8sER+8Ruy2cVB6v20AbXSIZSFzvIc78jxL272P53n++bMvBQ0cTt70MjuV7P/+cSrPYCgBVQpPki6RiAhEsBBiJruLvokUSGJpVrJDEGTA6RJYkSDKgVEGSBqgqmrVM/f2upzq2Qv01vQTdHidIGphOiqEXHNeLmvtYWhtv7AlMXxSbGfzOJtHO17HOf1ZQwETCjymfQYtaEHUVM0QzR4idshpOGAxIclnirZuY8g7ze+r5E6flu/JADbdCrYghA2BhCRgGplMkFuKmPYIm7mG/gWtpZLSEoWdg+jJYO4VmZQgLZWwvwq/+JZo5T0ogU9W3SH3i5/ibL/4kX3+7yi/8jVW+/vo+pxfH2Nyu0mjHtEOL1355gqNBj9m5c1y/8R6ap3H64qp6RnTcEFtttZsc1GucWF3h8KilCOiBbPuF/5ByqIzl2dqsEbkJ00tLpJImlYkK3/helf/nmwdcXk1z0NXJeiE/+mPLvPL9HdYfJVx9zORn/6t5/E6WG+9tkMtmsNI6+aIwPhL2dw4UUFL+N3/yNPVqjWGrzn7N5eozF1XKplptYOs6u9u7nH96maIZKFXd73y5yr/7pkenm8ZJt/k7nxinc+DzrVsdFmYFfpmhYrZ4/iMn2Xo45He++4iCZvCb/+RFPjIeYC6fVIdV9+Gu0GfAHqO2dZepJ57AEwr83DLRwS5mIa8qhGH98Fg9Vp6n+eHbin2RmpvHEwBtSyB+Drn5swR+QGfnHrmVK3DwEK+1iVk5jTE6RiI7jDt3sZfPEdU3iPbWMVafwNtbx+4fYpx9CYT7sfsI/+ARSXkGozCBtn8Tc2ZFHeSjR2tYxSy6GIoyorPqMNzYIXfqIp1bb5CfP42fMhhce59SMUsyM08kG7Weh7+zRSboEo2uoo0UsJISSecO/dyMGjyVFk5R/8ZXKFy+hDa9Qn/jnqLWDx/cRF88S2rhFN23XyYQsvb4PFZ5knD3DpmVU/QPaopg7XYk1hqTnpjH7XaJEP6MDCsj/J1tUuUJ0qeXCaot4rgjxHedAAAgAElEQVSHX72LKcN/ApyFFcJaDS2Xxf3+ByTLM2hjY/Rv32Xq9AkyFx7jlz77a/zlBwkvnCsRRD7rLY1yOU+t0+CZ+QrfftCgbPp86fee5sEbG9y40+DyE/OMLszx6MMPsewSJx8/x9q777C9U2VxaorEsWkcVFk9fZHNvS1qWwesrK4wOj7B5uZ9ivkcN6/fZ25lnIXVVby+Tz6f5eHtO+zXDlmanWd7R6oqZcYmyty+cV+ZKSojBXKFAo2DumJzLC8tMnB77Gxss3TmJC3RWRZLHOzvKZ3gyNioMiFsbO3y2IUz7N5/SLPZUenAc89K5Unn7/2v71PMmcwupGi2DIoZh8P1Ib/wP0yz93CfpXPn0YZtrr+1hpU2KeULLJ5awMbBw2fj4SNsyyabztJo1ZiamWHY8zk8qDIxOoYb+So1KArEbrONYdiqXtEf9Fk+OU+300eXrbUWsre9x/TCDH4wxOsNcNI5ZTqQKLRUQqaXy/zW797iX72mMZ/vsNuIubKS495eyJNnyvzhW/v8/WeX+Y0//gcMb34PvfyjhL5GJODy/AKJXMgbH5DJjjGkDFmphb6HLZ9XSbC4HvHRO6RGLqihl+jGZcM6EKaQLIyykyRNSR/GaCMXFZwy6TxEF1ZXagate5/IET5PRQ3QxXoS6jn0ow+IymdIwiaWOjOO4h+9hjN2Bb/dwHJcIkTZnSWSwaxXQ+88wiw/idd4C9MuqctdULumFp9iTev1DsiJ5lyODkKV2ftAJRmNsoDCIwUFN/2QoPEhdmkEs3QV7+hDEklC5xbV/cw2bWIvJOzeRx9/FsOtS0cPV1XDJBl3Ezc7R9aeQyuO065eV+8TrbhAHLlYUUgkgDVZ4/ghIjyWnn8gwPGxp44XJ5ZcJiew3SH+/rfwu3Xyp35GVQEFEmzlCgyPDpQ6V6ucxkzaRH5A2NqQkQl6eUVZGvzuFs7Yc8QHr6nPUDz6GFFHqqNjaFJRDDqEhbNYpkbQvq+0vbr8miT1GckzI0uSmVQWNM2oqGVooPdklaFUnWIQMAvnVIrGtFy81gNy08+qhDbVtyE/SpA/i+luqLQqXgO3uYFTPkksdy/R1gb72Okp4ijLYP1PKS78CH6wi5ZIvW5MJRtsO4sfCzA3rf6bYbeFM/okwdH7ykhhjjyukhTJ7msEEtnPTZLKjuOm5tUSRqCPviMBikkMUZ63P1BDHHvmRRJDzA4D9MEhcUZMD1ItSuF1dtCcEaUDHUQZnMRTivjIayr1rYFHlB7H9voMzDRpSaiI6nrktOJgaN23fj0RfZIu3dn843hGGiM5OgZOieJFtk4CeYgcgupXSC88jz9oqUOd+IfF/yn9daGJW2kBqkncsIGhC4TKh6EoDxK0TEmBJsLBLqmR0wT9A+LAwEgLbbkJmXMEtetKoxbJtsqtYucF6rVDEtqqcx+4PbVtEhAKxhT07x1vP+wsces+Ok2MsU+ofqhrWjjiae4MiOIN0rlLBOURtPYBgs+PB+KKLyngGLlVNPnnrRAvt4QlxEyJmPpVnFThP8cUbXTZxhgFnNjHD/fRnHkVj/WGG+ii+shOYAjBuf/o2MupdFiQaB3i3AkMz8W796doY4+rNIExukTodjDsMbTqm7hJh8zsDzGsvoYuVYj8CsFALvHPqku0olmmp7BKZ4ia0vPxiK0UjjyUUhl02U7LB1g29o176O0bJHOfwurvEIgf3JT+SJp+9bvqoaeVr0jRCL17SCSKCCdPcnibRCLsThY3bKjLqk4aQ020ptGigEggivLf7DUIoiaZ+Y/JgFVVRPwopZz0pBLMQAYwEMqlgBaapxM7ckHpElz/5zgy/SpKz1jqDVnFiZDPZ+/wkHRiE2eG2Jd/VW2qzc4WUe4kSeeApP0GWvaC4iGIItIyxggHH6D5GkZqhMjrqAsRVnycmghbaKGFIR3SrnhrbTnGEZfOoAcbaFqIbpzFFcWaHeNIJEsuEgIKiXs4RgbX+39Zeu9oy9K0Pu/ZeZ8c7rk5Vt3K1dXVOU3oycMwA4PFCBBBwFq2ASNLli1syYBZWmZJZiEEsi2MEAsGISOGMEOYgRkmdc/0dA7VlatuVd2czz35nJ33tt/v8t+sqe6uG87Z5/ve9/d7nubxG9tsoGUD7FydbnOP0va/Iz700WcWlS93sPkmZvEEw8EhlZkzxGd+BqPzEkksNPjL0FsjsBycwSpmZZlYbsJRm2QkPf5ZYqnf2BZx9xamPY0+8Rzx1p+peLjYNdL+mrpYmg0BL7XVtlfAkLKkjKWOIdGpfJWss47e28KUOoueh+qU0mHKAE4eHJl/QOYP1ZZFyP94HbT0kHCoU33mZ/Hf/Q16b/xn7LEptXU08haDTodKoUTYCuhKdUYfMZ6vktbqZGd+gEQ/dTyZ7G4R5SL0sIRU8TxLXpPZcZ87icmO7pKbeAhfVDkj2Zi3iFJXEWglHRRtvohdmFCRUtMpKhiaJD0EnpjKhtwqInKuZHCIbrs4lvTolwk798iJySK/RHDwZYhtlZjQTZ1UwJqdDUVT9fOzmFL7aL0ErvhXcwoIE7Y2MHJTmDIMk4TCqEk8vIdmzCsIk54T7WKOJL+I3l1XnJFAWRWmKWQpni9wpMrxxdSSmoKHhhB9QqIkwiwuEI/k597Dlt5YLo/meejJIYnEzWTzHmxjjGTCHpLlTyqisWwhsoLEmyUyaIExJBPdaX5K0ZCVj1uXlEQeyzHIQonve2RpqrqD8oHopxGW9NoCMVAIHG8LM9IYxAJPzKGPXcKxyiRbLxDiYU18mCSRQduV4x69+IAF0kmB1JC6jij5bJL8OKlwKPQiiWDIxISgOli+GpYJ+8MKDhT0VXRIVmkWzbDwO/ex7XH0vEm4cxst3sVsPEW48xqmcBAaHyOVak93C6eQIxBehyd1jLq6tGt2qojNQoLOpApk2cfPATNQQ4Aky6G1XgZrDE30pJqwFcCUryUcqDhuqLkYwQCjtoSZr+Bvfg2q42TtPs70UwTDTWxhQ3iHpPkqiVSDghamaDvEkCO6Rk3+97LMcdQB5HhiZxLGBrrjUtIyhv11GLUVyVjLQkZBm4n6Av1BX2349VCGyRlm1SQyZjDSUMFCtSyPlfYIouPetF55gqT/puow6qUzOEUZUghdHsXiSJvXcWc/qDgLaSA1h1WstE5BetRjY0zUP8LJcfjwYwu8cveImYpLrVzgXrOFN4p58f9+kldfvIlTmaA2YbNzfZvcWJ65pTluvHWd8Zk5TCPkcPdQbQwLhSLFfB4j5+I6OdZW13Ecm/HJMgebPRw3pT7ucvWuxpdfbjMIPZ561OWgVcTzeioRIqmqpy6kfPyTy7zy4j0Wzl0gjfrcfOMWJx87Q0HT2dnbI+pGzC7O0um2yRVtFfSQA246yqjM1fnWN6/yyPkFFs/N02nvUcmZ/O23OvzZOxFv3B3w/KNjXF6IeP32iHquxmDgMTMZUDCnuHnQ5UTJ4i+v7DJZgE+dbfBP/vEH0OoNMKfY+Zsvgutgz07hmEUcx6Rjm7i9DsGgp3qe3VvXqSyfhYkGyTsvY596lPxDl+hfe13Bh81OE31sUaUk/d37ZG4BMxvhtzvY9XEc0UaalvJ6ix1EG45o33idxoc+Q9bexF97gDY+jd0YJ3TzWK19/FtvMUxTZj7yw3j5Ev6f/DuozmI//LSqJNiyTXSr2I0qvfUH2LUp3MlZvLtv4U4v0r+zqhgG7hMfonPrHernniJOM7I3X8B4+ElCo4gdHsHhHmGhwnB3i+q5y7gT02x++fMKrDv1ke8n6B4S9QdE2xvkZhbUsygbHJJbukQsr8+DLXypsZSqxF6f7sorVE8/jFOawmvvUjx/mc4rL+CMegztPPUPfy/h175Me/UGkz/1c6RHu3gba9iS/uvu4s0sU5yYxF9ZobB4gnh/l8iyyLq7OJU5oqxPKRvBwjh//p++zX/8qz1yy2OEOweIyyPM6yxWbR59eJx//Tv7/MxnDH7+ny1y5Ssj+n1R1zUVBFgv2zS3WjTqJXzhCcUJvd6Qp59/L9vrEmm26B8e0mx3OHn6hKrGuZWCqlP6YYTf6VAeq3LYPCTnFGg0auxuHVIbq9Dv9hiOBlRKdcZnGwxHPt2jI3WZlsiwXE7WVu4zvTDF8qlzXHv3bYoFVyUKWu2Rgm6absbB4YjlpSlWHzxgICmWi6fYW+tx+mSRg7jDb/3eLu99epyX3zhiZsJlz4votDV+85+dZzRK6AivIDLo9QcKIiqwuTQz0NOYXCGnbAejTp/JhTk210X/ZyIrikKlhDeM6PVaXHrkMn4Y0j48xHIcVQeSyoSTl39fUxwB2VY1dw9ZWFpQTIP9/UP1PhYlUDByGT9j0N0Z8dQvbfPDzzU47Pk0ZFBWsLj1YJ9+lLF932f93v8Jvs8oqRENC6S5Iey/gV4+R1aYIelvkcsXSfyWGnxnMiCWwVrjUbWhTnJTGEKBH94CsXsJuM9KcXQLr3dXQbqN+R9QUWzks8XOqwi/3j/Ej0Nc3SYWBa2cu3MFkvYBWmladfhlWxsLKyYOMK06WdBSgzhtcIjvraqzhyR+UyHxS1o6EDbRNE7kkji6WpbqJTHjxKSpRto/wqnMM9x7TenzrOrzZJZOLFv8nE3S9cgMOYfl0N2KqjgErR0socmL394bHKdBx86ADAazEMqXSVrvYEos3pokGr6ukoBikEkPvkEWCET8McKNd0ijbXLzHyBa/Qr63HtUGkHrrWO4otPrkdkFouppMv8B2f469sIn8XvX1aVTd+RzvqgYSpLyzmxLcRGC3hqlqefo7d/GGD7AmH4SLZUEheQVy2roJZUFGTiI2SltPcAsCx9AXjU1yHrodg1XN+kaGrac6eTZ19rEyMt7z8YfjjB1Qw1NBBYey9LXmSfsP8AWNV7lpAJByy/MmrlIdniDJIvQSgsYYlIS7kpnH/P086TeDnosakgBuwt3bY64c1tZrCSpKekIgWfqYmtqbhDiYxeW8R/8NfnqBKGceaoXlKpx9ODP4MSn1SIulSGIXicWlWF1ESNJSZMMo/Ew6fY3CXbeoHjqe/ASGTLoGJmhhupZeIA1dhYjswmdY+2xps/B/utomkcQpWpRIknmRKj/WRlEe37wZQqLP0mv+S5m9w7OwocJ/T20zmu/kok7N/W2ycnBNx0ShEI2hkj6o2aO9PA1guER1uQj6peply5gjK4qSnpquJjBSMVepBet+R01fbBmnyBurymwRprYmALXapwh2XqFTAB64rXPXKyxy0RyeR5toLfvYdUukhTyagIS9zdV30P+WZmEmQLCykIG7fu49VNkzhh64illmHTnPKH/S7RzsE5u+e8Te2uKTWCMX0TffoXEcY4VGcM13OqzpHaAt/4auflHj+FPMgGL+mR6nkw6n3KZcS10P1RTliiSw+YuprtIasSYEot1quixh6llBH4bW2wIukY0bKlJjPwyBY5YWPgeSabib3yZXOMUfuNpDNnw772pJo5G0ifafQHqj2OYc/i9b+HkpPbgEddPoTXvH6tKwjaRU1QxGUMTvWCD1C1jCAthtIORCWBkoLzhkV7E0LrQ2sDJTRKI8k20c5vvKDhUrv4U4dZ30OYeQx9tEw59nLxDJFvqnCQGFkhkgJOfwujtKA9xaFXRZRov3I68XCqFOm6peFNcW8Ts3CI9fANt6UeJ5XIhnAatQeZAsv0q2uz34VZPEbS/SLb5DRzP5Gj3KuXqJKb8fswcfm+gIjQC0Cl+9JeJ5U3Za2E3HifpvENWPg8DD9vsEolrXpSMoXTGhcsgneomhjxAi8vQuYpVqqhouig90nf+Jdmp78cQOF/vXez8JQVSC808sTi+ZTKWr5OtfRWtuqAektmwhaEF6AJaEtWKllfDAUteg+/+S6KjPYIkw5HhQNEki/cx0jr62R8k6L5DXuAcQoc3xPMuG+pZwsEumtZAkwkdHhV3jEHQV8RYc/Yj6L37ikMgKslg9yZW+SxJbRon8yWZdhyvEqhSOCIa3aNYew+BJAOErmrNq8ixdA3N+sOEwRFGsIIuMSTGCNMelrdPImwP4VIIINKyCdp9ikvniYIe0d/8tDKBCLV56uLDmDmLnWu3qSzOE7V9ot4mxUvvob/9LvbSp7GLE8S9AXH5vCLI6754S2UrkKi0hWWPkzl1jJyJd3gH2z2hwHYpXeKjTbU9DAsT6LZJHHRx9AmlyhQtk+ZWSHQf3QvJBI7j1NDEbyrNfGEydFYwrQYYnlJ+anKhGwYg2+XBJsmorS5LcZyogU4mg4QwQh91SUpjqsZk95qEOeERtAh7XcX+0AwZ9kjawCfNnVRxL731DnrhBJkrYECLFLGaBGRHV9AqT5PoHTS5fBsmWZKpn0UmU9rIx5i4QCJ0fFG6yIdHZJBaGrawEMpzhKNNFV+jcpG4tQ7BLrozhlk7p2K6kmpAvm+pZ9UuEA/WMJxx7OIUviekWDl8ZGS6gWHaZKLck2qMbLlloCvKHNkGdu+jlU/guHN4G1/FbF8jV3gaf3ruOJKWWyBrvkzc21WqRkvov/6q6v+LhkYu8zKYSQY7GPlJ1VWUwYy4itN8Q3EnxBGZ6WVlCBDQXZQlmIM1kjAlMsvYyQ5Z4TSaVcOQSpbfJz16DaP+HGT7anAqesJ00FRd9VyUEuiait9TOkcSRdiFKYLBPfVal41Fpgt8tExiDNEL8zh+SuytKu6M2Av0qE0kJhNC9XdmVkmZNaS/KYMdOXhLHNYwfTKJ1eVOqve9pNHkNeZOP4yZP8lIJvq5cbWtEVVQKuaQsEWakxRcjKWn6GaJYLBOlNVwJi+QdG+T8zsEWqqAnbGYKYRGLUOORDgqxeOIpT8C0VBKhUemenYNJ9jDT8VSM4Xh3TseQhYahGEeK15Tg3FLEi7ZmooVO3ZJuYwNMyRo3qD2yCfYvvrHzD396/zos1PHiSk7xuiMGGnwzbc6/MKPLfNPf3aOldd3aB+MyNfy5AsVHly7wczSnAKS2QLTSnWcYl5xeZxcld21+1THJmi1j1Q0uFwssLW5S7los3hmmi/85SrffL3Hxz9e4sq7kTIEjNegnbjcvO7z3//kLE8sQCc18HoxrcP2cZKmWKQsw0DZRXoBUZJRqxdYnFvg5p11Tpyew3IsdlZX0QKL1MioTzjYbkIvzPjZX1zhyr7DM6d0wjDj/HxBAb92hzpOp0XHKTBVdmh1hnzz+oiGFvPjHzvJj/3I40wuziud1N7de3hOkVp/i1CSTjMnGHYPcZ06hWKDwxtfZ/LiM0R7D7DmTxMcHmDLa9mC/u3b1B+5zGBjRw2w9LlHaP7l/0Xp5ClyZwVMBnrnkCju41anaG9sM2aD93eXAyOKSU5fhI1Vwq0VcrNnSfSU8GBXJYNyk1WG6xvkz1zE6zXRejtYqWyQLJyJGbx3XsN2NeznPqWGUumVN/Blc9LqY196HHdsnLTfp/36dygvzqJPT9B85VsUqhMYz31YSu3oslnbuw87d0mnTmEMPNm9U/zEDxB9+09I8gWivQO8wx3qDz+NvnSabHcH/2BDJQPjsQUF1h1t3VLvLfv8OcLr19Qwy330GfwNUZQJnGqBcHeV/GMfI9y8QXD3GnExT6ExRnIgimqdsYcuM1q9T3x4RO6hRwiCDO69Tme/T+PUDM7DH6T7nb8Fx6DYmCQ0bOrTixiViF/4+b/khW8/4H/8J4/zxa/eZPnUHJ1+wL3VDucWK3zh1Rb/9Xszfu5/fYiDewGJbyo9Xr5mkS/XGHUl3TfO0cYRC+dPKRjgW9/6Nu//8Pvo9gakWcze9g75YlUlwXKVMnMzM6zcukGUxVhWgbnFObzQZ+Wd68yePMF4Q9SZuyi/pg6Vcl0B/fqjEdNi2Sjk2V5fp1AVe4LF0WETxzAp1+V5qdFujVi5cpuF80vkbI0bb6zyzMceU/WY/m4TP+vw+Aee5vP/7xu89HbC0XDEh54UvWDAmys+/9t/t8x8ecjdtR5OpcTy8hI7q1u0Rj61Qp5CIcfRXofGzASlssu9FUkDOIw1quRyBQ73D1i5t8rJxXkyPWZ/u4mbczn7yCWSYcCr33mNUqXC3NIMds5U8Nbm1i69kTjOpb+sUZttEHkevVZA3dW59N3nOPOZFwjjHO87W+TdW6J6TZjO5Zk+XeZP/2abO6//U6bOfYb+u9/GjK7jS71k8RMMfYm5iy1qlrh7HX1wgDX5fgnfke6vKxivgK/D7g211TcJGTVXyVdmyeQZby0oU4bAtYXhQLKBXVlSKTIBBBq2qM91ksOrxxYAZ16l1tzaRYLBiorRW8JGEzWspDgNHUs3GKx/CXv2WQxHjB53sAtLxLFBPHqAmUaE4pifuIypzrj7CmhOMCIWA5QjTJwJdE8WqBmRXVLMnah3iFmYUqrb0aiJo+ukMsgoTJP6B+BKglVHb14jmXuc8KCN4d9EL80gH82ia9cLAvGWpSmEoyPFKDOnzhEJs8vPiEb3sQ1HQQblfET3CG3mLIYo2aXiLCyn7jX1dRjW2HF/nwHR0R0Ms6ggzrG3rc5AiVFU1hyJrxteh8idx8qDKawDZ4qROY1t7KJrC8raI0UMdaEO+gT9Pdz8FAxvEZUfQpM6tDOJJXdP4RSUllSyMtx7US1YrOqESgZLssUWBprmofV3VXIikbq0LDvEhtZ+C3fuQ4SDHdL2OvnqQyROTNBeVf+/rg2JD/eJg011DnfCGE/uqFYNtzbDYPcKdll+nh7GsIMmP/tAQ5Okc/su2thJ7MIsoSxYhzFp/z5Z/wZG8Tx6XYC5sUqCChOK/Vex7QpR3ILhIebskyRerKL6ppU/1m123lZL9NCewIoCpTjPOSZht43WmMfWCwRJB9OYRMvEgjBO6q9hSgWkUibck4pqDkcGGQKcFM5b5xpa941fy8LePWynpmBo5EoqhiG6sDTpY5bPKOiaRBHcpeeJN94k8R+gV8/jFqv4fYnejqmDk8RCM20PUzZ+pUeJszbR4XWM+hPqxVCWKIVMlKMRllkniHvo5doxbEpB9xxwBUB3hG01lMM5HXVI8zXlPrRKdTWxk4Otlquil0+S9jbQJFYsG97kCFTce1x9cwqSV5hHix2itKvc3YEAtEybKOirA1aaWhjFApl/hOEsqQmbIcMPbxtDwDXCNDAc5ai2dB9/5yrG2EkFfkiF0l8YwxBVGTWM6rSK3aNVcctT+GlC1LqPO/2I6r1x/xuYZz7C8PDO8da9t4/ZeATNv0Yy9gy2eLB7t5VDXEsL6AIuEfGVRHH6csA8Vl7omizuDdJ8iulMoQcdRu07ylQgJG2B1aUV8XmLssxHgPMClhOapfw84vDvNHZhRxHntcoSwdFtZQqwKo9A3CEzCuj+Ht7wkHx5jijN1N9r2HIDqxC3bxGnOSwVLTwglviRW0UzS6qHr8UDLAEOylCFOYLoPqbfhurj6PEBmVsmeeffgjdiJLoVo4ojfWG/S2HhIcLuPcLdFrmL30c4/Un0wVW0LHd8yTB80uaL6sHizH4XSfNd0sI02mhP6Tac6ize5lfRtALu+Bn81n2VqNDHPoB28JraBhpjp9FGK1CaJRiaZEevoKVtrMmPKoCNv/UCzswjZGlJKUtsGbzkFoi9LQq5BlgxZItEm5/F2vsGgQx+iovoURcnThjKz37xabLOHtnEe9QByHRmiJtXSJwQ21ogtWKs6qPEzWvqIiHGDQS2Vjyl6PWZ/N4H4kZeJpHawbAHjYukwwfEqam8sYkoOvzrkFTVJlaqF3oprwYgva1vKouDJR5TIeHLoE3SANKll+RAziZqisZtRFhYVBFu68x7OfwvP0U+aaLnRWMUYk9PEB10ic2Y6okFhntN5Qwer9YItBHmE/8B3/RB6j7dbexyRVHljfw0kTmBPnxAKqCa+mm09l3CzFOXtaj9NrnSMpq4Z4distDQ5Geg60R+k5xVUNTctHObNAoxpt9HKhrNWIaMfbWp0Iqy4c+j9e6DJXT7QEVeRS8YumOKhK7TJaCgkhxJ3CTyQ8zyGLqYBaKIpDqNlSZqxpw072DKBNXViPLnsaLWcS1GIH6iYzy6qv4eqtMqSiVudwUkFK+2TO8z/5hoL3wUkTboJqm3hqGVSTQfs7ysvLLh6Ba6VEtKy6StV9WmUdIxhlxo9QVVHTA6b6khp1E8ReyOoUlaqXebVKJx9hS51ht4Um2SYZdwFYSH0byqWAJ2+RTJaE2BVfFaYJUVnyVNAjQjIrXm0MIVjDgiLJ3A9g38aFf19fIytbfzxOYMmberwHjyzVjlZRVxVyaK0hTJ0S3M0oyUfZTe1Rp1VPdRYH42I0x37Fj7pYYTBazyHGy9hDfYwjz7/WS9B4SDLjg2hcJJkv676rKOfM/WDKSHxH6G6Sbg7eF7cvmaIZMI3PAQQg+zepLMcNWFWoYrIjHSkliB10zRHalJAqQD6fr1ceqXGYkhw66R+SMVUxTNX7T/DrkznyT1JB2QqTSUDJcjr6e6gzLoDZv3sORSriVkWpmsVEcPQ7TBm6TVp1RvOjAkxTSOKfH/7hpW42G8zg769jdxzv8oIz2g6B/SH7TJTz1D1F9DUxYFjbC3rZJkkjQKU1/9XVplnmTYVwP6rLiAIWpSGaYkYpFR93hVgRPNoigkZTqo+xtEoo3MTRP2PCY+9L18/v/43/mJX/o6v/AjZ3jhyj49P2Jp1uX0tM6/+lzM3/5Ll0cX83z5m/t85HseZf3uFvWZMv3dFr3eiNkTs8RZysH2PnOzc/iRR6Ve4/qr7zB7clalMYaD3jEb4N4dJhsG68Mc/+lPW2z3R1yY1nFzFuOlAuMNi1/97Da/+UvznFyqsXpTovsadzb2mJucxE89GrVxKrU8I99XdgT5CwZDj3brSHYAVKckGRTzYK3JpYtnWDhpYBfK/MOffolbBxUqcxFPnSzTkkvMWJnOQCOWbm6a8KnCcFwAACAASURBVPHHpvnyG9tcWQ2I/39g2C98z3mefHKa5fd8gGD3Ns3r7yrAb65UxZho0Lt/l4ps3Kqz9N95kcLT71GvZW3jOoO9HfQTp0gPexgVE61cIb/wqIJFjb71LYyySzTwMC+do1SZo3vrGvkT54j7+yStAbHfJdeYJfSHjB7cwNZtzPG6GrDkTl4kDDokt2+TlCrkJ2WwmzK8t0p5eopsfgljEBImPtnaOsXnP4l/5SXsM5fpX/2O6m6L3pRBF7M2oQCY+do0gemTbq0rwn7glI+fi9VJjr70BxTqDQrv/178l7+M2ajjSDz/qMdw/RZmY4rE1UjfeoPyE88xWF8nvzCvNML6wX08q4EtxoypCZxyke7KFeziAlqjTPj6l6icfJy0JF5tV0Fzw7tvSwFAVN6E3oDSpffjJEMGa3eJxufI1eYI1m9hpUNGG+sYuSLu4x8kvfJNRgdHuGcXiYkJejp2rYLdbhIJ5CzSyE/VcdKcGpqUHz7H7/7SH/KrL2xwfsHBdU1arZTlmsXMcp03bx+geTH/zcddPvqpUxzeG7AlFpdeQKxniil1+vLD7KyssH1/i1zRolipYxcKPLhzh/d+1/Ps35cBQInbN64qYGapVmPr/jqLJxbY390j1XQWTi6xs7JKpgmCw8HKMtxqiUKuxOF+U312SY1i96CpNvCVSpmJmUl2dw8Z9AY4lkm5UeHosMWlyxdUCmHtwTaXHn/omLweD9m4uU1jepw71ze59OgCTt3kt39/g61WxEefnWRj+4j9kUlzI+OX/+d5qoWUnc2AbndILqcxsTBNc+dIfc+jXo9hZ0iuKgpQl0yqfZbN/ZV1LjxyjlqlQqvVVWYDyzIZm55i1Buyt7ODbetMTk3ilCt09poMjtoMo5hzF8+pQcdoGJIvGmg9nYkLE3znazd5z/OL/PHXuvz077X4yMWEsUKOseo0O0frynr0ytURP/uZaf7F7/xnDl74HNVKnraXUjzxPMnm65ipTlAqqc800Q8j3KzKAllX7AwBRmmOsLmCXZsmjTXFG0uFASOXRDFtBR0Fto2HwlKRwWymzAFSaBbTVpaZWG5edbJTYS9JpVGTy9Q4UWcDS9SCE6LzHCpnuxjM1EA/81UsPi6dxZLarCvJPVuBqw05n4j2bfNLSvGXyHlQoMqu1E4t/N23cWcu09+5iR7tUB57BF9YO/UThM23EdZslpvBdgzFj7CF6WMJxHNFWZD0MCPLuWhCjC8uEgx2kCmAmbWVqlMU3rIkFCClaY1jjC2TmRH+wYr6HJUFn11bJvAkAdsmCQtY+YqqXvq9DrnSJMJ/Fi1vPDwi6ayopGFYmMPqbuKMn1O6aVEVCghZi7p47XXchefIIh9v4w2sibMY/TZBvkRO8QFqKokk1WWtuog22kWTxGD9grJ1xfkJ6PWI+9dxxCSiTaNJklf2DuUzGGGf0LuNYc8RG3n03hFZLsDOn1XnNDmjI4o8gUHaPklaPrY0OUWi23+JWZrCqowRixpRmA+jHnHYwTQnydggbbwfM2iix4ek1inoXGekJbjClysvKpiko/vKvOLWzqiFuCG8qfwZor2/VcvYKNNwGqcJW9cwUgHhhjD1PrK9l0GePSeeIdm9RhI0FXQwbTxKLD9PUYYf3kXLRcSRLNZlgCPDpxn06hhGkOJ7a1jFE0g0MGgd4pYlKVMlvPU10iwgf/6Hif0NaK3JAOBfZ7JdFQWWgMn0pedIVt/CqJZIkjKm8IISU5HQNYnESndBS0nchqxosOQiNzwiHR5hj59V/RRdddcFPtEi8Q4wSyfQ9TyRbas/M7qyWapgZSZ9ARxJpcCT/sUMZrGOHbcVkdQS3UTtMUVy17yemsDRuqI2wZGQqQMTK58StdePvfVC6hb3e1l0bXcx/IQwWKUw8QyjjStYi89iePfxExc7DUmFKp+fI26+SZocYdQeUZf9zBcIyDRpTyLGsmXNKfWEW3+MMG2pSL3Ad2K51EyfJem0jwmdAo/TLEz5+yUmGieo9FNukszbIGh3FIndSHcZeZHy32I7yrqgS/xj7hmS9n0VYyqMP4WXSF3BxJSIzGBdkaJFYSYbQEXvlq9x1CTsbarkgTG+iHdwm3ypQjKSvLVUDxbRAwHbSHTpmFSPbMqTHJaRETljIJAKubBGbQJpVI+dIWvdQc/yRJLwsDI0a0I5siVyracZaTYk9IY4eVGLeKqTg+4cTwtlrDgQevESuvjSBdZROoPpt/CjQ0VNl+h+rv8W/dUr6NmIbDTALDWUJjLNIlV90LQJLDeGJ/4nzKNVktEq1uzfJ+zfJxULQ3EWszh+7O7WJCajkaSa6lAnMmeuzBMP7pHpJnZuhjDwsfwHxJWHVVc03n9LRZOy2hNkXgcjPiQpTqILwE7zVDwt2/424eRZnNrTyuiggDFWniyTjrdOvtZgePWX0AcPKFjn8eWCVKuhPfYrRDd+FXfsKaL5T5N2NrFl0x41SXbexpSe+NR7lKJD+mVekpKbOKMI8rJpTdKQeHALs3pZ9egEuCZxdKH3ios87b6LbswRlWbIWSO8zoG6CJviue+3yMTjnpUVORQZKBkuUXcd3SiSjQL8sTGcJEXrrCnjRhh1yZWfwT78c4Zv/Hul4xQOhsS8/VaXNO2Snz6Bd7BPkrcpN8ZJ2iO0xWfI8pdInQp2bOIP31HEdYmBxbFozlw0uSgND4nae5jFPLpdVJpPb/clGH9cgXH0vgARD/AyR5F5BaYnnTX178twRyA8ulyC11UvWrPn1AeZ7uho/QPC1tsKYJpKl0s0fVJsCobq4irJDakeoDbiRfJunsCVC/TrapIajD+J0XqAUaljls8R9G+QjgS/IfHeDGtMOmkHoNuk4RqWkIHthrq4C1tAPmjlQS0vfHkQx7oYJeSyHapJvLxX9OISWjggSX3VexWtqdSJMhme7nwZty7GjPKxP3i0ebxl1zVG/U21AZLhkXhlFZtFlIdiuDg6IJGkQv8uZumUuuAYowGaOcCoPkZ0dB/NydCNCl54oLYMWX8Dc+4D6KWzmJ2v4/cyNHnNC89ltI3plknjDEOsHWOi4SmQJC20SCiRQuHfRxPCbOrgB6IoBFOm2AJzzCQVFauIonTxlI5UFIDox0pHqXQoXdamutTp4fD4UhsLLVjgdz3izMOUrqMMZ4KQzBF9Yo+kv0ahcZ44HhJ1V8k3LhPGCXppnEgI/FoVsyA2jzYaEs+vKt2QPMMy2yZprZAJT0UgLEELRCsq+p/Kcc3KcscJ9R5OUiQLOwTpiHxpgcyu4w2OlOZJT6TS5GDGHeLuBllpVrFCZICaDG4T+hl2roIpHWZhTTRvoo1fUDpG9t4gnf0kmfAUjt5BkxSZGAfEfiLPu+GmGpzLZjhNUpy8gdfq4ErFZritBtDyGRobAXYir++RnHbUsFz6pdILlthf5jg4olPrCOyxjVloUHrmY/z489/Pi+82+QcfO8Xa9j6ruykXz1bVs+7PX+px5dfydHq2iqun/RGH3Q6nTp+lc7TP+PQEG6ubahOoawUG3SamaRNmKfXqOIaZqVTfcNjn3p0jZho6z373Q/zUP3qJyfkao7ZGs9/jkbMOGzsWK+0RH79g81P/w7NsX93gYKMJhkleLhoFkzCM6ew38T2f02dOcNDz6R12Va960PbpHh4wtzyrNmimnTJ+bpE3X1rlh/5Nl/NFn8bUBGOmx9xSmSCI2d/waEZHKr4smrvN/oD714a875TJf/z591H5+A/Su7YF97+uYrwSw+zv3VIVqerFZxUc09+5g3v2WbyN65Qci7g2R3dvnUJ/H3PpUfyrX8N+7JNkknB661sUzp5muNGlJGeF+iyDtnRhy7hhT4gTGMtPqeG3NujitTaxZk5gN+YYbt8nXxJ6eEa4eh37kecwX/kqyYWn0DOf0UGbYqVBVCtjHG5CoUS2+CiDL/0OhQ99H+HaGtaDN/Ayg+qF5/FGbZKdW5hTy2iOSyLbsU6fxA/QxxvowQjr4Q8T7FzBGTuD3nyA1z3AevTjWLv36O9tkI0voHW2yVllonwZp3kEF86z+rnPU5y0GHv/9xJuPCDqbqiDe6ExR+nic3Re/xZHAgj81H9Fe+WGskkYjVk692+pBE6xUiXzhmpYl+7sEZeK2LVJCuUindtvUZw7TWzWGe7dx2lu4J65qPSaQ1lMDQe4YUxQmYbmLrhl7OmGgg6H+xuqFhp7IdVaiVAgvctn+be//zL/6o9X+NlP15lwivzJN7c5fabI0X7AQxfH+JMv7/O7P9Pg/T90ip037xCIprU+y7DVY9gcUZ0ZJ+i2GISRAvG5Zole55DxyQY3b9xTXJFLjz/BlZde5eT5UySiXY1FlVZQdQFfWCeBpL90cuUSvX2pjBmEfky7c0RjokHeLdIbdFk+c5rVuytsb+zyzAfez/7uNlEwpDE5y40b13n86SfY29hWXWCpeXVbPRl9KpvA9HyD7bVtVh80ef4Tl+kcDPmN377GwtkadpKSmRqvvTXi0YeKfN/7q4yCkLHJGe6vrKmaglxWrl6/xpmlJSwnR3m6ht8ZsLW6zuLJOfa39xklGnNTE+xILaRcZHbpBEfNNivXbjM9N8ns8pIagF95820mZsbJ5UsMvb4CBh7s7FCp1ijXKlx98x6nz00y9OSzy+fkhXEqP36XD5ypMV8MGPrQTXwWp8u8fa1Dr5Vwv/lbMJrA35Nz7RhhNsDbu44rn0X1C8r4JGcD4bUIgyaNeiTd+2pTbZUmVTUuseQzVWwiLdL9V7AF/CoXQ1ssZhGR5WJ6e8pqJhDerNcmM7rkSpcJw32MqKvsAaZeJrQMDLuCFjXVADsO25h+Fy8KyE88AfK5370F008Q776lqslZaU6BuC1HYuAN9eeGJTH+ItnhbazCDFF5iXj/HcUQMtwIq3IBr/0WeruDM/koiWjjohZh5qjaqC4x/uE+hvCZzKJiLsVBprbvmpS1o0B9PggrR6DB8XCA5WQkZpVotIOl2SDMpUhqllWV4hSusivK7VKdbLSPGci5ao+gv0pu7ruJxFKkS1/9Hvb8dys4oSZ2JgEgO7JJraJpQ6JohCvLEneaIO2p10YqRo3OA5hYVucWPWgReAIAdDFPvofwwWvoxTHF/Qj9LfV+Q74mGdDLJr31KmHs404+R6LLHeKALHbQq2JWa5MMxDLgYRZOYwg0Wz6nD1eliAGJHPACnPp5ksghTZtEay+QGVVy05Iw2iVnVvAFqGfbx5t0bOL+neN6h9y85axfWoZRl6w4oRIbyc41ZW+TRZ4CrI9dEBQ2en+NIDHJ5RoMu6uUFp8l6+wSjTbRy2fVGUSGALniRfzuDazqKQV8lwp8LD+7cUl8bhDHGu7kZcL7f6ESvdrURUJhwvRvE1sXyektZSQyzvwDBbOPdt6gMvM03dinrKX0Rcdu5nGr5xn21tFab/5mZvRlozhCyy9iViZIum0soRaLuo68Ag4ZAmOQLr5sywddBRaLBeDWvoeRtsm8QEVMBJ4ReQF2TaLYglEXbVeK67UInQpR5mJLDzxqEg3buJmQNSWaLKqkGYy4rR5QcvlOqpfQJZ7pDWF4DaMwT7C3pnrjmjFQjnRNeq0STdSkKiAX5VsQaxjz38Xw8E1y4jKtnMdb+S1McWTWzx17Pv1raOkYqSgQdFfBmeLeNlZ+kbB/V11EXZlYFSQVYBC3r6mfhSauafkAFwJ/rkA2stEH75IaDpqMwjIfS58gSASA0lcHxnQoL74ZNfkTD6MoFrXKQ6qjhGzLhX4p00PppftH6BIHbt9T3lWtcurYCSy9cJk6RRp6forYu63cpGZ5iQxHdbgzexrLjhW8L4g7CtIhxoD44BaFxikwy8Ry2XbnCbb+BlO0HeVZIrkc5E6iFSZVZzfrbqNJ8kOAFon8d2fI5JAtYCarrC7anlBPD4RKXcUpzRH7OxgCzgoOsKyKgoAk4RZaXjbW72CJ7cCtw+FtmDxLYkxjdL5GcOuLKi2QHaYEpQjyArLI4dSr6hIV7G/iPv2PFHHW9LZIK2eFdU7QOI+RmsRHd3HjI1JrHF06YMEuyWBTReF1+RnbVSwZSAVdwlGkoGoSuUp6q4q/4NTnsexJgua3VR9dDtHSCVbcCgEIdtbQcnNYU+8n2v8GEqcwFj6AvvdVAvcitnGktojNr/0iru6RL00TWqfRKgXo7ZCc+BmQWJORECcCQquRhjrx8GVcpgnk8iUb11wFo3aJYPcKuqEpSqjaDsqD2JNY15g6iMp7Sh5ao8EKxuAALS9uzyZGEmPmZ1UHSB/eQctPq/+ePlzBP7yH69aJGhfU1FLvPkBvPE/QeR2jdZtMVF4LP6Z6wsM/+iClco40mSHRRVk1hicPGNlMyWu8f4Azf4Ko8l6yuiQeMmIvR5Q7RNu6rSwSmVQXDq+ShmKkkLj4hHoGpJ0b6vCTFS+rmooAhkRVJ5Re4R2EUUo6WscUpkehRiYT6cHusZpFK6AJJdcSCKCGrmdY5WmSUY8wbWJm46r/LtaNbLCvAtYF+vhMYKdtYs1U0Eqrdp5I2CRZCSNpkvR2MBpPk/q3FPhPL5/GKdfURDvtbROFm2pgpYtqM4owjRJaQSMOJU4mUcYhmhymTVuBC73eFnZlAj1Mj9/fkuIQyq7o+exxTH8A2gjKZ9WHmpG5ZHFPbasVZK//QE2n5XVryxU6SpVvXcwTfvMGbt4lrj6FxUh1MaW2Y9IhTnpoaZ5IBl+uCSOprYzQ6+8hSwV4eURSPQ2td6C8hDESFeibaOOXwHdIC7KtGJEwJJNBnkTQrYVjjatTIurdUHwTo3CCcHAHKz+GbuZUJSFOHeK4q5RBmvAlxPBSPUV2cEWlmAT6Kf1HUdgYWZNAn8PyBWqXkUkSRYZtnkXQfpn86Z9ED7bw1v+cJL+smDBmppFK773xKN7hA+ysrQas+ZmnYdgntqRKIsEEB1NSMElbJR80LYcvnTy5MMtlWzfQZCgqEU2pQ0n3zUjR/BbULx/HE0d76KIdImHU3sCRClhiE3krZOWnMBxN8g4EojGURI3tKBtN2l4jy89j5vPEw0Os3AypABqlVtC7RqAXcewyfusaubn3Ew97xEkTS1OBR4ycRPgHylEdJV01rBDtZBi0iJMROXeZOJM+oEXmJ+Ry8nkQEgT7aojk2JPEUrtorSlorVEqK6hc9ewZAvMEJyfew/xUjrGyS+p42JF4mId880rApXGbv/6jh7jx10dIyHtuOsfVa/eYmVtQdQmJ2h/ttmhMNlhYXmLtzn2lVLWLBocHfcYbDoZZoTsYMVVxyE+W+fMv3uOLXz/ixz4zwXfeHFIqp1iawze+43PyZMKv//ozHN08onXUY2pmmr19UQhG1KoTjLpDAqmbjbpEgUGYxOTtApWyhVvO8+7tTfTY5LEnx0kGI/7gL474lRdTSlnCD35kjCU7Qs/bfO47XS6eq2ARc3ezz/29Phv78Nykyef//ScoPvIE/Ze+wYNXr3LifR8ny5Xw1x/gLJ8gKRZhr0vqi32nht4fopeLGNt36UQxtvTQq+N0N1fU0iI3M4fuNfE6bfTUofPqF5j5zD+m9dpfYZx5jtxkneHb72LWXcLMpjK7gP/CF0gvPYEl/I6jNsnyWXTTJL7+MpoktYIhodThLMg/+/dIBNLcbsP+Dv6whzm/hO2mdK/exipWqZ48hR96REaN4f4NJp76Xnqb13GzgMHqqtqo640K/r27WKfPwP6eujQK1NMszBDQV/HtwvJlst0HHN5+g+LCeSqXnqD9ykvkF86TGkNFFU9Fzzgpg+oEe/kMO3/7FSbPLuOVXPKZQCg7mGMLeGuv4QUaY49epHd3RaW7ygvTBN1EnSNyjXF6/RR94zbW/CTh1j2MygScvEC4egWrPobrVuncfJnyuWfpvvky7uxptPll/Le/QvXyUwSdffrbLSbOPkQoF1zhoIy6OHZRXfC6rYipuoHzwWf49f/2/+HXvrrOJx+Z4dmHy1xfG7LbHjBKhmwMRdcY8R/++QzPf2qGmy+JJtXjaP+A2ROTFJ0c21ttZk9Os3l/k4nxMsNhTPNgjzOPXCBXKnL32jXG6pMkQUC5XmFrbYNydZwoFur9kPmls2yt3/27zwW5vMvQ3sQ0NKqNCZr7ewy9IY2xcTTLpOIWuPdgRQ2SVd+XjFy+QLlWZWtri/HqGFfefEdBOcv1Kgc7R2p4aRu6enbNn5hn0D7kd/9wg/3UYb4asbNjMRKNZyXhfQ+Nc+lSnW53hJmZKrHpJ6biHmzv7KiIvrAKJI03uzhF66CNWynSabXVAsmy85RrNfbW1uh5HhcvX8Qbeeysb6lKZ681ZPHUIiK9F2BruVxj9cEK4xPTqgrX68TMnqjR3B3x1qv3+JGfOMEv/17Cb/zNff7ekw3u7LXZP4RnL1UplFx++0vb3PjK/8KFj/0Uvb/9F4T6vNroGpLKTHroEsMXV3raIUonsYqyqEnVQFnT+9jy3ggDTNvEcgqMDm5SmH4v/uAuuBM4wgLa+zbkZrEl+TZqEQlkxRpTViVJBkWSbpRqczBALzRARdHnVe2LQQeiNbWAIIiP/9zOlNkpHrawFMvMo1BeYJAMMHoPsGoPE8dbGInAjItEO19SFUfr0s8QHV5VliHReEauAHbXj6uP5SV0/xjCKypkwcsao66i8NtuTDgaoeuBSrIZwvUQGJc7RSRJZ6mS6R6hJOBMBz3sE8vX61bIpPKg2+jjD6uvwUj7hAe3VXXaGjsBYtZKQ9XnR0CIXTFeNAgH2wrUTKGMpTdgsMKwtY5mGRQmLpIIULh1G0xZTOnoxSJRZ51MbAOlsyDPPamS99ZxrSKR2NOsHPrRPTRTJynOkso2X76X7i0igSoXlkn2bxFqDoWpy1AcJzu6QSJLBS1R53vblQVrROg1cWunSUZNEMC7pAMl/az1SDwLI9yUnQzWyQ8fD4COXiftCzMhjyM1U4mFj3xSUZ2PhqTh36UTBDi99jk0MRVkHtHRKzj5JXxRxMvrR3aJunS/u4o9J4nTzK0pg0AWRLhuDi/KlM0uGAlDZ1axhYi7xJ6Pma/jR02c3CJ65x5+ZxV75lG1cEuP7mPmy2j2Atnui4SOjWGXiSypVASkWoG4dZfiwjN4d7+EWz9JYpkkh9vKKCG/S63z1q9lYWebfEXi6wbe+h+QW36apPx+wpVv4NbrKvJi106A0DQ74mC3Sds7kK+TxgZGYxH8gQJbxEe3MXNjSqUjMXatdYdA3myVRez8ktKxyQ9El8NZawXTPELPnVOxkmA0Im6+hdV4Er08Szzcwwi2wCiRCsHZKZB1tpRiKysU0A6uEVh5ytVztNq3KFlFtZnTBHAm0y/HJV9/hGj/JZCNlEQ8tl4ld+I5olGH4OA67vRDGKFBWJpEa18n03WsyQ+SiiNSOvyymS9UsMmrGEww2FLKj7J8TXqVNDkgbL9OWngId+op6N8hEAYCNrYtv9QhCJ16UnqrLaXbkwtKmi9jaRIv72KYY8SlCvrG2yp6rLrE4ZbakOluUU2QNOmiS+fXjMlyUyTBCD0R53OVJIkw+pvEAu+a/NDxBSjZxymfRxMvuSguvJEwuIiCEbnaOaLdV4796EL5Fc5D6BF2bqt+vrqsSN8pDKF+BsfbUp0UqWgkq3+KMfNh7IlnSJqvQF6AiXlSmeTldKVB1PvbGGSE5hS4moo5Rdvfwa4vEQRdMFBAPKPzBunWX6BPPI2//roCo2nSbSemeOpp2rdlWhqTWJPoYpKoPU4kb6T+bdWf1TtvYy5+mqwvQyM5xFxQkWN54xhlR8ELxT4hFH1x1uviFJd+Um0Cb+8t7OpFVV9JOg9UPDqpniLxjnANFz9OcY3jPrWAyMxCRdUksqyINfsQgWwlxsRpnlEpeOohpLz0Xh9LvNArn8Wa+C4FJJItugxjBJgpVQqjJgyNLkbvJbKxZ0mKSyCTXomFubMYQvDMyYfJngKXZeKbTY/Qa4+RDTdVbYOxy6RBm2jvJQUdkcun2DdUNUaeZEmbcDDE8vp4gw1KC58gK1Xxt76uqjr29GMkgyMCUbzFserBaYcv4q9/Had6gaJVprl/E0suprH0isfwJXnSPqT2ge8mtpYIojrp4B7VxY8Sxzr+0ctY1iKZWyduf4N86SJB4YRiiOiFOQxLIFAybKooRZ8lv/fNr6Dni+oAmlEBM0SXi5hWxEhl/Cwb/haaqINyjoIKybbHiHtYaUoknTk/IxZ6rLuAefR1jEBTPlY7NVU8Nk62cYwGoQwwDt5Bl+qEVUR3qlhGD7+9iVV/TLl2pR9ty6BKUhaHa8cdPP+AVLRCYjtpb6FbFpZ8EBTPqg1wNryq9EMCosOSukWC3l3DmFgkSSq4RoEoWCU1x0iGO+p9bI0/h5aO1OY0G7XQEPCbqV5vWuEh9OE7CuYpnuE4GmIUFiHYwGtvYZeXlDveHDbxojb21Gk42kEXMwShGkaEzdtoTow59gGCgxfIV+XwXiPt3SKRZ3X1AmbeJRk2yVITuzRDNNxSOq4s9RRZV0CXgUzKE9Em5pSvODhaAQEI1k6DNkYqU/AsOIYgiZKufZNIIJXTTyk9ZXR0U3UapVpl1s4qv3KWW8QtmgTNTWUOSZxpjOgIf+9VdZGkMIldXiaW30fQwpr7CPQ3SaQegYU+80HiO79L1muhzT+BXTiF1nudUDqAuXPE3j7xSKozwh5pQPemqi0kcoCS7YIn37OFPjkHzVWlm5T3mZafxRYWSOcaZvECsWy2Q6kWiIZMNvA2qScDqklCqUEM1tXXY9ZnCBLhsOxB4JFJRFKeNdpI6aLCXgujuoAmdG1Ja1WlKpIS+5tqqJ6VCgq6mwlYxU4wDBkkS2JLnZvV52WStdFlsJGdJJFZt0irJBEXeZgyKBDtkXRKw1R1jvVSgd6Nv2Dq47/A9c//Opf+4X/hJ55f0KfuBQAAIABJREFUYKyqsbJ7xLArrvIcf/TSgD/86QY/9CPzfP0LmyydHGN41GViZpZh4OP7A85dOs+7r75N3/M4eXKOm1fvUC03GJtylcJoa2OVudmTPHiwxVMfu8grLz7gay/ucurkBLv7AeNTLraVcXWlyaeeqPPk5Rn29/e4e8dj+VydwaBHKV+mHwfKCDM1Na2ijvsbO+TyVcxippgalWoO7zBTyaCF82WuXbnPX79c5rNXOzy5YFKxMlqhKV0E5mbGeHDQY7yo86dvdSmHJg/PxPz+z32M2sfeBwfrJOsjdu9tUqwEeEZAuXJefQ6Hhkkg8XQ5WOcXKQrj5uIyg919vO11ag89gtnrk1Yq0DskFBBpbor47hW8vbcpPvIhhhtSJxM+iBgoKtDdIMkCEmEatXaVv9s0TQVmjUX/NF6nf3+VTCKak1PojVkYyvNBIxPFYtElXr+JUZwgE8ZJ2ma0vYohyatCDvfcU+x94fcoLs5gTUs8eAunPkfW2lPpnjA3SU70m6JPm7hIVshhH2zjD7qEvQMK45OErSalSx+k9dZXMAdNCs99lOHqBonXxRmXQapO73CPgqWps1Q2Pk1am6Hzxc/Sb0aMPy6fKR0cSe3MTZCu71N476fx3/0WwZ07zH7wI2zeuUvN6qNZY8TJAe2dJpOf+DTdq29iN5ZwTIPmyjUaj70HbfM+4bCPPneJtKDjen1i4RlIf7vnKW5QPDZGtLtFLEupozWi6Qsq6SXvCyfV0Q0Blc4hBNqSNcQ+XeEHf/Kv+NLdI37xx87S3fd4d7XHVAkaYwZXr45Y3U743L+5yNlHNV7+q5tMVBryWKdcneXe3Rs88syTvP7tt9HihIUz8+q84nc9TEtTSruZhRO8+drrzEyNY0gyVFJRglSyDEb9EUvLJ2i1DrE1A7OSp1SssXr3Pq7jEsYDZmdP4HkBa3fvMrU0R+fgkNAPWDp9UsX+TdthNBgyOzuL6ToEnq/o9Qf7hyyfEm6JhrR5W81DAi/hiQ+e4YWv3eazfxLyzMMpvSBjdi7H2oOIbr/HP//p0xxudxUzKhjKEDhgZuokQTpUZ4hKtcQwSnBtne17G1z6/1h68yDL0rM+8zn7ufuaN/fMyqyqrKVr62r1pu6WUEuWhFgkCMAGm/Fgm/BglhmCCTyE7bAHL8AMNpsDxhDjcdh4xGCMhNCCELRQr+qllq6ta82s3Ld7b+bdz34m3i/5X9GqvHnznO9739/veV54hlyxzK133mVvfYeJxVnqY3U+ePcmMyemlI6zvdckJynPcondnR1yGQfddBgOB0zOzjHsd4kGIR3PV4niWqVMNxwxntocWh5P/UKTJ2d9xh1bRpCMooiC5XLj4S6XztX4w1ffYfStX1UQTAIfe+5lOFgn0oTCXpVmPXH3Awx3DKM0SZJaxP01laLSM0VV/ZXNtN5Zh/rTJDvfUCk63ynB7lXF0DLUhfIRZnGBOFfGv/9lTNn8ZosqjatNvAj9HmZtinSwRirsH3+kwMpW7ZhS0/qichXmjhDZzSkSSSwO19DMBoFdxtx6DWP6ZeKoR7D6ZYzaEu7Mpwk2v0mkaTjKxGYThXJh7KpkS+pOqMGdpKEFVi3p0tzi5whlmen3IStVMBlAbClVtu13GQ52sOvnVXo0OHiEkVpQmVVQaE34PXFMJBdIgZrmM+o9LD+LAmW33iOQ5EpxntTwMRGWmkUy3CHxO7jV08qKIO/qWDOVJt0XI0TzEWlF9LsmZi6PqMV8AWgLFDx11ILCEBBh5xZp3CI56GDNXsSzp7E23yTVAmUMorgARgPTHJCIkaGzogazRuEYSWGGePd1MplpgqykmZvoObGwuVi5o+WZGEBsMUT191VFVpKMqe7hUsY3c2qJ7VRPEctnGu2RaHmyoiWu1olTl+BAWEey7AhV3N61LHXPjPwdLKmm7bxJcepjeEYdN15Xix6lPc5PEq18BVMLiEovYrg2zuARI2MOLdjHHG3ijXzc2gRR7jhZwyY8vEMo8YjCCWU20/qb2PkpRlKDiHWs+e9gdO9PMesn0YwxdEOYQbqqeplugTjoks+dxGu+gmFPkwgIP04Y7X0L3T2GKVWEzh3S2RdVwkPrXfk/03C4q/zqtjtNtHodchbEPsbkGbVlSISemD9LsvMaWvk4xsTzDDe/RLp5l8yJTxE115X6yZx6Bk1I7fE+qcQzKZC275M0zhHHBpZsqaKu6h7Hsqk0C8okEIknOuiS9PvohQnC0R52fxln4gxeTyZZsu3XVDQ8LV/C7L2vplniGg16LfRsFV2XbVx8BMJo3caSmLbZIBl9oOiYrlNnJF/qtT9Fc6agJNOgddJeC00TJcN5Na3Rk45SEso2zO/eJuzuYE2+TCpaitIMtlEltWPC2EBf/q8kU9+FfiiKqorqf4gGLBYXuCYH+ozabspmSja5stFN29exJp8ntSaJNr+JVlnEqcyRDpoERgk7PVQuaVPLEbfXFcFe/RIlxpMM0A0BQeTRBAAYDtSlQRfaeHGWuCvEcpNELyhavCGXN28bTS9g1E4rxaJ0j3OVjxH4q6TeiLR6HK33SCkPjYJEVyS+k1WkeN3rEu6/dsQjWPxerP4Ow2AX05wj0TdIjTqmkOkzGunODcUrMBofIRreRddkOHGaZCQ1ipRRb4us9JGLAmNLcCV+ZU7S+YvvojR3Tm3QZDtcmP8kB/e/pgBpRlWGE+sQGFiL/4COlsPwdsgK/MvbZ3T/ixTP/4T6bCL5ebvL4M4rOJFM7BxcYqli5E+ix0O1zberU+gCOZHfU9wEcx5b6ygCsz1sEmcniJMIY9gituXgtkmaySodpHR8DQGyBVtSxWTY3iCtnCOnC6tii9j9EDaHeFqCm1lQf8zirjemnmPU3yQvKr/+BqndUDRfzYgYte6ryHzsFLD7j4gLcokz1bQQvYIdtojk585IL0oizrtHG8soUrUXGTblsjV80RqGFunoIY4huqK8uASlIAZ6j7C7TJo/S07+Dg7exypMqa24elmOP0Pm4S/QfOtLFOpz+NLLzjhY4qU3dYYHAxLvgLxsWDZvoMuF7MR3C98TJzqCG3r6EFc+lCghFsNGbl5FpYLBNrbeJ5QXsMTBTZkQ+8SP/+wohl+8hGGlquIin4HALeX5kKk8RbB1XVVqtKnzxM3XcIIiqSlj2gKBUcAO+0p7JwcIGeiYjgX5RTQZJOkVRp1r6tCleSF2MiLIzKq/z0C3VWRKmSwyU9D+AKswxqi9iTb2Ik7cJhatjTmpLldpzsZObdK4pxzcpvwtdXeIuzewpj5CoJcwhFEgzlmrqpSNqZ2Q9jfwe1vo1Rn0IItuDIilhiNb4qFsf2LiwYHqZRmFC0Td93GzMwRK6SCb16rSBsn0OBEuQWEKfbCngD2BWcWVSLgYBDJn1XNWXR4FyhMNibQ6+uARdqFIFDhEaVdF+EQ1KqmFOLIwM+I6lthioi4ivsRJnToGwm7ZQa8KP6VFHJlEljAnRON3VXE4DDdLMNg6GtaYOlZG3LRFAl2AfAb6UDzffaxYxzfq2LKZlK3q/k0VsY+r54THTdg/VHaBWEYpyQyW9pBQ/MflExjDSOlX03KR0WGfrL6nVI1p5aRSIDl6RiWg/P3bCobplGcJZMJvBli6qfSdYlFAeAwCB5W/EeGv5KcV74PqizBaVYdeRx8wCPZx7XEsOUAXZpXaKfQzZCanVZ8/aa6iVxYIrBKuqCklAWfIEDhSgCP0UA1f4lgqNzIC9Ui8Iz2WrhWILQdEc9Z7gFuYwRv2MCxb1QwS0V+GLVKjhGaPYyTyrB5hNhpoPY/Ub5EWTyuvr9F5X5BN6CVJsgVkwh5+LGaSOrFexMoY+FGZbPsttBf+Pv/yBz7Br3xhlU+cdqlMZ4g7ruJAuMUC37y+yTd/aYmyHnHj3gHzx4WjoePaea59+12qYyUmJhvs7u5h5wrUG2Ncf+tdTl84zdb6JlNTk5SnJmitrlEpG2jVMj/yo1f4H/5WXclF3rzqceFMgdev7RPsRvz6b75IcrjDZj9maqxEa/WQoSQaCpqKBa/cWaHcqGPbKYfNDhPHZhXV+bDtcWxxSv3/nPvULN/6Vo9f+k/r7IxMXpoK2WgKv8amohs8arb56POzfOv9TV6/5fODpyz+46+8iP7cd5GshwQrd9mU4YKjU5aKWW2OyC4wuvEehWqBsOfR0yQeOk51YQYzyXPQ62JLP7gvDIIOg5VVMlPz6OU6YWcfc2YBKzTxNYf0wVtYE5MwPYeJS3DvBr0H71N98TP4ng/3v4159in0xhLejVconfwQw2IW485NvP01tJl5TOnRbj7Eka27mcO2ffrb7SPI3Mk5kkFEvPoB+nPfg//Ol+Fgn+wzojztwPYeeiIU+m2qL34PQ9E+7ctCYJbWX36e4rkn0afmCPa30KwMzuwSg801zOYaA6kA3b/JxIufUhuk9s03KS+dw9cGWEN5hsf4vZBMYxJ/8yaGF6I3qtSeu0TgD7Bv3cPrJbhnT6LcnNmSGvDt//5vYH3kaTL2Atq9h3hC2TdNeo/eJXvqPMPDLpWz50lCndatV6iNzdGT1NDWFm7Bwlz6GMH9G5hFm0D+bnojjPE6nXs3qZx8khgPo9clGl9E63aI81J3LKg+sNYZEMn3adenWg8pf/Ij/PTf/T1++5UWL56IcExLde/tRGNpAt7bMPnzW22+9nMN/sbfOsXatV3W94dkpWbopJTdMtkxl8f3lkljg2Ihi9fr02kPqR0bV7XPsfFxpcHb2tzi7JlTDIOQQbtN6/AQJytVsphcPqfo/5NTDdp7HUZ+n2ML86w/2iAWf7dmcfG5Z7l78yqDjiyKXIq5LGbGwbEz9Dtt7t9eYWZhmlwpz8bKFgtLc6w8XGdpaYGe1+OgZ6gh1alnFvn8Hz3g6krMuDViYqHMq693eO5chZeeLTIzZqsFjx/EeAM5g1oMWz61qZLaFPe6R2rZ2liVvW1Re45RKOQZdA9x8jkyboFrb76l1IfzC8e4c1t0rzGOm6FUzrGu6gomtUZRDTMyYhEYDug0+xQbdY7NjHPn3gqTVRuv0+Vj/3bIxcU8/XbMicaQvdBgdS9mzAj49jZ4m/+fBH7x7z1SZzdhaWiOnFfEL7+qzAZyeRMOjpWfIJALnXBoEjHImOBO45gR3tAjNQJssWxpDWJRE0rHPlNWSy0tGpDWLqjNsahnhSPgRyaav05WjxlKvWBk4dgR6dSL+JvfxtE09PJJlcJNensKMBf0bmONXSY8FFq9UFDvKAuQ39rDMkMoXEKMwVHaJ7RLpIn8jh211NN6+4TDA9zyFFGiER2ukQqkb+EzSHqbvACER5iiyw19wt4qTuNFlWjSxfQUNJXqOUotBakV3o218GGifg9tKGyAWbDrGIMHRG5dAQ4FpGiEe6pWIEYtsZ0l3rbqy8uCJB6sQmaMYLCKO/UCaVO066JInUQX/lruOFqxStK9r+L+UqmItAI5ef+Ndgjb93FLk3iGidnvqhplEK2jSyJTjETVkwSHGwTFBqakR3ZXSXVRqoGRHye1JxR40RSOQbCvtIGi7JPzSyQQRKkh28dUnVs3YkatGziFJ0jsGpY8WcSG5YiuWTSEKxiSXsyLpWWLVCrbUq/r38OsnQLvQLGzBFQdSUoy7WBo0yThhlLbc+wHYLCClkQkgy1Vy5HkrAwM4lYLSuMEyYFaqhiZMaLeNm5ekioldFkaCOMmkEXUsqpyp8J6syTdXsHbv4spGmE3JR0cYk4/hS48uP4tdY8ViHJyeIvBaI3S9Peo87Y52icWXkV5mrT/AYGzQKbg4vsaZigmO9HH19R9SWu/+W9Sw3SUKioImjj1E8p7Hd75KmmljiFbHaEGWtMY7XdJspOkmeOKfC0gONG9JImD3ZhWGyGhxGqDG2j9A6JCQ9G27eyUmlh7nVWl3TLLZ0l334GxczjRiL7oL4YrUD2NO/U04fbbJP1tjLmPYthVYoE4IO51+QsZqF9epnaGKBwR3v1PmHOfxJh8gaT5AXa8Q3f7Lvaxj2MJCGv7a6Tj30my/TUFB3Fmn8EPDGKBZFglLCtDnF9A69xW/Vzpi2sKYHYSv3UFpziNbtXob3yTXGlO9XK0QGBrORJ/E7mPyHZQKy9CV+iLHSx3Dl8z1EFSYvoSsxnJoEJo6BL1zBWJ2hsqViyXp0RqA/4BUXYRK9MgHNwl6QnRPofrSh+woFzmplMklU1kYGCkXYada+Qbzyo7gSbbU9HdCTgwMwHhgMjfxreLZOTfJXAKs04cyaG9BfIwqDVk106yfVV1b6257yMVxZ98UYUiHnSOIvvi8J77NF5vk+xohUAvkzLEETYXEa4o9wonibbfJLGrqsuU0CMdrKjLrGPNEk8uYUoSP9xB7z5UU1vr5A8Qrfwx2fR9hq0DujvL5McvoLeX1YbNnT2HOdhk0N7HOPadGKe+j/DgXaywRmrGJOUnsVu3FZ3Tnfk48epfqi6U6gw1HxLJsEmiLt5IDWHSXJkcJQ73vkWmdAFNHsR+U/lTkUHXYAXLqaEJ5EsvETqy3V3HksuDwMmkppKZJ+0fKOiI7i4Qh4cqShYJoyIZYAV7+NkGGXuSUf8eTuVppYNL5CGc6vi5GlmvczRtlL54bxVL7yqy/GDrBrnqceJ8lbi9jJObUv1fz9tEqz6NaSVo3W18q4Y5ErjMCDM7jy8Ue80k6Qo5vkVavaQuL2ZvW32/jPppwu4DLC1PnC8oq4EZB8RGFm38GcLl3yFe+yY5mabKMDAzhq1nGQ162HqqqjqdzT0axyfQZi4SuWcUYbXfk9/9DikCEBW37CZuxmBoVzCNhhoYptEIS9RkAzF6SPcsS6iVFUTTNtuEMnCSIYJwJVo3yZRPk9pjR4pD64jDkJglQk8nn/HoZY5h7792BPyZeB69s0ucdrHyR+o+3Z5UVRnbyBPJpFPUiOWPEkvipr9LJAmbg1VSt6AYILbABENfGUzcgx2CeJ2BWybfeInwcIW4exurIqTjEmb3ATgWmi0KwxBr/9vEuSV0N4smQ8y+0GDLSpcjWrmAqhqQRBIhTEQZIxfDDIa3qvRYqV3D1sTvGqqNr1Q84lj2HQdQfFLwVsRrf441foEkEkDrOEbUJxZ1qLzcJfEkQzzvDpHv4ZbGJcCt9IwyPJKXiD86UurIizvxb0NuAbd8ioH8rcS7GDPfrQB7Uf8RpfJx+p6YEPaUWlBipKJcjPUM2sEdlS6xCxUGfh0z3lYH+NBoHNXFMnmM7gFJeEjizGDaIenhfeJMXSlKzZ4MSMRg0USvXCIe7GPnq2ranvTvqoNZYB0j7F5Rz3iz+gSalccU39vhO4SVl9DCLqOgQy5ZxTPmVMLKkLTJ/huKOkz5PFFnVUU1ZfNvWDqBaIIkhinKJ29AKi9ceRZIt89x0HUZIm+hJ0LXjolaN9XfRCRaMYkwDkWPO09qjqP5cmibOVJhxbvEzoI64Ii3V7N0UgEMOWWiRGplA0y1EfJAgIlmDd17RHy4jSmFCFvc0yUMSZXEQ1wxI/fFuDJ+5JIO1rEDU7E0vM4j7NoikeYSJg4ZqWlFm8SNzxELryJpkXVOElkD/ME2mcIJAi1DVd9FO/OjTBcmqeXhMx89zrvvb5AvGdSzGa5vaOTTPn/5Gyd59GgEPY+dTo/G1JQ6UHY7bSZmJxkMRszNTdPab9HreSwcm8fJ29x4633KYwXqU1Vu3Fzh7HSNV94fsLvfRWIKD3d6/J3vafCf/9sOSydy/OzPnONgu8/rr25RKfqMTU+xs7LN/Ml5fG/AYXfAeK2Em8+zubNOvTbOsBtx/dYKJRc++j0nlOXix/7xLf78rsMPv1SnWhjRPITH3YALx2rMF3T++60mr9/q8cOzNv/qf3uRuU9+B8GbrxOFmgLz2kvniPf3CQc6QcYm2dmgkMlzkIywopRMxsQsjSlVYHrQJDtbp3nrJhOzs/gS124PaG/vU754CZNQpRb8/WUyhXmCjIYlCsiJGXqv/LF6TmU+8lEGy4/JyLNUvs+NGZzJafxr72JdfoF4+QOc1jIjt0bu1CX8ziHJzTfQyiWcuZP4g5ECwLozM0QjXz0jUjkTbK3gHhNVcp/+4zXyx5eI99dJy2VF7Denj4vHCMswiTZvqu1aGI7Q97YUt8mRDb5RoN96TC4jqZUY48ln0Ncf463dVlya+rOfJl25jtePyRRrDPtbZAKPnNDfiw7m9KzqKIsi0Mpl2Lp+g06QqASddjjCTDwaJ2eoLJ4mZw+gJts/Tb2nO1feRS+fotAo07v6BgdBDifqEq/vknn2aYJ+SJY+g8MWhvBEyKBL2HlsgkQuDrHHqCnPgjFKBQECHyNcu8Po5nWSuSmy9WO07q1ROiaE9z2lohu4cxQKAfnjc/zq3/tN/p/HOmcXs3T3ezx/aQ5v1KbVjrmzPWB1M+YHLqT8u1/6EL1hhuVbD5l8Yp6Hry/j1vOMT1cY7ndJZVifJmqAqku/PNWPgGSSJkVnFI/IuyarDzc5c/kChUKRhx88wLA0SrWi2q4e7O4xNTlLd9BWQL5LT17m4fIyYeBRq5aZmJnng/dvkiQx1bEKSRrTGJ9ma22NkrAzimUe339MruTQOeiwvz/g8rNPYBUzfOPz7/GJ727QWk355T85IE/Kj312mj+/skPk57h6c4t//y/Psru8Q8/TOHFqitu3lqlU5Ew5IIxszlx4gpW7d9SAIAgkGq7RWJRUlMn22h71coHHj9cURHBmdoqVew9JlJLMZOHEAj2paoUR2YLLzpqA6EzK4xVKlRqrD1ZYWz3gmWcWKFQTClqGyz93lyjrMpGFk9WUrY5kqQ1qGYP/9/U2X/2tH+Tln/pfGbz7KknYVwA/a+wsXq+NLZwpqURlaxiewJSFf3QPd+JpdSnze8toia0qa8bwkFGphCHGKOGoDDfRczWiQIw6PYyMXGLvYDvHCGQrK8lgI4NeOoX/+ItkpeOdmVLPAH0olc08lmi4pbolkyBP3nfnlPJTEl2y4FDg7oxOOhCwslzStwgdB1vO7aOItH8bzalCThawD5RtTCC3hrzDZDmoZ/BlED/xEYLdtzAmX8SUZZYCm7tE8h4SzbjmMurd+et0pQzE+zihhaUN1fIlHvWUFUl3RdNXwfQHxLYkFWqqCqzFPkk2/9c1zyamaHtNE799A600hSW14VgWGBVov6Og42nxCUzdJaCJrVVU4kmqPlJDZNglHCwrs5FVmMATe5MMN6tLCuIuPC5ZSiU772LoEZoMJfLThMOmqgHoqah/ZZGckBoioj0CICbhHrFUY80pRCZoJdsqBaFLXUHOw9lFktEBeI9VPdEQ45tI/STJcfCAtHAJo3lN0fKtpKA0jpFrkap0+wl4+KcEVhGrcV4tZ9PwAHPgHS1YpZefSO1SzAUTBIGDGzQZ6QFWboy0LdaeMcV98KNdVfdGGBXxgDRXk7e+SjCLrSmINzGSLFbxAmH7PYz8JBQmSR5/Q/HZgmOfwzx8iC7PPtEKdtexSqKozipQIVqbJCtMqD7h4AH6qIt1+rNq8TPsNclOnFWMqXj3fczG5aPP9eCNf5rawRB9+iLDZgtzuEycq2AU5wi3b+Dm6vjDQxWBtPOztB59AdfbUTFwmbAO9h5hTZxFcybVdluirJY9oTymsZCpzRRtlBIHq5jlC4S9bZxcRRG/g/1b2GNPkQ67R5T/fIXA30A35tGqp/Eff0X94rNCvDxKpZP2H6LJZVaAWeIuP3yMPzaDJhCReIOEKkZxGg7vqVQB4y9gdN5Bo0og2kHZFhdKmIM94pHA0oQWauBUzhMGEVHUxhZ4i6kruFU4EvKiqyB2Vn8Nr7+JYbjYYydIkgKhTMkin9StQRihDVYwLYsoe0xt1gQ+ZWUENliG4SYhFeU9t3NjinxrOprakqfy75Z+tL9HpJex8gU0+cLLpSN/XG3UUjuD5ZgMhh1ss4Sm+0qXJZHZuPsYOz9NIJTvw9uK8Jk6k2Qk8iOO0NZ9FUG0SnP4sQN0MUTTKMpDRx7oFWLpo4q2TLZm8RDdrqFLXLu/SzzaxC7MHWlEgiZmZh7PW8WSQUFkoUl3pf8OmsCvpPowiDEKNaLWVWxxhEsXX+vhaZNYss3+64FLzrAI7v0H9PoZrOIxhre/DpkcIy/FGO2qKXNUvUB04jPQs8CVrrFwx00iIVQePITsuPpOyL87iCX4HypPtHR8IgHK7d4hM3YO38rjj26iB4LhLSGzFIFJyjY+6B6ovpZseyKrjyObEE+2khHDVAB0LnZfUgE22lA8sDmMvEC7SpjtV4iLSzjupOpeyabPFAenAB4jg8SUWsdltN4K+mCDwDQw7bqKtUocXhPSczAk8qVnXSXxQqzgMcni95Ls38AQxWblNFpvC02mr0YIoxaxRN7DFrGewzYsQj2r6i+J9PVlc2vUFWTELc+Tls6iDx+RdluEo6GiD0dGBa3sEL3xv9PfWqNQn1XAM2E5VOZnaa/eI5ZJKX2qT/0YUXaGkVy4C5fQO/dUncLKVyHqq80UUv2JHRWZj0zpVR2CRM97KzhakTB6DJnTxEb814Cd40SeKN8E/HaWVDsUwLrSbkqMPC2OQ+ua6pprzhOkg7fVxDcxykech8ZFkv4m1sF1grGPYQqUR9I50YgkNDEK05g5qVKsErYeozc+pBIYomkzqqdItt8+6n3lJvEyJhYuyearaOXzaBm5MK6pxJOQcOMkr2J60MO0ZcDlYsr3QJdLnyhCu2pYIc+25OCRUg0Kh0BsJqkhDAOPZBir7btDidhIMLQsidVHj0okh9cwS3NQP0c4HKrBlJBpBeio/OH9AxJrCBIV13U0vYoe9kisCpbtE3k6etxTWkVsSak8VBvq4HAXS7aZpRkC6e7FFoKhHumCydTVcNPUpPHuEx3ewJC4bKZOMhpgSnpCzxPQVy9qoUAoO8d2AAAgAElEQVSn6vg4woh3j16wkUcg1P/aWYK999Fbr5BUnsWa+U60vVdBPlPXVv3GIPJV39+oHlWl4kheyqJLHcPIFdBGI0Iri2O6REIKl6m8t0tSPoWRDDC9UHXuU6kqNJ6EzhEYVTctktwURjpE93toRg4v7qCHJpZUfLr3lE1CtgwCezXtKUKjjNG9QyKcE6dKItYTFWPsHj1bhjtoRemBZvAefxF7/sdIHZ1g8y8wMuOYtmz0i+ii83THSbSQWL4bZh3dlGHLIYnXVvUtU+prhnAgcupQFmdR8W4Z/BqRqQasyWhIIrwBUpLeDlppDieAQOsrkKIAiCxJMXWuYM6JG/42nTv/hfyp78fKLqFpEaP+I/UsFq6O19mj9uTL7Gw/ZuHpn+ezT5YJ7Zi9psapWZvdg4Qv32zzsYbO1//DZTabKQetJskwYfrENGY2w6Nrd7GzJsVcmY3ddZw4Q3vQZGp6Vl1cxE7Q8/pknQYLl2f50h+9ym//SZ9PXZplpt5mtS2Db1jfHvKr//wJUr9PayumGQQcX5ygtbJDu9WhPlNB0xy2t7aYXZRFgsHW4xblsoVtW4yN2dSnxnnlq3f4id/ps3R5jDOlDmvrHtVijr5b5N7mNh+aaWB0d/jyOyH/+Zc/wgufeg7NHhDE8zRXdzHuvcGgdUjqhJSWlqiVTuHRU2kXLbDIPP9J4offwoyEm7OrVF6iuJWazsjIYnU6dPaaVGdPEiYtxk49TfvOayR2hWxOo7Oxp55d8dQMuWPnCDfuqXeFUS7T29inMCnJtRZuTmjSKcPH36Zw8XkGf/UaUeLjfMcPEOwtkxOOhaiiSmMcvPpFGk9/jFFrm+HGXQof+gTh3esKvpmxbJJsSQ2x9m68S/WkAND6pLOncQcjInmnOaFisuiGh95uEs2eYHTrPbInLxHefRcjV8G98CzB7i7e/fdxlo4zElDg+gBnWg6gWdbfeI3Flz9GcW4cvC2SbqBAfA8fx3z+C7fxAo+vvNuRfT/9vCyTbLrdHnkNeoYmOVB0y6CWdfnwrEFjwuVEWee5mTrZWsTcU09gC2TMKOPj03/jClq/x0g648clcfoE/fY2weObOLkGmXLhqI4msfp8Ea1zQOLkGK23yJ2Ywfdjos1VSoWCWh6IsSLKVCh85CUKvkvv3evkl7Jkn3uaX/uRX+I/vtfk3OkqS1WbG8t9RkbAJy40eBxYfOlrm/zST57khz5X5s2vXGH6xGl2H7cU9+XExTla7Y56Z21t7ijHvbyr795+wOz8BLZE+g2NxeMnuf7Ot9V2f+3RGqVqmUK5zKAjg1yTUqnO8vJ9qpUxFe2vlDLs7h7Qa7WZmJmiN+grDWW9XiOXz7P2eJXBwGNufo6YkGqlzsb6GsEwoNKoMz0zySgYEA5jbtwWZWaD1uYhz16c5V/81hX20wJLYyGmmbLXCdk/MPk7n25w+fIYq4/75NwM+/v75AsZivmsYnCUxxvcvXmTpdNPkLVdvvlnf8HicTlLQq1aYHdnl+MnTrKxusFh95ByucTk4gzL99ZV13hmcY6D1h5pmhL6Potnzio958bjx2pguLgwwdTiPH/2B9/kh37yo/z2f33Ez//OCi+ca1CpGvQPuwSDmNKxeR492iXrHfL6+lfov/8aEeM4mQbD3jLpYQenOq3+vlRXPEowa2fUQkQTyJYzj2ZPwsE1xYowutukk5cIDx+hexbk8mrQrIC2dUnNhsTRAwy9pGq30n5Rz33HIRyGZDIJnuFg+AHR3hsYk8+jiSEmWCOtPkV09/OkdhFXbGRZC8wxjHCAb9fQkiZaEKjUgojOQ6mPirY3bpJokh62cegpHkEo5i75mTQTrXKCSKB9o11Va3SsKbX49KwssWj8kryqAOvCG5PteZxXlWyppSX9Du7sRXoH2ziR2IrGcLwDPIGN6zb4B8rOo009R5KdQusL8NUkSjOk0Yb6/UmSQ0XJpYfeXcMSNW92Bl1i9INlrCDBdxzot5W+mEJdipKYZAnCFrgynK8QhRuYZuNo0334iHTtr7BPfe+RPlmWmhmHYPMqVmmGpDij6oOWUyRsP1CLaSNTJJbFqrDn4n2i1hbOxOWji3Zr7QhoKLpyRqT5BXRvHwT+Lr6nKMbQbCKth2nIuUAivrJTGxLLPTY/SWb2OwgPHpH0NpDiUX7yMn7YIukHGNmjiD+SCJClTOpiBNtYMgSIhliZeZLeqmLLDUYBVtKGykU0Mba0HymTjyyW/MJJjP4dTC8Ad5zewz8mm1sglOXLqEvp1Av0+0P0YE8Zw4LWdZy5jxKKIaG3rL4vSSZDIouv5hVcsejt3yIUQLFTxtYjRuvvKSW9M/syoeUTt7fVnSAe7qMdfPuXU629rMAZTuMpCPeJ+jJJmCWXyRLrVfyNL2BMip++AhtvE+bGMAuLDPt3lfrKtlzCvWViAUDJhDafV6AH5IunBcSHH+CU5wk8g2DtS9iTF9EnP0H0+C9UF00ryfStBUMHZ7SDLzLTUlUqI8S+hy1xSvE8Gwm2bFuHBoE1UnAorXYJDq6rjWIssTI1LZNO5RbBwT7O1CKj9SuYpfPoVkcRkwM01QvXJDbmh0euyEi0h4dYmSV1INO0UEXVBcKVNXWln/CVMsNAd+v47atkM1PozhijvRtqMmc3TpNmC6RbH0BeHI6TBINbasCQqV48UpDJoV/6/QIW6mwRN87jSMw5iYhEd2YWVOLCdkXrUSbp7+C4DmFPwG4TansmLu5Q+iCyUfUGRKrr0kGPBpBrKNJs5G+RLU4SjgTkd4BXOI0bBaSDZdLigtJdHR1+5WeQ7nKWqLePqfuEAnasnVFbWb3fJ+jvk6lKpFwOyiXCw7to0l/KVFTcSB87h3H4AZFZx80WFF1UnKxhYmLUn8CJNYbNq7haSFI+QdhbIRUtmcBAijmit38Ho3kbrXEc8g7DvR6FqsWoGWDk+jhLP0M6/wnY/iZxq6NSKmm4wSAMyUrPWIYOW39GkjkF5QZxr6v++zqeYlOYUZO49iH0/pra9ouf3Ap3FVTFEPhJd58oCbCmzh71cFvXVOxJKN+26LSsIpFTYPTXwyvf31M9JrkypkJOpUXiTGF2DxkafVzZYGbHIIyJ0h7h6EAdXEKBEfYTnFqJOBLPfQst6uEnErcvqe2hxNr0wRpRLDqUOpF837xNFSEWt6luJ8TSwTq8p6JpAi4zLBg170FxCsM9gS4eUAFkVueJD+6j++LVnsTTRmTdWbzd1wmikMLSj6M9+g3VFXaOX0YfeaQCFjQMBp0WlpYRaARh1qb8yV+k+/CvSAd9ymd+nMHBXSxXNGiHaHqIp5fIWS4j2YQf3MJ1TiniNuEhabCC7hwjThN0OVAnPmGwQ6pPkLfyJA54e1fQS6fVRc1OfVXhEGpvPBC6cYSVKzEU167UWXLHCA+vYwpV1hT3e4Yk3MKIPKJkAivZVw9QQ5cYVqwm1uJfr05dxhdjQPO+AvXFZNXLRX6H2mALO79AGLaVeSNo3kBzbXTZ8LevYtgFosp5kmGAaQSYVqwun5EYTKwymvAiYqn/dDHs/FEKRl6SvfsK+OaUJC0i4BwPszBN1LquYJkCupPBh3TcJIVgtB8R2bKZjhVXwS7OoYVtZf6QVE8owJiiJBJS/P1r6HYZvfEcqZaoabYMeZzaZfxgREYzCcQgYOXwesvKZazLtFy21jOfhMN9griFE3mkZXHTmsR2BiPYVc/eQMjzYn1RqaIGsRCRhy30NDz6Xfp7xJGHbo2pmKW39S0oz+GIJlR4m/kCxmgPLQ3QrEkFD6MqyYgK2uYrOIWz6IUasR+jjx6RSnF14jmQepJMzoUDobqTVQKzhz5sEWYa2DIccurYZgZP3gESoZOu/8H7StuqCftkuEcUyEQ9xnQXidXQQrSPA6V0RJco34h04GHJZxzrxEag+rOpWUFr3yFwq2Tyx4k7b2HYZZVm0lOHKDNGItse0QhlpOfbUeC3JJANbw893la1KWPsDKkAbw/3SEf3jmi/8nflbxJWn0Af7RO03sOe/LjqdMrvRqphia2QXwxu/V8Y+TnsCz+Ovn+VWBPPuPz7ZbpZhcM76BIptOrqOePKYNFpEO6/q7575Rd+hD/8Fz/Fj/ziq/z4pxfo931W99rUXZtM2eHV+zG/8bcNvv+7L/Heq3coCUU9SBiNQtycdHZddjZWmDs2w3AoSb0eU9MNrl69xXhdBswOmw9azJ7IMbkwx6/87gNOnxgj6PZo93yGCWzuBvyrn1wg7h6y0xpSrZfwBxqNU1XaK23sjEUpX+TtV9/j1MWTlKcb9Fstlh9tY0QBF54/RWl8kt/7v6/z317fZneg84nZLH/jE1N86/qQ7fYhpUzM7rrGo/2Yf/SpPD/8kz9EYWGR9l+9xd7t24zVx9Eun8UQqNJMnpwmQ5cqyVgWbj6AuEUQG4SjhNF2k0JWI6hWKZ14CsxtVMSgOA/tFsHeNvbcGdobH7Dzzn3GFhbITo7Te7ysuAtGqaaAs/7uNvnjz2AWKxy+/SXMURdn8ixDXSM7aBIKqTqMCDpNkmYTZ2mBzOLTxLffZ7T5Pjz1MvrhPs23X6X+4Y+pd56ppfQ0D/3WW+jPfQ690yR4dJ1k5FF4+mU8SWz19wi3d/DEYrFwHv+DG4TNVXLPf1pt5dm9S7i2SfHT34+pFeiKXmwoKiyX3JhLGiT0+gnZvQ0yi/M4WR1zPAFnlre+dIXf/9pNXt8NaXYivFGEY5tMVF1OzxZwRn2aga+G9jUjZV9LqWg2Ty1N84U3brHcFmlfynCQQRa6+VxIJTUZDRJeupDlu85k+czf+yzFCQMk7VIYJ7zyHoftbUoU0fNTDHu7eJGHU6qhlyZxxsrE91fp3H+VZGeL8sd/CGtiguG9WxhzS6Tbj1j96ldZ/Ac/RbSzDmGKHvvEB5tstlMu/t3P8As//Zu8eqPLM6dquLrJ7b02lqZTsnTmZh1+7U/7/P3LFv/u354ndqu886fXlSJTwM/drW0a89P4PXmndShUJokGHbZ225TKVWxXV1tuwzDRbY3W3j69dovx8XE+uHqX0x86iyvQWy1m0O8z8jwmJhp8cP2WUu/NLhynuSvkbk1xMYS/NegcYrpZisU8H9y9x6jtc+zsNLVyg7WHAolLKTZyuE6Bu9dW+NDLFzjYGZAzQx7vbvH2bZ0rN/d56akClWqO9x8E5I0RP/c/n2dnZcTKyibZvEN7b8SxE3WlJZUkgjf0yVVKeKMe5UKRbrev0ssTM7PcvHaVmak52p1DchlbVaEydkZBCzsHTXxJ7PV6TM3PcO/2XeYWjimlZa6Qw4wztLr7DIY+Jdtm+ok8Ww8OeOYXNrlwLMdBf8T5+Tr9Ycp675CnZsf5769usr/3uzhhlfa11zHHp0jlQuvrinUkNH4hr2uSeHFm0Mbm8JZfVdUqAd8mgxAnK0mVCLtyWcFxBfBmyJkujtGsApFZUqwhGXppwmSRitbMhxXTJt74Oq5RxXNqOG71yJajdUkGPtrYh9C8dbTUIU56GKEs9sQNf4bIS6D9bbTYRht7jtTfPkoSTz0PB6toxTpEol/exrEDEtHMiq5c1MOyYRdgrBYQDOTMkMEU7pBUPaWKIwmHjbfpHVwlP/0iqYDKU5u4dQO3sUgkALpUle2Itt8BMXaV53CjUEEUD0d7OJKCNl1iMXylQ2XCsErjpGL60UM1TIiTztE5rrulFkB+7GFVn0cX6v7hPUzRtmsao91H6BNLmGWBQj8kNfLohXGVihbTjKPYCRsEwxZu5WnCaJV44xruzEfwhrsYjfOqnmwMuiTCfSs0SA+uI7m4tHCOVLTFK19Fm3kBXZK5ch9SP+8KqVzOzUjdB1Nffn8mce1pXDH0dO6RCBw4rR5VbRIdLdiA7BKpWL6i9tGyoHlN1QRksOEJa6t0WoHmkaWEEL3yS6TBjjI6EXVJzTKyVYx3r+FOv6QYT7JkM4wSvbu/TXn+ZSKx4Q36aLVptO4m3tZNrPElTLEgbX8TPwkwxy7iOpOEO99Cr50BSQ8eLhOlMWHSxCqfIqKIGXYIxOzVXcOYfE6psY3aBP7qa9hTL2EVn2B0/w+UStEuz8PeNSIMHLGtSYJdGACd134xTUd7pJkyse6Sisfe31OXXLk0J3YI3ZaKyEj/UxfFRH5RUQqTzdeJnQpGkMOgSSpb68xJpUmLvPtYna7ajugV+aWHJEOZIBlq4qJpHRI5yPZWSQ0BbR0Si+qrtITp75EM1tFkYiL05lGP2AyIPBMtPcCUDqdh4skPHosH9gHZmY8Qa1ksM0Xff5+hO002LzTWPuxdRVv8MEQOQVsgThaG5hN7B6SyeYw7RPuPQGIzuQW1lY+1PLrorOwcgS+dUh/kZ5OIfNpHF+qoKCu8Nr47oxzHoRxkhSYlUx5nDD2fJT3YUZ10ehtoAoOrXoLOY4L2NezaOcRKFcrmzp3EkC9l5hi+2uBb6PkZ0lGTONUwZEhQqKqXi52uE6WyOfZJrCJmMlDKL7t+ksguyt4RzETxFkLtqMufhNvYmVPEonQM7gpCCq3+NNpIYruiDjOJpMMSDLAFoCJbzmgHLXIwSlPohXmGD/6AnJgE8rMkQesIYCQAlok5IuRCHBO0HqLLxS8KCbdfUYqOEAHk1InsBo5EVw6u4kjHPztBSA53LEN49bdId98mnn4OTbp8u7fpx3nqn/xnaOUPM1z7EkbpBFY8whoOGamtYpFY9xRRNxWvp3TGKydwzJh+dxvXLpCWTqOP1gjlpxKdVlXc7h6RbK1lcphmMaMuiZmgjwbK+y2XT1cc9sMWmrzE8jPoEtvurmC6Z6A8rmBuAgGKNQ2reBL6d/G9DtnivIpjB+H+0cvHmpCzDMPlV8jMPY9Ve4HRyhewSpNqQuet/jnu2IfUJscY9YmrF4lGW7h+V/XW9PEzJEEPusvocgj1PEJ5aEUOlpuQeBFxpqQc57RXVfcsSXzVcdZ06RPl1cAoCWXzWSLqyN9PnqA0R0bLErz+88TeJu7UUwx3b+GWGziFGsP9DRVt7z1coXTiIub0p0hH1whLL5Ha4+ipi+c9JJ+GDOXCKxCs7TdVasWd+DC+PHT9jkrwSBxY1JaudOBMG0ML1WeXBLvEdhWdJuHWJtnGZXx/B+wahltGD9ZJnUVF0ZfLkSa1HOmj7b+OYVWJhPbaFqhfgzBzCS3eItm9iVYYx6o8QdB9SNy8gTvxMoYwAIZrJNUncHorxGZORdvV0EyIqSOBt0kHXRSUBxjVOXStSNS9h6mnJDKsy03jGA6BuHwrz6qXANEWyXCgtJa+L85ym0TUkmILCJpYzhRRMFTAGyFSqxifmBFEqSpKzUjSDm0QnVhZ4rQyDIyPQHJiFZHPUDb9mQmFhUiEASFYcLmUjzqEOQFtZtDXv4E++XERFWB1rpI2nlYxsXCwR7T/Ae7Uy2hpl0j6/qNIueylAmKrEk98RDmOhDq+iS6VispFAoEOHT6A+nmlD5TpuS01BQEElk4SSHNfiN9ksCTtQRcySyrKLg7aMDVx3ALhgdhACmjyuxfTg8BIZXCgXlzPq5+XzlWMzJOEcpjZ/wsoP6d0iYmdhcFj0CpEYsqwdAXuE7WSJEDkfWVEbVWnCNO8isxr0Ta6PKuJ1MHaErqxQD/CJmlmEq0jdOKAyBjHTBLSuE+QbWBFMoS9p5IshoBPhRJcOo1mVoiCFo4ksrQETb47iY+bhiRRpAZmo0QUPmcJezeJtq9DeR536iWifpMkPsCW2pSTI+h9gD3YIZn+hPpOJs1N9HKBUIZVh/fQRXmZnQAFh+viagZh8RRG82vEgTAPzhOPrqHJc6V4iqR9GwwbLVMnPLyPU1gAOyTsPKbw1D/kn/7tZ/n9Lx/y0WfH2NprMYpScqlDqabx1bc9Xv1nE0xNBVy52lH1HfnMxT+uuzHV+hSjTpvBYEi+IM/amHp1hrWVe4yNTyjCspHouMWI1795j3/1eZ+PP22wNJfhygOD/d0h/+afPEEdjc3tXUpj43xwZ41qyWJjpUWx6hJFKUuXlxh2JbYYsL3bUgP3E2fGqZ8/x/2/epvv/icbnDxRYK6Ro273uL/ap4PBhYUGlxfG+d0v3+XGzoh//rkFfuYfvcQwnWDjy39G/dmLVGem2X1whXp1kvTCJdpf/ENuPOjz9bt93riyxb2Wz+y4Scmwud+WpE9KSeDNoRDXI45P2Lx8cZYCHtUxC6vT5uOXz1GZyRPPHifMzZC+8wq9GArzFxi2Noj3NjBmjsHKbag1MCrH1bYlaC5jyPdAevGDfapPfkxdZoPHd9EKRYI7VzBOnsNOddLdbcxGFTPr0H5TNmNPKsVktLOFWRJIpEnw4Ab62ScVkC8xIsyDHmapQiAptW4Pd3KW/oNrGDn5nE2MJMGanifeeCRrWwxP6gQR1KtYcgYLOvg7uxgCFRy30abP8/Vf/00qM0/y+1+6yh9d2+b0VB1v0KRSzVMpuMzVQ9KgwJWNXU5MSlIlZv8gplY02dzv0SjaTEyV2F1vMt2oqNRdJ9BIYpv1dh87Dgh1k7XtPit7MYUMPH1ikmcqA57/8BTPXVjEPnaMsNNFN3Ps3biHmQzJT04Sy3tnp8lOr0u+mCU/Nadc6N37UtvKUJmYpdsDfSJD78Eybr9H7onLSmVrTpQ4fG+Z8rhG9fv+IT/xg/8L33ijzYfPj1FpRCSRTbVm8nh9SJjGtA90Tp+w+dnPFsjnCty73WJ2Osf69i6nzp/noNeEIGJ7bUtZriq1AqXJMbrtJs31XTrtHovnT2NbJgf7+3S6h5y5eJF+t0dnbx8/ivAHPjPzU4RpSr6QI5vPq0TAaOixu7ZJuV5C00ylx+wdHHD64kVSLaLX7eJ7EX6np1Jn3U6Xk+eOU66W2Xy0g2EauPmc6i/niwN+/b80uboW8T++PKUME3/1zjq+nuEf/82aAg6neo6cm+XOnftMTVYUiHM0bDI+e4zm1g6ZnEur2VaJ1cnGNI9WHnP24ik8sSxpOsN+B8O2jqoN+y1qYzWyOYfOfg/LtrEKDqP+CEeggs19Rq0I19IZm5nGqrrkegMCK+Gnf2+X1T0DywrVs7leybK8f8CT02W+eOWQX//ZF/if/o9/T/fbv0Wgn6BUFqDcLqHfJOrukhk/S2IfIwyWiQwTy0+JPBk65lRSWRLBco7QxZ4SyTKscnR2l83yYAfNT4X8qCDbepTFLOSJu2tqGG/XL6lasGMVSSefJkn66jxumb4CVA/37qF1HmCf+VGigxtYlSV1KU46e0r9nKvKQiiniPvx5ptYS5/GF72qv45RWiLs3SeDiSfRc6NCKGa05m2MygxRmMXY+jpG/aSCRgeDNUz5WaafoP/6vyb/5M+oZ4DTukmUWcRwsopFoKd9EmdcLS2yeUOyI8pWkPhtVelQrIDJZzCtPKPtt46qQ3qVvKHjxV1V2zB0C9/fV0sM6eAb9aeIN95D05vo/UO8iRdxLDnj3yWreZiVy0pfJwBD4ZSlow3M7CRRMFCsJE/OV8I8MCTiXcMunmTw+Bvo4RbZ8Y+QWimBqK/FzJaZJBETmkDVJY0sdyO5U8kwwjBVkk+AyrEkPHWbdNBCV8vcDInWI9pfUcpp0fORsVXyUCrPerFGvLeGKeywSBS8pSPWwu770Hga7fA9kuwxTAGKhsKoWlS2IEOMYpVZtdgRDpUs7Pz1awqcnTZOKf2kPjggFoisskBVj+5lhnT+B6RmEUPgfsEBfuU5jHgbQytAYQy6Q4Lgsap5KpjO4SZ2/Qyj7VsgXDF59pUWFeNMzlVJ6mDvfYtB5gx6/biqwaQPXmcosN5Tn2Ww/ipefhFT6r8Zk8Sax5T77eF7v5bKJVQgOJoAJ2Q6Ir+Iwjyx9FclepAVJ2EHTxH4C7jStVz9Cmkq0dBp4tkPE+1fQe89ItRLuFpAalUIxEsuvfTiEprA4GQTW3oWf/NPsEvzmALHGG3jylZWaLrxAGf2OZJBm0C6PGZC6K1huAtougDg9vHdMfRkRBz7Kt4pVoBYXJFBF620qHr7pnzYNZnCycAhiy69Xen+dDfQhi0y5UsE9Vni9qo6qFqE6KUnFJwq6Twiam5in3hRMQLSrTdJGxcI/VD1naxwwMhv4eRraPLfE0q/bMaF2ZZIVGOk4rTIg0UugNkMSfFJvEdfxhICqHsCI19UXVnRE8mWPG1dQSsuHm09tRJJ3FMaNzPYZbR7DaNyjtQpH7lCBdwmBGmq2JZG5OTRrKyCkIlPWtzbtqQMMgZREKGLM92pYgx6eBIhFyNJZQx/sI+eK0OnQ6yPMEtnjj7Xw8dY5UVGSYzV32Okm2TyDcVboN/Eyo8rt7xYAzQB7BQWSAYSt6mjez1MukT2GJop2pFJYrlACFxTy5DJHjmypaeaupPqDxSxJeQnVB+H5nsEnS2ylvjP97GO/028aKBgZqKdkoeOljtONLxBEMk2TqAmAZqoEQsloihUk9pksIGVGoqX4Ft1lQDQrXEsY6g2HWHr/SMNj6QYNJ1QkhXiRg1kc18nDNqqBySRLyHa6uKaVer2A1X/EPWdZh99vhTkdt/B2rtFWr9ELFCvwxXMYp04dAl0B6dcJ1q7gl6bUSTVsLWGm3HwZbATBfjhIYbfUt83XXWz2ljJDp45hpU7hh5sKEJ9kl888szTxxbNomw/R23leY0lMiUE99wkpkDMtl4jUl2rMrpYIwJDdbQcf0V17OOJj6O995P0792ktLRA1OkShDHF+ZMMl+/RH/WYuniZwdoVgsb345z5Yfy1L0HxDHaQEhsDdEpoZkgiWxV52CUd0sJJ9EwDb+tt7HAI45dJMg207vsqPRNQg2AXpySsCyH0+1i2dtSdDEbC+sQKbLWNdRSFtUiy9za6NyIcPw+iUFn7MnZxHo8SZpTiRY+xy5ePAGmjLsh3svkqQXuHdPo58mIiiEfltlYAACAASURBVHYJR6LtmVdDCvnfyndYPLqJlcXvrqoBliUwvsO7kC+jZeaOBgBCgMwfJw2li1oDfaTqAJomwMMWutQgFLzNRRPl5//P0ntHaZqe9ZnXm78cK+fqru6ujjPT3ZPFKA9KLAasPXDArA1rwVl7V4QF1sckg5EDybvswawNa8NiDBg4Egik0Uhogib3TE/nVFVdOX85vfld7qf835yRzsx01fe97/Pc9+93XdIrL85D6756GcjQw25uEThlpT6UeoMmQMewQdh8n8zohxmIX7d1nfTwRUxnHLcpYLuegv8Jo0WifdL9ko22JmyAdAUj8hnoDumBQVj/JubwJeLsGPHmtzCnnyXoNNBNTV3erewoA13Hzoyq750hrAeJ9Qs0VMuqZ6QkIxwzUdsTGc6adkYNsRLfJ4r7kJlVRH0ZWkT5Y2j9DaUnIiM6tg5xUsPoNSBbQRejxtarxIUFLC0LcZ3QGVFRfnn5i94mHviQmYHePXXh1YcfI+ntEPtdRdSWSpU4f00rQ+DXMD3BzMwo3ZMC82SPHbl4VSUiUFsdeT6Fnmj4pghM0bs2SQYDpYkN4ya6If8tMrHvq62H21iXli56+SSBPoQjlRRdw459QjtDUH+HxBYi9BSm1CQ699FTI6pCZATClBhVjm9EGynDOE8UO4uYdu7IP918qC7ocbqCGUGsaRiG3DBF2yhu6RJ+bGKlCopNYPpNvPUXCbPzOJOXSfwu1B6gRXKYmSKRVFcsz/WsGsLGvQOS7RukLnwX3aZHKd+g2XLIlqoUzj/HkH2BheGAZ85Ps9rq0WjJd86n72XUZ+tvf6mgNHa1Ax0j6dLvhmQLZTY2tzGEzj06qijkUeTSrvfJVIucOLbAzu5Dmo0++UKFmWmTL7+0wVdf93j+8TInTgzzC7+9ymeetPnxX/wIN1+5S31tg9LoMKMTw7T2OrQFaJTK02uLG93g3KVRHt5ZI5er0uwHXHpklN16nwufu60qO//ih2d5+Vs7iELGTmKOH8/x0lKDN1dDPqjH/PovfAfH/9Fnqf+//yd4Ovm5Cn7RJOsKbsbjL7+6zBe+vEXf9bEdTW0TL0w5XDpVYavtcX3VZ2qkwONjFqvNvrqQHvZNclVLXWSXawEfOVeljMHbt2tMlCO+42Pn+OjCME8tWoT5Mt1YflfQqrvomR5VY4z63hLG9CzpRz+AfrhL79W/ovDEc/RaHbLtJoOU/M49EjnQpdIkQxX0/oCkdYgrg8Xpk4TNAzKjs0T1baUD7W/cJbp3g/TFp3HmnqB7/Ru0DpaZefwz1G69hVMowu42vfF5xi4/Qf3KaxROHKf52ltok2Nk507DzjpxMqB70CB18hT+tWtkygLz+zb8uElzpcfPfOGPuelmOGy5aFbIB09OMZwPqNUHpFIWlWpWbQ9dLF69uU+x6KjnhWumODGapaNp1NbkZ5XBixKKQwXev7/Fick8p6bHeO3GuroYjqUtbDNiq6sRBRneXtkin0+zWu+RsxI+cyLFP/3HH2NxcRrDr5Hs9jmouVinF9l/+SXGz56jq2mUsibdRoRfX6E4eYzavXuUxsbRFx5V6iv5+Un9KWh3KDzzHP4bL9Deb6BPTTPxXf+Af/u//AT/+msdfuDpBUaSfRZOnOHWw3VurR3y3c/O8PP/dY2RGXj5X53HODXJ+subVMoau3sDtjcecur8aXYe7uLHHo899xyr12+z9mCJ0ckRji0ep7bXYnVliWMnZvF9l0ypfNSHjwKqwyNK/4thsr68yoVLj/LaK2+yeOYYxWKJW+9fJ1ceYmJ6lPruAeVqhfW1LeW0H5sdZ1Ab0GzWyeTStBtNMqUCKccknS0QBAF7+9uYVpmnPz7HlW8u8Uu/1+LMKZNyJmRhpsorb26r6PY/+4k5BoMM7YanamyjlRz3bz8gWyqQyRVpNWtKo5rJ2RQLUm0y6fV6qpIiuaX+oEe7XmdqTi6eJm6nrSoZKcdRVZGNjV0WTx/jYGOfgdR+rQILi1Pcv3GPY2fm1YDjxmtX+fDHT/AbX97iV7+q853TJmuDDrNjFXb2Bzg5jcOawcZOm7WtP6W308Tvu0gYU2sGoO+pepIz8iihXLBF0dpbw5p4TOnKjYKcv3skrRpk88SRmFPyBFJiCWKlPQ0bGzIWR4v6Srlm5aZV0sxd+n3VhXdO/xDx9pvKhKbO3ULTFxVw1MNPTAwjVhXicOCT7lzFE/24pCDrNxS41vVbRN0dsiPnCYKeWhxEsSg522oZePSu2VRJMEP+/5pGqi99c/k5l0l0+Znrqs4QaSFxZwOLHkHrEGfyCYLIUwN2u3qCgdDrD5fJjp5hsH0LZ/SMAojLwjSyHSy3hS6GEnlnDQagBWr5I5BwMYU5uPil41i9FnH7PcLSZXXGlJkBapHikLQ3cFIxSeo4iTBqrDSJ8HOyc7i9A7T+rmJzSZVYz4nueAc9M6KGK1JxS/yauptInVKxBLAx+7uEqQllxwoPXsUoP6l+rsmgLu3/I5uTtOhb68Sth4r6L5Ut08iSaLri+BjCcwsiPCshZRYI3G3ModMkXqhsMgJYlqF+YGVJS9I7NlUdLQp2saqXCA8eSCAUo3Ka6OAljMwZtRgNNKnZWmrBoAvXSZP3qo2VEVNVTNyrkQx2sSoXiLpbRGENvXIR007hCwSQFGHq6POldXbxZCku5oDmMlSm1fJJT1q4dVmSfAjdX8OQdItUhgcy0DqGURpCDw5UJVbAi+7efZU6NMsL9Hevk7HEQBPhu3LWcDBFlWh4RIGGJZa8cIDWuPJ7idm+i6cJwPEy/vJ/U/7D1MKHVDxZE8mJZhBu3cM6/gFFnYwoopeE3t9BE9WDaJvkUmGaaHqi3IOaXlAAcq2+BcUZFY0VUJglfna7TFJZJHI3iddfRp/+KJaRw3v4dbTqNOnKSTVl1v0GkZnDyc0S198ikEnc6Adh6w3CQhrHGCbwYww7hSmbO0HedKUX3yYxbJLyaVKDHWUKEHtzkjEwnGHlyrbbSxgCgZA+aOMuuoC+4tQRubLVgOhQaUJkm4tWIJWr4mvD6hcRDmo45ceIdl5WKhA/6GN7O2iifxD1VBKiD7bVJdI7eANn9Bxm8bICUsViS8hW0BxRQfRIZPCw8yKJaWGNPoPfuKX+2iRLsPlVUjOfJUqaSg8mFxHppiaigRs+iXawTKjrmNIxtoawzIJSxPXbyziFRULpEB++jT58XvnYkYtHWyK8Br7hkwQlzEhgJQa2XFRkm+b56MUZklC86Q9lWqDSFpp0GwujqrpA+xZ6ZhxfyNdeB93KKp8tsU0sIBHdw6CgnOLxoI5WyGMGNpEAKITqTY909Wn1YE1kshfH6pJjVJ5SKjLTaBPJdC46JOmJ1kwj7srlWy5uop6UA72BqbeInTH1swmFemlEhF5PfZFMadM276ClpxkcvI5uVHHGLxKKQ0sMBe66iqdLhFpiuqIvksi/pDBEiyYRIPniyoFGy44Sd9cx8hU8V8do3cFMZ3CGnqDbraMnLmaqQNjaVnH8MHMB2MHefxWGP6h0HUHtWySlUXTnFNrhFWKBWhSqaMKO8GXj0Fef4ygIMUUd5R0QW8Ngx/i1e5iSYMieIBysY1mmUpZFYQt377qKrJfnv1tdnv3GNXTxqmujaAICkT1t6QKhcB30mJS4fvU8oX9AcO03VaxQk9RJ6z6ZybN4B6vEVkX5qsP1W2RK87jzn0Qb+wThzhUy2SKB1yb2fMhP/vcXxR6mliPsruDbeSyJ1Pc3MYbOQUd66gmxPAziDqa7ry5zMtTSBJ4nbtXBJqSm0aqzWFpIf/M94sN3cea+R+nn+n4LU3zc6Rky+XEG9fvK6S49Lnk5SMJFJvqBJZeoPJY+IO43CQrSt0upqbO4X+VCI/1st70NzW9hVj+piPpYoQLVEMXq8hZ2tpRGyLClP5dRCQrp8SVmD10TAFOCEQ0UnNNMGtBsYtgGrjARooaqK+lDi4pEG8h33pRe4QCrfFzVbEIJk4tlQzbPfRO9MIqZ9HDdJmZ5gri5he7XID+DmZpSCSV/0FAwv0TUiF4dLbegOAuWt6Fo0YEki5p14rU/I3PsE4T2NEH7fRIvhTN3mWD7LTThCxy8jda+jzXxSbTBOolQ/GU7kplUtZ3EnFYbFKEcp/LnlP83SHagvYmRHUbTx9CCdXy3i50/ddSt728QHbwHQ+No+WfVIT30NjAHhvp7QTKEkfLRGqsqbRQNPYHp7SjziZkt40s6SngNcRm/exUrd1KR9ZN4Cyt9ijjpo/UPiVNzJPL7Fm3QoK/0QIkwPKSKJIcOgTu7IYEzCo6HLvFJXXR7e2jm+JFZIwnUtjysrWBn5dAlYKFxxWtJ+7sqmSBlQHGjJ5UTquYTSJJkUMfIzKMZmhp6yPNIL+YJnQW0vRdVKkMI/kpZJNuOjlgZCiRGWUXpRQFqhi6D8BArO6N4NrFvqCGSJmwbgbOmJnGF5RAs46SqSisVik1h+CK23iOSd51sqKyY5HCbOCWVIRtNmDwCFNRG0MMGg3aN4vFH8Pwe1TOf4+kTDtVShrCl4eQiLhzP8zsvdvnEqYT/5xdLXHtdIzs6hN/bQ4tThLoqyamBaqFYZu3BKidOzSl6t6ipeo0Og0GfC5fPkk8nvPLqff76jaaqklVzBm/eGDA9nPDLP7XI9r0mK9sd5uZGVIxUoqtbazXGpqpkSuKAzlI1LWr7bZbXeywezzH79Cjv/PUmf+83V/jUySKprIXu2TSIOTaRZbfVZpgiLz88INhp8fU/+l6yM6M0X3wde3Yce3EOdnrc+Os3+ezv3cIPMngFCyPu8tln5olqdbwgIlvUGEmXCLWQqzf2mZi2yJWzfPOdfWaqJuPjk+RLDocb+2zt9xkdsXjmqRlu3x/wzbdXmR4pYLZ7nKhY/P3PPMZkvsvYUx+geX8Vq1omGplB67rEh6sY3S49sWyk8uiL5wjffYtQ+ECnnkD3erRv3iIlCr+FS5hRl84br8DEApmTp9Ef3qCzu0dabCIjYxhZTekepWMu/Wox9vie2CEahFlxSlfprNxDT3rkF5+hefNttG6X0mPnaB4OKJhQX7lGujxDfu4Y3VYPTUjodoGBY6Ef7PL5n3+RQ9tBKxuqzjE8PoTeOODx+QmGZ4d4/dYKD5YG3Hd9PjY7zOPnhvi9v1nhO5+YUACvr7y5RTEn2zuH45M52nHCwXqTdujwHRdH2W/7vHFni1PjObXxnq2kubfe5MxslVy6g67n2an7bIYat9fq1FsmI0nIn/38MzzyvR/G2hMgKBy8+bdYU8ewNmsMMmkKT1wgun+HUM5sUzMcfONLaulgDJfJDc8yGPiUT56j9f67WDm5mI7gTU2QamxjFWz+4g+/wY/9cZ3Pf1eFfKRTiyxWHrb4nz42w5WtGlduNAm7Br/xz4vMnJvjxssrCi558swFvvHKN7j0yAK6U6R+cEC/06FarSpotcBuD/f2mJiaot9pEsYJw5NTtA9r6gIp37dCoUhXOBO1umJeyAtkf3efcrFIvdbgsScvq7/3+tdfZub4JMOjE2ojH8jFSdJJYUB5eBjTsNjf3VXAxNjUmZqbZjDocee9DWYnM0wtZPm1314hlU2zsFjmzVc3uHyxwpV3enzP8xOUxj0O1xsUR6dp7q+TlrOdpOAijenZOdrtljIRrD+4T7k8xMKp07z+0kvML8wxcH363Q7T88fY219XQ3/DcIjdAR03YWZ2kk6nRW1nn6nZMQ4OO0wvzLC7UWflzhLnL51i9bDHB8/PsH14j8s/3mZxUmN2OM8g1FTSyu8nbLUTDmt9Hq78DvlQp7N2l3Y/pnz8CTHZkmg92FvBFOK72ux7R2lTU/6yhZYbI00fP3CJDUmQltBlExp11UVczGIEOlGwgyY8ALGKZSeJDu5jqSF+Q5nO4lRZ1W6onBfPI4aYs8wceiajmEC+38De+Bb+yAWs9ASJu06SKqq/DndeU9U6gdCms1X1rpXFppYbQpdFoCsK9Kz63SrCvGao+LxadMjSUU9hRTWVIjJFq2dqeN4Aq3pKLSMH7RZGqogpjBwBHwqHQHhjYjjwBxhhQ6V426375CY+drQUkwRisEUSykW7RZSZJFj7G6ypj+BUn8G7/evEY8+oNI7WvkHoReQmniDKlXAPl9Fqy8Ryv5p4kniwgqanFLDStG3iyFQdfq+5RCyX4Onn1NLXiEsE7Ws41YUj5pHA40V9bJQwkxruzg3s6lkic0ixw1JlScmkiGNh6PQwTQ23cYCeP46VzxDvXCEsnT9SF/fXSYQ5Fkoy08FOHLpLssgawilOH2nARbUnyWYxr0lXXvw9ojIX3X13B0uSB/kMnXsvUFj4DHFSgsAncZcIoh6WKKylXiELwvxJNPk+i16wdlWpCjVLIOObeLGGIZYiK49TPUb/8IFKQ2iBJFB31X3ZcsaJt+8SWQF2+SxRr48uG/vUENH+VYzhRcLGLnqhjGVVCfpt9EKJYOll0pPnSIYu0Vn5S5WsSo88TtC8zqAXkpq6iF67qyDUkQAcBUrZaaC13vxXSdC8hWHNYEycJhadW2aUUPewolBNqWLLwMnOKP+8v79EIj57zcGqzKhpTSgHUoFaIAv1gVIKqu6KbNYdIVsuEVmT6ALk6jwgyT2C4W0Rte5i5IdJrCqx38KIRGu1py5t0i8xC0K1NjH2bxDETazq4+ilEfy1qyrq6PeXSI2eJTm4T5CfIunvoqcn0aXH2VpWSkGhQ4d2Ba15h8R0BARLYpqK5K7LByDy8P1dMnZJxWVlcBBLDzNpkIg2bu454tah2qKJEkKmWvIBRxPlWElNo8SzKAMPK2UpQrfo/rT8DJaeptevkTFi1R/PD1+kE4MpXuryY9C9TiyX/ZJEbLchV1b9fUt+ptYYJi3VsRUvtGbIpW0dzZrAsDLKgykTPFM2evXrJJkyUftA9auN6qM4UVv9fDQ/j+ZuEYsjUx9Fjxuq7y4x76DfQ7dFW6UfxVoP30CrXlQbYkOiSKIEkUna/lsgDm2Bggx2VVdbLpta/Z6K6Jjy++p2SIpDxFGbuL6NXZ4gaqxhjjyDLvH4eKDgZWZqXJLERJ3r6KULqk+MlSPoLimwoG0k9BMbOzDAbKvNqkA1dCHvW6GaiHodIbp+EsKHDJoHqg9nywQ1MknsFAjLoXyGuL6MPvooenMNL+yqfo4h6YOCRGc0lbCQybCRPYaXrpCS3tLOe+hOFtvM44vGS+LOznG03ooCJiqwpKL+r5NoJZyhRfXZFXJ+sn8d02hB5VkFFXF33yI1fgGR8sZ1SUJE2CNn8Q+WMIQH4OhE+pA6yAX1ffRcgURL0KXX3tjCGJ0g6B451DV9lNhbRY8CtSm3SyfxvSZOsIMv4L10iqDbw8iXcII+gdQ0eruyclQE0nAgAy1pQhfJlWzc136FtOPgJ5pK4diJQTy2SLh2l/TIFEbcoS+dog/+OeHOy0SHt5U6xhZojTVGENeJo8wR9LN9C7fwKHZweBRX90N86eDLJFNt9kM1JJIXAR1x4OYxghZBdR69s6ko6TpSl1lSE3SzcgnReYfbb2I7BQWBdNx1AqmyuAPVhaV4niTtk9T3VHJGkhGSTPEOb5AuTBMIjC3wCTt3MCszKiHTO7yLU1xAF/J3uw/FHIm8GPo7GEJltzL48jJwMmj5Y7idPVK5gNiVF76nQC6hfRw7WldqPAGzCe9ETwSiJxGw4tFWW54/rofhvo/vCpG3gjZ0lqS7d8QdsedRvB1Jp/QfYiYRYWYU/2CDXHWcjgwfDt7ELJ0m0YXamxBIWqQf4pkdzO4WemqKqDCOFqZh8AaGNk4o3u+DayrJRZRXpF2vtY6RHVeXH9Oo4ukJmry8LAl7C9FWR7M0RZ+NvR0QIwaWegm266+TTp/FHJpHq99A6ouGPAPlxdFdQS8dUykUXaJlW39LX3NIS41DpvluA0uRemUTvkMs9azshIICxaJJjFpq0y4ApETAhrJuEZZGnKClptAi+RsuycBHz+XU8NiWaKHXVNsSTWpYUfdo4EqBOJXBcg/Ulk9MF45UtxAV2AR07hBxiFl+mqR7SJjI0LSoTCqBtyc+TxXT1tw1fE3sChW0YJPQmVf8BUti2qlR0uUFBvVr6nlq5I+jIfaHDtFAQH0BSAcwNUPsbylDjm1PE1ePo4saSJ6VqWPohQLJ3vto8rNIZdHFcuHYynbihWnlrDYU/yHBjCK8lIHldQi7bezSBEHrAVoo7JQJ1cGX9JmTzjDYfEfFHfGFm9CmeO6DLL3wH/jwZ/+QS8+M8uZ7e3zsqSFOjA/zwlv3uVaz+dI/rvChj2X4xpeb6nM+OTXC2sNthkdLaIrcrClV2eb6pookV0dHCJMEvzdQh99M1iJTNfijP9rhoNNHS0uxTOflKx3+yxcukRg99ndbeP2Q8akx9rZr6oKtxyGB/NkEmkuavcMGUTPksY/OM1KyuPrqLj/wW9vMjel89MwY1+pthrIadttlYmSUyuwUv/B/v87/9kyaf/qT349zMgW9PHo6xNta5Uf/xd/wx2/1ODOd5fJYiv0w5nTRYltinR2X+3ttHj1ZYKQwzBe/tc7syXHGHFF86mRMk9UDj7GhFIbRoTNwuL3R5bHFLJaZY/egRbvR5YmT46SckFYY8M23a6T+Lsv2hR98jOd+9NNY129xkBTIu3tEAjbevEtvUKc4dQ7HNOl5Pka3gdf3yT337XirDxR4zNvaRXMcnGOniHd3kfxLqjxPtHGbvutSFGPAlRexFs6hOwU6ogZzZUC8RfG5j1NfWiF77Bj+G29gPP4BlQbsfOVLpKsVpTg1JxdJnzpLXCoRvvOGGiI5i+cYNPewFTBVp7+xwuhoga+9eJd1N81L769RLFiUsw63d0DXTO7uNJmdijmfT7PZiKkO2VRKRQ7lmSppBt3Aii2qeUulE7caW0pLPl/Nsj4I5VtDx7epCbwv0JVRQi7j799qc/FYjslyjpU1H133KZo+cbrAsZEsf/L2FjfqNh+qRPza55/g0oeOw9RjtG/epv3+62SPP0p9aw3L98iOD5M+cQ735b9ES+VxtTSWcfRs1kZO0n7nK1Sf/hj25An6V16kca/G6Pd+H+n22/z0z73Mb7/j8V2LLu1A4+zCMfbbNdodl4sjOVwr5pWbLf7Xj5f49A+f5d4b98HVKZbybB32OHnyOHfevcbJc3PU6h31/sMwiOOQ6elx9ut1MlkhgQpoWmPlwRKzc3PYpi27VsLegFiHyckZdXHf3NhVTvZ0Ic3m6i7T89P43gAnnVMJRi1l0WvWmV44QWP/gOVbD6hWyozNTXLjnetKH3zp2UXcdsjrb9zjE9/xCLrj8cM/cQO5p3a78LnvX+CFl5Y4MVPiH/6jx3n/5ffIF3OKe1IqpjnYPVDqv5zlsLW3Q7fjMjczx/bmGn4ckcvk8KOYXMpicn6azYebaojbbXcZGhmiMjPOg+s3yWaLFGRwGshm0qXvuWo4Wq1UqI6WWH+4x/BwCa/jUs3tUv6RGpcnS1QLAQ9bHh84Pcy1u4eMTJV44ZVd/urf/yAf/9wP0X7jr4iDEra1j51M0Tdc3LUvq6WmPfwhFcPX5WxcWiTYe1lV5bLDF/ElSRaLQs9SZ3FNk62xjytKOytPTip/QsP3D9CHnyD2BmjdByp5ZZQvEwX7xO1lNOER5RYwJPEsy5n+CtTuoVdOE6dLGKGGHx9ghWmluVW4V28JCmfVuy6W85csv5w8SWGaUBKJSmWeIXK7CpCuQIW2PHcyarAg9yy9sUHoFDGyI+hORNxqkZTnMF353O2Bv0/sDONkT+IHXULhARQmlE1G2nTkjxPsv60WZqGTUSYABQGsPkFgxRhkMSTlMFjF230fIz+LXjmHqbnqjKoJAHn/TbTKGezSKZLajf+eEN5Hyz8Og3VVT9IzM2opFIUpDLlsd+5jjpwhbK9giLrREjCqphYfid9QiWNTKuDufYLmGub0x9BEHyzvWgEOam2wxdIVKBaCpOESy8YRNe7+DSKxAsUhWqqAoVVw7/82WqaKPf73QJ09XAyxNVjyDt/Fa/WxCwJqP8TIHyMYrBJs3yM7/QGldPfMEkZnm6j2NhEpkswwpiwIzKJ6j8fCVpFFVSFP2A1wSlPKKCeQY3f/HunTnzqqFHdrqpLoHTxQ53pz6FG0wR5x6y5J6SzG0DxmbVsl34PsPOlUge7hO2Qr30bMIWHnUH0+Q3cdq7wAgYmek7vbMkb5vAIBJlGf9Myn8A5uYsqZgA6ec1xpJvsbX4IgS6o4qZbrWvPNX0mM1Cxhfwv6dzFzsyp2kYjqKDdEKPqn/j720HE8zyMjkxxDpjg7GIMt4mwZc+CRlMfRG9sMJAZePQHetgi3IZNW5HN97El82eIOJKo/Be13iaV+O/cstGr42QKO5hBHexBLb0O6SDpa9yFJbJOU5jB67hGFMmopz6EtlPmwib93H2fyNLo2RH/7b8nMPI5tnsJf+1OMshA+rxNPPo/dWyWS/1bLx8lNEnW2UPfMzHHi2kOQD3VK3JANLGcaz0qj6xmM7g0F39LKJ5QmJOzUMFIJRukJwr23MTIl/MIs5sGyYhWYAtdwRghl0pjN4Zgl3NUXjz6ghUViwxbUOUmQReveJ06PY4cN1a2NRCkhF09P6gRtNInz1Fbwm1fIDj9DVDxFIh3S/i0s5zG0lHb04c+cQO+8p/6d5shT+PsP1ESQ4ceIN7+pVIUCIgtaW9iVsySNB3i6TtoaIpAYiXR4LYkZ50nkCytpA1GXJTamex+kmyqRoe4qZnYBwk0VR8SaUfEWS2LzoqAQGEYgFYYhkl5DQT8St0+sC6irqKoYeuTid5axrVFiSZIc3EXXIrTsMRLpKJsZ7Eg2kyXCzjJmalhNQhM9RShfskj64JOEsYCqDKxBnV7YIS0XMjMgaNcJNAOnkwnkDQAAIABJREFUNE+Y9NAEGpY9oYY7VnOFxNRUVEj3AzWQCKljNRu4uSr54jit9dfR+wfoExcxpE8fmQQZGXCF6O0djPHHSdr7ROt/RjL+QTTxv0cJ6fI5FTHVe9exrJzqG5uGZApyJN0t4s47aMY81vhZpZqMhOQpfzZ3X7nrAyMH+29hl6eJtTJIzaC5pF5Opl1Gc11CASlqCbYMbDJlDDNPLDT6aB/Dayj4XJg+2jDKZkklb9KVo4RJa5lEXk7VCzhr/5n4/p/jCwwzls/yIl7zqiL+5iafQfdaBOk8wfBTZO1ZfHnpDYTinkUzRZOooQv1P66hB2lVIbI0gQJN4ksEW/rgxbOE7WUi9wBbTTojAgH5lR9T/7xMce5oOyIv1+YKcRIr17ifPY8ptQC3qYaLsV4C9wCzeEx52w1JVJg+mj2CLh227prauqvvkTV0dJFtiapmHj2SKsgEftInFctQXvgWJYqWRS88IOo1sWIdP3Fx0lV83Yeu0HM1nMIJFdU0Btv0gz4pw8ARp6tTIeoOsBFjx6Sq0OgSS5PPeNJVTvggK1YIB39/mTjcITZPYibraFIl0GOS7jaIacBMY7RuYpaeIqzfRDMitPJFdcGV/807XFfqvUglihIFdEFi+dFRryxJC7BohPjwAWHoYg2dIpGptCYwpOPEjVtEMjwzNHQ9izZ8Rn0vY3cVI3sW4j2iOFRbmjCQVI2nLg6xwAkbV7HTOl7mSZL2HfVOsLIVksYqum0SmyNE8ucVzZIkgfQQXXp3AibMn8STQXFTwEYzKl4eKyLwYyT7X1UDTa16FMlM9EBdepMoQPMDklQKXfSsiUXSuYVRuEjYvn30mc7MKgWpgGU1AbbqaYxYNiWSvNKPkk7NPZA4nwA13TpxmKCLGjTqYNTeUwRlo3QZSjk0z1EdSD03L44mYtI4VlcaCeiGwJiWcPKTimgcequYuSH8zGXszhKx8HCk1jYYYJTOKW90GG2TKl9EBGaS9pIDJV6IVqyAlseQqGVn7UjnJLUvGf7EwmVoquem2BAUdFSIzZaJGYYEfUniCTTpUSIh0w/qOFaJMOpjiaNB1E6OoZ6blneA22uTf+6H+NKv/gw/9HN/zocvjTBXjej0Mrx6fYPR6So7K13e+Z1zSkP6zesRT5wYoSn2CcNkcm5C+FxsLW9hOQJF1GjWGlQqY+rfU69tMjYqHu2Er3xrnaUljeqozthImltLbQLX5/Ofm1VDqGTgsrS8xfETpzg83FUb0M7AZ7hapDPwOHi4x9r2gOc+WaJcqPD5f/k+f/x6n0+erXB51uLVlYEIEygWIoYKJb5+a5vhwOJ//s6TfO9PfZRkeAFvaYM/+Xf/md+/4vLGgw4fnI2ZKuZp6DonRyzW6wF+mLA4ZJEtVnn73jpmZDA/X+bq8h45LUOSeASOTegHpDUYmxxjt7bBzgHMV9J0o5BeB2IjpQZm0xWTO+sNHp8eoaUb1Got8lGbP/mrX8H7+pepN3rYo0OkCqO4qzfJX/o0Xq+O995L6KNjWGXRY5bQBRpV30HP5bFzI2rj1L/9PubYJE51htqVb1CamiUwHczRceKVVQKZoPt97NwwQSGN3m7heX3MQKN06WlatQPSa3dJjp/FH3TI5Uw1+A0OVjAGMeb8GWxjQFBv4jfqWBb03Zj0+ChOJkvt+hVeeHufgWExPl7iV//sFhdPVlmcKvL2al3V1vQkp6oi7208VIm11x40ycQ2juNTtjKYdh/fM9jpRVTLaZptj5MZncxEnvWdFmlizkynGamMMGIM2BUsycAlSGK6doaODFD9gLyukbYSMsUSeTOgFjpcvb3LchueG4/459//KE9++hni3RaNWo1YTDC5Cn6tR6O+RakA5viz+IM1IeXi+Q5Wu4U1N4/W6UHiYE2PY4gR6NYaTqlP7twJfvOn/ozfvxlxfrLI+FCXr17t8ZlLkxiZiMZhk9ce2mw3Pf7wpyt87BNnuX/9BrGfY/XWPqNjafJDFQTsvbuzxbFjU+SLJVYfPFQDIM8PSRcyqp5ZqZbY3NygedgklbIZkspNu07OStNo9gndHouPn1eLD2EHhIOAyAgpl4fZPzzA7fSYm51lfWeDEyfO8XD5rkxpyGfyNOp1zp47x8r9B7RaHY6dO8mtd3aYO25z/NwoP/hj7/G93zPPwWaTN95u8+j5Cqtbh/zMjy6SylbZ2dulIKavdpfaYYPR8SG21/eYmhyi44pgUqPXa6khxPyJk7z77rsqdnzs7Gnu3b7G1NgkjXaPTr3OyXOncbuiJ2yTFtuJZdFs9ZmZnlGLkYd373L24qPsra+y3+sxlSkzfX6ExR+6TiGlc+FEBit26HYDHrbbfOr8EF9+dZuR2VG++u5L9O7fBH2I7v4b5DVJcZXQHB/XNzFL48SSSg4jVfdMpfKEB9dwGw9ITT2OGTkkMmiyxhWnK+7cIBKm1vgjaNlFwp1XSDp7RNUT2HKhCiL0tNiIVJxA1aPEPmOmhugdvomVPa/ewTSvkZr8IAO3jSOb8PwYiZhthDcltbjODomQ+00DI+oTaSggoiQlBWZr2lVCt4kum/ugrkwhcn4WQ5ck17R+B7JiNpPU4BpRbhStLwsHE/JZop17RFEfJ39aueiT3p5k7Eml5Z4RMDA0tMBVg/W4fh0/NYGZniFq3yWdqhIVSvT3bpDLHFeWAoHUWWc+h9a9hX9wX3Xh5XIc5kZh/yZGcQ5duF7dZTRDuFCjaN27hEYRx55g0Lmjhh0pWdAEsgwRsHX7COKtC8T4HmQnMf19NEn3ScpSLvBS5xU2nQAQhU2mhehSnbazJP0trCghSg+jeV0SgVDLwnD4rAJga7Lo8JrqfZqb+SiBnPd0XRkOXE/6WvdwxFSELIIDdLG/CUdH19AEEN9fJnYqmNWnofc+ppdSizQvrGNWz+N3l1WdUlKYcl4xitMkzhhm/W16vRrpsQ8QrL+KPjyBoVVVGlagYEnrrlyw0EvzR2pCSbvLcrF0krC9RUorEVZKuPv7ZHKQ7K+puyS23MMk0p/g+hGpbFnxLdQZI9wl6u9iZWZI8gtEUm8dHBClHGzrBMnBa6A56JUTGHbh6G7fee0XE7/9UHUcJfaqZyYYbL9LWjrkQncefeToy9PZJszmMLJDhM0uViZDlLEwB03iIEMinVd/C1MpHPqEQUPFx6U+YB5uEpSGFfwr2r6OUVlAy85J5VFFM6y9r+OPPoEWOGj9VchNYhuiENpXUD+JQutaTzEJpJijOQU0L8aujBHsPZDwL87waRWliHpLhPJNqpyC2m207Djxtd8i9cQv4e++pcBv0lc3UlXi+rtK86UleRKZ2BXmMSR63ngdzzvEMiYJu9toeg9j5NvUh1R650KAFkOAIbHtoWn8nkcq7NIPmorYaRdOkVgVvP4ahgxEDFPRnX331pH2QvrbctjLz6meqNQsZJIU9h6qi7bEpXVXFH159OoCyfqLyredGRbo0238TAkjSgjcXXQBALUHpPw9/Oo50pVHCXdfVP9uK7WAb6Ux7KqCsxgCGxxsoBUeQdc7ijrfP7yjiPYSQ7VSWeWBj7wmRmZCTX+FikrWUT0yrbtDIvCx/LTq1ggrIvSa2JUpTL+n+l+2dPINk0H3kJRdIpIebiLQuo7q5PtahWSwgV06RugeKLq9L0T5bJbEE4BXh0i6/rFFGLuKZ0AgpHyPlMR1RCym5xQRXuK5pqETxbJNz4N0uJKs6i57u1eIRXUm4DsZLiQBVukyibutvhha7iyawMoEvNa4RWBVVQxa1JRpJ0Uy9hyR9LCFvG9GRFFbwSujRFRuomPxMASQmMmDJ+wFl1iSJUkaqzhGsP2Cugx5mfOkheba3iIZuaSi4IbWoW+Okc6klSYqksNOylC6kcTXSHJpEmcaW1Ip8YGyAsTpOVURSAL5DEYE7ZuQmlJ9dzPYJRbTRvFJXIEzOnlC+VmKc13MAsEhcelJ7KhN2Lqmpsh6bgbW/pN6QMTNVfoDl1yhip6rqnpH/c4LFB7/31UPNefMEOaKGL2bmOPfQe/gLdUHE+NEkp9QihHVy2reIpYaSqZE3Guq6bd8LgKB/kUGmumph5wuB+6wowwW0chjmJKgMFNgjUH9XeJ0UYFoIt9D69wldObQzQbIRDnZQmvL5FCOHyUwuiRahbhxTW3RorFn0DpL6GGImSpCvgq7D+jFXdLlU8TtXZLKKbTOTfzdddLnP01c31EpG9+WB3EdGYgGAk00YnUhEDCbsfcuQXpUTeQTv4VWOobVOyAOt0h0Ub+Jnm4LCtMYjWUC+bPLn9PbR7PzuIevkMrNE8VpELCk2yKMWpgTHzqCwsU+SbTLIM5jyu/QGldeXNHlaZkFgnQZJ/YUiE/YE0JfJmkjDQatMKW2G/FgjyRTRQ90tTVLWjsYMukdiKN4Sw02fWcCpzSBt/0KRpBRDAdRf8alcxjdPXUhkYRTMmiQpKtYopfUIpzuMp7uYJoTarOgdEWm7PJilZSQZwfiEterxM0ryt5iOSPEVlZF7WR4rNevKn2epBpUd0638YMQ23LUIUHi7QE99JTELwNMORRYY+jBHr4AlXInCXWDREj+mij+cqpvJ8mvGAG4is6nSdI/VHAlS7p9sYs16BJWn8JoXFG6RhnsSNcPrY9WOYa3+R5asI1ZfVbBkHxxhiu7hdTPpgjjFNReU8yUWEjBQZfg9r8n/dTPETQeovU2MCoXkX2J3tuV5CimRMuDHrbXVwM4qS6FnesYThUjPYk3WFVpNTuVw995jSixSU99lH7zPfTIxBRfdHleAT81awo93MfvNXDsIUKzR9hcxkpNKp6M1+gpAGNh9Izq/1r198k//xk+/ew/4fqtVU6OZnn60TKdtk6j6bLZhd3dJm//7jn295q0uynyaZ/N5UMWzs3SagcMWl1KIwVSlqO2kJZ429sdLN1UiYCJ0THMtMYfvXjAw+Uuj5xLM1Id5Q/+fJV/98snmZ8ssLLZ5djUDFsba7RbXQ63a1THyorbsba1y/zCAqmUz7GnFvCbdT7/syu8tx5wci7Lh4/B39xPmEwCghz09gPWHZP8Xocv/NRlHv3cT+M2Nvjqv/2P/LPfv4fpGpy/PEIuAyPDaRotj/vv7/H45Tm+8d46WTOhOjlMv9bgzOgYjW6HVCHF6HCedn+b7V0T19SZLDoc7nZJFQuMjeosrXZVPN3UNVLFFLcebBH2E/qGRdbSKQQBh90Bk8NZ3lzv8Ac/+TwTYxn8w1XSYwsIF83RQzLFIcJ+myhfRqvtK590XN/FlENdeggJvCT9dcV56PcbVEyDwdlLhKvXsRcewfvWN8mVKninzpNpbNPZ3yPel7RLgezUFEa7S2RkCYti53Fwb79H3OxSfv47ccU00GmrjXHz2jexy/NkTh6jfuc26aRFXJknXxzCrbeoXjjL3re+yi/8+mukF+YopzS+eGWHmTFDxXfb9Rb5nM3bD2ToYFPJhTxWgGcfmxLbF1XbZLaaoavFjE5Nsbq0QXOvQdM1qDc7HP7dcKjhGawPIm4sD6gPQGQMF6oW33b5GPVwwFtXNxm2UsyfLDBRKfOX31yhZxuMjmSZTtmE5oA7GxEbNZ92M+D7Hg35v373x/FF2Xv3Dq3mAKdRIx47iVXJ4W+v4N1fofz0B4jGJtCadXUA7r33Iu7mBpmPfx9Rq0Vq9S5BlGBceoKRR47zGz/xH/ntF3Y5+2ia//HxOf7L1x7INYiLYyX6Zp1sqsQL15v80mezfPvHZ1lb7tPyA8JmD9fXsRyfkZlJrr55k8vPXGRnc0tt0hcvLBL5EaurK8zMTSgLTdoUqG6Hna09nnv+w1x/9zq1nV2Ghofouz3sdIp8vsz60hKpXJ5COUelOqy2yXev3lEJm3K5jBf4eANPVQUq4wJ8kza1R63WxhPOijiycilOPHmW3/o336A2SLP0sMWzHxhhrJDwwut9PvLUEE+fl3QBdN0+y7d3uPzUWR4urahU0MkLp7nx/g31blg4eZz9g5rSfVfKcs6M6HT6eIOBSgVsru8o5/rI8CibBzucXFhg+fZ9Uuk0w6NDZAppBm0520nyNsONd95WtSO5HD52IcW3Hth86leu8X2Pj5FKD/jSKx2eOz+EcGzrgzZX7rkE936dXnsLr6MRGTlyjkksyV4BnQXCzUihl6YwVr6q3qNR+RxGIYe+85DYrxOnc2qREg72SaXzhFZJXTKDTk1VDW2pKwvkce81QoFxl6TmIuf1dVXvlZQych4S/pMs9JKySnqawqBqrqp7QiJgbKlDy3s1WyQafRq2vwbWCKYA1U1HDX6RO45uEYYRtjAEkoFKyeEN8KwCaU1Tir2UJZfDq1iVM8T9h0SDQ3WOFytOFDcoZceorb1BeuYDGIV5wsOrqjZrlE/geU305i7p0hB9b4/ED7ErT6MFe6rXn4SG4pKZ5dO4bp1cZVpVsjU505WmiNsbxJl5nGhDJap9qQDHkmTTSbQJLOEFyTC1taoI+Ul3HXv4WVUNFsZC5LtqaCiJXoR943UV882wIqLCcazGQ8iIKnwfozCm0nZyVxAAsi7v+L3bSnGciFHJKCgLjixMxO4T98VM1CRbeQK3u6IWGooVYEwQCFPBuy7zEwxZdsogpN8iKj1ChgZhe0ktsAxauFoBTe9j9XrqDE56WHEe0pVF3IP31IBDeHhx7RAKY4olYbsDBXbWJHW++xqmOUyUzh+Z69pSyemTiNIwEnOVgdnrIOn7VFUWfml0PyIuTZLsvKwWyNHoZaLVL5KpyiC3QViYVVDBRP7Zs59QKkT98A59uceOPw0CyRc7XnaMqHOA31lSAEhdzx0Zk+rXSc9+BE3u7GYRT9LrzSu/mkgHM2MJzGkMX6It4iX2WkfRyMoCUk6IZaOPTBnSkEkIGhvoZl5tRCLkICZRyRCqx/A2XsXQJrCPnSVMMmj77xCaaTJ/RxodrH2dqLSAVZKpVoJhOQQHNzEEslGdI+gPMPxDaWGQqi4SdluKNSBd9ajwxBGD4PBtwtIFjHQGQyLk2THC3q4i/mdHnyDsbaGFAaFcCmY/isiI4yjAdDdUbBnZLuk6eqqA7h6qzo7UfzQZHrgtjOGnMJ0c7u57GDI90fP4cUwowML0qIqFx7E4o5tYxTk4vEskSr2SdFQFWva+it3SXkXLTIBM9gf7kCqpGGG0dx1tdFEB3/zuKprnohUn0bpy+SgoOByJixYYKm5kVhYJRPe0+SqkHdKli5hGRLd2i1RqXgyiRKZEfGeUJk70YFbuHKHQxVsPVARcQGzywNLtERKZgLaFptlH7wkZO09SPoHROSCImtiGHOQFIHEEywpkqKFP43bvKN2XUOlT0vnpHqAfvkZQfB4nI+NLgyAxMDo7xPlRHCG1t5bQhNIe2OjeClZqVGkA9eo5tE6NSBzkZSFS+ujhQ2KzqrbMAuEg6OIMn6G3dwvD0JUuMdB0ReokP4JhhiRRQSmwnEQmc55KDUj9QwtCFYcXY0UiUUz3Ibp9CoTi6W0TVS6gy++kMIKxc41ALh25GVJaS8H/3FYbWxgG8u8tPklz52tkMyNo5TMqshP07qJVn1E/e4FS+Qja/AgeaCbW0WbaKqFXJtFq92jvvEv20R8haS/D7m20sYsk/QFmSmcg9ZfCafTWbfW5t8jjSTza9jACg7CzTZKbUOkct7usHhRacRpdIklmjBGnFVAlGNSIBgdYQhH1O4rmaxbHsAUQ4keQOY0Z1um218iMnCER2ntuimjjD/C2r5IR3aIzTH/lLylK3HrxHxJJHCzpYYWJ8l1LVzHud0gqWRDeRuMuWkEI0hA745iWTiS6tdot1ftKKnOYukOkTB6Gml4T+ZiVj0DrbwkjgdzMk8gwJl0g7rSwLEOp1iy/obb8gVsjETBfeRE7U2Bw+FBxNOTPR7Cv4EPy/EiQbklKDQJcMT34AzLFE/Rb18insvixeF89bLOo1DN2xkCzjuF3t0mVhgUBQCARuP5DUnZVAR2j1qYC69nywtEGRHv3MES3d/L7seQwuvseQWlWbUFEOTmQiJxE+cSj15FOblG92IUSq6JnUgHKDOG3dtGMDEmuqmBCttgb8lNqCChkfvQxtVkglUfrijIxVJdIQ/qK/oGKBRrFGQWVS7qbyi+fSFQ+KCgOBVGD+PAGSeGCqAMwepsw/rjSD5rpKbXp8PUE3fOwdY1AzARi4e7UMa0SkbujgINSFRCrSGxmFNTUzJ8g9pcJYgGrmphBTGKFSgtoUyXO6sTtHcUp0KWLL6BSM6tgi0FqHKtXJ5DfW7akalmGfKdElalUlZNEwtxIIjRdnIqifq0QB7sY4kEW1224Q2RP4hQXcfdeQpf3li1aUwESJtBcI8yPqOd30GlhF08TxT7BzX9JPPEZxW7RDV/xTrT9OyqZJuwQr7miDhCJAEkHR4TqyBwmDFuYhnAqevgqRifvviv4Xl8lZSRmZxVn1XPH8B9gFE8RdfpEjTs4U9+G5u/h7r+Knr+AHtdIjEU0I1CdTBnkiYVGW/1jkKHx2PPqea8Vxgj2r2AJvDIJSQY1ktKkSgnEoUccCGunozYXPd0gY8aE5gh2t0Nbh8rEGPpYyHTpc3zq2VkytsGXb21wbjTFqWmH3/lynR9+Zohf+9kqm6sp8pWK+sxtbdRo9NvMzkyz8eAh6w8PmDs+RhyElKpDWEWbvdUNRiZHmZ0f4Yt/eh1Xtq29HfT8FH/yJw/4/k+O8Pe/e46Xv3RPaYv0bMzc7Iw64G+tbXP80TnyRooXv/wuUwtlHn1qnoONFo//+APi0OFD8xHjIwbb+xGB4fDRZ2Z4882HfOVqizEHbn7zR2BmmtZffI3f/A9X+P9uBoyPpfmuj5dpbAWsdLvce9jlxESas3N5bi55qlb23JlhXri5T8nRef75M/zpl97j2k7IiYkUG9td0qUUaxsDso7J3iAhq0eYic1Q0WdyrkjQ8Qm8mNGCSWksx8rKASePjTOqexzqZda3a/T3elyagF/8jR9V6tfeoYslACl0Ou0+OSOgv79L6EcUn3qGoFYnqUvCKSR79inC5Wu4/Q7O+YuE99YI1+8z9IGP4R48oH53heLcNLHUbtprpB75NNHubaKVuySLJzHy07i33sbYXsFIZTBG5vFrD0ktnKV98y1sGXRLAk8WGsJ7uP2AWIvJX7pMf3WDYNAkfeI0qShN3mmz9vZD/o//dosnT8zwzu0lDl24dHqIr7wpGqoMT03CF/7FJ8mL0naziTFchJxNEpfQhgUCu0dKYJv1DTh/BlJjsPQ6DB0/qhnFOyrpuXf1Fj/1c3/BOzUTyxcyO5w8WeI7L4zz1u11Ck6GnWaXylABx4Svv19jvGSrOsFEOcV23eWtlQP6LZ0//Ncf5NL/8DztL/4pvUBj/MKTuEOT9Nev07j2PpVLH8FdukpqfFYN06zYUO8AffgE8eZ94TcSbG4wMjaJuTCJbge89sUr/OTvLjO7oHNxOM/N9X22gxyPVNKkLB/fSvGf3q7xY9+e41f+yRwHD7vc3+1gJzYLCyM03QBbS7Gzt04hV6BYqNIPuwRyPhFif7NHuVSk02piWwbbe0Lbn6SUz7OztkGuWFRx/vtLDxgbn8B2dLbXdhieHMdMmbQPO2yvrXPx8lmuXr3D8FiVUrGs0gEnTp3m7rXrlIdy9NsCINexSi6+b5Itl5gct/nlL1zjsYvHuHpnmYmRArauc3+pwQ/8gzn2r+9TnkyRTVfQ0jG6rzMIPZq1lrJATM7PcO2da6QyGfKZFG7PU4tBy4BWs8XohLw3DTodlzs3HvDMB55g0O3w/tU7PPuhy4qF8+DmCkbaoFTIUD+ss7C4iGEm9N2Ebm2Z6dEij/5Eh0dOO/hdH0fXKGQSdls+wyMF/utLOyx//WeZu3Ca/Zs3KY+fxu0cEOk+RpLm/2fpzYMsO8/7vOfsd1977+l1emZ6ZjCDwUasBAkSJEhRokhHlMOwbIkpK5YcJ1JFS6okuSJVEku0I4WRyrRkSbYVxWJkLZS4iCAIkiDWAQYDzL52z/S+3r77cvYTv1/nD1axWAOip++9537f+/5+zxNFg8O6ZfE4/tYb2IV5NPn9W+NYAtMVdpfA2/JjuN0baOlJrDillj7S43R3LpI68gkSmoSdJubog/iNu5ilE+j775BIv1v0551ttPIskVQkg4AgFHZACTtfQGtt4ImSNnsSZEtfu4GvBu1FbL2NJrpneTfIGcEeUwszrbOiTGiBXJQlpZydI/IbCkSeuAGJ3sQOU/jVReyghy+cLlE+56dU2leX6p0A92Rh5ZTQpStua6q6mzSWQZdl7jTG0FG0/SWVmAu7q4e13zjBj7uE+VHMdh8jZ6iKoCQng84SZr6KLjDtYBejKxC9FIYM5qXKl7jY2RJBuoLbPcCWC7ibEOUr6kwgSdPBoEu6dh3Xq5OeeZKwdlOxkXLHXlB83ijsEpplYvneTFewgj6RLJtyk1hJDm/jVdIy1ChNEUuaLyO/43v45LEEoty8oJK4lixYI1ul/pLyEKbcPweicZZVt3CfZFgm9qVjeLUt7HSGUNmnmtipMQb0MAtHMQcNaNxQCyrPzhLUr+KUjqFpOo4kSeMYs/Y+QWaKdGkRv36dqHUbfeJTEDcxJI2it9W5OFWcUxyGfmdHmehITxAF+xgtSXoMMWjdU9BwlUCQhdHOBn7nKrkTnwPfpde6gincM3R0SxarAwx7Bqwh/Ptfhfw4Sfm0Yobhbqg6ox221HdpYg0z6O6RoUOgOqgDtPb7/zZh0FcqOiERSxVA+rAyQTTS40S08e69iTn2AbX9dew0YbqEHkYk/XX0KKGnB6R8idBkVYzbUPAKnbjrYaeK9PprZEuzBAfrCmgQCsBq/30cURehYwkAriBTi01ioSvrET2BMGg5nOIE5kA0KR5W9TRe/z76zrvohXnVhfftInp4EO49AAAgAElEQVRrTzkqBcTmDppYpQnipKrI6I4TEwWR2n4GmSE5GRPUl7Hl0p+dQPO21aYm9lxFd04yJvR9oiDBGh0maNTQDV2pQ/zaBrGuq76NJkCQ5lVBt6Db2cMeCD66MUpy8CZBYKgIiyERD9GAZQvEgzaWKJ70BL97D00+yDLxKz6EbUsHURziaWJTahN1ksa7MPFRQmEMCH0+3lWHdwU1bF3CHDmn/J9yypCDZ//+dxT0JSODBYFriCIsP0G0fwtNtIYycZONfkGmkUuE+QewcKG1QZipYBo5oua7Sgkm8XqljevexpIOa25cEbYlRu9JNzpzuCW1QokLz+Pvfpfc8JNEqSzh9mWS4jimXsTfefWwqyJqDEtc2fIt21RWA13i3JqFXj3NYOsCtlxuCscVhItgl0SAWBlbfdDiVA6tu4+ZHlbKHCNoKDK5kx0nilrErS5xcQxDdGWDbcz5z6pLp0w+9cKsSgg4vTZeLGDCFvrQWdX9FoWIRH9xmxi5UTx57lsJtpTE0uPowo6oPow22IKgTSL70epJvF4DLe6oSFFOtjWxg12aVBP5sHUbY/wTcHBNpRKc0nGi7hWCThddjBh770NhVPJe6IFBd/dlMiPPYlXO4XcvgTmNlTIYdHawJeEgTITsNGHrpkpIIJEv2UrTVuaCwaBGunxcqUW8/h6mVVCTbSM/ThgUseN9wniALqoVrUAiNZPMEPFghX7laZzWNbT+LgP7CKntr5KMPAVDz2LW3sNHBmARoWmip07Qf/9XVAcrfea/wxQqNX0Vu9SkmuAJFyGLMf1xkk6fsH8Vw3fRSyeIvYaqH1iin1t7A706C8UHoXePhBxh6zxW+QSagMbk4ZxbIBncI3JGVY0ikjpRXyBleyRDD6DHWZUkkYu2H7SUUlLiX2J2MNwBUe+mmnhrYzLx3FMaGnG8JtVZRVqNG+toR54lbF7HdKroMuxJfFK5U/TdXWQlZwoFWBcYoIXva0St91RdSG7xodgIDINg7zrp0bMEmoneXEKTz25uRH3m47CLqWXx2usg1hPphEmYzqwSy/tw+zVIHSPrXqFHFn36czj+gQLakbTw2vs4Ex/Aloh97bpSvpjyxeeMYkhVijKaU1aXTUtUplpBDV1EGZRIeieJD//3ngyDErRhqVtdplffI7/wJJHQxgXip3qOPTKIUnVbgetw5Es/wR1skhUwougXBaZnF4jaW+haQpKfQ/fX8NwBVmoK/G3i2MaozmE4RYKdW4rmH9pVvMY7ZKxRgvxpjOAWSG9fBgjiOJYrkrzPHQeaayrepsugob9C1BYt35QC6YiKVL5XopW/QTMqhzRhLSK2ZOAWK2heUjwD3RaIkSBTxQttMpqAaa9jTD6nIEy95ibO5LMYzTvEKUMRgS3Lw2/3MXPik66rBAvFEwTrr2JOPYCVXyQULo17icRcVIMCo3Ed3xk55BjYeYLN76GbJtb4RxVLRIu3ccY/TNJaIU5VsLNj+JtvqGGxNXyOxK2hyY3HypKIoSDSVLLKFUigu4WsVyTRIR5pvTqG7kr3T4CURaxMTh0EZcvhiE5o6BT7t76GHvY58uGfpX7/uzz+wm/zE0/P8PJF+ZxqTI9myFsxf3axzW9+zOFXfvk0r3/tBvmxMUy3y5HjRwmikGuvXmLy2BFKpWGlgmz2BgxVSgx6HVoHffLVLIsnjvAvfvcd9ndiPv1ChRv3fLbX6/zGrz7M3etdwsDl+Olp7ly+ysLJM9y6dY3FxeMMvIAbd7Y4vTDKkQWdu6shz/7cLcq5HB+YSRgeTmj1Surf+/wDGf707S7L11v8o49X+c2/+CXiaIQv/8z/zG99Y8DzxyNmT5TZ64Xcfu+AcinLcmvA4zPDzE/AlaU+C5MpXnj8JF8/v8y3b21STdtsrbikUyaPH4G7OzHTR/M8/eAkHzp3jPGhiO1Gm3deu8GbdwJq/QEjQcRSkGNn4KuKyuLJMt9+a18kmEyaEb5lknZDnp2AL/2fP04qKUoik6i/pYBh/Vqd1PAUoeai1RsKjEl9G+fkI7SvXMS/+Q6lf/BzWOVJ+hf+jvTRB+k26rB1W9WiMmL6OftR+u9/B0to6nfuk3n0HIO1e+SnFrCGFji48F1M28QaG1Ex4EiiyoOIUCBSqYiU9P4PWgS5KuVzjzO49ha9O9dJP/8TJJuXlfYwO76Ad+8emTMLpPWAqy9+k/N36rx1CT7w1BxTbPHI48cZefo5SKdItu4y6HnoYZGkVGT/tW/iHrhMPP8xGreWCYMOWaOI57TRSmNEu03s0Sx5R2Nwb4PskQVyT59GKxZgq0Pn7g2+8Y3X+O0/E9Uc7JoZHhmDZ87O8sr764wMZbm50uCnPzHPO7dXVRpGC/qMDKd45cIG3980+Fcfn+SX/vR/gL2Am1//FqmUS/nsc8rd3X7zbbX5lSRi3N4ns3iO2KyQTccqldRdWUX4u7ado3X7MlbfY+wLn+f1v/8O//DXLvKps2mefXyWP/32baamxfwChUGTzSDNS5c9fu2nh/mVL07R2mhzd7NFpTjO5tIqowsT5ExYvnWfVC6NbZuHdiHLZPnqbaZnp0hl0mxubnFkdlppfGePn+Jr/8/fUsw4LJydx3cjart7DI2NUBwaor6zReNALl8aJxcXabUPxLyM78ugylWgzvxwHr/rkh8eo92pMTM9S/1gT0G+9/sJzzx/jFdfvcOlGx7b211KlQJzkyY3lnr8+IcnWJg3eO+9e1QLY5RGM8o+0Pc1HGBifgK3F1AZrSoQ972b1+i0BhSrZTXAzZeKNBoNVaWRwUCn02ZyZpSr52/x0BPncF2PmzduUSzmmT02p1KEtZUtqtNl1le3GSlkCAOxfRT45T9a408uRpzMa3zwkQo/vLCtliwn5/P85Rs7/PoXn+FXvvJlDl76f7GHR4jDDJ4kpPJzWMkuQWeVMD1L2nbw+11lEBI4t14ZB4n9i/pQzpL2HF5/izhooJenwXWIOu+RZIdwBOokS53MPHF/DSNJYNBWg88k6aAJhHP0JN7WNcJUlgx9+qJmK48Txzm4+1X0kQ9CaQ6tf5Go3sCafU7R63Eq2KKq6y3hyeLCzpGuzBHu3VRLWc3vEovvvTRGnFk4XNr514mtKZmvE3gNQnJkjCwBTbQorQb3vlcjlRpW6dJQHyeRmoKhkUhcXZMEn4st6eRQ6jYHBMJvEzNQbBL1e6RGjsFAqm9d1W6Uo7tUF3S7cMg6MEVnel9t4xGGjS0gcqlItFUVQJPjTk8i6JIkTBN0t4XZr5YFcheQIYRotqPG9uHZVBYiUlk1HFXBTJFW9qWo9QaRVsSyKwSd65A9opKWdBsk/T2ljE4sDyvUFdvBaK8QZAWiKXy1OQZbb2P5LdJzHyUIE6Ldi2hyl5HzveFgGD3i2hqBJLYnXiDy9gn3LpMd+SBxOsJvt9R7R3TJMkSLi+PE3Q6D+jukEkslEJz8MKHcuWQA01lBl5/JGSNqSxpVLuuWqhGz/j2C9n0yxz5D/+AKdvVxpXM2hGcg1LzddzEnP60YeHaxiCdV33v/idTIk6q+qqeGlKZ9IIlO0UpnJ0l66/iNHQIjoXDsJ9UCWjLJdnlE8aeCzffU7ytlJRysXSQ//KAaPsjrqrUu/OtEVCJ6cQG6S2q7Ki+UFhskmQqWlVLk/sgqkyQ9tXkKt65hHTmLnp9TlOuU7uGL1k1IynGE73vEcUf1TxOhyBeewvRX1bYuLj2EbheJ9l5H14XWLNHtFrH8kjIFgv3b6gtNoqXIJE46HJqLu3tddb3NmRfUoMGrXcHR8mii8UhCfNMiKwTJlI0vfVTptcoBVea6SZVAAE0CcpOLgDcgGRJSZk91edAyKgkgB1UBeentO/Qb61ijD6ntm2Y7kJtRL1TYvYNdOEIg3enesrqcQQ4t3iEUbZxM6iRKbGlocawi/n6/qbZo0pGVqIcp1MjOOprRh8Yu+uSTRPShe4DmjKMJPEslGmoK8meIyi9VJIzSSgUWu+uQO4WTncFtXsAwIig8QbD0ZyRyORYiOK6aKhqarzQRtuOQtDaJEl/5hIODJUXeH0hvVJR/+QqxXUTrdEhkmGG0wdcwtYJKQbhxiKkVFWRQ83cUOVO6oVrxETRdJ9h5BzM9hF48gWb0cDffwHSGiFMTGP5AdXlDY+xQUSRAQenh9DsKAmjnhuhtfRuj/IiKUknVw0kV0TJyAG0pjaFAwjSxO9h5GOxjGmlC0WFJ/0c+xHaKOKwpirWo51XEpb1G3L5OavxZpVEzBndIcrMYMlAwC5j1G3gkpJwyvcEW6dyC6pPHEvGyRumsvUmmdOSQ6indI7elLtAycInipvp3aaJTzFcwk5CBXL7HnsJq3yQMmsRWWRkzEsska6ZVB1mAhe7KG2oA4WiiyDyD3+xgJrLlH1UPaU1c6aZJ1NnFELuGdIBHxtHkn8cgMarqghtJjGvyEaLIpte4QWF8Ed8cIbzz14qVoVdPQHddOWvDuIWpp9DSMyT1SyrmrQ9Nk9Q20Ien6d//ezL5M4oqTukk/sEPMfY30asPE+dTqnIjDl+ZRuqFx9ASHX/vdQzRlY2eottaJx3JcOIIgSe/95tYEz+mVDbygsh2Q3MPiHOnVYQ72Pk6TuVZNcmM0xJ57hLZQ0ppo/l7mBnxvO6phyKS7qBF4om6r4tWKmJmZtDaqyoaZeQXVfUmrN/ALB4jiIThIc+jFlG7jlU4ogwUtmgpxX7gSr++gFkYQQt9VRmKe6uYckBobqo/L+7VuHuAWT4KEs2SCerBu4TZYUyzoqwEvjh6U0XiOIshn9/BrqojCdRTDw+I6vewRx/BP7iA0d4kKJ1Ck6mrgJucrOqqurGJI+EAufRnxDAgSqEIrTSOc7BGIF/I8gzs7CiTiS7sEGuISH1uB2hisNi+SZCS7topRfUN+3dUzcMSV27fxe/ewBlfPDR5CFhPmjJuB7TaYfRMPLV6miDU0NKOAtUkSQtn5Hl8AfppMsheU3pSAf9JzUsm/UlaoncQ1S9hlY7it7YxvQNCZxw9K2DHOlpcUoM6TdSUonxM5UnMIrHXxpDPiCQu0jlVMbJFjyf9UMMhkt6fRP5SFUJPLkG6Gq7JYFZc1fTWVE9Q6TBF2ZkaQe+tqEGL0TkgSDy1aYwkRZTJEQV9NNEa7t1S/Bgtk1Xv80TSVmKPqa+r/y5f4DTex9d0xUrR21t4Etvorh5qpYT2q8mBzyCWM4wzhr9zHjsQ+Oci1uijhMJDaW+q940cQmRoIjFCQ0CeUVvBKeU9FAf7BCkbx55VA0+BE2IEqt4VdbpoaYmVHsXQhT7iYqRzxC05iHbQ7Byh1LZE7WiJYktMKctoYZnSk5/hjX//z/nRn/0+Q6MpqvmEJ07msRONWs/ir89vcOF3Z1l4uMLmey1q7Zig31Kd3LGxKmsrmzz5sWfZXr7P3naNyfk5grBPr92kUh4h5cQ0Gn3+w7ca2BmYmrDZ2fT4yOkiY1NpxocWsAsN3vj+XQXNGjtWpbHdY2K8Sn2rTez0efpzH+WtF6/wz35/C7SQn3hqiJff7ZE2fYq5Ah9+oMxXvrVK0Al4+bceYeKf/gQrf/wSv/ClN1jt+vzcFx5ke3OfS5seKf0wVjpScjgiMLregFQ6xSvXt7mxb3F6eMCltYQxA77y+Qof/JGPk4yMkq444Ljg2ZCTD2Ee/9UfYJZt/GdeIBUFBLsdONhS38Hd28usbUuVTaebpBgeqSoCuPARjh+dIixaZE9/hN5rL6vheCPKkqrVyT7+HL2lS2oz6iw+yODKBWJ5v+dF7buLdvSculzoBzuYYwuE3RpJYw9NuBay9SuUCB1bddeFfyHyE8PIqaSUNynAr5Bw4xqZJz+NtnSbZtgkf/oDuN/7GqmpeQWMC/bv4/k65ac+jnb/HtHRBdi4S+vC2xROHsN55AX6N2+Q2b+NO3YKP3IZPXOa7R98n0p1iNSZY7hxQrTfwFi7rQbD26s7pBIhsw+YevxRtN19bl19j7knnsMoztBZfl35yVuNJkMnRIF2QGevS75sYGWKqro16N3DCgpkj81jPbygAMi3X3yF/eUG72+s8Vt/0+L5UyZNXy6tOear8METY3zllVskfornThVoB3D2WIlrq11efnWLuRmL//x7P8ZIcYSdt1/D9Q0mHv8w7vpdovFJos1NBWEUXZsbdMmnqnhjZdjdIS1x8HKJzoq85jFad0D5E4/Rvl3nH//Kt1gP+/zjT87h7w24fLfB8HiGswtF/uaH+2zUfB4+bfMHvzBL0vV49YerDI/nGT0+TTafZuveFt12nXyhhOf55IqiJDUojFTotNrUt7cpVksYeobtzTVGRkq0Wz5B4jO9MEsyiGm2G6qGMTY1RugFNJsdpepcvbvMucfOqGflveVlhoeH1PDaHQwojozQ77XoNFpUKyUFnOv1Axq1fT7w9HF+9Tff54knJ9haa3C/IeDljGI0/C+//KDaJN+5uYwhA2QjpUDxYdelJZ7y0GVifIzt7V2m5qcg0UnbJq1Gi2KlQrfTY2djk6HpUTKmrZ6jhUye7qCt6n2BvC4zM1y+cJ69nR4f+cQHuXXpGoPA5ejcNJlKidI4/O1XN/jv/6LJMw/oaL7FQVfMZD4lzebd+01mshYXD16i8e0/wtMKKh1mmhKrn0QLGgqGbekjivOjd9ZIz3yB7tqfkC4/TDQ4QM9WFZBQzzrYW7fwKsdwhs4RuPexQgtPjGAUSeUrDNbfRhM2i8C7s5N43X2l7JZ7SHSwgiXq9HQRw8rhFCRVsI3uzKDtv0IgVZ/GCnRcnKOPqzSlVG4V38McRo8igt2XMQUMOHqGcOtdtNIUqdQQbu0yiWigBTbs16X5hyEQQFuDvnAL3kWXOsD+fQW2cyqTDESlbkna9y5WYRgtJd37NqbczVJj6P0N3H5CZmIKP8hj9beI0haJM4p/70XsTBGnOEtP7DO6dQi9bV6C0Ucx5E4onAOtihZJDbKgaqembSjwc+LXVb067PQwhK+QZFSqWZeKp2jCK7MkgYGB8HY8LNE6S7W0ehJbT+G219Fyogo+rCNLTSCo3cIojmFVF5VRID64TCJpcVlYBXX0ME8wuKLge+mhZ4m2v4M9fo6B38dsd4iHTpHy1vB8i8i20LUAcyBpkDx6YQatvozmiA0qUqwzZcMyq4SDDeziFH5ioLXvoVcX1ftKnWftNLpUVA8uMrCmsYbmCda/R6owpJTv/mBF/X2iyFC2AjE5+M2bmIXH1GsXN+4S2Sa6LExdWXyukWRPoxt9ZfiSxLZelDPotqoMDGTBICykbJG411ccNttfUfUvqYnH/WVMMSNVjxHLNlMZJFzCQVMtv8U0it8i1tNowmhoXf7jRDYtSWhhZ0qEXk3FtezsCL31l9FDTW2XY1v+8rcwnAUCGmib10nGH8TOzxC0LmEIYCouK393bEl8TiAncjG8hjF+lkSAFdGBuohpEqkwNQyJpxZHD0F63V2MiScIe/cwtCxx1EOT/2+/gz3oYlgJXn+fJDJwho+pg7/e2yPKjqsXUhN44d5FRccV2rKhNejsXqVcWMBP6iRRVg0EtNZl5cFOqufQHF11XrS9ZRKzjJP2iPtC4BcQn00kw4DSNMH+dXQvILENYiFIyxuzvao63lFmCEMi+cEeg8Z1nOHHiFvShTYPe7xahJWZwIs0UqYExlsk/YRUNoc76CkvZNzbIgh85eoW+rMcVE13C80eUoAtoVwLaM8fbGBmJrDSGWJ7nCTZovbXP8PwwjxhZl69htHxf44ptYH8OHq7pnq63vY30ctPEcY9tc3VrTJx2ID0cfSohXvv77ClyjD6OJHfwhGFolVW3XwjncWwc+rhbfSkolAkkEu44WEJQ0eUIt7BYR/YrxH3G+iZI8q4wGAZI71AIh2noKlUkb4MDUJ5kB/2nuQBnDKFNyGxF1s9JCT6a6ZlEqnRr18nLUwAieaK3iXpKACJUT2tlC2y1T2EvTUPY+fOEIEzje6tY+WPKHq7JC6ixn2cXBXXPcCMUWyIYO8OibeBPfxREicmaUrS5UPqC9i98y2QmE8qpS5WYW9JmSO0sUXFBRBye9BrY6Q1dIHkaTHpqIEXp4mbMlzRMYpHCTohZiLbogAzd5QgaWKaJmFgqdi2vA5+pJN1XDWRM3JSU+ihmT5ht44mkaXhk/hSYUlctbkQ2jXWCaJkF603wBqZUaYKz9vHGXuOqHWDWGLhIw8QD0LMaIOwsY0x/QSJlsZb/lu0yQ9i+JaafgZaDq39JlbpORLqmF5dKR7V5Ve8p82rJPWrhE5aJYCS2FEd/tieJnSXMKXuEqXVeyuS1NBgn3D/XTLjZ/H1DHpnT/XDtYObeKWTZNJlksZ7RPlTRPKad+6QciqHsSSpTbgbCvgoEWwF5uzsY1s+sbNALAcR8cgXZggbSyCk26z00mto0lEvPUiy8S3i0sPKjOHd+yqWPYeWmyTsN7ALGobUQmRot/+u6r/7qSrpg7tEcuGTy67bwotaZMTZKhpQv45ePqsSBqbEycUNrOewspOEvS3lbo8kAqcJxHBKeZKj3j1MW0fLPk7cu3bILEjNKuCh2dsitKqKgxE37yhtqPQOJbmv9bcJ81XigYvhd4iqR7FCTV0EzHQef7CHJu8dSRR114myc1heD9+/jV54Ci0eEIthIzuDrg+p4amQ2+XyaHouiYzlhcwrr7k+IDLKKpYvVZKkX0cbfgjD1olbYgQYhlQVzdsg8kWBKKFVSw3hjEQgXwGGAFqpo8vvJTuKlaQJ9s8r2Kt+/DME0h/3t9CMAoFlY0fCbmipCpUvZG6JT3picpBf0X/JFduR2uqJZlCim8IJiFNSIXKxRZEUNggTQ8EOZYAoLJW4t6cqMJpckDv7mJK7zsweKv/EKSwpn74gzB00RxRIXbTBHbQkq+BvZiqNnxSQ26wyOTTvEQnfRZRImSFluFGX62wWLdIVPTgM2sS5YfT48MIeq8qWqGhDUkIqMUsq1UTOwR7/pIpXiu/bNkr0vVtkc4sEknjqyrZgXPmqDXlviINY3gmirtI9ovoSjpXDMw8PVmZqin5/Az3pKwuCXj1LIFFLAWcmq8TNDrmnPs7v/8zn+fU/u8FPfXSCK3d3KeZzjFRTXL9X5901jd0/PEJoOqzc2mXf9RkrpEnn8+rzVcjl1UBtZ6OmKnpyWHeKBo6Ro9loMFG2eOWKx83VHiMVjUwqxQ9er/OrPz/DSKlIaXyYt37wHmmryrkXTnH1uxcZW5hT5HCMPeYnUvyL393jO9e6JOksjy/EHBsZ53vvrDI5VaJgRVzfDGnvd/jui/8tuVNP8Mc/85v8+Zv7RF7ESM5i8cQIf3NetpMaZ6eHKdhFGl6d45U037vSYNXrsbZlMpkz+befGePpn/owyo46MUewX8O9c5VQ65MZOkbtxk3KDz2qLjTevXfVsDdVHaO3vkrl4WeImusktW2yi8cPeS3FI+hl2bysolUmCTZu44ujWWYJnT3i7X36jkv1wR+h9epfo5VHMWzpnJpY+SJmukpshkTrqwTNA+zhcfqxprrL/toS7f1Nyo98SNVxnNEZOhe+jVGcI/fkMwRvv4VxbF51RbX3XyTarpOceZRspoy7v07j2mtUz35IsQGE8q/J0HbQI2PYdLsu+vAQZq9J3HMpPPoE4uloX32btMBNBwO0yFMVLefIItbINEm3heloeJ0Gg6Xbh8M8Of+4UHj4KYLNFRr33iZDitzcMcJGE29/T+DUVCSC7wf03vkuqQefxegPiP0GxshRKBaxbYvtv/2PFOaPYVYmSPZ3aEcO84+eUgN0c+okUf0Kv/+vv8PvvNhkw9X5xNE0n/7ICe4uL3PQd+iGXXbX+jxyssjatsvRY1XOX6uxuurz+r/7DOM/+Xl63/8rtH0fL04Igz1018Es5kiXxjDzouzbIVi7TuXR5xm88V2sShHro/+QeOl15akfbG0Q5yIcC77wv73DvVsN/uzXz/KX59e5sxsx2PN44uwwp+fyfPErSxSTgO/8hw8yX9a4e/Emw4tjXH93n9mT47R2dnHKOfqdBrNTU6yv7KgzpSM8LS2hVW9Tnhgnm81QHqlQW91Wl3xhcu03m8xOTtHudZX+tFSVgbGGbmis3VthqFpmb32fVClHdXyctZt3qY6UGLgerXqL0SNjZHM5+n15tmkKZnns5AQ//N5tvv5ag0fPZtndjtho9GnVbT71AYtPfHqWl168z+MPL7C7v45THKNadlhe2lSKw0zGZHf7gFw6g5kyFKgwZacYHh5me7+mvtPMTIq9jW38wGPm2CGNPl8oc/vKHcalruRYis0hIMvYj8lVClhZm5WbO3zw+TNcf+8WH/89g4fmTIbSPq2mxpXVHj/6eIV31/dYXrOp3/5tdVnq7q4pCGyY08hWP6hSy97WawpYmxk+hXvvr9AyBfTC48TBunq/mhOzSuUrHBUzVyYKShiOjn9wFXv4LFHPJehcwpYNvqQMwxqxM69I+PT3CAQimOxhN1poi88TNleJ965gHPtJNG9NtlHEwgfKjKP7HqHA0xOZs6SIRDktoG1R/OYkyq2rYbsmvXZJ57rbRFYOLTeLLhR/Vw7dA7RYFqZ5CaGAZ0Ja0p+R4o3pukHs7qkNtEpern0H69jnEOp60m5gjp4jCg6IuzXiUBaCFXw9EC459tAIod9VydLQyBPJz2lmiYNNtF4bzZQkr4lROgaNm0SSWO5sHw78/b5KOErlINm9oe4B2tgscV/S4kvqe9SQmp3eAVn4kFL6cL+5jd67jlV5htgWPXmTJHsWvX1PJVm10nGC9m0FDwzlXCA6RDG4DXrg9kmGpYZ9BwSQWJlVZzIBMRvmCH7UxXTkZzZIWqsg54PpM0R+Gs3fImpJpTCNaZXRREMoZz1ZKkmCK86qFLhfr6FFe2ppZGVH6NbvkL2JyR8AACAASURBVBaVo5jo3J6i7kf1C6oWoQ8vgtcEGRYMOgSZYexM9v9fqutqiSImhdjrErsH6FGIJhvLEdEm7mM3bxML6N3tY2QSwr4Amj0iW4CKK4rx4cif3fw6evEx9LTAm6XeIxrBCpLmNzMVgn5T3afELmANf4TQ9tQZTRLrhhgGzFHFnNEO3v6dxDEtAiEQtreUZ9nMTJFkh/E3X8VwhE47SZIexe3uobfukUjkd3gESyjQArASp6Z5hHDnJfrdPZyZF1TMxKBHv1nHSqQrv0CYBApiIBMJcc1b/RV6Wh4nZaoXQkBgWnZYQZJiia2660p/lB6aY0AGxzbobbxDRvSD2SnM7n16pChZBfrSExVIV3Od2OhhlZ4gEup5VrbQZYy+dHIivMwQaTdSW6tk7Cy6kSNsiDM3xBdP5ehDxLVrckPEziREelV5sQ1diIUN4p0b6JVpzKEnCBuX0AdbxGNPqweBjOaNgmj57uJGGunyPHg1ejvvkx07jlvfIFWcRk9P49WvYBWnSUJ1q1VgOXFCeus/wBk6iSnKqc33MWTjZ2ews1JrMFVEyDAysP3X6LXzhMYkQf0AS2jXJZPU9HPox/9rfH0adq/hUyNl5EgCgUmFgvtVm0/VsTF0dL3A4OZXyc3IpneeoL2O5WRIardAtmpagNdawhx6EFOr4G18A3vqk6p7owlscXDjEKoS6oR2GqNXIwg7ZIbP4kURVjgg6iyT2CVF+IzlIiFRouhQHSmav6h1FV362QJ/s4UyL12zEMd11aXC6C6rDZVRmMExM3T7W2SLkwRtUQBKx7rKwN1GdxsYAgSUTnlPqOi22ir65WlsM8IILPVgdN0aTukhjLiG15K49xp66pT6PctmIMonSvHi71xH6wtc75yKK6vLciyXoEClOFzpXNk5BW2RLg6pSTg4j5ddIJOxVc8w6O+SKUyDdNQ37uCGa8o5Sm5IeUqVXzw/QpBk0ds7aDI5TGJi0b9lSgpymRTzWGGHsLNOYBRwIhutOCEyJQb1OpokJuTSKJoxBFIV4QzNK3Ci1lnF6rSIhp7ENNuEzRXCVh17RGLaBQbias08imPmiP1r+K5o/jKHk11vkzjoIBghAbt4WkmB6XQZQUY2iZPHEj9w0BavI0kgmsXbGJWzBIU54vaSghtFXhuXMimzCaGB26+TqRwn2vs+QflJTD0kaN1Rv3NDDwj7ByTizHZyJMLMEG2gxLLlct6tKQq+lqooKmpoldGDNkbkqJ54hI8sdc3CNPHu26quIN53+mtEwr/oSp/rXeLyA2JhJLQddOcE7v3/hClgntQoRu0NtNHHFFVeNu+6WDMkytZ9G6f4kGAo8erv4sjQwiiplJLWE1ZJHUMi5EIK72yiWWlFVQ9FSSiDCy3E7G4QSr0gO0yofo+Gmm5LLUMTKJ1E7qQPmJOI+wK69Lck6mUPqbi+ZP4MLyR0d9Q2RjdsIhm+HlwlzJ3GTKUIBtJrjNUBIamvo+UXlOVDl41W4hNZBZzCSQY7r+OUhX4fqnRXzDi+aDH1EEP+N7OMlRzQTwxSUn2wUgTtu8ROGUdsIb4AYHeVAlU2AIEMAqwjpIRhIMmVoIUWttAEqiQXcWzCwX00+Z2lC+jdXTUAMk1DMUfkMIQeEnXuYeeniHQNI3FIJFkiEE8cIiulahaR6BVli2jYqtccycbANDAl8tbrKI+uvAfk+Z40bhBqsYoqKje29DRzw/T3L2LnZrBSI4S1yxiZMkHuJKa3fnjIMiuK+Csbs0jLY4lnGRNTYBHyZ8yCGromQuXt7x8+v2UoFfTQJ58m6dxRw1aho0nP1OjWiET9kxnGlbRQ1CBxZbsf42TLh/wYI4XVuKq+P5ziDJ5of0plDAFBHlxFkyqWIcT/MfphgO3dVRFKp1Smces10vkpsp/6Al989GO8eD3kFz97lM39JtsNV/1Hz+RY2ehy/Svz9F2HQXfAXq3J8VOLeFFM3B3QbAlxOlS99erwOC051GeznHhgnuWluxhGin//1S2OH8/Q7ndxO1mmJxM+++lxlm/7GI7P1o1dTj99WsU9b799g+HhCapnHKanyvzwa9t86l/d50efLnJmpMhbSzXsVIE5K6A8ovHD6wP2d11e/ft/RG7xJD//3G/wtRsxn/tkHsvV6PT7uIZNraarjdhEqa94IHcbsLRbR8IYn364zC/8gxGOPnwGfeYU8rXQX7tLsN9FsqldY8BgaYtM2SE9eVQpF0Mx5dgF/FYTd3VJWT2sok73oE+2miW7+AG6r3yToDCktKteX8wNEcXp43Tv3KQ4fxJ9aorW917E69cZ/8zn0VyN/o03YW6R6M41vCAgt/gBvNUrmJaBNfsw/vplUsceoXHh78nnxtDHZwi7Oxhegjc8TL40TVTfJx4t037lGyS1GrmFRbRcDm8QKGZEvHeXoNum8sgLuO+/g3ZEotgw2Nwkt7hIEkg1p4S/dgfv1jWsx54mlS8z6IakMwm9d15DHx3FlOG91qO7t0VxZhYjc4Ro0FJd2WSnRfahBzF7ITvf/zvKn/xx4u0a5vFj0OoSbd1R31+xnSFcu0m8tYfxzPOYQQuzOiZtHTp3ruJIKqZZI5pYJFMoKFhYb39PvQ7aaI7uxTt4azeYevYFtAlhChQw7+/wF19/l3/39WV6g5jp+RJGr0M2bbKzp/PQmSKruy4jdsiuq3Pbd7l3bcBf/Ow4z/7cF3HfO0/v7h7m5CTmiVPqPNB+43to1XHSI8NojTqDrKjDBuC28G8vo43OkB0foXXpVeLRGaZ/5AWM5fP8/Jcucelan3/yqSwX7vokjq+ePbVmwPzsOO9c3ubWks8P/vQc01M2r3z1MvNn5mhs19jvuhw7PsxBu8NQNYOTFLly7RLz89NkckUFCdzfa1CtZBiamODShauMjFc5duIYK3eXKBTybO3uUKmMMDU3yeULFxkZG1PR5trePvML87iui+v3yGbyHNQb5HI55o7O0xt0uH7hKlGU8MCjJ+k2emzt9Hj86Wl+58uX2WuKbcFg+ogMnNN845V9/uRfSoLEoVgpceX8VfaaPg89NkN9t8nEwjQH69tkC6L2NFnbWGd8bJhcvsid27fJZrIK9teo1ZmenqXndgiCmEzKVkNaURounJ7hoLZH6CWKKbC+tk0pkyZTKrK2WaPX6fHYx44x99mLVGyHuZEOw6Vhml7CAzMGt3YGfOvtLq//5T/lqY98mJ1b98gJUFDAwkae2BUOR4TbXsGSSmRdLF4b2DPPYxfLQrAjLuYIbnwDPTeKXTyG2++KL03VU81MlcAyscTAJADBoAN6FYt1EmMEQ7hFXWEOmITta1iyVBNs+/4l4uwsopORAcdgZwlbBk7VU+iRxO0TVQnWJB07NI8Wyd1oTy1S/e4aycRZdFHSuSFe0ld1PD19DKP7NuQXlTpZ663id3bVuUCMV77XxRbzkJQXdy4qRV84/AD22g8I7Gn0oTHJjxI0m8TxJpmCkOL7ShFtpCcwcuPqjEnig1xO8/OqWh3X11THn8pjhOEdgr0aTsVR9VVNKbXlXGEQHbylzk/O0CmC9oo6m/ub19EyDmZuHk9sUIUFwlQaQ6Digx2CEGTp7slZ+sjjRIFHBh+/s0kSaFBdxNINwvYVNFmuDnoknRskPTkDSjJ3Et2U6vk4Uee+Wu4a48/gH1wilRlTizcBkIeZcUXKTzqyRK2SyLndq5PEvrqHdZr31XnQEFaJZmPsvEEoDDoxK8liS/75lTdIlyfxoyyBVEYykhxuk7J76EOPEu5vkiQDrIKk6ZfxgyapqWfoLb+IWXkIuzhHv3aRVKypdE4iVeyuJBekiqkTyCBImGjBAYGXkBbouyxWuvexBK5ePKfq52IGC90O6VKZ0E0Y3PsW2elnCRMLMkUi01Nn/li2Ku1bhGOPYEUmYX+DJDeEI3glWcRLpbbz5q8n4hFXhMj+MvrYY7ib74BVUf9SKzdJbFu4HdH3zanYclhbO6RBymVB94gV2MlRsQW8DPbQDGGwS9RvY8r2pr+JXT1OMugdHmZlo9vaIGhdJDX6HFHhLIPOMim9h5lMMLjzR5hDp9BnP0W49UP1wRRdi8T15VIiWrZIRtBCqK7fIDX1Au7GRfXzJimdxCjhiKu8kMbZvIsvYIRgX8HU7KE5yEwR9msK0EPzACpThIlUssWCMEzgbmBEMZHQ9hMdo3ubxJ4VazbhxvcwZj+q3N9mpOP3N9ElTqpXVBwlFFd5eoi0uDObK8plG7o+9vgjhBvfx/NcsmMLeM1dMqVZQtGAdEXPYauOa9iUQ+kDuH4b24iUWkTe2BL3NkcewK+cxnvx80T9BgUhego0TitSr98hP7pAvH0Fa3Qc89yXCBwH4+A8WPMg5HAnRaj3YeUiUdbGLD+AFXokRYlvBQTrrystitvpQ/NtrCOfJQ72CHcuK5q+IhgrF9cUNN/DyJnEnoWVHsMzctiGS9jzsP1ltQeLs0Nowlrw+/jieddamMKOSFcwOuv41ihOeRRX0hRugiUU0USGZ8PEErOVD7NTPrQ85GX6V0MXb7dWVTFMAZYE4uUWr6hsytNlDMfG7R1CCkPPIOwukSvNSXAKT4iw1ghab1elLszKSeVY90yZnMqmr6hc7WH7Jnr5jIrLCH1cF8Rf5tDOEMd9wp2raNVprOI5dHawurt0GhuYUx8nk+wz8APsSKZ9A/XzhP0eZOQy4SoAWhCHZLyAQEuRSYUExpAizfv1a+jdDaK+h1auksofJxSwX/c+Ruk4ppOlLxO97HGS7iq+aNqcCQXH04IehrdD0K8R2UcxR4SA6+ELoKV9hyQzSii8jG4d00wIEw9LuBwbr6Bl51Q83Vn6A5j5bwh0E73xmlJBxq6BWRpS4Co9ewpNOpSi8/T2iOTyl1nEzI4QNK6ryayWGVWObzETJOaUYogY6Sl0d5VeopOSeNnuOzij51Ss2pcvj/QouhGg+zZG0iGybfREZuI6cWMJMzOiIum6DE5kdO4J0djFLh8TFD7JwXW04qxS9STptLpwinVDT7bxuy010IoHNfVsM5t1gnBXgTk1fYjk4A00a1j1ygTU5wu4LPbQjUNgVpyX2kAbvXmJwMhjOkcwClWVCoj1DEmnrpgRpsTKJYYVNdHEy5uI0jQmrH0fIz+tzCBxa01Nx8nNEnZuYQtIx9KxuqsE+SOq9y1faCBDLU/1f2U4iV4iVR7Ha25g5YVt0iYZdLAqD+H119FSMzgCtgu3MAIxI4j6ZldF7S0jIDRKmELal36oJDtSsm3KEG6/iV4YQ0ufUJWFgT2M3rym6MOxqSlGgCGUcn/3UDUocX/hGhgacacJpkOYLmAXFjF7KwyShIzAKMM9NQQRjkbg9ZWuR0+Pkbgyhd5QcUq3d/g+NPJj/yVsmiiNo99fJmMeA1HbyEBCFIwqjZRHl56cnhBYEpuVSVAdPXEg2lZcSVlfaENnMROdoHGDRAwg5jhRZhbDWyMUg0l6Cvr3lSrVmfqkgieJzkcvP0y8+z0FJHUyi0SD+0SFB5RxxTKELN1Tg1IZXhlhF8TNLgOCvXcxK2fwejsY4nIuT2G5kaqJxbl5zJRAM+X3eE9BE+Xir8s/Z1XV3yeJdYJiSfUT/fYOKWEJ6Dl1sTTyQu+1CM0qRusKoV7AcSzM4Qforv4QQ0jJAkLVxXQxQSCpNmeIQqqHMX6UH/voT3P1fp8HZwzeW435Jx8ZZtdN2NjuKPXmn/zSGJXyUW5cvEZ/0GXm+DG67T5xHLC3v8/4+ARDI8P0Wy36fZe21yIJLGamMly41uDrL9V59pExbCfh//7bXf789x+jtrvN1maPXNZRP7v04GXYKzHUsSmboarH//qHK/zByxb/+xeOYKZd/uM31zkynJeMG6eeHOJ3fu8e4yMmr57/ZZIwxX/1/G9wdUfjQ4tDbLkB/UGdyZEhRVEvGzq5gny1mfybt/Z42Ez47LMVfvEXP0d6pKqqR+2VNQaBhbt89/CgOWiQHjtC9swH4L3vU2v7ZEfLDG5dJfPwB4iGFonefkkBf0XdFwpbqJ/QXrlM7sRTeK1N4sYO6cqoSrQ4SYHB/pJSNXmpoko6xqFNfnJG9Vk9udxkhyhNHcfbv0O/XYdag6TTIZg4QjafgbxEbm+j318i+8kfp7W8pFRpVtqmefcWeqdL+onncS+/hjE+h1muEC0vYT/1HIZAKffWCTr7pMU24obKlR1nh8lIZW58gVSi0775Eub4Q9hDeXZe+s+Mfvp/UlyU+P0X0cbn1Gtrj8v3rk7UOMC9dRVz+gRGWnzlAbGlkZo5hd8Vm8ddldAKul16t95i+IlPQ3kU75oMTo9gDk2i6ym673xXbTHtsRM079+gevoRfLeDXz/APnGaYOkO9ti8UmO626t47SYjTz5Ff1WeaTmIBmz+8CaL/+wnMbZuYlYnaLYH/I8//+dc25VjXIonxyp4aBSGLZkL8/aVFcrVqgIGdrt9VtZjfv+LR3nuV3+Kxt98jViMHpkcWlan9vr7lGYrWONTKtkXbt2hs3mf0qlz+BdeI/3kRwg7fbqXr1M89wiaqZEx9jALAV/68iX+8DtdPvdcnkcXxvjG+5uq8ZPPSc0qzeq2zvfv7nL3y0dZeHCSt1+6piCAuWyOKO9jhxn2toU/lbC7W+f4gwv0mn01FPC8iLbnM1TI4ccRtZ0mk1NVWvUOumaqZ9vGygYPPnqOa1dvMDc/x/r9dTXwOXpqlnQmx+svvcnsiRnSGYfNjR1GZbijQSpt0uq7OCmxdlRYXrrD4skTtP2A/+vfvMcDx6vsNDpUKhr7uzYfeiLDwkyK8+/VOT43wvb2NidPn1RAT6mJlKoVuvUGjpOmOjHK8vWbjAwP02i2GJ+aotGqU8jmqNdr9DseY+Oj9PouO9vrjI9O0mgcMDE1qZ5BQ8MTKum4cn2ZbhBw7qGjqiJxZCLD537tOsu9hCfmU7x7o8FDx6ucv9xgqprh8j2Xz/1Imf/jr76O9/4FEttVsO/65jtkq+PYpTml6ev2dslNfwLdr9FbeZFUYVJtT2PR+2blfDaK318hqF1VtPlMdVFF+KO2gOJGSWTBJ4rcWO7IfZx0SrHDjPxx4syogryZ7XdVmi/KnkFb/wsS0dSKecwaxgxrDKJQ8bPEJJMYCUlPlq5H1FJF6olIwihXxIxDxZmyJx7Fvfctwv498o/8Jt7uO0oFqCVpNG9f6ccFhC6981TuOL4lemDQ9QBv0CZdmVU8lXhPNuzjxNYoUV0g4ScO+/eSypFhuV1R31WBJLDtSRJDP9QVNjYVWE5QNfSbZJw0YWYSd/MVBTRXcNr0EIkradUWGllCUYETki4ewd86DyMyFDlLtPryocJu4iFM+Tn6PeL2VfSJD6mUqen6CmocJQGRL5t7MQuJTrcHqYp6poizVPcl1WiAKMlT+UOGUGFCsX+iYA+7Mk88qOPW7qpEsF6eIDpYJZFBvJFVtU8yBexen87+W2THHlfnlahbQzMG9JMiKdFcyzmnvoaWTZOqPIS/f5U4I6nARYLuXZKgpaCZVpCmb2RIFcqqspqYIaGfxvA3ldUrdgTUHeHv3Cc78aCyYqmaZzqD29nBEWif18Tr3Ud3pkgyBehdJ0lJ6iNCE46TWBcGOyB6eLkTFqt4S99W5qIkLVXvkN7mZbKmg1ZaUMlHLzVMRmvjH6zhmykyck8ybZW4FOucAIW1xvl/mehS8nSGiIIGieZgygegKJOdngKSyEFXHORCNDeiAWEoVlKJPr1F+thnCXbeVHFts/qUUiJFsgUsnVYwN7lEiLotlh5IXcBKGRw9SxyahJZsb+6gFUeJeh1Mr4E+/Bjh5gW0XJEkJ6TzDchPYYmrPskfKpa85mEUOH3YAzb0Q5pjkj+JmR9DT8lE7y8V7V40hkFji1RxnEArKaIzbk9FNaXXJwRtUR96sYXTvk4ofzOniKXbRBk5lO8pX2haVA/lB1U1QSZFsqkXeJw+9EG0fBFNGALNJlahTNTZVkRz2W7raR1D/q6yMXW3lDkhEN2H0nj1MXGUfiI2y6TSFoPWmop4JI07xBKVlr5fbhJ97xqDcgWntUH7rd+lPH6cxEnjaS66aeC2DsikRoiadfz2JkYqi/GxL2Nmz5Lc/3PVi4llWxX6OOVxFZcRE4KQMAVC0m+skhHOQGaSePOHmCOPqq57IrEfgej17xJFEjWaINn5gbo4mIUHSQwTf+cVTNEqmiaGM0Ww+TKWnieZeAZTOvV2SRIx4O0Ty7BJDBDNJSK/oyibAnEzNSH6pwj9G5i5hxQEz6uvKYiH2sKWHiDqbWD5EpE+jRYdgIBMers4UcIgaSgrhGaOqz8fm3msvFDiE+XzFHq+VZpWwBCtW1OdWk38p2KuKC1gNm4RCOiv+oTSdhiNm/R7DUzxrguvQCAvuq8AbxLfiTpraJUzhPsrGGUHSqeI9u7CwVWMyccVCTaW4Rgp5VgPZIPc2yI78hheagSt/o4yYXTaTazmeayxjx5S9gcdFTHThTsh0TJxnno92u0NMvL79HZURF0o+IFTJGyvYZWPoXkdot42FKdVzHpQO0/kNnDGXkB37xDJtLkgkL11pdjRRbMisBYzRSwPhSAidncVdFNUeeIgN3SZlFaIaSodTtTdU4daykfV5NhKbLT+Fp4WY8mWXaJfvo4+2FCmDYlTS4dcz04T9+6hyUBEkgVOQiDpjN6GBFBJSo8pa0cUSjzTJ86PgCGU0j4kniLCq67s8ANYepm49gZkhpV1QCJnxtbrJMNniUUZKakHceyK4UOP8e99EzN3BL14nNCQRMQyVB7FkGeI6OOMIqZsxcVwkjuGKRf7WECEFlrj8iE7Qr7xM0M4pVn8JFT2CnmvY+XVJd/SuioVEssEVzbQ+zfUhjtSvS6PuHufODuluAxC+I0zEh9eQQ/FZSsmkwaW1J1EMdpdO4zharpSjsp7Rg4jZEYIW7cwjLJ6rgnsLTJLmP6O0rfGzhHVHzPEghHLwWJdDWXJz6MH6+iu2Bbkmb4kx2UMgdpI9C6VoBVPEdV30Ds3FIeA8Y8Qti7B9m2sueeJBVwn6tXSaay4SdRtoWk9lVIKwwFabppg42XlNdZLZ9HSWbyDmzjVk8ogI9noRAjEaoefUpdn3Y0xihI3HCgQaehJPjtQX+ayeRXHvYNB1DnAKBTwtTKmRPz0mEA6fWJnIY/fEnJxXjFa3M46lpFS3chQDDUyOoy7KiboEBCkptC1ffX+kIuaXPRFoxpIZy4pqQt6wADHCAklZTGoqZhfqGnqe+P/I+m9o/RMzzrN683vl0N9lUsVlLPUUke326GdsLHxgEmDgWWWPUMYGHaGhcPuzHBmGWCGneEchj3LMOQlmgWvcbZxu+1252611JJaUkkqlaqkylVfTm9+d++n/J+PXVJ3VX3v+zz3/ftdlzFsIspcSkfQrAWlTCT0QKLgUgfxNtX3VpMoZLaoNKTCKpHDTOKtK1WuaU4Q3/8MUWaK3MTjhI1F4sI8ZnBfxbKFqSGqQwG6iW5S+t3h4C6hgI9IcRRLIcKQfyZhIVRn8ds7aPK7JFUWZwPnzCcZL17g8FSeiSys90zFD3nyWI2/erHPJ5+0+W//8jgvXrrK4dlTtHt1Wtt7ih4+DIYUS1Us11Igpr4of10LbzjA0YW4P8tv/+nbHDtaoNn0Ic1y8GCOR0+XeHBvj8mDY7TqQ+WX9nzobUccuZhl8uAEf/p7N/k3n+vzyIzNgSmDTq/P4q7B46dc0kHIV9/qMG7qvNj4I+xLd/ndX/u/+PLbGu99ssqNjTYPdiLef6LMO7ebrA9C3n9+grdvb3HpgcfpWZN//I2P4D5yjKBnEF95hb3tiPL0BHavTWDFcOTdmNtLLH7rBY784I/jvfFt3KlpAvl5twfQ7WCdOo3ej+muL6nPbjvuM/2hH6T3wlcJux7ZhSME7T10YSZoMRMf+afEl7/OYC/FnaoQ3L6BMT5O9th5BrdfR2tBYAwVLVqfO0K0swulMZxqkeTGm0rpGc2fxyjYFDNZOvUt/HDISG0G39ewDx5j8MKXoODir2xizx4ic/Ep9LX79FavYEyfILr7Nvl3fVJtoYdry6p6mawtqzpM5iOfZnjrNQXLssUN3d1GG5vHb67hhn3SsYNonQapW8HNO/hBi2BpiWxlhrRWINpoqwtv0hpinngc//prRJaJPX4UJ2eQ5mbxHlwl2b4Oo4cUpDdcu4U5OqHSR4ZwZw6dYfj2t1UNKTN3lKQ3IKGHV9837ThHzhM+XKdz4x1yx88Tpx3Kh07S6HZIH6yQPXWGpJmid+9gvOujFOMhS99+i3/+W19nx9BwbYOxMGByeopSTp7DkSA1SLMaL9Z9dlf6/MHPnuKjv/gL1P/ud8mVy5gH38ugsUy0toE+M4sWBNCvkxDiHn8abr5JMFohM3eSePEq7cUrZCYq+Exihj3Gv+tJXvzz5/i1P77G0RMl3lzu8vRcHl/MO0GHbM3mmze6ZMOY/+mHK/zYzzzK//MbL1LSAzLjOVpDj8fOnqHe3qWULyCAiNXFVfIFhyRNmZqd49pbbzA2Ns3u3g5Pve9dNOsd+t0WE9NTXHvrKnPHDzFoiN4xS7dRx8mW8KI+mmRv210F5CsX8/QGfTbXt6iUytQbDY4enWflzgMK4yMqFdbfC5h7ZJ7XvrXIG+8kdLyQJy5mWb7dx/v/9dH/4eeP883nVzg8W1X++eXlh5y6eJxuXfSEBtFgyDBOmBgf587iTVVjPXb2BMOB1OV8Jscn6Q973Lh8kwsXz7G+tUMhn2P64AHuvvUOUwcPsqqSRQamY+DYefaa24xN1gg8jfFxnb/7wgP+j69HnDs+wdbaFoVyyk7T5tz5A1y5skpp6POttc8zeOlLhMaAXPld9KI6uiQJLYNQnPP5qf2lklQMRZUsz31JGjs5NVNWZ+LWEpZshuPiowAAIABJREFU3KfeT5pJSfZ20cX2ENcUgHN/6/4Qe+a9JJIe7u7iiNlh4xXM3DxWv0liQVx7Ata/iFE6SmxlsGVwIH1ySY61mhj5UagukAigmwjMAsi5cxiRVEbR9hYJUh+nfAgj9kmsGv5gWzEyJBVJbxE9O6/e8Vp/EzMjetwSojNLtD5p6qrhQxrv7KvjJH5fnMeJBS59lcQdx8oIJylVevZwEJLGDXTpowvnSob2qYXXuYkpyvNCBb/XQeQ8Cmwo5yQh7kU2htYnkWg/eQjXFdwylSTRsIdOqGqDYtsKl7+kTALCSRPgnpyBtLmPqL+H9gP1dcjCq/KogvLGgz0FzvU7awgSTmvvkNgJ2shRkIFFY1Fxs0R7F61fJon6mJPvUemGtB9j5OZUYjXa/g6mL8vhrGD8sPMHif0NtZBJxx/HEt6W10CXVG7jIcFwi0zhCJ5hYHhbaNVjRK0ept3ZB7KbYzJJQ/OamNk8XupitC4rBpxk0izdRS+OqdSwv30NZ+opVculOEKsT2L4u2iizbJGMBghTnbUfzeCPIF3H6N2iqi9perL7uioWrhb+QWS+nWCZA9t7ocwuzeIt5Yw586RDmIMy1cp0aS9RGCWVIUj6d5EH/swpvQZhD3lpASyyNcijMxBouEGWv/V30zDQGAGRdUZlwegMSuR9of70fJcdv8SajvE9mGiza+iGxnsyRMMdu+TrZ4mRWLCluqJhu1buPooiejVZF7WXsTURwkNT5GjVW9CIi4tieF8REXnvb0XcA98v1IfSURFm3qUNGxgUCWqv4NWOUok6rDuIlruqPI3K3q1QJ56aySxpgCChhnjN+8rrZghW6YHX8eceQ+6PkAbDNAF3DB6HL+1gWMZxIZYASLVjZcYCZvXSGWrkjuAZZYJewI/idVFQw96+NKBH5lXF2dz6fPEhQP7Girp1OviSM6oSEy09SLIB05gXU6s4ndJbwUjU8CILQJT/uezRJvXwBEFYUgscZTsEUyzC77EgfuqAxt6XRJnRPU/4skPYW59keTyn6NPHkF3S9RXbuPqFtmjp+is3yGvAH4aw817lAXe9swfqqlZ3B2qDqLfuqQup1HhgoIgihZPvO2p7+27aMXnbg2Js2f3qx7yfWrfw5KJYH5Swa+C3iaWFZBaVQJJR/g62eI0sV1S9YQ4kbqBoYYY8udlKwto8mJ08gxlYONUFdhq2L2OZR9UFzUF5Eogat/AkqmdUFT9mHxOIjdNCOUBWkb319DdceK9m8ocYY9dZHj9LxXdOD/5biLptvXXSRLpr9YUIDCUQUvk47iH8FuiepHJ4iEVTXfjTQLhFLTvgj5UUK+wtyu/zSTeCsbIo5CfJNm9oaLksiGRh2DaXlQqMztTobN9m4xro+ceJR0ukQhAzpQH4H0K5Tl8QvwHl9BKc7g5cacX8XqrmKlwLo5C7BP2GiQC+jBzRIUDUoVW3lEz2cUvXiC9+Ztoc5/ELC0wvP8t3JmPoQn8I6mgmZ5yoYdahoKdp6uBJf2vgXS2WqSJDRnpaPXU5FozUiKZTPtt9LwNUVbZBYTSH9TfUFq4tPw+Eu8eumwlB00ojJJsvE7qFHFqp/H7m6oTHBua2pjLsFDI7vJii3avqelyWlxQwzr0rOrMJ8E2/sY3KY5fwHfnSDsPkFezXL6tnJhHxklS6ZqnmHqBMA7VRDaWy5/QckXNF22Qeh5G9TiaAInk5RZKX2oSTbgbssFq3SIWIKVR3bc7CLSlfUfFxSU+pRVqpNYhovXncSfOEAllOxqS6JD22xj9TbTyPI47iz98qAwHRm6e2IswonWG5giWdOukx6tlsdJYbddly637A+V7tyfPkDCqTBr9Ldm0jyvzSPDgOXSBItaepO9tUhAojDzHjAqOFpG0VxRgj8oJEnlpyVZAH2KWH1WO21DctrJx14b7YBcBC6WyAG8qrVRk6ujiKlYDJKmRh8SdbxE7cxjuPFq4ipY5TxrvEUXb2PnzhFLz6Cxjl0RxOo/MNgZ7r5GRJEBpgUgOUUmJxPXRd5YJZPg33EUvzRCvv44x/Rhh38VN7xBl50nUCzvFLJ9VL6FQtDrVU0oTGrQeYkifXU+UnxnPg5yDJlUIs0wSBqr77hoGXiS8EgHnyCCvT7TxMo5sUwpTpO4Mqbejhli21LBGn0GTQctwXSamyrahI4Oju2obL0yOJOxh+B3lctalkzkqDJtTpLsv4EsXs3SIuPU6+sijaI1byg0tg8Qk3t9s6PLPJxWFaIgunb/yaTQrp8wpqXMMMhlMcSTnj6NLZ9IsKPNKZEwqg0IStUnloKfZmLGvmDKKyaAAmKIxdSHaVHFagXQilycBvTWvYxXPqOe0t/0yTvkMmjuDHuyoBFtgJmSrE8R7KzhVjSD3GPOz38M/+9QEQTtkc+Az5lq0k4TPfqfJl399gfd+9zx/+e9fYe5MhVOn51m5tY5bMBUobHJmiuHAZ3tni8mpKdodDzM1KI+lbD0M+ew31lhYGMUWGOCux0c/Ms14zWZrbUA+a7K63eHk8Una7S6uozN5osq/+/fXeG3R48TxKkXd4PJyC8eK+NSFQ7x8r84fvbLHYRfu1v87V//sb3n655/nVDHHx56scHe7jWA2bzRafOLRY5ham5c3B3zt5YFShr36n5/h9KOToFfYu34dK1em3QxxnTJxtEfnzlVq7/tupVQdPLxK2g5wT5wgenAbe2IWa+40qd+j/rm/pPLhjxKLvpMsluZhjh3FX72BkS+qOpTQun1RnnY2McqT+FvrZMeyRKVZgvUlnNw+JdvbWydz4DjJ5BTdL/817tGLaHIQEwCk5RLsbWGNzcjKGKe9SmDJQdDA72xRLElqcoB+4Bjp+j3S8WnsrI7eadC6+Q5moYh18BT+/VsUKjO0Vq+Smz5EUhfgagFzZJzB8lXMyiiJF5M9tEAgdTw3QxJa4OZJ1m7hpSaObDIfeRo/jPBf+BzZuSMMI42MoeNnM2SSPr5UPA2TxuXnMHJVMiNVBiuLFCcOwPQJ6tdexk4DnNMfIly9hjHoq3pCr1knJ47xxy+iVw4R3LyM5/XJ6gHWzBECUSA6YiR6gDE2ijk+TzIc4nfrFLMug9V1BevS6lvitsSZncdurTH0Qirnjquq2xtf+gY/+B9v8d6nirR3GhyZHGG0muW1Oy3G3URZlYYZl2++8IDf+uk5Pv1jn2Lx1hKHHnuCzjdfQtP21IDPb/cpHz6jaove0ttkD55Q1qho7TZ23sHNVgjqAd29JTJSnTAs5h8/xa3XrvPdv/Qip047nJ4aZXlljw9/YJ52e8Bzl7dZaehs7Ol89d/nOXG4wE4vR2+zT7EQU5wcJ+wHrD1coTY2pYbwvXYDL005evyE+vyZaUpzr6ku8ykp9Z26UkUemF8gV87T32viKoXeEL/TpDoxysZWnfd87IPsrq5x9dJbnLlwjspohXt3Vug1W5QqObp7HeI0xqkUqD/ocmChjGZa/Mln7/PhZ6dZ2ejTaBlkjD7f+4Fx8pUq1167T7Hs0pVhoJvl5KOPcOPNN9m4t8GxR44zszDH+r0lhv2A2sQEjfYWI8UaS8v3OX/xIo29Hfq9gYK4tvbaZHIFTj1yiq994RvMztaoFUfoJwNqE5O0Gi0cW2PxyjbnL0xiZnVO/MwSBXPA9z8zy3Nv7bIw77K50lMpnd3A4c2v/SaF8UPsLi2Rz8pF2CJoNbCTOlqoYZQPEPpLJLYMYsvg7ailkRcPMOV5P/IIaW6MZO8KceYoWlAniH2y5dNYaU9VgUV/rpVqmJUzUL+nqmKp1HN3biKxE4EQS91A1Zo7AbaozX1JC2awYgd/+xJubZR+cwW7/CRW1iCRCmG7o9JfmhMT9B9g5I5giG68u0hYPIu2/o8kcR1r7tO4cU/55f3GTXQh0WqGirV7YR9HjGZBlzDqKUi45jiE3c7+xbwo/LCD+P422vLX0CffhSbwu6RL8OAVLElluuNE7Xvo+YJidsQCS29vqHeqLD3SeFfR92X5lozMk7b2cOM6kSQFh8KVEJq92m4St2WBJxXMMWUwSpq3SKXDXj3CsLWBtfoK+uM/j5nUCXqSdjbUGUerHsbfvrwPFRdeU9wglb+7vkEq9b1xuU8Uibr3iOuLmKOPosliN/TVmULU0WlnjVSG7rl5tMEDzLELivVkte7Ru/9lsqMnoHwBSyqnwz11NtGEFdTrowlgT6wPcZ9YFmphV0EYzfH3YnbWlQ46kdSomHqsPIZZBakUhLsEcneIQxn3YE+ch0GDYfMOTn6eOBWlYxNbdwjFQNBcVfUUX4DwE0+iZSvowlWQlLIWECw/jzl6HMeYIHYdIuECRU20UMdOBnhhA0ud2d+BgtwdJXEXEcpZJR6iK2h/h9SyCDwftzijmA9qCSpIwGETrX/pv6QSSzdtOU23iZpb6AeeVhAmmSw52VE1UQy6y8obqaj9ot1Dtnl9Fb+y3UMkosITrVv9IcH0RQyJoMohUDAzWkigS1dXiMyTDNsbartmzz6tYBfB+hX06oz6IcTiR6wdx5BNUfs+dqZI6Eg3Istw/Q0syyEtHUbrCCHdIhSFhZDDS1PQ2lNKKHaXSCpTKoKpaxIwTUi8lMAXZ+Ss6qda+kPCoICTdlXUVsiXsl1KZCgQbSpiPgVJPAzUwVRAEdZgl7C7gWGVSPJlNPl++HukEnONe2qzpMs2UQBwhnyz70JSwIpFP5dilI6og2HU2FTTIFMuNEmA41TwJPodybFvSOqMqMuG44hn9gBsPo898jiB7WKIT/P1XwfHpx9kSXc3lbpQfn7y4Yq9hNLUnOr8tpYXydWKuOc+jT/+Q2g7b2KKQrDkEA67pKIpkVuUXkVzE/w0xOxLoiAlLY4rcJ5EgfTdZYzxC+r7GIabmKVTRHuXsAqnIH+UqP82qURYbQc/DlX6Q9MEfLKFbgbEQvY3K+hmoqZmmiFApAkSYT5EDTWFJMmjy6Wk8Ahm6y1lg4gqs0plls1XlAbStKp4zSX0zDj24D5eSQ6DOpohdYyIIS62PsSIuwTS90/ldzSjHvJJu6smo66RAxl00INMGSupEgxuY+UOqmmunh/BjHeInIMYst0OmkqPqUVqCAkCLen0yMuDOzDxM6aitA4ePodZfpbI6mDtXEObOk3sSyLCQR+0FDhS6g39tWsYVoRZO0FMH0NUkOkOSZpDZL0SoddHDhHs3CTnOAz9LmQPKeCM3/Wxps4R736b2A8wY09pwpxhg6Qwq+wBEmnOSCw06qktdKKJNWFAIr7aqIlZPY9uhfibr2LZB5SaRKju3p0/JXP0BzDccTwh5gucrXcLI39UReAFTCZxTssVVc5D5ZeV76Pkrw1nTMWKZDCmLjdGRfXhUQAZBy3V8IWkWpxDH3QJJZIfyfb0IUZxBl00PcJPiOXyKhaKKUzp8MUdgv4AtzKunguhgKGcWSzDwXMFjOnh9JaIM/PYEhuXjpMlgM46llyiMwaaXSYKTAWo1EZmhIODpTUVyA+BXuUKmDKyd6bUdF4XiKSQAHffwRx/RG19U4nYRTFR0lVTfk3YAWGALnT2/m1MvQy6RN1nVJfdlIqBPU4k/W1rqJSpYJPKFr+3QurMKpZF6O+qqF4chaoTpoWRotMLXDHpP1BVB0l0CN9DxiSi4LGMhFB3MQ3RVzYVXTcxs5gC6pOFrIAr25fR9AqaJiBOAQWOYVTehdZ6jbi/pKCVIgr05EVSGlNd9CToKM+xXjlJOLivnnFqSq1NEcksYf3LypaR2qLkKxCHa1jOUSI1ILoNVglTpcY8dFGnZgX/JOTeNRxJRWUPkAg0k76q+KiDidTOwh1Sr6+SOEblMGaqqYqDnikQyQt5KM9nF1fqGXqCNgxJK2XS1jZ6Jo82HJD6d0gkcebWsAYNvMEmhhzQ2veIkyZO7pBYc9WfG6rtujwb9qF64e5lpdAMYnEni5VE29+2NCUmuaD0PQh81iqry3jiNRRXwgg9lUIzczP4u69hUsKausBwuIYjQE66JJkjOJISEHWnpL6k8Kh7BMJAaN1RFgQjf4SwMK40o0nrLuQOq3RdFLcViyckgykDc1eqRHVcSYBka4Ty+5EtoevCSHCI6pcxyJK7+ENsX/1tzn34b/nAyVG0/JBmZ58cPFa2+PzLTV753QWmDpZZuz4kU3UZLee5c/cOeTPLIPTIF/Pcu3mXYq7A6HRNdYtPnrugCNIvvrLKdi+lPWhz43rE9398gpLZZ2psTH32h8M+fhDj+R5HTkwwcbjAy19b4QO/VueXf3SK+t09sqUqXtujVE548skj/OrvXOJA0eHzn/s5klqZheP/lveP2gxqCdOy+e7AwZMjvPXGCvNHJ+n7A77yUpN//slT/PIvvFv9fniyafdusv61d1h470eILLnc6Aw35YBXx6xNMrxzh8jqkz3/ITqXvq1c6HqxRtzYxilOsXf5eSY++L203nqJMPDIHTtJZmSC4eo9rOoM7bUlChMzxFaA//YNtHKR7OETJDtbuAasvX2J0Wd/SIF++y9+m8KZpzHdhKiQozJ5mL0rL2EUitBYIw1SnMc+RtraZfDmN2gt32Pio5/C9HfYu32H8sX3I/qN4MZ3yBx7ivbyLXLTc+jNpsh5cOWyeucdnGpJbbWGQiPvdDDLY8TlPCXRU43N473yBTw7S/HxDzN86YskOdFZn8TaXMN+5L1E3W3aV14me/oJovtX0WVTeuEMvHOV4f0VnMkyUaZALrEZysB87iRmqUy6tsxA0pjNJqljYswcx8xmiTaW0Us1rPGjuMMtHl5+iVyuohS7iSkAr1G0qI45KbrfhHh9A+/28+Q+8qOEmxt4D5fIHTyF5hRp3HydUq1IJquzeeMW9uF3U8jUCOpLDLbvMvPoadJTR9j8+lt84pdewiqHnB2XracJOZtDk+Ncu73O+y6O8tk3d/nOYpvVv/oxJsZS+os36OzFGDOTZAtz+OcfI3zpH4QyQlgaIbp1nZHzT7F1/TXc1CQ5MIczdxyuvoRbcWg1HCpFA+f0FO1bTf7pz3yGg6drvPFgyKED+wq7o8WUbDHl9EyFn/v9DX7/V0b5xE+9j+t//m1soa1XbcKGpz4L8i4xsxaBMJ5MCyfrkHgRA3/AgdlZrl+7xqGDh4mTFE1PGfaHNHdaClI7PT+lUrnbm2ucPHOaTN7m2rXbhH2PyliNh6trPPn4RbrdLp4/ZHR6Cn8wpFDKsb1eJ9hpUTlQoDxW4KvPbfDO/Qau4TBaMmn1bSZrAz79U2f53J9c5cyxSUYPjHP/1ibDeMiJU7OsrWwTSmJKzmi2qTbDvV6fMxcfYfPBGs1GGzvvMl6t4Xse1YkyoW9w+dU3Of/kOfL5LDeuXkfuXCOjIypuPmi2mJ6ZxBsG3LlR5+n3z/D+X1/icKWK7u/xsO/yfe8a40uvbVCppnztdZ8v/seP89F//a8ZXn0R3Qzp+yHawMcsVTHI43X7yvZhmLOYrkmw8yaJxL1rJ9DSIUHzBmb+NHFnGXIFLHuGmD20wR6+t4WdnSP2bNKCj97rqWSoKCUN5yB6rw5GnSR3UEXJdS1WjBpZMoWdRezaU+h+G+/O35N58peJtu6Rrn2N5ORPYsoZPLy3f1aTyz85kupx0uaySuyYGQe9eg6NgOHa69iOqfRx3e3nyYydg8jcX55WTysOmsChk24dU4DMcRfbzBGsvUhcPEaUz+HkDsK2pLY9UmcSx84RbNwkMlPcuWeJW/dJI4nZ97EFhJvJkegOdm4EX6DTwQ5BPFRLJonBB5Gmfu6mkSWSmp7UvK2csot5nVvYogYun1Yx/rD3DroY0Uon8Nr30XMzZIMdemIuEKW4nFFL54nba+o5EuyIdaGyr+cdStpRB7ekLq928RR67z7e1hsYcx/BEHFcJJpcWRh4pEmHNNKwnJJaEum5HHFSIPbWcUTxK0nexn3ckWliZ5Iw2BDCz75hTIxy/haMPE6a7MKwrfSA2GIxm0cfPsTorygrlJaAPvUYNJaJLdEqj2F4LWJDlixZdEmKlw4Q++tYstQOhxj5OcLdKyoVauVHCKSiHctwIEeSExvSKEljE8tskObPE/mbWN6QYdjB6txBP/wT+E2xTuwoNprczbylr2PPPY1m1kj2XldGMlFgR4MtKdNijl4kjJqkQaiqybQaaI1XfyM1nEkFGfOGEk1IVLxCF0iREe1HD51xwrtfw8iaMPNR0tZV9Y1VW750gK1ViXOWonXLQSjV+/g7izBygKwxQTjcJi7PYHlCbR6i5zMk2/ewJk8rtYXWWiPYuYRTmBVLNom/hy0P+uEuFI6Rbn4Dxj+APVohaTUVOEsTxVcogIQeWTsinvoAWvcBsT7ApkbkC81xBS0j/vQlzPIJIjnQeh2MsQuE975GbNqKwBtJx656Fvq3FDxF17JKU5UpTuMPW0q9FhdH1WUykqiIxP3dCax8lWD3FrZbJVFeS1cR8+PBDlF/B2f0AlHQwlDuZlPBDSVqFgoroHsbQw73YV6paDLVGRXlCONdRVgX6J4MNwTG4VgFRdEe7r6MO/UM3tIfE628SlqZUSRbgdb072/ijI3iCeRC1FDSPy0I9Ocull7EPvMUw7F3k9EriuLutd/ZH6aUT5E23sAQPcfc96BFkSKMin+Uu/83RvUkqXgvgzLYEZqXork28fo38Y0yufGThN1tBTszsxMMtl4iU5hDk6GQYxB0VnGLs8R+D3/961jTH0ETgrW4xJ3i/jbOyBJsXUGP1rDnP0YSxvhBpMBWsRzwdVv1kqUjlUh8RSjGNDFzJ0jigGTkAmm0rj4gnnSY9TL6xJMKaCLRbDUA6HQUddtKUdEv6R/L5npgumrokalVSQyfqBvuAxkzFZJBQ/UT/VCIwQJIe0jQbVKYO08Qp/gPbqCFLazxk0pDaYd7xAL4EMCiaJuSzn4HeGMJbewYQdAml5slaF2B/Dnccpa431EPiMSXr5ONcl5xCTzbwNIdoo3XSYI97IXvYbD012ScGtHMe2FrcR/OmUrMTfboomVJ0JVfXKCQA/XAp34Ve+yo6mh1F/+Q/NhHMCYu0pUOsYDVug8xsg5G7SJhakLjnnrgJcXTGN6y2t6jFZQ6MY22lV5RE+jKQLgVORJHNJwtFWdXOLN4oDq/iWhBEaZDAztOFL1U6h4CXRHTiOHVVQ/OKh4j1ASQl6D7TaXjEQ2f6idFffywgaM7GFX5WXeJdqRK0MYsjBMlEqE3ZW6n1EWigxOrhpFo+P0dLOmXJynh+newZp8Eo0wcRljRADvu4LnjpEaCPmiAK+RzV9kEzEQ4DU2VxhCQSqoF+2TYwlHCaA/TsRS8J7YmlPovLcwqUm6w/hWM6mMkRkZteyVxFPf3cCbfpfSODPbQXU1FAdO4j02WSCCJw0018JDnbmJllQUEqQDZeUy7wqB+hVxuHl/o9RI9SwwFi5MagB55avgqikDiFoYM5/wN4u1bWGKhkJ6y7hKF66QCGrKlL76HrTeJzCn1e64lbQLNxjILRDI8cKVeVFKpLz0xiHcuq7SQ5yxga0P1Mo97lwkHXSwxrhhDrEyB4c6yos4akxdJ88fQ5f2wc0uB99LquNKtJvVFEvFgF44Q9tZVAitNZIAiA+d1BdvR3Ak14JBaVRx7ip2hIxqhPmnQh8p54vXPouXPqyqSXOD0vHQ4TQxJSUiKJLdAMlhCd4ukktLI1ggkpizWFhmoRVt4caAGkpIMSetrJIaFPX6e0N/AltOoKTBOoebGJIknqD5kppL4g30QoRqND9BKR5Sdg3QbrDkVxdaFFSD/kal/0lQwPPle6uVJYrVRKRIkTRAd68RpnEwV795XccaPETNC0lpUdTYCj1g4DUYJwxuQpA3F/IjbDYh2sTNSX+uTNGVrVCBz8Pu4/YV/xbmffImPP27S7wVUKnm2d5ocnT/I67cbfO5XimidkEx2hqXNe3itPqNzVfJuHidjYbsFotAnV8zzcHmFQStk7MAomw8fqqHp29c7FAsBk2MVLK3L4Yl5ArtLu+1RqYipImZnY5cnP/wUf/fZ1/nZ/+7z5BmL9x3O8Q+vNTlxOE8caYznYv7i213O5gP+8a2fVymwn3z2f+GFOwN+8uOTVLF5ed2jveVx4qDF/bbJF97cxtBSXvjZR7j4PzxBtL5DICe/yKD91hrauROUXIeH33mOaOAx9+yHiU2D7uIlsgcPk/Tz2AenGFy/TNrp4B6YJFy9Q3TgKI4MLAuS6BPlXovucIgZB6TVGkIWjVfuEXht7AOHcYZ9tPmjDLdWsPI19NBTg67uDTERgX3yCfzXvkVcHcc6MMPgua9j1Kq4R58kfPAOmdFpfLHTtOpkDp5WAORYgK/NltIvq8Tl2m2Kz36Cxt1ltJ1r5Kcv0A27SJCVqYNs/tnvM3rxUTyBAj77QdJbdwmGPezZIyrpFQknaXMDY/6o2oSz8YCoUlWe+HgwoHJonu72A4KNPQqGQXzkGMHiIvkDs/gjEwTLV9VBVdf7iudhzi7QfOcyuYVzBLUaxspDjIpLb+ktcuNnGFz5Cs5jn8KqFOi8/GVyE2Wc9/4EbNxl/c//C5Of+HGCdhfD6DFY3SEzM0Z/8w6WNUr++3+a8Ot/gjcI9tONrftqgCk6NYGWWmUdrddiY+UOBx77EEarTePhVQq1Y2SPjGMaLu//J3/Ag77P939wkkww5OpGhOv7MmanWIYnR+b42p1V/utPLTB/9hDXrzeZLWVkTk3S66l6pzEyh7+xTbJ5D3NhFrt6WNl+7P4O3ZFZyrv3iCcOk5TKROsrZD2XzI+dJL50nU/95FdZaRv84qdP8/cv3WRmosx2q8PRiTw7ew6fubTBf/qRcX7+J6YZ1GFjw2F9/R3K5SLdZpPa1AiakaXgOqwLhFHUbZrH+lqD48dn8XoRGzsbnL5wlp2HmwooWR0RW4jGxspDDszOsXThuHrvAAAgAElEQVT3LtXREQWMHvba6jPd7rUZysV/YlwlCqRe167XKVQrtOWzPzlCwclTKKZ858UH/Ic/2uKjHy3zzNkx/rf/fJsPPJrjZ39kFN0dY2ujKaZWpSPMl8sMun0OHZ5XA4w7N+8yNjlJpVpk6fY9+r0exUKeA4cPsnZ/hd2tDaanZ0mE9xLG5PJFYs1XNSM7l2Xh6FHau3U2Nzc4MDfH2sNVatVRnKxOydX5tT+9zeduFThSC/ECn4KZ4fZen9MzBf7xxh6/9L3H+Ld//NvsPP93VKtP4UtHv32LKDeFbgs0csBw+1Wc0cOKWi/gQT3qEFqBOodrAtxOZPGQwyhmkElEIoA2uZDHIaknXJ0ESmexBntEoqIdv4A+FPBrqICqtr6NVXuWMO5gai56d1MNE9NijUx1gaj5kECxYDzS9RcxsguKraN5u+gjh9GTHGm0RZw7iNG8puCCotTTC0fVciYZbuLvXVfvMyM3iZ+4WFqMFqyiFY+oJFOomdhyLpP0sFSoq3MKsi364VTOXnaRWOpw8YbSEvuxDNH7uDLAy5/Yh+omMjQ2CRo3IO5gjUhV6iBG/dX9SmLpGN7Wi5iydBs7QxLH6hIq4MRIlibFaTTLRd+7g+m1iMpzWJqo5Qt4Q3k3ujiOmN0a2L2HyqTglKeJumL0kYp0XjGrrOABeKZ6p2vZKrZAj31/v/YWr5IWT6ALY07uS/1dpeuLozZef5fs2FPEezeI077iIgl/TNKEultQTCRv522S6lms4apiKsi+QWrroVRFJP3cvq1+rqm4KLML6Hs3FPQxkMq85C11ByvS1e+PMNaMcFd9D2J7ksQ0cAPR9Y7h7byMNvI4ZiIWhw6Ja6t7SGBPq3SBYQWEnaa6pOv5CdLOBhTHCShjxOvEWk5ZDfRhXSU0tHwOYzAgdAuK+WWbkj6eJtp9B6pHVS3af/g82ZPfR2zVSHevk0qdsTxJ2G6pu7XwB3ypBbRf+Ddp7GYIu+tk7KpacyZGqtyW4luPTUdFdsRvmcoWw64Sh3vocQYyeXRZjaoYbpvYEG1XgKXtQu640jxIl9ONI4S9Mti4gyNk/N6K0n4Fc+8hvP0FtKSDPvnkvsLAsQjay2pCaODhjC7suzPNcbVN9vUJHGtIsHMF150n0jXiYIesTDfSAdHeMpRH1TBhUL+D6RZh5zraxOPoQY648QJa+SBWf4swNw0Cjutv40VCNzewpbMp0ShJKvRXVVXAG0YYMuEqFEm6nuIaBO23sCS+rcVqWqZpGbTsFFEs3ZghbN9S9oHIsMmNnlB+Vi0VanALrTyLJVWARDhaLmlfNFs+VmYEvTqPd/85jOIxDEQv0leEYz1tqs6KMXKCwM0Tv/HrpPU66eiEAjgKFMkQjYphobuu8lAHEolOwNETjGEP68Qn0E/8OP4wIdy5imkMlQpL/v92ZoGkt0F/+2Xs6cdIxT0pnXvx5crlLHuMdHBH9VuCKMVK90jcadVX08Mu2qBPWMiqbXioFdGkhJf4MGgT52bUEICGbGBstU2WXlEgaj2riF0+TNp9QCDUb9k8ytcJgU86ytmq2gwLlEx3yvvdfd/C1lv4YaKgWknuCPpgVRH5NQHBmVnS0iw0b6oOtCEXRYl+VS5gDdfxzRy2XP62Xt0nb0r0aetVPGFdSCJDTA6y2dy7SWJNYI3K5noV244wzSL9OEMmNWitvUr15KPExjyGOBG7daVIC9vb6E5GdXVTU6I+lwhlsOK7WIefIt54GewpumuXiIvTFMaPqAh3308wLQtNnO/5qorEa1FLfVgl1h36Q5L2Op53l5wMrGKLtDiqLjj07qtevp2ticYUTTbzhQPK1hBFLkkmS8YuEu1eJg19RdDXxx5F6zxg2HuILZHpYJdQoq3FKezsAYL2LVJJ7lgpqV4gkjSE9LBNYW/bmAJmbF1XcSw9Py1r8f2odvttUncaS76PQagI+UneUTUQYT9E8nITOq4pw50CkaQ0Ytn02mjhFpo7oqAsit4auZj+Azx3HksqPBLLtUcI5WJmGOrvS/xVtVWXGVxYv09SPoaVSiJmR3QTaH6GpDyF4XdVn9pwp9BDk8gJ1SEzdrI4/QZRMMCwTOWHVp9LuaBmJ5TiLQ1N7Mz+JFk28Fb3DlGmim0XCGIbUzb522+oPrebm1T0WIlh2flxfDLoQV3VFUxx3EtiKT+jQDC6wEmt/Uu9jtDtN1USQUCggZ0jY+UIWvIS9nGrxxluX8VwXKyiVAQ6JNEOmjVJLFpP0UoKgkoSLm5RxX8Nb5249TZBf4hZO0tm5pyqhITSY5QBjmEQif+WHmZxQW1yrFxmH/DqZAiHdQypeYw+Sur70L5C6kzv20t0AYIt4ZdOkyY91dGX7rAnX5O6iF42EsZCbkKxGszOCkOntg+LFJ2SpCjcMnFGXnR9ktYqmthi+tuYlXGS7p4CL+m6SSzcjLiLHu1A8QxI6sXrKq6BFm+TxJ6CgkoET0sjjNyUqhkhAFK/rw5gdndbpXhiPUFXgyzRjlpoodQ/UmUoEcZGLMTkUgZv+z5Wtohl50lTUcCKIi1RL/7UycPeVUXgN49+t7JPaBvvYJRGoXCCoHsbq3mXSDg0xbPEWk9t6Z38EWJzBK1/n17nPuUDz+J11pRSUgJ8cV3czycVqEjZNWR4LuyAwig2eYKebBnkcAquJR5guUx7WJm8urCOn77IF3/7f+UHfvUNfvFTZ7n1cIOFMR1Xhz97aUgp6vP23z7GlTfuYBg5cpkMXr/N3ImTdOttHizdxcyZ1Kpj2LkC2w+2cFyX6YUxdtd3+esvL+EPLd779DSPnRuhNwzECMudW/epjBQpjo4yMhlRmj/FVz7zPP/y9+r8zCfnebC5x3zV4eXbfebnMpwYK/B/fqHOu6c0fv+PfhqefJy/+Lnf4ld+7xI/8q5x7jWgOpNQCGGp7VPWPa4sB4wU8nzur3+MaqlG/cUv4MUTinDcjzYpWF2K5z7JztuXSIsxE9MX6dz8pgK8SS3Alw12t019r40+7JA/dhrdqWJ2t9iTjX+sQ8ZSNTIr8NX7O+5tKdiVfegw3Suv4cwexC7W6C2+qWqIUX2H3OxRkokJzChlsPg6dnkEd+ExlRYM1pZxU5vAiEmbe7gnLqqB4mCvjS1gstae4lYUzl5guHKT7NxpBhKNr2+SKRaIuz7GzBSpr6nlgzt3Cl/ApgLnlf56mtBsthl/zyeIazX6X/kz3Pf9GMnb38AqZkjHFwiNHN1v/S2Vw2dIwkjVpOxDZ1h/6R+YfOy76G0+gHBA5ZEP0L71IppdJX/wEM3X3yDdu0vh4z/C8N4S1mAHP3KwmhLNFwazg7FwBs1X3hKlKEtMGfcZuJkiXuDh3bhG4eRRwuYe2aPnaLz2FaU9yxx7grScI3j5eRL1c8iRY0j74TLGg23c7/4nhHcXlfIwfrBBd3WJzKFp8vka0faQfsGgGqcM+jFJtMvoucfAqfMv/sXf8MJiwBNHbeKhxW7iUxX1ohVTsUL+5q02RR1uv/q/0/r6ixinTtC9ex1raw336e9iuLJIlDpYpTxOrqTc8Jpv0rr5kvKlyzC/3x6ilcewBrHShOUqFYzTp7AH9/jEx/6AhSM1ZosGf/FGnUfP1cgHMaYzwNMcvvBSn08/Az/yTIETT53k/vUlZh95jNV31ujvbBAlISPTo+TzBVoSr3aL7NV3ObywwOrqGo3dTYqlEWpTY0RRxKA7wHVdmnt1auNVpXz1eoFiS+SLDp3OgCMnj1LfbjDsy/stIZ8vcvPqDaXxE4aTqAdHR2pUJkpkciF/9aVNHjyIeeYJl50dD6+TcO50jhPnRll5Z5Pa9DTba7vMzI1x+/I7VEZHSYyEQrmI3wuU1rZSHaFV36PbGjA5P0MQeGTzLsMgpru9qy5k1bEa2UyWjY11lZgYnRyltV2nVM5RqY1zf3mJuNUlqhR46rGT3Lt6mcO/2OCfPStGrAFvL3kcP5jjwsmD/M5fXGeYaDT3/pb+lRcJ9JM4BZfB7iK6E2PKM1vT0Bqr6OOnGay/ginb89WXiSyN7JGPo5sjeKLwW/8Gxvh7MIszBFuXsITWbs1Af5lYOvfpED/skwk89PJRVR8U1oHYL7RBA3P0lDq7DO59UzHIzNGzBDuXle1LQN/svQblc2TKC+zd/FNcxRM6jJ6XFGCKt/Uq2eMfVWcjuUAii01JYFdnwSyRNtaIkwhb3gOSCJarY2oSSkXZ28MuTzJQ57gx3NxBvAffRhcNsyT0ukvovk9UmMSWdyADop4o2tuqjixwQOI9YonQpw5GaQQ9LalqXhzeRzflvGnjR20cuf8JvlXvY4QRg4cvkRk7qZTLfmcHw8kqBgiiqmuvqvOIJcPV0QX8+jKRRPPtKbVMCdIBztSThI3bagllj8yRVuZJN5ZJRqdwkyKR6xI17qj7gXClEEB3aYFk5CTJ1nfQhglDr0u+doBATGmGs8/JGUiiwSQ1peYS799xMzn0QR0jM6rOLnLZTjv3MST9WjtNHGzTrz8gM36UpJ+gxZskU4/gmDMEt/4QffwxyM+QdmVQGZL2fIyaVCwDFIXRzBP6nX2GXX4WSwZOw65KnWTmniLpSPoiJEna4NsKLGw6DnR7aN6yMl/FcjcJO/iWiyu/v54AiA+g7V1VCW5r8gkY7qjfBcOQ3KC9z8TSI9KoSpqR83QTbVgnMbLqrCeLrETg9mRUClRrvvW7qfTkrLpsX2QDNUrcuqkmKUZmjHDz22qjaVdPExbHiXZE2dYkWzrJUGIwrUWlbtCKJZypdxNuv61ivUFvRx3IZDOsRb7SNhlmD7t2lsH6S+pyZ009Q7T2HdLJCypGLNHr1J4SvCBG4JAIeM4ZxyxVMHpDYoGB5SYwt7+FUTjNMKlj7G1glsaU3zytzqAPfRLp2vV31ZSJqEPU3yWNNcxiAat0RP1iB95D7OY9QjtLnD2KqBATfw06e8Ql8dIeUBtGs3mNxK5huzkCr4Pelx6nhiVxmLivPhxpsIZpVhi0NxVULztxkqS3rVQWkZXb7/NYHoZ0R8xZws1XFUDKlM6PRGZMoZ8bRC2hRUdkq9PgSxbCIi4dwo5bREOhqdeIdA+n+giJd5/Nz/wc2ZxJZuII4XCLfishV7MxpGsc++Skf9wV2nSKMxwogIQ5Nkn2iX+HbdWo7+ySNwdEnQ2M0ZPo/dvKCW8LpVrUKdKTat8hSrPY6YCkJ5Cvw2CLHrANemm/776zDK1LGMd+FD3u4/kN7Kb87EYgM4YerhH2ErITEmUZKtq3nZklTnukqYlh22gCKRS/rWQpxaUcDPbZBALQksx1fxV79DyJ9PX79/e30jLh7S7TjcsUyvsE89SVC0aOeLhBKITV7FmMcgE9bdC8d5XCxFlloUgaizix9JV6Chjn9x6iu3PYTplMPkSXfqYug6uDavAkIEzFiWi/oWLQkWxh67cV/XZ39S4jORt9fBZPulHbD8jOLoBbIZTDpHhZ0wK6ngPZFBYjRDsx2NnFjgeKW+HXA/r9iOLcAaUGVEkVZxytMIbZXcbbvE/u5DOkRpbB5jI6EtlehMp7sUoFFRdSWouoj55ExFkh0bukQjHf+BaJaPhOf5p49yqJUcamQ7h3G33iGeLBLkbnGokA3GJPVTMMfaiixaYzQti4gZMfY2iXMDUD3W8pUJls2kXxaE8+jtdv4gQt1Q0LRSUqG63eQ/Uzwj1CUL+CbRoqGhbLpV9S8dpAxdpl06vnp9TnNgw0nPw00dY3IdXRp96DJopLyyTZXVLDSFGhxBLHN4vqQSlU2LRzl3TytDIfxMLliCLS+ttqmGBmZtVgB81j2N/BHX2UsHkLZFudGSMZOa/UN3IRlKh4ajqYVhFfeoFOGSvVGfTWSaVecfi78PsR9s63SHILqiITDdq45SnVs5JBgGzkzcQlaN0nzlewJT6eBuqSKndIATzK14X9a4pUnwaiVAyVOjUNmthujdSsEft1THkuyWSjeZPEGCHNiD9bPK8yvW+gi0s+c0D15AwZ/gkFPxmQCn8gFFIzOJkysQzFdl5SPBU9d4K0u4LpiIP3IVp1Hi0OoLeBWThLorfx114jHjTIjMyiF0/hD9YgM4ohcFRvgyTRMfNSVbiHLVHCzCHSbIZw5RV1oc8X50gaV4gKB7HKp0j6O3j1F7Arj2Bki4RbVxUFX6scQ5eBQHeFxB1T5Ha5fMVmjtTcn9arl9zwoUoKia3BMIqEnXtqeCAJIEOUQfkaSDxf4n5xrKJ4OKMYw10Sv4uhW5j5OYbDXZyoTSLaPQGzBiGpUP7l7xZg4VB8xRppMkpsm9jCfvEb6tJvWhpakKqhrrxk5c9XvUMBM0kSRXgLYn4Rn7PEnftb6nlkWrOErqQM7oKbU7TuNOxiCqxNhpeWaI5W9pWBaOjefRJtnlQ0R0aFULSXUqHRNfzIVkq+xBkjDOtEnftkLPm9GCPs32Pk4qN8+Q8/xy/95v/Ls49M0g9gfXODSr7A4naC1+pw+/PPstX26a409ysbeZvdlS11GZDL6eTElDLXtIcBpWKB+rakI1weOzXH0m7IZ/7+GjO1HI+cK3PgwBjbWz2m5sps3F5j4vABRioejbrGd/3Pt3jm7DjjpQFh4nD5bovTExle2oxYetjnN76nwP/4Ux8nKuV47r89x5de3eDiEwe5sbRKuwtJxcUethmmGb52ecDvfKDAD//WzxGFDRrfeZXs6CjawqM8+OPfJjs9QvH4u4m3N8FxsedOEGo+WmMPc+o46c6S4kV425tkqrOEw4a6OCUjswTNOqaoVCek3uQRPbyO5Y7C5Bje/WUMKyS7cB5v7S5pvoSbH1OMokA81L0uoSwIFs5gV7LoA41hfZEMOVLb3R+wrd3GeeyD+M09krvvkGZdNDkXZR3swKS7KQyZHJEWYtUO4S+/QfbgI2prrzV2GLhZjM4OsZlHz1fQa2NoQZ94bZH8Ix+iubZM/PA2ZmlGbdgyRoek00MbP0y2NqWYNu2ly+SPPEaw/ZBo9z7lZ3+Q4aVXSDvbhHaEM3uSuBOhdwX42iWszRFubKp0X3H8JJ2ll8gunKJw5t20790hqt9Tvvl0/Bj+jZtktAb+ofOEl15A012KH/phkr1V2s99HvPkBaxiid6DGxTGDihmk1aZJFcdoX3rNZxDj2Pe/Cbe2DRW+TDDxZexjpwmV5lneO1FklwGXf49JEUW+ni6QTZTo3vt6zizx9QApXv1NSrvfx+lUyf47Z/9r/zqV/f4+Y+O02i0aQ4cZQwR4GzNKLCSDKkUCvzN7/4AnWu3MLUMrfIE6ZU3GH/3u/DtcfqNLYzVN5UdKjt/nq1Xvsj00+/Br3fRXUd9DvVei6E3pJhPGIQpk+96P9HGKp/+hb9ho59h4bjNZMbkytIu33VyjraT8PfPrXNkMst6Y8jPfmKED1zI8Mqrm5x/Yh7bSLi52OL8yRmcbI6V1X2lXW8QsLG+w+mzJzF1jaVbt1k4Os/GxjaxnzB3eF6lu7r9AaEX7dPL5YJoO1SnaoQdn6Wlu5w6dxrLsem127T2WqTyL2e7bG2scu7Ck3RaTcYnBrz+ls+XX2mzMJvHa7SUcvGNN3f41X91jvZmlyRXJmP73Lp8j8c++Dgbq7s0dzZYOHaYpdt3ca0sM3P7TJ4bb91kfKpCoSZVy4BCscSg1VFKQrmQl0ojxHFAs9lQyd5Bv6sGCWp268dMzk5w6+Yio5kCpz54kpH3fZu5Qw7nRvPc2fCYHHOYGC/SbQ35zMvb9K/+MpkjH2LrlS9hluexe6voOZvAc3ElQTpxBsRLL8DZ/AHiu58nzWT3z1oC+M1IVVNA4UNli9DDhNDfwhg9S7R9CSt3TMHmdG+FdOw9apOfdHYINNHCzaL5A1UbIJaz3j20iSdIkgS9J0wYg1AGyZ37uNVjJOp9+RLZ/Djh1PuJhF8Wr2NqEwSS3hksY1bPKvaVIdC6MFHWj0AGSsVJiBvg+wqmLZdMgjaJt4WRnUKLPCgL9LZEsvOPxNkzGNVpzO4aodfEzi/gez3Cxlu4Ux9GyxqES/+IJrph11Rnu9CqqOG3JNeSpElUX8TOjmFMv5t0+0W1lA3FzDRYhPJZjOYiXtDDdWJ0Y0otEUWbKFViSVZpkctg/TvY8x9WiuRk63WM8iGVCFEXZYEbFw4r/lm48/+R9N5BlqXnfd5z8jk3h76dw3RPzjubZgMWAIHFggFMYBDJImVSZJmki7JkyzLLoijZFBVKNkFZFF1iFWkaFE2TMgSChEEEAgssNuedmZ08093T07lv9833nnxc79eFwl9Y1Mx233vO973v7/c822hTp9H9tqrdReEARy77cUuprK3aInrlJNngPll3QILYGGbJtq5ijM2p93m494C0UEbLAgyxMGQJmTDSJFkt6UlfSKGifxUYZo5Esw5r57JcKk0K1lmZP6zUJtj9Fok9hzv7LKM7/0Ulw+yFF4h6wu2K1XNCz/JkWU9B2XW3gb93E0sA0pPnSTbfISlO4ZQWQSqKoxZRUc5oGXEQKC7VqH0bz5LarqEo/qJp1+wp9GD30BalzokayBLZnlGL89SbOEypRVJBqalaR9ptERbGcNP08O4r3KjqAnrtHKkwh3prmG6eqL+F1n3nDzLbdRmNNlRvQbJSRlpVnczUcUj37x1S5uMIV5zb5WPQvk5aGMdvr+AKuMFeRI+2ia3TaNF1stwJzOb7xIVJjDhEC/fUZVALe0qlV2g8gvDR4+Z9RVzPbNmQDdQ2RjR1wdar2NK7Lx5VW0RGWyTNe2gS5SlcIGNHfdEMGViYDqko4CyTSDYhrfv4hosrHYfGMcKuXG4eHm7Tx+ZUTFV9QF1hDlSUpoyDLYxCjZFVxY0EyGQfUjmDngK1jaIelj2DVRCo0k3w5SJjKF2VkcpFrINenSMabBOOWpQqR1VUMI1lLt7B8oSCnydsreGVKqqfnpXqaM2HUKyjJwLq2saev0TQ7aAnbdVNsWozCgySCuzLKSrAiDZcpf/gW3j1i+SmTrD/nf8GgyLYRbTMwbM9+oG40jUM6e4I1VZSCpZD0PaVRk/XA4xzP4Q2+48xtHXih39DvHmdwsJTjGZ/mOTu17GiLeyxR+mJxsd0SAYjPLElJNtkiY9lVYmk3z3YRU9CgtwcXhYQ7r2hosdJqCteQZqfxhptq82c9G+dyZPQ2SfNQky7QhRH6KP7WNXHifoPVRwv1nw8d5JYoZ+apLJusHMMrv0J5vEfwBZg5bBNZNUUMd/WcjjjM/TvvYo5tohmlYiaH+KUykRRDmPspJoqDu6/TWlxgc5uV0UKDWuK4tFzaL5s6iTud5Q03ifZuUN7Yx9Lr9MOd/nT3/89rl71CbyAimXx5pU+Tz5Wo3Mw4Or1gKkGrHbkhQUVF0Fw4FZSub9yquLRk/hdtYw2bbJUANescObpZ7n83AWsvIFXaxCXJGpo4PpbZOJX3XyH1tYqYfUYXmddAUCy+izB8suUJk6hOxIYGmGmA3qtAVrtcZxkT5Tuh0YGdwoj22G08QZW4QhmVRgHB0oXaLspiTVH4K9B6QTazstqUquPf4K0/RJZpqvhk6gTjeoSmgAKowCjOkMmiY5A6M5FdETr2VN9rlS6/7LxlV5z8TipLmkA0WSOcCrTaN37ZLXTavMvMB05YGdBizQJlOpRBn2Gv0Y2fEjizarPaSwXaWNCOddjawxjKBe5mDgn7IwAe9RSG3ejt662/XFhHk8u3nIxEiBOvkFUnsVurylAqV6cIZY+ttgFvDkMUeSFQuYX20CMLpWYUDr/OqktEFMJdOlgp9iRdNYzdTkT/oJRfwwjbRP5vgKqGE6CZkwqvztpB7t8jLQjrniHVCJ6suUX8ry8jBBwj68AMomoRwW6KIkNs34IjRP4X2EePe0QdTYwJcUiEcRUgIpl0nCVNLOwLI9QkjJpUbE8YoFlyiHGaJANrx+q62pnMYUOvX2DLB4cPlN2b5BED3HGn1FDMi1/Uh0Ek503VX9TDhDCAPH2V4jl5VY+qXzK0t933IKKVqeIGq+IHx7gqH7vGFnvpor4m/lT6n/XcmPoMvAZbqKXHsHoLhOKds9uqMqYMxRd2Txa3Cds3yZ1G7jyuzWqqo4lhy/Kpw6HkJqFZerEso3v7kDvHsbMJ9GyfeJwgGVKF1oi9zqZeIaHQyxJhwlwM7ql6MrUz6qopSHpA3OcRCCfcqAxGkS999F0D8qPEIveRzb8sfA5hKYsgCGfTNFwU/WzFwBf5PdxGwJR7KCHgugakEp6zJ0kMwxVGdKtCbJoG6soh6FIJaNi4TNYJqabU8aSxB9gORaZ6kYeo3fvj7GtOfTaSQXnxB5TiQcZmJGrkw5FvxsSS1vPnCXWO+iaw6C1Q+Pjn+AfPv9p/uBbHT77rCTyUh6sdzl7bJyrK301DPnu7y6wspbnyMUZ7rx2jUHgk8vlmVmco3fQY+bIDK+9+B0sz+HUmdOkfkqvdUC+bvCdV3ZlRsG5Ey66USSXGdzf2mV+oU4iFRrZels5PveFNvUkZuHkDG/cavHUXJXvLm8pqvd+s8cPXp7jN3/375K0+mSjhB//+T+iUMpUEubu7pBzCzXF9nljo8NuU+P133memYbJ6o2b1M8+T5Jtk2730UYB+jHhMHSo2NAVyNyRUyTdfZKDLbKmwHVLypvsPvMj2I5D67tfpFifw5icIEw8zPZDRu09rCPHMNt7DNot8nMXSXfvE+Y8MlFfdkeMNrcoX3oCvz2EwQHu7HFFyg/vHQ7uy6VJBv19Er+DK897vaJ0jvuvfIP65e+BQoVgZ4VCfZzhnav0Eo/a4hzDhys4E3MEe1vo4hsfG4eZBaxBSH/nAcW6AKcEsLyNKXyhxhHi5Q9wjn+E/o3XKX7ke4nuXcUoFEC0ZwKhun2LoFHCDiM6N69TOnWOVJgR+xvKb9/dWMdNRxTmH9rDGosAACAASURBVKX53pepPvp9xDLkF9iun6HbKYXGBL1mEzNfQDvw6TQfkBzsUvmBH8Nyc/jvvUmuWqPfaWLNzipDS7DyAZy4SCLqwBf/AnvhBNnYLGxIBWmEWa7DeJ1gbwejO8I5c0Zt3EdXXsGcOUVOT/GDHpYksHod4skxBtevYYcBuU/8KHq7RdBcYXh3WQ2X7Ucu4+VzGO1thoFcNB2co0V+7uOf49sHBr/0qVlurncoVmTJAGeMkHZo8FuvtPjNTxr81u/+TzQftHB3tmiPNqnU5hUfIJuv429u4xbHSUtFvNRQw31nbg5NqrJJCr58B4cYQUw40rByDiUHzJMF/vn/8Fe8clvjp39knK3VhHIjU5pNx8nxzmqHd9cinpgr8a9/uU7J2uXKjRzHz41z4/o9CiWd8fokuuGyv7PKxPgMpVqJOzduU26M4Xmeehbeu3aXcqVEZaLG1sNNvFxeRe/n5qc4cekMW8vrNPdaFEs5yuUKB602+/uSKnCpVmWQ7FIZq3CwuYtdsNnd6FBwYsYni/zbP7qPJkrtxFbmkaJncupknieOmnTSMq4R097rMjk/TWrC3uYO1XpNXebiLGF3bRMzV6Ra8hRDZGbpCP39AQ/W7ivGyNTMBJpms7+1gz+KOP/kBXY3dtjc2mRqdoaDnT01rMgJsLATc/zEJPXpGj/+919kpZPn1HjKta2I8Sp8eM/n73zqJF/41g3+yc+e4Fd//yv4V7+u3PSD3jp2dZ6s28NffxGrcoK02EB3TLL+Lrq8j6uXFUcqa8lwbhbNsBR8LwsTtPoFNNHzilNdqrylYxgyvO/dgaiLWThFmhPN8QaJLIlSOV/4pPkp1ecXsJxwzkSNa0iarTBDsn8d8vPqd5gNB2TFGro3RRp0QBS0it2ziyaaY4HmFhbIjIg0srE8jWDnBrbjgTtNKOR5qepJ1Ffi5OaCsjnJs0bVH3trOKVZ4n4fq2AT9HaVonyUCi9rqO5HulRytaoabop6XKj72sG6MmXI3SMWq9niD2LvfMAo6eA1LuPvvKfUzYnYnHI5zLEn1DI4SgbKhCQ6UsO/rWDEspDSKk+SdD5USwUh+1OeVWyFSC9gmxahqOlEy+xmJHvrkC8r9g3184qr5u9dwaydINE8Za5QeCInT9yX9GJOEfAzx8GMDwjF7CBcnc599TOwyvPo9hh+b1WlCK3KObKuGMnaCHhCL86hhS3iYEDcX8YtHlVJJkk3yyBFKzTQ8guw9Y5KISDQebOAJndK8dwGkowdkMpydLhBIob6mpjthElVwnCnSA7uYNqTZKUitFaVTjltPI1n+Aw338UVc0l5DC1tqAVnasmgf4xQlzuQTTZcVRYhpHrdD3GPfVrBG3VZdA3XiLIyWmHiMI3l3zus8Uu6UmqLcuaw8+p8YYU+Ub+JO/UIgRgoOq//VhaFLXSjrl7sRtQndSdVtFRpvooNova2ijyJqi2JBby0r4jHUW/9sItiy/bhCrrEEdu3oXAat3IUf/mvSMYfOXTcC9jJFxjCEULpx7TuYhaPERXGyes6PdnsjboCrCcadEDRKWOsTPo3HYbhgVLKyQrNnPtJsu4V9SXRa48S9T5UExfNku3PENM7QtB+HzlSad5p1dOUDol0b632bZJCkXjYVZts25Dz86TSLkjcSuBLmQAmBD7Y95WyJ3jwHVxLtlETqk+YClV873110dQtm0iv4Eif3d9X8egszaEJBVpinJbAuMQL6Svok3yY1Id1/x3lv6b+6GF8ODokiRvhJqloy4Z9NK98qMobNpUiJExjvMqC8qyrTqhhEu29jNV6nb4AIYwZhsM+hi91DU/goGSZhldQJWkyIWRmGcO9h+ipT+Xos6Rnf4mocpxo6ybmxstYMkhpnFbO9aizRa58nnjtS6TSSyyfwB88xMwkLTSOL4ft1MTxrxMlJZLONZyFn1QHpkyi1pXTirydZB5Gf5dRsEm5fobO9vs45Un0wklSK1ZNAdkq6/6e8heLDsw0J4hlUJFFh53l6jzxzpoig8YCd2y/huYdBTvDtOdVv147eB+9cAbDGNBfv4K++Dw59hiFsn3fxIx1rJqHIx2kk9+r1JcS6W2+/U2+9a2vsnxvldU7u+w1Y9584LMZaNTdw6bv8SmTXifkyMkaRdPm1h0ZGrmcm7HZawfUSjlWez6dg4i/96Nn2Wz2+YM/X+H0DOx2NJa7CWemTU7PN3jp7X2aSSjXQCTA9dgjFc6frvHMkx9haWLA4g//Cp4t085N9EGK33mNUVe2rxmWdOeLE3TWO1TqAtiE1r3XqBx7jMyYVBNg6S8ZpSKhLz75BMOt0tv6gLyZYlaKxF1hDcQYuSKWd4Rh8zqWXVYgQVd8pWKkiNfRgoTYXcRxUoL9a6rb7uaPkyQjMlljuuOY4rLdeJeoUMVJHeJ8XX22BByYxhmuY5IaDplc3CwPo7dHEAzwZPssFgL5jEvPXAuw7Ophd7rfJHFLmElEkPQwBHOvCXSzQbL7EmblPNSOoPebhKNdDIERVo9jRENi6dKl8pKQg0hOaU0tHhBGhgL4GfIsWf0mbn6SZOw0RjBQOkVbBlpSbRruK5Ksni+jHayQypZXbyvIZ5J7ArP/DmmvDbMvoAXrqudm2Q2GvRXFbJAkT5rPK6UYtBVFXpeNtmyuh2tkXg1dkhMCDswg6t+kOH6ZUOuQdFvYYoSQbbt8twrSVR9BuoNVOKZ0M+nud5X9QxeVoAwWpM/V3yOTaKC80MRfm0aHQzkcTIFxSgtfnmv2jFKXCnAuk2ft0vcpzzXZNqY4w705QgFRZjF2sazMDkKbTw5uo1sVDM/BP9jHnJzHHB0Q732gQDwDeXZnA6zicVXlET1i5pXIpLcmRPtgjUzAn1lKKnpIQy7VFbTWHQVDlZcy+iQYI2L5OwebBNtvY8/9MFG4pdSBsh1F0iJZohgTfk/Ue9MKymlEgRpkOOUJ4p0tDFFo1M8RrH1V9antxqcwBvdVPSoJWmhSJxCfdv9DMnsKTA9N9JaSXLHqpHJwEEgkIzUo0vMTquYmmypR5urutEpBxIN9cjmd1JohHm4oWFGSa2CEXTK7CmI80Yr4B68oiKo+kuHYJLhLpLuvkSZ9zOpJxeyQYXucCqNEqNBCz6gp8KSdrJFSINUN9GigUlGhDHxHK4oPIdUzqQKNWt/FqFyi8vgn+fTFy3z3+pBf+OgMby5Lysvj0QsWf/jXTT73q+f4r39umi//4Yuqc1yrFiiPTah3RfPhJlvbu9TqdfVf27V4sLpK5CdUx+oqRv3FLy3z7NPTnDs3iZcrcf/uA4y8R3OtxeOfWmDr+j6/+r+uc20/4teezjE2W+VvXt+kUsqjmRm9TkK22efzX/11io2CSt38+3/5J3zxxTY/98kZ/q9v32FsssC5iUm+9M4yO4OMP/3pJV74p7/A7lvXcQWWZOUYBX0KjNhbWSc/3aB/4zYxOs5EHa01oHT+AqNIBjYZRnEcbfmWgvHZTonk4AHWI8/h37iCH2yhb7epXnqWfrOpzjW5YpWwL9+5BvrUWbL2Q0gi+sv3yLsG8amT9N58idLEEZLRgHBnm/zZSwze/jbZ5DS1wjgdSc888WnSD75DaBjqbNG78QZabQzDqFM9uYSvmSpFaO1tEedzBJpNbe6iShLaK+8qA4cx1sCqT9O8f5VqfZb9V75JYbxCKMP0kxdI+m2sIAIB35o14u1b5OcuMFi5rbqgRpzi23kaj36c3t2bBPt3qJx4gkyqH9uruIuniG9fxZk5TeJEJP0+o/U17HiItvQ4dt5VqRzTLpJu3Obg/m3y8wJCrNK98QaF8hjOySdJdtawJqaJmvcJ+ymlhXmCYayAdpqVohUmYdBWnnJbN+l98BLli88Rl+oEt19XkDaB4rkx9O9epXj2KQ7uX6P25KfRBgf03nsFvd5Qw1GpYaTDmGRng5wYrsoe7slHCJfvYRwc4D11HDfz+I3f+kP++oMRj8+NsdcfqgrfU8cWOOjs87e3BowZBf7VLx7lsZ/5DNt/8ZdoswuEcYfg7g2mP/lDxHNPMvzC/4ZVyuF+7McYfOcraPUxgjikWqrQ222hjzXI1+W9tK7Osv3VD1h4+gVI1vmNX/5D3m9DsVpkfLpKu+nz/GMNXnx/jTDRaQc+o5HH534px/Enl/jwtbvU7DE2dnYVa+XsE4/wzuvvMzMlyltJoQ3o93wajapipDgFi+5uS9Hn5WdanRjD0myuX/uAI0ePcfPqdapjNcamG2r7vvVwg9OnTzEc+hwc7GFKEi1F1YAGyYCxSgNLPv/2iH/zH25w5OQk4/mYm6vyDoaDYcBv/vJ57tzbIGc7TE4v8vWvv8TJc8L5yuj3R9TGyirKPD7WYNQf0u4eMDU5xY0bN5RBozHfoDI2yd6DB9y/fZ+Lly9w68O7TE9PMDY1RW/QURf/glNidfkug1GktIfNnR6XTnj8Py8d8CufD3h2VoYpLmMFTcEyH+wPeeVewH/7vTP871/9M5pf/D2Vlis0zhDSA1mg3H+VoH4Eu/5R0vUvoLXvYM8/g+4tEQYBae8emsDXhGcl59HSkcP0XTxUulo36hImAo8+o+LtmaSD5WSt3ukBUZQqDlZmxKQCvhOo+XBdJQjjVFfVNrswiT52lmT3HbTcpHompsMWaeqoRash4OM0wxW71bDP6MafUj72AnLQi3r3sMafItaGajFrJgZZuaz00VYsymBR2Wkk/S0So4RTmFIVBrNxTFXGsnCEVpqGoEMqfCzRQnue4lgFezfJ3CXI5bFEe928gVk+iuFaJDEkwhka7WJpOnH7DlH5LF6+roYigQzbbVOBlbVoqAYAibBx8uNkPTGJZQrGnLU+ICktYWemBJyxTF/dmQx7El2YT0LfTwLivsDaJ9UFPxtI+rOIJWD07r1DCn5hkaQ3INn+JvrCC9hOTv07p54HWlmlRwx3hiRcR5chQ+Cr35EmgMRghay3hV29TOAU0Q6uoktdWFJ5I/ldjZNVx/E3X8P2xtEE4rv9Dtn4R5R+27VSEsNEr55VSmDbFID7bfRh97AmaegYyYiodRujdEGZipLhKk71LIkwX2TrbhTQgq5azKRpT9U2Te8MgeARtY4Cjo8EXFuexeg+UAnikdxthUdnlxSHJxrIuVfg5F1iOUc1juNkeaLwAMPRSEcdUjFTlY6oO6o+2CcWSHvzgRoiW+MnkaOltv/6b2VWKJCjXRKjrkBCRmqrnj+pR9i/h1FcUFquJJXhQAVzsKk2HaZdIBg0FbVSr+XQAqFDj8h2/wta5ROH5GP55SlYYEjUfgNNG8OoHiFY/Qp25RyBN4uW7mMZQprMsKOUsH5OHQrTvWu4hQqhM4ktDIJBl3i4AlOX0Uayct3HyC0QRD76YAWj+oisREj2rivwlHSBM4lbFMcwBrskudNk/gckUZFcpcpglGLbOmmooQcPMGzRo80RSY+GiLi0hN4VD7WL3nnIqHkFY+IjIIf+OCQWVkIgPdnb2LJt7D5UwLN06in0+IA0CNAdgVYMVLXBjtqHh1CparS30GpH0fZuk1gO2syzRCt/gyOU1yM/QtS7q4CCrlXCP7iiNoJmX6iTs6CV0O2ErPk+WvUiZmWa6NVfIdveJEpL6JUJMkZolqVAXcJBSIcJw/YOdll+/mPkOzv4w31Go5DqsUvw5L9QXe7o/hewnBg9d5xY+k6KTr5CJBspIWGGPk5ljlgOzMJREAK/olw+qjQY0kfO9A601hhqeYrmiLh4Wim1tHCXONgnkg1qKl3eJ5X/XTSNmdDK7TyWfYJ4tAr46EYBQzcON2+5i/gH31QgLLt2maR3myxfUyC7oD8i7rfwlk6hhZ7SN0nXsb1xjcrEEp5XwlyYBxme9CMCbZc/+mf/hq9+6XW2DiK225AzIPbg8qMNyqEcWPI89sI8d1/bYu3hLmePSfrBRHdievtDXntfevMOxxp5hvsJT33PHK29Jq9d8Tm64HByqshrHx5w7kKRmufxpW/d46OXlpiaKPOFb9xm8XiOXGbylffWOTuW48FuyH4/kWMQNQ1OXpriv//1n2HhxCRFdwGjJhHliPjeVTK/R5eQ4f4GY1NnSEcpZtEiDnqEougMUkb6EDOZQMvZGHGLINzDK80TxRUI9lT/V6CHuikvK6HlTxE+/IaKzFM4q5IJaZCQ9q9jpB5pdYm0s47tCuV3dPgQzCS1V8ASjV5m4O8KIfmCov6H8h3JcgT9O8otn269p4BKqTutOsVJNFARJDMrkGTr6EhU3yEYDZQuTyLNmpGShRppvEU6HJK6LhojLHcazSqQSgdMBhfOjHq5iq83FY5E6CjTgWY2iLQ+ZnOdxDNIq+ewgr7Sw0g2h/I5ooNVELVgcREtkgi/qSi1iehsmh+gNxbJfAeyIZkhUbyVQ7ZJsYqnVwhb14i9Jbk7ErdvYlqSQJFEzwFJ4xxWKJFA2Wg1CAYb2HqOSOoLElGXl1uwTqw1MCozCgBl2BMEe6+gtW9hL/640sFpe+8RGxHZ1KdxB2tEvW0y4XKIbceVjURPTa/lWaebYxi1s4QdgedcwxR4XuUMkT/E9XRSXyf2HIw4U8NSId0KfTgRzkTmqs126h1RU+ho0ENzYky/p6L3srkXxajUDCTqpoU+ZmlJsTxc22XU6xLJT2/sqCICR2Efx5KX+EN14JXPnFQWyLqqQuC3r5ArnSDLqmiVBtpgR0WmBcwXSkVh8mnMsElmHSE1ErRoj0QT37CPIUNQzVf8CxkUyzNCfn5xvI/Ra6oXoQxVLYGkls+QGCnm3gpZfQFDEh7DdfXuQBJggyaxcTjMTfprireRUkF3MqzcJFHrQ+X01SypakGWnyAlwAwjBhsf4C1+QmkU8eqHetrW+1A+odIGZrFA2k5IJh/DX/s2umyT8uO4tQViPwHhtcjf0xwj7n2gdJOp6YEALZ0KoZy+OnewKovE3bskcXhIhBbmglEj8HfJSXd9tElYP0Hp/DM8deoJdls+n7g4RTHnsb4u3/+YbywH/Man6vyTvz/HldfXFNV52Nulvddm9ti8oornPZ3KxAx7W5scOXqEYdenubOtnhVT0wu8/t4a40WL9n6LY2ePUq7k+PI3b/B3fviMGir9/L9ocasXcnHMZqySMOzGCH9Ot2os33zAhWmL3/43P40zVuLgjffUoO0z//CrHD+e58KZeTqBxVuvX2d6vshLVzv8ya+d5yO/9BNs/vW30I+dpdbw6Lz1FqbtMUhbVJ7+IcKtO2QP9rBnj9IT+G6lRra5oRgThuupYaXeGCdcvk+2ehXnue9HK8+Rvv0NUtsFK0e8ME1u7JiK3Lfe+gqFxbP4iYEjgx/Twlw6gh7niK5+Hat+lMj1sCxdDejTVFhHAbXHnye4/w5RoOPHIW65wvCesHYstIMBAzuh9sJP4d/5gPDqy+iNCUonniPYuo1VrByCxOIB7swSo2/+NfbFJ0g2VkhLsxTqtqomhRJfbq+RliZx/KGywMjmb9BcJ3fsEnk/YuDIO3tI8nANo1FHK82oz/b+G19j7OKTRNL93b1JOnEUFdTqbR2qV2XbLdWtrfuqO2o/9oNErS6Dr/wBgWFS/96fQds7YLhxFXMU4C6eYbS3iS49ZDPAWbhEcO8Ow+ZdHN0kf/kFskGP4Z1rmEvHFQMB0VXeu4VVL2FPX2T05l/jO86hpeC9V8gmJnHydSxjxGBlE69sYz76Av6tlxle+wB75hR2rUFkynAsJh62D1kelTm8nVWGeY2CXybNh+SXzvDvfuM/8VvfPuCnPzPBWKfDy3cHzM+VOFm3aGUmX/v6Bq/8+U9QWJig23ZxC3k6V99V0MfSI5fYvf0yZW8CuSlHG2sUjp8i1AskWysE/R3ciWmam/tYVkJxt0l7osF4vsLIshl75jHe+j//gl/5j6tYUxq5oM+sk1fa03Gno/RhW32Nu8sD/vS35zn5eIO3X7zLzESD/n6fkRx7SnniQYfuoE9jYh5dl+9UB83x6Hba+P0Rs0fm6La7qmMuSVg751Asltja2GBegQHvqyqPRP4DiS5L/URH6WMjGRbHOuVaSf1/23t9po5XOOgkfPELH7I4V+DevSG1yTLffrvLP/sHR1Qltd0GP8gUKHxivKHe6Q/W1sg5rqq1BmGg6mKtZoezj5yl3W6rdNHi2UVlCOjvi60l5Ni5M1x/713iMGV8QmohZRzL4taVKzRmJpk9dpLlqzfww4gTSy493+LCP1jmyYUyxbJL2ba5v71HvQw31zMM3efWg/+DzZeuq1qw6+VwvRS/n0L/lork684Rku5rKjUmNa5QIHJSB04LWI0ZIjlntAUMLOdR2YuWD+nvWsrowd9iWhUYO6FsMYZA3UQV7NVBoG8S+RbukFNVwwSpc4pjXhKzAqROBXgsGun9t0krZ9AFXCsLELGwifkoS7FqF4na1zGzIf5ohDO2QOLMkqx8HdMpwfQzZJ37CnycDdqq649cDKV265UxZdhAG1OWAkNRuc+TmClRGGNK2mDkEw7ug1Qea8cxnYVDNpkkOIXnJEMN2yGSM0XYR3drKvWQyH1LuvR5gSvL2WEfLS/DQE+B62Q7bvgpmVzmBcZePosIliTdLMkwt3GezLCI27cwdJ04cxVAPYj66J07RJkYy8exilJ/3COJNAV7Fo2iXpwl6a7gCGfKMhiaObw4xB6/gL/zvkpr2NWTiiWQhduqupe4s8ivw0xGhJJ0FFORDA9U4nL90J7Q38Pw1zEWfwBNFk9SvbCKGJKIbN5R9P74wTew5j5N6pZxY51u8y1cw1OJn35vB2/iORKpjcjgQv5cw1XqcF0YelEL7Aq6Nwe9uySdPeKCh2fIMHNLWVeS8aNo3izJu58jIyR/4SeIxaYn4EK5P4cjUnuC0da31WZf/rwolEpJhDUcEBsFTEltyia1v0ZSPYMp+uJgB0TD7VaId+9iF8ZIJHEZHZAmGZb8zlsv/0ZmVaTj9f+qfndu+ini+19WfWs50IRRW/VcZFOWjMThOIc/XCXsd/Gmnj3UaYnqwawTBm0soS/HLfTAR8/lCEfbRH6b/OSTh2qs0UCRp/39D9TmTg5Shi//7BhxJOYBHS2rEB3cwBqbJ5RJ1Ozzh1RtgRz4PTQtINVtDOknxwlWdKC8if3SGQpaqrgC4hDXp1/AlK60PIzaV6F0BPmUWSWB9Q2I9+5iFy2GuzsUJi4wGkgCISUrHMOUqGfaIxmKlmwCPdbQc1IImySTSPbGS5iTnyKzNdL+OubEWYK9B2jdK4fRY29B/Uxif1sRn6WzLU5q6Ql7Cx9TuqmYIml/FfbfALmcqF9Ol8EwwNL3MSXCobkqdi06OYpH0eMRcfNNotDEys8SSerVK1EYWyJ4+1+Tbb6CNbFIp5uSFz/sgzWqkzMIdnLY2sfWCypmLPqSdCQRHh9JvqaRzthH/z5DTWKyq7hpH3+gqS6tmyuSytZ8uEMQi35DQF0HaqNr146rvplszQRcmA6vE2kLWHmbRKJKtTn662/hjJ/CciaU8syuzBHc+bJiKUR6iudNE4uPW7a9rZtotQUY+oTaYbXDUFHgKcK7X8Sb/iG0ikMgICLRY0UJ7tzTKrYdtzaJjAg9rWNPLFCcttEyiZS0uPO1/48/+uOv0O0nXF1ts91KEFV6ydI4dqLCxHiOu/eaLE6Ns98d8No7HX7+p5a48mEbyxHYoMnG+g4LZ6ZZvrnPZ144yYvv7Kje3rOPL3B3eZN7D/ssjudZ3d1iNPAULXQsn/GJp4+zut7h9p2HdOOUy+eXeGTB4kuvrvB9T56lk/S4v95nv9nnU8+e5vbKFp//2ro0kJizM9xcgR95vsgv/ez3M/+ZH4W4RLZ1W3Xi4/wpBhJ/90M1JTUogdkk2rhJbvqSqlik0Z6a+hrVC6SUiFd+D/QZnOM/ThIeYPWuq7RLVr2M6b9OKg8rfZFw9yX0vExO5SV6iVTbJO0PSKVXL93xfJ4wjLA9jzg3h5kkhFuvKVuDNf8C9HcViCXNT5C892/Rykcxxx8/BDrKA1MrQ7iNLhpNZ0F1dzMh4hsusTejLlvJ3uuqS6uLJlCzMHIVou4D1WUyNRstXyGRP0dEeX4XR3zcAn3sSZdLV3o/8RsnSVMyY2SRpJF2DiGDY9Ih2yMdbmMJXTV6QOIuEZs+wc4a+fISRuUE/ubfKtinPfsZWPmiit1ZJ36CdPUbIBdJAbnJITo8wG48TSw6VNkwiyZLs4k666TVk8pSIoMHsQYISEgApuKJTfviiV1SG2RNwKFyeBgJrdfFl4tgkMLwNqaTJyqdUlq6JB1h2wLk6R5uzUcdBYAys5RA6hRRE0MvEAy3cKqzakPt2FUF4EzlP/I9lGFEsEaqF9WWVA4zMRIh2yErX1Cke82XyHcezcgIBnexpN/uLBIdfIAtMFKrpsB8STZB5j/Ak4NScZLg4ZtoEhEsHcfWpOfWRKSw0p22vZNEloPZWyEbdg9hjIaYFILDqoRoZ6V/mMWEYYjGHnrskAatw22LkKyHezD5qEqBRQJW0GqYkVyIJtCTLprAEQvHoHmL0d5r5I79BLEMV6X/Z8o2JIDcNKmeku28j56bxhBibrKPLsMxR+Lab2LmFjHkfSPtfNNV2r0kOdQ2Cr052n6d/MyTpLFUkiQK+gCts4Eu1goZRqcuiS8xzOMKzBntryrCsVadRBtKBFH8ogGm8CSCNcUWQS41UhEQgKQcGgbrOFOfIbIdXEnlhE0IZfN+QtkFhOod9/eoLszB2CVOjT3Os09WaNTGuXJrjXreYG8Y8d59jd/5xRp/54em2Ppgl5FuMVav0m63FAG51+lTq1VxpBfc3CYIxAiTMbs0h5UEbGwPuHVjk8aEx3AQc/biHBMLi7z37e/y0c88zn/362/wN2+l/MJnZ9ADj3vrm7h5jc2Rzbff2+VzPzfB937yKXKLmT/NfgAAIABJREFUR2h95+uk9zd5J5vmcy89YMpM2fZhvubyPY9M8FffuUOJlD/78q+z/9pbRFaR6twReisfEnVTSt/zY3D7u4xu3SE5dZbRxjXqC0dJeiOiwuRhpa7dxq6XOVj+kPyTP4zpakQby2TDWHUjDQFAHruoUm+DG+9h2ya5yRl6776O9fhzIkome3iXUXWOnGyZ0hFuvUF08zr63Amss+fp/Pnn0Y5MUJg4gX/rFsPBKsXGEfRKhcHWBvnJWUaxjmNlGPkx1d/MtncJSzW0IMQ6ukB2/z6xa+OduEzw/svojgWiOI583OmL9B+8iau7ZMUKGYEaZOSPnCTqHOBMzxNmOlpnC6c8RTQaqbqTJKq84jR+Zx8nTTl4+JDCeAlt8YyyCgUP75ITa9AoIRoOcAouQWrg9rYwRHVbnMAuNWi/+hfY5QkKs2fQquNqIxd1u8p64xU8Dt5+mepjnyDobsP+Pt4jT5CIbjFLMCbGGHS7OEFImAY43QFB3CNXn1fx6USau2FMdWaeXmxi3LmK+dT3YA5EKXeAUTvKcP0aZqdHWChRmJ5Cl8vl+kOSXB1t+yGJQHOrFbRYRxvKUHydyuICUZpHtwKqR6v8+3/wx3xjK8aV7aVn8+nz87x3u0k4CHl5q8WRcZuv/tsfQLctdnYH5DSd/voyuWKd6lPfT3P5HcIP3sF77COYnkv88A6pVBpmjpAbX+Lgrb+l/tQzBH0fXQsIH2yoBKwzV8V95iJXf/sP+Owff8jlR0qUrCKbOzEfv2DQ7MccrxR5e6XNndUuP/mpI/zED7psLwd8eGWTj35yieZuwN7uJsdOHaXTH5K3XO6v3OfoiZP0BAQm559igf2DjmJyxb7P4olj6kJy79oq5564yMgfsLfTJC/Pj2KerfUdZuenuX93mXMXL7HX3FYbbNFX7D7Y4MSZ01THC7z94QMOmgbN1gGfeGqc//BnK5ydKfCZ75tkEKUkfRs7r5MvFxl22+imRdAb4RXk3B/Q77bJ5D0ofXTHpb23z8Unn+TenVtqiFxt1NjfbiIachk27m5tkciQQjrRus7c4jwf3lzl3NIEQww6Bz0uXirz0f9xje7QoOGFxIlFrapxcnGOt67c4tbNlJt3f4365I8xWr5CILR+v4VVexZDGEPtd7AElmuMEYzWsHM1xQdL/RFudUr14uP9m7j1i+j2Id9HzzXI/GV074i6aGt6QtRaVpBZP7GxnTKmdLZNMSZlJF2B0g4wxS1fOwVY4G+jezniQCcdrWMW6oDUhFQpmlQ4S5lJUp0kkgTvwYfkpp88ZL3IJXz/XVXzlbqZVfs4mZkoa5KkiLNRR6Wc5TuPJ3WHfbUAEdis6NhDWboYqYrch3KpnbmMnlpkkmYOd8jwMAxJaI6AHKYwfcKM0JczSEI6jJQaXJMlSeyTyII0d4JwuIYhVbmki/yKzfFjIFad9jqa8JkcUzF5HHmP+6LSlVpLjBYbxLLAzQn8ODwE8ck9ctgipo/jLhB64xi9m0KOV3UCZ+wxzLRLEHVwhIEk9758mSBNMfqy5F1QDBy7cEwtwth/HRqfxIj2GfhblOvnGUZix+oSlZfQWncVcNEZO89w7WsY9YuHWnfh74x2VaUh2b9JJvwCeVfPfIx08w0Fqs4k7Sr8oGCHNCfJeAcf4cgMMfyY1KyRFRto3XsKDJ/Ib2n9RZAzYOmsWiaZ/oBYS3CK4wT9bWWLEvuTrldIq5PowjiSlPrkZTh4l0zSys4kDFfVoE/OsjLIS+OQRC74ZhWr9RJhaGDXHiVNWuh+n0zuv/asWqAn+ytEno5VOocWBvj+Llrrtf85E7q4a+cOlStOmXD5G1jVKdXPlL4otTmivRWcfIpeflxtrMVvaQ53sOxJ0uqsijFm/XWlcMsmHkMzhqStZXWgS7q72PUL6gMjNvG031WXB9HgpX0BGhhg10matzBcAb8lSvFneAnxyMeuHsWXyKpuonk2sbjmqaJFd9FTUak9xB67THhwQ8UpnOnHGF3/S+yKQ2wdUds3ycAEB29i+XL3eUId3kK9RNFzGe3fJBEbgLuAHqyhS9wtTQiE2uwew3Qt5cmWCGik5clpeQXO0cUYIAfD9jKZTP+qjysyeua3iCSiPvYshi/bOhMz3CKW7VUWKpAZlXMY8Rq6KO2Kp8gkilKZJdq+jl1fUsONfvMWmjnAGnsefffrhOaMUngIuVPrrKO5eQwtIRSNW+V51VmNHv4ntDtfIRimePNLqvtje3UFDUsih+7BAZMnjtLbbxEOfFxbI0pMklGTgpNhXPos2vxniXbX0bU22qhP6uTRxfWO0JFHxP46oTeBE8jhvYCd7pJqddLcAnbnFaL2EHvxeQLZ4okCbv994qHou5ZwBDgWdtEtiS5VMHp3iKTHbVegv6EggVb9EaVAkd5KYo+j+Wskirh8F7s0h1aaxBKSer/LaO8e7uxjRMM+WfM2xaPH0I5+L6bX5/53/2827zT5d7//NV68HTBhQqmYsDDpsjBZ5tZun97Q4OmLUwz6MR8u73H61BjZMKLvj7h5Z8CZaVdGLFgFjUGcsVQtyE+f5544xuuvXuXqypBaWajHGjsHMUem62x2WyzVpxi0WrSGASt7Q544Naamvy9dHaqhwY8+O8sgbrK27jKU7pcpOjSPiaJJViixtXXAfEHDa+R5/9YuBw8jNgfwyLzNb/zTH+XxZ5+jfPop6N5j86//HHf2jNoiJqyT9IakXpXc5GOMdq9RrE7g9w/Q4k1IbShMkg5TjIJBEgvMzCHa38aunifKWrB9BbN+lDQbYIYWkRVjFZbwm++SWdN4ZkImMNCTP0m88S5p+FC5U7PGWezBPr4cRhtnlSI0i+XnNyQx5Pu8qJzzQWdPyEqYspWPE6UDlAm0WT1FNBoq44IMrPTSBcLuMm7cR3PGGMkDtnyU9OAOepSow9egu6O6/NI9zJIUqyoPv64ya0j9IRK9Ynle0XH10TZxfgpNyx/GzCMLvVTBMipEwtnYehG9/jH0Wkn5d63yOXzp8clAs9vDEPXg4KZSyZjjl9D7d4mEau9WFQhI4raSQBCrhuhZsv0PoZDHrj1Bpo+Ttl5D110F9dGk458MSa0yOSMi6MnBeos02kaf+zh6Z4OsLT335w4vDUGXRHqFyQGmNUkqrmt/S3EgDGdMxd+yTgdteF89Q1EQvQLZsKWcr5E1hiu04nCdVOwRroPj1PGHYt5oK5iUroc49ctku++SSH1h7GmlnxGVqVyKZaMTH1xDU/F+XenznPyCGuZKZ013ciBRuIKADeVF3yFNtzG8x9AkiSGe+d4DTFveAiZZ7ijZcAVb1c4mFNdBtHmZ1lf3YqRWIWOw2nEyraLif6kccgSM5+9ju+ME3dt4pUUyeb4NVrEmnyUUUKUfKgeycFCyzZvEjaOY8hkTMGk0YNTdwJl7Xh1Y/OEabtJRlSJ5t0qtgEieW1fxxk6p3qHEOrVRW21oZGOMQEulPx5sKeuIJrDSyhSWpLHDiFCGGYGpbCmZDGpKJawoUFWwjAppvIKZCHBSRrg2Zvk8Yes9Ff03JXadeISBdI2l+qBhJFvo1jjkxDN9CzJXHVji4UN0r6p65xXrgLhep7H4j3nu0iQHu/t00pRzUwUun6/xTz7/kJf/dYMLpxe5txbSWn5Ivm7TabeYnp8lGA3Z2W6xcGyRnGtx49p1Hrn8GFsbHWpVi6vv3edgmPGx545zsLFDkMZUKjUWz53kb/7ydX7tP+7wXz0/pajbK8sDmpnBrKfxzv2Yn7qQ8Ou//2u0/vJV9lMdt1anUC7y+c9/g//8wR6fujiBN+7RbQXcXxNzA/zpb38/pt7m4P4uhfkz4Pq09vq4AqL0Gji61HVMJYyJWmLUkEqQ6GFrKrbqzB8nzWKSUYQ73KXb2SR3+uOke+uEG8vknv8sydW3CJdvkeYcnPHjpE4q+UuSXhd7bh6velRp7uKoR2HqmDIfZXubxJLY6W9jFBqE6x+StgOC9kPsY+Kw7lBaukBsRgyvvoExsaiGB4XqPAz2iWRL25hVcdDR9gaW1Henx6GVIszUqNvBnT/GqLmF5jg4Rpnu3gpmZwd34Rij3CReJsmtAJq7ipLuHLlE8MrfEDZKFLwyrd0mxeIYgQG1kxcJtlfIghj/xqsYs6exZk4zuPkqpVpVbZRlw5c7/hR7y+9QLdXoDEPyWYdU7CePfg96d53B3VvYM5P4mwOsNEY/MofV6RA7nuoOD957C2NuDvPYY6SdbdK9PZxpgXWV8e/cIrYK6iKRn67Tun4dpzqObRsMttZVUtKqTeHmq4dDnvUbGM/+CObDqySdPtapCwTtFmaziTW/RCaXiI1bZFMzSiNtiN+7WsTYWMd85CJps4cnUe5GUcVyf/Fn/xBzvkreszheM2lHBmGksdMe8o13m/zhz03w/D/+Rfw3PmTltVeZ+sHPqg3hcO06Q+EwaCnW+Wew4pjRxj2SvCTWauTqRfy12zi1aYbFguI2ZHqX5oc3qZbqmFMLFI7lGV25xz/8l6/wzTb86FN12r2Ye1sJJ6Y1DNtg+WGb0cjhH/3MNJ95Ksef/MlNHn1cyPzjjKKAsNVRMWuJh1crdWzLYCDnn2GokigS1T5+8iTLN+8TJTGO7WAaNg/WV8i5HksnTnD93fepi7Wg6BFEMZJ16/V9HAGMeQ6t/QP0SJKtBotLNV586YCvvtFketalmmhUyi6dboef+9kjlLwZ3nzvNpYm6l3R3vpMTc9z5cpVzp87gR+E5DyHdn+gahtTC0dYW7lHMhRFkcbYZJ367CTtrT2VZNN1g7W1TS499RgHezvoYtUyMvL1Kq3VB3R7CbrpcOmUxeO/do3Vls2nHnMpZA4braEyImz6CTdXI/7qn32CF/7p76Ff/RLDzh5JIY8mcXlJoMl13KkSBC2y7dto1QmM7ipRaRG7Lgu2IcnuXYK4SepN4Qp1XVJ0ctHq3UBPC6TCRLINnLmnFejbVTprg7TzAMubIhaeSxSRttdUv10Sf1KBs0pLJMr5d6CMZJnonyX43ZGz+S7OkY9CWmNw9Xew688STV7ADHYxyqcO62q+gZYrqHuXJLHj1EWTd1W8pZZCwvuyvBJx96GCDutenTTwsUvTCvwX5eqYwRBzNMC3UvVcES5H1r5L6hUxp56Dh68rfag+9zG07jZZrqD0vfLPaMISixJSqXnqLsP1l6nOPsNI/j5JGzu3BALA08RgEyuIdjwIMOlA/qjSa2dRCyPxiVId29JIBx302hK6t4Dev6+A8rozzbBzH682pawATm6W1LYIRyMs+TtL7VSgd7IgkpSdNyM9G/zN93DlbKvr6DIEKM+pv7vWv03mLKlaZGT6WLFHKnyy3ipJbxerME3We0g2flal+sT+FFs1jNok0ea78gBFH+6q1GGYn8IJ+/JoOAQS6yb+2ot40v/PLynwcSJDr1wFKzYU307TRirNLGwVYahZsoEQZoPUKN0GhSRRbAVVBxwOlbowTnzsqYvoMlQKA2Uli20NS8sRbbyhzuxu/Qx+KonXDpbpEsvdOtGw001Go97heVSYUE5JLW5CLVFmokRymu4CkXAm2m/9TmYPt9XLPJPtw9h59cHUk87htCTRMGpzpLKFig4wJHycuVi5CeLWNpYjv0yXMByRm3uCeOVvVa+jWF5kULyE1XqNfnud/NzH6T34DgVxfI+fx7Wks9I8hCr1H5A6Y+iB6OzWYexJLF22LmVFkE+kQiDEaCOHPtgESmgl6WouK3AgmsTdS8q1HQ1aWIVxtMJR4tFdnCgiKB/BssS3HWJqPSK5SAxD5G0rihxT9ApSBeiukBWOoxUXyKR7OjogyAlAwiRr3UMTkrso0Vrv40w8h58maL7QTMV+OMLM5Qh698iqzyjSo0UPo3oCcxgyEASDfIFMm6Qpuqh5AoE/Cdiqf0CSWnjzjyqFSrJ7W9G/JbaaaTG2UVFwQDsvwx8X3RbCasDw4A5WfwXr1N8l27vKSA7TJ36J7OFL9F/958oPaVhVOkmCbrk0Jhu023s4mYNYO+O+jynQjTTCtAySLFaXiLHzHyc4/stE+/sKgGb5PaJikag/VNshAXsZMk30xZmaKjiZmVtQPT85DKfdW2TCOdh7n6g4S3nm40Q73yYZjtA88YBGuHkHxBKR2CRhB9NIlP7RtCUOvUS4/Qa2N0Vmy8UCMvsidu9dtXkclb4PxxJCekBvKP54l8a5WchphHvbfO2/fJXf/pdfY/kALl0scfNml49cNHn68TP8yZdv8NFzk7SSACcJufEgIDANnj1ewNR03rqxw2KjxHNPTPOfv7HBM+drZCOfpm9SKelqq3D1YcyVGx2eOi7dM5vdoab4DH/v+5e4cu0hdx8MWVww+OjpCe7shWzu+lS9jFwuIGdUWT2Qw4lOOe+y1x1R8mqs7e8yMz3Dq28tM9MosjBVoFyK6A4zVm63OHWyxMmJI6wEG3zhL3fkHMq5pQa/+b+8wOUf+UeKVB689nWG4R55bYx0XGweoSxvyfJL6K0PMUqn0G1bQSulnxa2bqqokF6RKoVQ4t/FnXiK9vKfoy18DLf8UeLdNzAcHwRkMhxiS6yeVWIxQtgCCLxJSgND3OG7L8H0ZSxj/lAlU5rFFvJ25zpa4mCPS3Q5VZdtUeQR9zE8oQBrpNnoUIGYpYTNFdX1NqeeUEOnVOBy5iyWK+aMRL28zeGIeOwY7F2D6jEVubcKnvpupKEM3Yqq0iIRLD2SHnUJI9gntQXqdxoy6bOJhd5QaphYrBujfRy3oV7mEmOTL7YuLvnxxxTZOu6uERp5tQ0VJRCVxw+tHQJ/k01vPkcqFRU7pwwQhtk49PYG8t0tkQkVXnW2ZdMtff5vQfGCchTLS0O226LaTAOdTPpiWUnFpxXIxqwS9x6K05NUtKCihBxcJUlsFfm389NkozUVh41pEEtEcLiNXTtFqskDv0YijBK7rhghAmmUTUYyjFTfN6ssEWV7mEaBaJSQJk0cqwG5ivp7JsXH8bwJ4v4DsnSkVIh6sKneDVoqFaqAIBxhSGKpUCWRhFaaKIaH6DlHorZ0PTUQ1KR+IXAdcfraVbUtsQwPrXNH8Q0SSRjJZ7T/Low9h677yvsrOk9JaYj9QRIiyqWs6eoFl4YRCeL6lYy+jyFRWYkh2x6BpEGsaRL5+Qab6HFeEeJtVyMJOjjuPKGYVlorZLlJ9bxHQgXpCLOwRKDimKL2aaDbkSS1FZDPkaifM83/z9KbB1mWnvWZz9nP3fMuue+Vte/dXb2p1d1qNbKQLIQR2CEYFCOwHWMMxo4BJjwGjAc7MMbGwcyAMTOG8AyYRbYFCNGoJXWrW70vVd1de2VVVu573nvzrueefeb9ioj+Q9HRiqrMvHnO973v7/c8fqpjyeBMILepjiHv0uwQepyouly3u0Nm6pMKwCc1njTYVdsH8idUCkqiewKbDeuLpKVLqCl1v4GRF/2nJFxWMXOzCjokoChT26Zn1Ej8Pjk7hy/JjTimNmwTOA65hV/g0YWU6VqFvuipfFMNd79zvc3t//ok9dsrbK5rHH1yit7WvkpZiKZ0dGKcZlPgpxbdVo/+oMPE/Ay7y5s89MxF1u/ucvPaOp/5wUtcef0WruNSqpawk4T/9+vXWW1XCIyQD++EhEbEsVqOnabG42M9/o/f+wla600pElM4cZrdWx8wYjsM+h7/62+9ws//4uf4nd/+Bi+92+YLj5f4e1/+FLokjNwhMn6d7ZUVcnoNX/NUVSgdGiLvxbRaLXJTQ2RmL9J48WtYFx8miB30pXex4oBk8iiZ/hY7r75M7fv+HrreJT08wCjPCEKVTP0evSHxW2+qoaMlkEszT7x5H7c2qS6b3bs30P0WURhgVQQE3HhgyfnwA5zznyJ39jjeB2+TXnoaqy5JxUO8ljCL+vgDj5Js6+/fIsiXENmn0M8lfSOaJq/XoHj6Y/Q3b9F/9U/JnP4YRmnkAVw4djHyxQfD2ZPniO4JeCyGXFaxNlI9C1PHMPttfC9Gq69j5VySpgyZ+iTVmnpfy6Hackv0/C7Ozja+EVGYfwRv8QpaPo9RG8O/d4vMsVPEUhEa9HHOnWXw4TvQC8ldOs/+G69jt+vUvvCTdLZvQ6dHf+Me5WyefqsBR04gMGl9bJL4oysEax+hnX4Oo1cnsMDYWMc4cQG9kCMMdbJDw8TdTfzOA/Vt9/JLmPMz2K0QU5R6Zo3+zgp6parUrBYBvbqHpSd0Fq88GB6cfhhHF+Vyi7ZwWWL5J8AdP8rg4A6Z0CGIY6pPnydp+/zST/0e//WOwZFjFk+MF/hgtc6nzxb5zl3ZpB3wR7/+JczpUQ7fuELx7KOE2xt0Whvk3DyttTXy5y+Rbm2ppGj+7COEOyuEu4s4Y49hexu0trbInb9I2tUI00PcTI7i+nvsDj/K2KOXCPo9fvmnf4N39lNyps9QtaqGPa2BxXjV5fSkxh+80uRf/nCGz/7oSRpLGjuNFqcfOcUrL3yT0dqkGqDIM0+qq/tbDcbGh5W9Y3npHvlshny+jC+Ec12G+zFHjx5jfXWVYkkggrfVEq06WsMPYkbHR1i8c4uMXaA2UiNNQpyMxV7DQ49ajIyM82cvbpLYoYKcjk4V+bMXd/iZ/3Gamck8b7+2zOyJMXV29HpddMNmcmKMnf1ddjb3yWccnFyeyakpmu0DXMtB12ya+3u0+z3mj86xeu++Uv4J2O3eR/eYODLD2OQwa0tryl41unCU9aV7alhRLFc5dbHGH//xDX7h6z7ffzbD7WafxoHG/JTBWGmU3/7LRX7jp47zD//PF2h857dJfI/szPME/RXi/iJoU2h2Sipml9IZEJWfmM5qFzCzQwyaixjFo5i6D50mUeqphZ4+9twDcv3qn5K4s5hD08SDDk7SIhLNuTHyYECdDHBHT6u7SOwJv6dHKIsuKS+2lshmCqRirRk6SaQAfaeI+gfq90JzJBXWJ+59iDvzg/jCNtt+E736CJhFlf6NLTnjXsWSIbSWJxB+W/WsHAuIOsLS8VVK2/N1ZR0LUwtTFqBS9ZPUnCUDZgFs+6Tbb6OPPIXWv0+w9R72/PejR3UGjQ0y048QSEWzeop081W04oJSBxt6QFp6FjtdI/S76LYk7kTZklfRe9HjptlJ4vaaYusodshgE0tSFIGvlsCamN3kHiTnALnAy/unPA+DGD328bp30XY/oLTwOTz5OqV2ONDRMlI9DNUARhMAuX+ApuXRh48QCQyRnLrcmqmYxrrQ28YpzhDpGVKBF+oxA6myC4vJPYorVjZRKToZdJX0dkh9T6nFI08UuwlO7QyD5hKWVJ7NMroMRAYHeI0Vsm6OtHxKVcySKMEIDtRwJJJlZNTAduYI9QgrlMqjj99qY5od7OICsUq0hsT9Q4xMQUFF5dyqdQWAOEdUXsCRCkbnvro3iQaZ3gq29P+FxWcNkatcJDi8Rn/tJazZT+GaZYLGIkZpDHvoFIPeNsnhEpnRk8SRnM3y6vmYNO+gO/Po/V20w/d+JdXEN4nQHzexB6ukxROEZNFEPTXyJKaokfQKidD6BwdqmmRVjqAlAi+oqk2/RONFHRbEqXKKdz78D2SGzxBoZUXRtKrzUsnDFWiBAASFKi1aPVELRgaJt4rr5tGkTyxEdOm3u+MPKIpRAw7rRHJt9faxx848gEgMtrGcClFeqgoDbM9DL00wEH99tgjSDTdtbCEp52sEwQNfd9JfRxPFnWE+oJKHdQx3ShE5w+AuSX+gYuqJm8eROHFxilRYB7qtKPWxqatfbk0mp4MGgXQ8csNoWhFt91V8q4wt25nDN0ncSYxui8TWlL7MLB3F6K4y2PsIY+IzJGEdc+eKApJJekGiT6ao9HqyrapgVWcJ2qJ4y2KKSz4YELgGulHBICFoioKnSprrEScSya3iZMtEh1dw6veob71F2PDJFCU2E+BkC9iFrPowWrZNKzTJOS6haBvNVA1eBp06+af/KVHuDI5m0V9/A6s6htHukAg9VS6U3fukuql6i5qoutKB8oYPtCKWEPqlB3W4jIFBVJvGsGaw0zrewRb25HECicJaedxsDa8ucdbCXzu2U1KJER8uIhMPuSjFYY5EoCDeJmZqki3ZNOobSilXfuhjxIlD/8Yr/LevvMS//41X6aYa2VLClz51nHsHBzT2NR47OcHi/j71vsf0qMXSYsCxhTK0mniWw5m5ApvbB6y0RR5ZZHVpl1bWptk12G/LhUKooLLVTDF1m/yQxeRont2NA6YyLpv1kHPnKxTiLt+91WWgO9IuxvASajmD7X7IeMnloUmbQ99nL7CYLZhcmM2qqP/u2jZTM6MMVWw+uLNB1EnoJA7T03lu3jmkVChyYs6lXm8xSAImJ+a59c4i396CH3q0yn/6v75E9tSnYCciOfyA3l5baQOjwyXiTgfN3yOVwZYloKhXMGsPo0UyvBFl5oai/hvyGZHtdtgjdYuEG9/AGH8SKx3Fb72jIJaGbNhlICfb3sZ9bHHG28eJ412CvbtkVOStQdBtYBXOkETSzR9VNQwxUYR+n4yhkUoHjDxClEw7e2i1k+jNO0rhxviTRDuvyc0XzRlB66+hj5xCj4YI118kzeVxJh4m8A30vavElREsUcPJC06UOeG2InDLZ0dqQwLykRdLkGrYGsRRm+DgfdzSeaLCGOZAgD8Twvki7SyqqBveIu0rX6X0yE+ohE548IbiZ6SpjSFbBdNQn9dB4y5WcRxz8gnYeJFYOBGjj5AMDlVyIPIPMYwapluSKRaRFhALYEz6cpkyYa+udDTSq1NbXbEVSERdYKKi2BFehmMRJKC13ifNn8IsniLxttDbi6TOBIG3hmGWMbJC6G/hZqdJtH100ZTlLxI2X0NzRAVYwopDBoGQ6mWjUiMMZPvnqE24TKPFUBHYPfSej274xEkRI/WPGjwiAAAgAElEQVQJxS/rH6p+mU1A5CekAr4TBavEb/WUJI4fsA1iT7E+DNHQSJ3E72FmQ2w/z0B0eVJATSUav46WyIO8gCa6ULmsynZAUgvyzA0GCpQnA2ot9kiyU6TKomAR5+T7KYBHkbWsYhbHVJQw8Xok9Q8Uo0JSGlGSAX9VDXtiZxhdklOOqIAOSSkrYE8cijJJYut19U4LMmWsRBgJvjpwEJpYQ1UCr63gUKHhYplDhINNdFOMA4dqCyrvKzM4JChUsAPU8yKVF3fjA8UQSLprZI4+h3e4gylWgWwBXctixh18GTA7MyoCiriQNQunOEoqA7P6bZLaQ6obG+zegVwFS8CanUVl+5CqBX2X0mPnufv++xx/+p/zz37oCHknz93dbZr7IcvtiE4n4vV/PUmzbShWQ8HU6XbbFKqiubXY2dxhbGKMjZU1Yt9nYm6eQ7nI2haVkSL3r+3S7XeYncyRq40Q9Nq4epGO3uLVdwL+6PUemUyq3qufm3exSjq/9eIO3/nnT1D9m5+h/sJrNNfqzHzPY0q9569LWqXEu69d5y8u19lvpfyTn3yOE3OOirhHq3fZHcTkR+cwN2/CxAnqV69QzcXEJ56hf/kVHCPAGj9JWCmTLt8iP3kSzYo5WF7EJaXwzPfSfuFPyTz8GJnxBbb/4DconLlIGCTkxudpvfcqxrnzWEPjaMEhydIayfgEHGyRDtp0dlYYOvIIRqlI993vkn3280SuA9feJTc1RRIO6Dca5B5+Hm35Cu2NTTXg8BIDa7PO4NgRMoOW6rm62THi1hZ+p0MaJdiVGv2338I6f56sULvTCOfUOerf/isMb4fMo9+LftCmfe8dypc+ha86wjpaY5d0MMA89yTx7i66OL+Hh/HihPjubbRCltTOkvEGDOKOeqYXykUigVx2E/TpORBdVOIQ19fU9igemSA92KV/733cTB5D1LgDj5xcFrsD/CTGkWfL03+HxlsvkF84iWm7NO++S3HmNJFv4OoN4vwp0t4Kg41FzAvP4r/5AqVLn6Hz7ku4w2V0qQS+/Q0KDz9GuNug396l8skfQm/7qsqGF6KtLcPYJIkoNQc22vAIemCQZk0FndXGj2JrPvVrbyi9brFWxA9tnGqROA3ob+2Sk5YQOmEzJDeTI/v8U6TXr/Hs3/5jnj6ZY3J8iLstn5PDDn/42ibHxmpMRnV+5d/8GGlpgu2r72B3t0jIUDx3iViL0fVIRXQHy28TtDwyY+PkZx9h/+5lXG8b59L3K0NS+9VvqQ54dqHIwZ0G4yfyLL18g4Uv/SjZ5n0+/SN/yFNHxxg7ZfHye01CK+Shk+OMFEJ+/7UDvH6ef/a3Uj7z2SGuvlYnJkPse0wfnVEb+Lu31rj46CkGXkSncYBuuxw7NscHb7/HIIr52HNP0Wn1uHblKiMjVRrNFlNHJpidmmd3Z5v9/X2GikPs7W0zMbdAqWQrzaCk8WaOjLO7Vld6w3OPz3J/uctv/Yc7fPEHpljb6fLhYshTCwnf/8OX2Frep9vvqYG3YTlsrm8wMTVJvpjl+gfXFOg3k7NJ5OWVarR6PU6eP4Xf63OwvcfB/g616hihpBomhjh65iwfvfYmG0vbZHMWM/MTrG4eMDs9TqDD9RvbPP/srLKgjP7dVT73SF5Ol6RBQmRF6G6ej253mB7WeO2tv6Cz9jrJYUiSddE7dUXmN7tbeAcfkp/+NEFpVKWW5VkauzPE4Zb4m9A7u+q8nrRaytSCpHoj6ZBPQOsammzyBeHcX0azRgl62wryKRpZsZjZrpyXVtRgWmnt5Pe2dRM9jSC/QCyguNwxkuZHaJs3Ce0eztl/gHZwk6R9iyBTwxx6GKN9kzQ/iS+DBkkS2zXCg0W00cdxCmX8jdcevFNmfoB260OK+Qpht6do+JI4EKi6LiaAYBtdtLfdPezCpAJdyt1C9LJKJyi9feH0mFmseICeqxHJUk4q126eYON1tNIjqkoYdpcwpWY5aGHEcmuUsXuAlubVMjcNeph6ipkdx49TdUeKlJpSzDnb6sIrTCIGK9hGkcDJYPU6ysiTFKYxxXLTkXWpnJM2VTJYaPaanmDoWby4hxH01HJBhgB9s4Dd3SPUemSyR1QdmXwVfeDTF6Wf0QFh2zkFfLeM2V9FTwtE3i5ixFM/j9YBTqVKEmbw997HzOcxq8dIB/Iui0hkA3m4B5kChpzfJHUqg5HoUFVcdal6J10V+TfsMkZ+FE9B5VNVe5DvUdS8gR7aaJJuHz+u7lppWxZgIUGnj6VJRWzmQWo2VyNtHaBJfdwdJmyuKpBqRjgIhVHFw0JUzJqtLFKWv0Vae4S0tUYg37OKAMNHMBwxOs0pG85Algjls8qolZjDWKamqoVa/fVfTYU/oRdniQc7hCsvYxbGiac/i9lZxw9TtNZltaEXwJ3o7iKlmspjRT2Zt6gfjnhRs92PCKmqnprWuII2/7fRTZ0w9LHFQx33SGVTEor6z1YQJyNbVXFzY+Icdqrjr30TbfRRdJkKNT8ikWjIoEGspbi5CaWZiFOJj2Qg7SqIHLZoPYTCv0vUbZMVn2+riaENVB9YIkqpXJj9TcLDJVJ3GEsLSJ0ZEqeKv/0OhZGTJPIC0i3C7DzsXEPLWqSOQL0SjNYKlritW0vEJTmsClG6/cCbLrHkzZdwK2cJ3BmsqI5QViTyYmoDQi8hMQVvu4El5MzEUdHlXHWe2CmQxjqRMA8EqJerEmTnMeWBIdMz8WjGLmZpVHVvVIe1Iz7paXUp0hI5vK+RHtxlUD2CmQqvQDadGTSroC4bnXd/CdctK0+857fIxDaWxIOTNnqaUeAcN9JUby8dtMiPn6G3fRV94bO4U5/Bl8NI5QhRUxzLQm7uog1aUJhSZHiZWsmkVDEa+nV02WCYBfXBFc1GWhnF0B+Qa6N2hzTbJm0n6J1rULgAdp7uwTu41jjm8BGMjI1/uI8epiSO9KRkO3Yo8Es8mYq1TUYvnoWpJ2h887f47N//fRr9NqOFAnv9Ho/OusxPTxG6AW++vkPJNVmYmcCM+1iZNh+sDGgewiPnyhhWyuIybO+G3NqXDhIM6/DUCZd8bcBDw3nKhS7PPDxOeWyUnCak8oCM9CELUucdgrFxovtiKJBLSQCG8BICvK5G2hANpMHeQZf+gcXi7g5LGybv9HK89+Ia9z1N9bjGMy5DZZNqLuHMlEG5MqqAXLfv7VEfSB9LAO8DFR9yajbXrre5eNLGtSp89e1NRg2d//sXnuCZH/0nWNOz9K/8FaZVodfaJHIzlOwSreYOpuWQK40yEIZDklW9L5W8dk0ymSG8jTfAGiUzPE7f98h09okrx0GvoW/8KXF2mnTsE1jBNqlkb3sNCHfxO3WciWdJM3m09n3iTpdUT9Cy4+Dtk2ZttDBAM0bUBdzwm8TFElpkYUhqRKJqOZee6LgKU1iOrjpdmj6rOAXSn03DPklvE3P0khCICOpXMKMmRmGOaOgk8cYLmMLJEJKv7JllG9xZU3YDiVIl7WtohYdIWzcw5Rk1fFZFIa1ooLSUom4z4j5Rr49Wm4ONN4iql3DyRbSDRQLNUtYCuQgL6FAm3KklutAdwuxRLEm+WEXMzAhx7z4BWWxXQAACLFxXUVRTgIVS+SgMoe1eJZ38GLrXBqHh6gJQ8vGxsIURImA+qTgJXVd8xqKzkd65UVbEYPXvMhN4rfsYkpgoThN7h1hmjig6UC9IshfRJAGx9wapLfWZWdLBLknQxRiWDv2DHpsuF+L2pkpcGDIxlwGHljx42c3+DQXoCxtXHgw2+w116dSco2j5DGG/ji0cEOnFy9dozZC0PkSzixhahSi6T5KbxRoMSPWmSh9ZUokQkKOWYPS38Tv76LkJNeQUM4Juz2EWbKJQnmMGuvhxWzfQBVCryXPZxnKyJP2OSptY1Uv4W2+pg4aAiaI0Qbezqn8q9PxUBr5C9e/tEgvkR/fR5M+wU6VvSmSIIaYaUdbKZqizhNY7UO7exLREiIkuSRbRV8rAXA4kMpyMYkJvm0x+ikAUje0VLKEXV05B422SboQ5ee6BMjDtEopTWRRC3R31s0xz0wK6YOD3KYgL+vAGgbdEpnyBqL2pPmPK4iCWgIMVxXawRh8ilFqAkKH9lnrGR8EQ489/khd/83/jyz/7TT75eJX1RkxhKGXIt1jq9Hn+dIlf/pmLbC2t0dlvQ1zAT7p4Xo/h4YqqqslAIAoTKuUScZhQHK6wsb1Jr9Pj+OkTeN0mty6vceR4SUGFqqMWr35thV96UcO1DvnMyTm++t4Sf/MTJ8l5Xf7q9Q3+/vcd5Us/8Rk6d5dpLt4gP32KWLRuHYnSFyhMnaBdP6QyO0mSL9K+fgV3aJS2F9C7+g3Gn/hx+uwSXH0T99yzykQR9A4oZkdIHItQwGa+bEmy+Nv3FVso9/gnCLZWCeWzJgdx32f/u39OZXwSd/YiXW+XzPwJvBtXsfLlB1ArqXrURogbhziWGCsMBiv3MIcXyEzPEt9bxPrEM/TefZ948Sr2qbNYCxfovfcN8icfIjrYx1u6Qv7Sp9Ca+wzadaiOkgkjNSxJ88NKcSVa0OykxGV1et99AePiJ8ieuMjg7W8Q9iUKOkxmaERRm2nuEOkGQX2fsN4hf/aMerckQUcR/Dvrt7HlPFaZwBiAUP28VpPi5Lz6uabNHewj5xn4HtrafXVBLVSnGKQ+Wk86oib2+ChpZYFw8xraXycTZMMizwBz/iLRW3+hvjbn5DnSXotgbwVzdIEoXyHe3aIgFzRJajWaOGMTCpzcWb2LffZJjN6ASA7oh3vEcYSbKdM52KZy/mmskXG8jVVsx1c6RknQhPsraJFJ+eFn8AaHeEK5b+9gZWySrR3S8TH0qaMU3CH2v/Xf0SaGKYp2OO+oakdaHlUH+uLwGL3NRZxqjaCXYAkMsphg7+7wL/9wmQ9Xuzw7C9FIkXfu7HPGcPjCcxM8/KnvUSDaTq+DLcAuqbRK3Pb4oyTXP8AzQtxilcHGPYxikez5J/CWb2BoNr3uPnmngD13nk5jF2trkcLpj9PfWyFdukw/rlB9+mHctMNXv/ImP/+VLT7/yDCPHy3y+9+4RduA48M51voaV5ZN/vIf6YyetGivOmTGpHrXZHNzwOjsKFsb98gYDhuruwSDkJljc5w4u8D964vYboGBKF9NC8cwWFlZY/7YERp7DQqVIaZmZtja2uTetTtMzk5RGS5SKFa5+uFVpfUWEGK1IueFPhlzwDdea/Du1TaPXCiwsx4xPKzz9390gbWtNtc/XKM6XKFSy3H3xirnHzpLNu+wurTK3LEF1e9funWXi5cuUG/UiTRNJRUKpSLN+gFBZ4CnOEImXluGzrIAsjl67DjrKysc7u5TGR4jtgPMvsnUXIE+LU78nQ1OnnUYLma4ubTDVCHLUCllc8/i7laX/e3fxDpMaXsJ4fZd7MkzhGmA6w+UMz7VS/jyHju8jlaax8lPKk2yWZlB768rC09/+4ZSH9u543iDDTLCKVPo9FQNnnSk+C7DDR0tUCNy3MKQUnmm2TL+7uvEZhE7OwzdNklhDt0Mib02mvB/cDHDLaIowKxdIth9E/w2eu05UkkMNj7CNgvKDiLJU9M7YND20EfPo3VvYmbnlCZ2YA6j7b6FkTuKUxVoXhP8FMwQQysz6LwPWg2z8rDa1sfRJkZuHhLZBq+gDx9VsEJdc2GwRxSEWNlZDNfBlwWH8AqCPokYapJDjNoFtP6uWvLEfh0nf0KxAHzvnojmCAaBWgrquSHstIDfvY3pFNT2Wd26zSGS7h5mdlIZFqQSHDRuqXecNfUUWhgr9kwkNPvmhqp0yWDG8LcYSF2530Qvj6Nbso1/oEGU+2l0eB9bHHyuq8DGqfTAZNkQdoi0lEx5mmBvSS1YkuIJ9HAPbRCogb9W/0BtyBmaQ/c2CZwRHKk6egL1cwi8DQoy2PGaaJJKLp9lsPmuSpSb9oj6+8S714jcGpakWkNfjk8kYU8tdOX7ocliRlhIsvSQAX6aEnV2yOSmFSA/do9h5fKkWo5o70PMqpyBFh4sU2Kx5HUZZPO4uSMM7v8/SpusVy+AABBdk6i+qjgCwi/SW2tEg0Oc8YcVkFZr3FJVC/nUCfg6K9r6bhOt+davpTJF8xu3MHJDGKUL6IMdgrCjot66AO6KJ4nEn7n7HXRK+HsfYU2ek9MLRBuqkyqgLgFMRfWbDyINQ49i2z7JlsQaa+rFIdQ1sSUHYYIlkwhb9Fslgs2X0cTFOHSMVK+hSRGucY2weRsnKZMWs5jjj+M3VjGHxDHfxPBEr9BW26S4OKx0WREZbIkV5oeV71BbfhMtO4w+eZr+9nXsYBVz7ocItuWSY2HkJ0EO9plRxUAIIgtLC4kOhcBvEZefIO58SNa28d2jxK37uEMVOqsf4Q6fQBd6XnyoaP2RnsMNfTpbb+NMn0JLBbjVQbfF/9wgPLiKlRvDKJ1D71zH7+5hjV4kbd2VcwCxnsEoHCEWj+TeZQU+lFiwbL4kqpsEvoJL2EK4H4jqYZpIgFVSfUgEDCUfEhPDzRNKn6e7R3J4G33qHEZrmdYbv0txWuKtc+wsvU+m4OKUppVCqx13FeRR4iVJT8MekSjSDeVOjZ/9PSwcgtZV9MZ19NIFNbTQZagSSwTHRjMn0fFI2jcVS0E9E91JBcqSPzsePknk7StN3GDlW5hDFfS5z6FtXSEuCEQjw2BftBmi/igrQJAuEY+8S3t7l9rRBfUzkUNQ7ul/jJ2JWXvjd/nxH/sdrt0PFIfh809N84lHR/irq2vQanPp7DzXbzdJMzFxJuL85Cw31rd45ZU2BcekIR3RbJa8aAAbdb78g2UeP1pjdNjg7MfGFXWZvgEzo6QC8Lp1hah7iFmbINwRGvcQ7nCW9p0bZApVgr0d7PEjtFeuYZGleGSKRIYuYtfQh7EqFiQHMDL3wEO/vQYzZxQ4afv6Mi+/vsVrVy3+8KVtNJn4E/GJCzFT0+McdiMV7xoZm2SqbLHX7uDrCXfXZRqf4e7iPqteQM0yuL/k8y9+5iQ/8Eu/xmC1Q+f6S+REdzJxESNMiWNRjmkKUCVAINnySgdZIHXpzb8kLU9gOEOkrUWofA8xyxi+gENqxDK9zGSxDm8Jcg+t9Dhx74763UtkaOWt4Xc3VSdLttHSm6N2gbhxBYsCkbwIgz11qY0U2b+HLUO88Y8T9/bQy+eJW7eI1v4L+YV/jNdbUWAiq5iH0FWXHVFfyhBAYHJG7SEkHBqpTfkmSdpA37+rNKLm3GdI5UKtNDMasVzC5f9v5sGrKz1VYAyTNt5T/TPRd0qdwS3O0B90FTBRM0cwmtLjHyZovAdmCUMMJV4Xv7OolIb6+FNEaQ+nVCE47GCXZwlkst/bxy4/QxCsE6c+rhbip0KXBerLKkLo9/exS0+i2z2C1jZIssEq4nU7ioQtFSelESrMEojix8xiZDRSiY/rBZK0o/gDiv4vPTgtSxJsEnoNpbyx7CqJFhAd3MES5aZs9sKA0F9GF12ORNj8VTDmcCSJ0/gIwhZ26YQCfCquQij+bltpiGIFMjuBIQefzrr6maWiLM2Mqc28APLkxS41BM1MSDq7ytYg6QcVSfUO8fobZOWwc3AFTYZ7aaRATrqhPehIpgP1TBM4kr95mYxwLIK+ij9KB1a2YVF/F8fIKnKyvE+00CUW3Zu3qypLon/MuFlV70Kgs9EWsT1DQg5/8y/Ijj2hInRJ0kIbdBV0zVDP14TUrKhUQur7REIalkGUUigdQP4YqZUnWHkBe3gM3TylhlmmI3WNLHq8RVrfIBb+QUWsDhLFLajDCNJZ9C0sY4/UPkYYdbHclKCzhZm/iJ7RoL2FFzRwrWmpyaoeqmlX1SAntUpokj6IWmTMLKHUC7JVgqSHGzbxelUqT5znu7/3r/iRn3yRh04WaMUau+0WD8/nee1ayETJ5p3fneeNN+ts3t/m3NkTGFaAHyW0Gm0mxkfwtYislcX3+2yubjM6O46TQrvZ4eRDp7nx4R1F/l89qHN+/jij5yb4vX93nV/45gY/fMkgkx3lyt0Dmp7PpZrB2xt9/umnj/CDP/Nj7L3wdfThKuXxOZqNdfXcSY0SmYpFtLoMIyXV1y/GGss3rjLx5PfQuvYNYgpkz32M8Pr7OBMT6GNHEDy3Jl0MqdTGh3I+Jb19mbQ6hjU5D66O2eypQXKccdEEmnRknlR0d6/9mVoe+MkQri2a4UOcI6cY3LuNEYVEeReuXUc/eUqxLIzeDvrYSXr3b2IkIfmFE0TVOfzv/jn2kYtYZTEBDdDLMkBdwZ0+Rnywr2BN3uqHmMOTWI5EYX3Mx54jWb4LPeGrdNXw1Zoco79+D3dsnKA0gb5+D8u06W3dU5pOs1jEnTiCnc8Sl0fpvvk1rGIVQ3zm8vzzW/RvX2b0+75M8+rrKjWo54VVsIZeHKe3fZf82Qskq0sEnRa5c4+T7O3Q+uAt0myOvChkvRZBaQijuYeed3AWLuG99wqp1AfGZLEwwB6bpr+5q5JWmYXTxKVhoj//z1iTM4oun4iC88nPES1/hNnvosvwbUz4UHKgt/B7LYqf/hzJ8hJp2GEgVQxsBpurFGcm6e7VMWcXcEYKtF//LpbpYE8dxyoWiFo+fjbF6gxov/U6uR/8AZw0S7Ryjc79D2HsLPmiSyjQ0DjCrM2h9xr0g0PGazMcNA4VE6b2xFN88Id/xj/69Y+YODvEcTvhw0ZAfd/nu3/4Za6+/B1GjpyhOFSmsXJbAdFK8xdorX5ELK77uVm08QWiI+cIbr6D6zgkbgVLzK9ra9gyxEh0clm5PO1jX3iW1vXLZIpF7GMLDPbqlB0Zkg74g9/8Jr/0Ro/nZlx8W2duYoRjpYC3llt8Z1FUuhbv/uYc1bPDvPy1OxRwKOUNdQmKgpjyVI6iK1wVj7u37pItFmkfHpIv5Dj9yHlef/ENRiYqjI1Pcni4R3OnwdTMLPdXVzh2UkDXBnubezQbDbJDLrMz86zeX8fOaQyVR/D7PcbGKmztdfnzv1ji4iOzLG1sMlkwOX1ylqyVMkhj9jf3GJ8aplwdV4P0ax/dIugPmJqbJAxDcvK1azq7+zvk8wVVf97Z32NyXJSoFkvX7rJwYoHdrS2KhSJREJGvlrFsHTtX4P6NFQrZhH4vZHKiytQRm5/45W2+ue5zcsxgectnbsRhbjSjIM9//F6d7cv/mrFjT3J4+wOstEvQP3ygrK4cpddaUsBPvERBd43qI/Q3XqSQk112AV8GVamoA8dJWjdJM1NQu4Sx/5qCi1qTH6ff2aWQlepzrGBwZuE4SbhB6nWIjCyaVVFqZUk+CghP1Hr9/jqWXIADA8yBYvQkxihEu6BlsIJ9Qr2Ilh/CaN8jMsfUstNKV8E+pvSnQfMqppi24h6Ok6XnZHGlWmbYBM0lgsNtCtNnSewpEn8fwfBLyioMOqpmYYgpSs76IxcIGtclaohRPY3WuEPoH+COfpJB+zJG0ECvPqPOTyQefnCILc+wzDBIVdcwSIun1Za6F7ax7byqIYadfYL2Pdz8tIKYe6KkDnfRzTyD5iqZ8jm0pEGcHSHcv4YloPP8HHh97GAPT3TehRFsyyVo9zDyNXRRNvcFzhdhxdJ099CEFyUZn55cqCN0s6De0QKtjgIbK91SSkEtI1D6AYaYpzotNQBJzJL676SumPS3SCIDTRLInW11/nBs+ezvolcm0P2ugq1q5Ul0qYM3LqNVRgjWNxCHvJHJKsubbheJkxy21BIlNeDk0SUZnQSEjVUFn9dLs5iFeaLWe4T7q5j5Y6r6YchZhhSjt67UyUnpDDoxulJpS1VdkvARNG+q2oUlViNPrFQOthkSmrqyYQl82EwMIgEpZ03oHBIJI1hMXwNb2dv8QUPdy9LUIBVrW+PNn081s6JUYLq/DsMPYQ5ijM5N+gK1EVLk+GMPwIO9dbUdSba+jSUbiPGnlXvSkMi6rWO5NRVxEy8jQiQP9ultvIc1+4yiOEfebYz8PFrpFPG9r0DlHKmbJ9m+jJOt4tU3VLXANPsqWp6Wjir1xAOIngOmRFpsFeUUpUPqLyvInZkrorvST5VY7D2iwhy58WfwD6+hawaDbhNH9DPbV4iceUw7UhFOIdxH7UWMggwCNtCKQ2gSeQ0beImHltrqIDnwGlij54gP7kregVCUVKKoMyz6u1fJlI+hjZ4jWvkWkVPBHX2MaPNN9Lj7wOWbLaIFHQV4wLXV5EXPFDGyo8TtFTQteeBzNkoksiFr1ckWF/A6SzilKeWHlmGJ0h42rhJRRB85gV6/jm4UVFw7Eid74hHXryr4hXShbSEGd1bQqo+o/nC+8RL7t9/ELOcwC5PEDY9AD8jEsYJVFAs5uv094qRKtpKjv/IO5pP/Bqdg0F36QCUgTDN8oGqrnCOSX25dXMsJkcBoMgW1tfc6W+j5Co6mE0Q7kJjogxVC9xiGqZMODsgOPUQUt+ke3CM7fpEklYeTj9dbx0p6pKUZXHsIrdejIzHg0jGGjmRoX32Dn/253+G/vd5iNmvwiS8ssHN/lWK+ysxYjp2DLs1OysZul3IpopQZYnV/QDUDHyweUtFMPv83Xc6fqDGTPWDu+EWyuR6OmRKcfg5745q63EgNITGqNFfrFPMPyLnVovGgL6S2GMu4g5RYCzD0vgKVac1dWp5BYeGMisd3lm/jlMfJDWWJhVJa32SwfYfRRz6hthrUxjCEGpbNks5Nox3U6S7dpdkx+G8vLvGdmx7vvJ0KR46JUY3y/x+pHc6b9Jom/SRSQ6Na1icjX/eKxMpl4GBwdXGX2VqWr77wO2RmztC68gJ6oOHMLbC3soZzuIRVnqcwM4a3uYkhHfHKEcL990jDLEZllrBzgDlYJy6fVEq3VCJHavA0ThCFZKRKY1XQXLmUCRdCLtYtwp4MDEUFmZWplrXs0jwAACAASURBVDJkyIbcrJ5WF3hNhn/SV7cjosYySWYIO7FJeuvo+TKpLy/mNRh5lEgu5dJjkj8vW8P360opqDUPsIoGUWegOv6RM0ZWuBSVWQ5FqSXsDfcBcJPsDFawQeQPlNdW+pGWTP4F3IcBUlOpHEc3cwy8HXTvQPFNQgERFidUlCz0djHFwTrzPN6hDDjEJiDkXRMtHahudlQ8CnLx9wdoxWnkRGgmrrKXSN/cCMW8UUM35aK3QuwW0Q/28aMVtQnMj36cxCgQyEa+9RGGAOaqo2BV1fcyFn2hZAPU/x5ArqaYFX7vHg5Sp3DRxE2c2MoVLx3zVOwQex+oaKRVOEUsL0EZPAroyRxS25ZEXojesgIjGvlxTHeeOD5UBwZNDvWGhaHLy7KjIvi6XPwTD12i59J/DD00ecbIsESigXEDOxrg66LwjLBSh6CzjlkTwKMM9nZUUiEsP4bdWSLaeZXEnVKHFOk5Jv1lzOGHGHTraEGTsH6LQqlGmJkm9RIMUUqaAVqgq22MXagwWPtT3MwIUfmCIuUKryWOtskMnVVAI1EQOdl5Is3HsWoEsnrvfETqnAB/DU2BhWwMTWBSLlrnJlZxTlH9tcFfQ/4MjyQ0VKLJSTeJ7BNEsYdh2uipQCx1NKuqqiFGdEDYayt6tJg5pHMXlYroxhTh/T/BGH8cU0tJ9QeDtjgzjpkkxGlLHQTF7igUZFfgWt1D4sZlxUYwJ58m7OypmKKdMYiLF9D8LVxnjG7TZ+TjT/HN3/5Fvvxz3+LTHx9lcbXFXLXE5JjBH72yz9FRn+985VNc+859wr5soUwy8ntj6yo5YTs2924tUqnUlGnB8zwMGQRFIW7eZm1tG9vJ8akvPMs7L7/Licks15cCfuBX9jg1r3NxtsqLV7e5NF/GdbrcOTCwejp/+Wd/F3vtPvW1Fs75J9l99b9QLoxTe+pv0bv/Pr7XJTVdwvaeuijLxiygRVZ0VlNnCJYv44hqys7QXRFORJ5sdYTD+5fJV2fQxufpv/pX5D7zfejVCTpf+wqWgECPPER2+hja7i0O230V9TXDNkZhmmB/Az+fJz/s4H10g8zDn8UaLtJ55yVy554g0TT05VsEVoGo28KqjWL1dxgIn6N7QDo0jJPLEG/sEmuHpIMswd5tsnOXSIZLWPIck1TcxWcUPFLb3qe3fwOtEyhbTf74aRiZVnq5aG2H/tY13POfUMmy7ocvEaQWlSMLyrIS6ZA0DtSCxh2ex9tZIimPYnc2VKrArB0hCRqq8th/69tYz/8IhapF+OHbKrofbq3i1mbQJsXe0yQ3NkPn5nVKT3ySnphztm/i+hEhGUI7Qz4N8AVQKkPy0UkFwfW0DPZQBe3+TVUb0mV4K3Dk858kPNgmuXkZ9+Qp+lt7WN1DOH+ejJ7Dl+1TroYWdgguv4j71A8R37xMIIO1nVXsmpxbLAYSER545GcukGRMpeASxeFANyhZNkmng5emD/Suq5vqZy71j3T2AnFzi8QXu9Ao4e4mzcXXKJ9/HmOoRPdb3yb76CW8eoNyIc/m9WWOfuqMquj9L//iq7x/b4ezJ0aI97r87m//DGtv/iV2dprSmbPUr75MtixQsYT++iZOmtDqdxh94nmS1WVCJ8HpxbT2drBKDpnZ00o/3VteRJs6pr625vuv4BxsU3vueZqXr2DmcnDhSTpvf4sjH3+UH/mpr/Deus+p6QKzoy472x4DJ+VkNcEfGHz7bsg/+LjOT//yc7zyx++pIcfIaI7WrgxOA1K5yCZiKYoZ9GKyBQsijdEj0+wub9DxekzNTBOEfXa3Nlk4eozNlQ2SJGFsbIS7d+5TKBbJ5ARMZjE8PkavXme/fshQJc9otcBWe5tvfcND3nTDlYCVOz5f/OJptpY2ePTZi2hpytLSXeUVb7QPOH36FLbjsLW5zfTcPPX9fWUEGPQ80jilOjHMwU5d8X4uPnWJtXurFIpDakMvFw2pDNy7dYsz58/jdTx2Dg84/9Ap3n35IzLDI3z80zP8+r97g3/7qs3HjttMV4oc9kOuLR3wxOkav/uNbd79jz/MQz/24+x/5w8wxx/D6nSJ5b0tF77ugMSW+OYeljus6mNBK8Ro31aDFUMWY5Jc1kAfSH1N+Dkmulmnf7CCO3ZKmcyS7r6i14eGg+bMYSV1Ir+LlpsmPXhHqWWd4jyauN6DBmkQYlaOoZsu3u4iZGys/HEYtNFcIfJ3YeN19LHHCIQllBfL0THCzpZIjrBy00T7r6GPnCckj737LYyx5wmCHaLD6zgTzygN9iBqQryFLXYlPfNgI2zJRryFJskfSWDLJVWS1E6e/sEtVUc0TGEoVYh0G717jTQy0RxXAdglkSbn/HDrfQwxoeXmoHdFVR4zuRpB2CPSh8kkLWJNTiQQ6bKekSrcgNjIgF3DSnt4TdE3y59XxDHFKCJL3XV1YU4ULPlDBTA092+RSBIzNaB5Tw3W0uIEbn5GnVH0ToeoWCFprmEkDczCHEluASNsEWy+jW6WsItFBlIHleFHmlFUfAHVy89UKk+pFUNxWmmRA62D1l0mMcexBy306UcJm7ukwRZatqTsP0ZzVyVBs+MPEeUsnF5CMBC+QgNn7BF6S19T1eokW8WQamFuHt/3MAdrmG4NozipwIcKeBy30N2yYvhYUkWQO6K3iKWVVPqMWJKJXUzLQxu6QCJMCfmzggOVJA0sSTi2yActIk1MXGOq6hBLTUWGG4mkHxoYUsPMlYjiFDOSz9qE4naEhytoB+/+2zSjCbQkJO5sYxcmiCX62W1jFsYIrSqat07qH2BEPbTKcQxthFA0S6Km6a2QxLqi3xuWRRIL/XKbJGdjRjapLaTLiorxJ4r2XMSVNZjXIXYr6tBLbxHDKKKNP050/wUSO49VmlWAuSgNlJvbl/6l0JL799AMhyhTleccmqeTGSrSdwuY21dIYgfNzOEWHDE1Y0dS4UzQvC2RlqPljxDVr2CMnkUy3ELSj4S27Utsp0os09mBTWTEWEGPIOirFy+Jjp4tkTbugSubNUOBOOLeLpq8vMI6sTOG3m+oyIjpRISpi6NnGCQRmm5hDORi6aBJ/MbzFSzRLowQd3ZgaAHz8DqxnVdKNG2wjG4mxHpZ6dTSfIX0sI45skDcPlBDl9BfRRfypsR2tRJpukMcetjlS4TBIWlGPKD7WKt/QnL0f1K+UH3jK6QHqzTXLuPoOu7IjPIWy+TLsEOEDVvKSbdKp7G+jH7iyzhHvleRJ00zIM2dguRQEc7N8YcegP0EfqEX1EYq1A1M5ZS6Sq8n+4kBRuGoiirH/VsY9jBavK/IsEZ+hHjtJlq1Slo4hSV/57iuIE7iRe5uX2eidgpmHZLsJX72i5/npa+vce4p+XBn2dhoMVfOkR8pMD5u8OrrTUZHDPUgk+2gE6W8/NE6VmBybjzLF74wxBe/NI85dYSk0yZoDZRGx/BC2usbhLaJV4/JRy77h01yx4cxuz3yJRtNet6dOv1mC2NI6ix5tOFx2LmjolKGgD223ibIl8nmp+gLnCpr0R1YWNF9tGgE3YxodQ7ITxwnvPcGUeEojt5hb2mL7MgY1SkDO6+TnPob6KI+jOqsvrbBP/7V99lsZQj6HhnLZ2phiImK1GBcAl3H39cZaDE9b5+LcxMMTxb4xd/8EHGX/er//Cg//mu/SrS1Ruf2IkHcJZ+3MTMTJNYY3mAT2ztQcDsZXGlBg8HBDcX2kBeGqRlgLZBE2+ohb5fPqq1x3GyTlsskgxjTNtRDVUvqaPlptMAkTQ6wRJniSu2joailSr2h6SSN62jDT+LYQypOniZrpOYCaPsk3R2suc8Tr32dEA23cEaZAHTRzTjicN/B271JdvpZwmgf7r+JUZrFqF0kbN3EkktqLot3KA8+k9SaJN17A92ZVRdHPTOlyPKRtwl5AckZRElI1L1Hxp0m9deVlie0a+hGqIZqAn8LG6KKm8UUom9uhHigYXdk2DhK0riNHye4+SJecwV38uNoEm3zfQaRWExm0cwyid8mke9pfloBgKRPLkYVXZNN/I76OiRGr3U2CAX05EyhWSmJaJFkUymv1Ui84wNM6e3ruQcDRNNEE31qkiEWCI9cSiNNVYaka6ZXzpIeLBP7t0DgcfIclT6bsAwKRTRRByV9NWBMQw3NEDXoAkF/W9ioJPKCPLhGqFtqOBIc3pKfDLocOPqbhN11ZODs97tqsCjE2sHuFXTRNs5+nHj3Kob0RGU6bo4SmxKvS+isvISbmSSuHleg0ciwlfFDN4fwWzdwS6dJUgGYlgm0FEtYB+4MobxXzD5m6iuuQbr1piJE616DcPIpTBmOtFeUHjEWtY7YanKjDPauY0qPzqk+uID3W6QDsZ0UCXIWpim+bxvCNfyeRPPmiGTQITHR4hm0YIck7WJYc2qwYCV9ZQVQ1gmvQVo8ieHaIH8XmbD7A+Qe6DZv4ck7aeQxNRhUfyc3iyYHEn8LUwsJ9teJK+fUQUN+/ql/iFscwRcwxeEtsEawy6dUnNFvXFcHS/n8CpjJtnRa9UPGP/FFfv+X/iE//Wuv81N/+wyX72xQdXXyGY2/vAqfvWTwH3/xLN/4k/fIuTbzZ45TX1tXjAm57OcLJdXr7Pk9skWHdrunLoHV2jCGpuN1urR8AYHq6LHGyeN5Hv0Hm+z5Pb743Cg3V/rs7rV56vQIR4ayvH2rjuYn/Pev/xN6L3+NZpBn6Mg54sYOvb01BjJ0LmpolTnMyizee6+pc4Uk0UQplTQ2MIdGCJsHRId1Mg8/ja1FNK98F7c2inH6Yww++A5puUomKwegCr1v/jlWbYTswjHckTEG3a5iNhib9+jd+QC7WiWevohVypCL+vQaXcL9DfRug7RUwiyKMUhXSa9U0hkj88SSSEvykE1J93tqIKBHMYEbkBmROOZtVQVA1zC8Dub4Al57h2hrhaGJWZo3rilAafZ7fpTO1/8z3tYtys9+EW/1FvlTJ/HqYmGSlEmIL8DBoyfQtCx0NrEvfZbOC/9JVVj0yXH0nXXFG+jfvEy4vYp76ijdj25Seuopwu0DimcvUb/6GsnOFvmzH1e6Uak2+HIG2t9Rth9zYo6018ff3SWKEkonjuLdWsI4PY8th2vRkK1eRj/1JEGjjt3cJwzaRAd9MuMVjFOPKhZR87svUHr68yQ7Qk2XdmCeeH2duFZFL42qFEP/5lsYQYr7xMcYNA8x71/FK5Qp5GtqGGGPnyIVPsFdSVoZpO2QfmJQPX6cw/ffJrcwRRqb9Fp1tJU7ZB5+UpkFvO37DHa3yJZn0AtFwpUr9Pb3qTz1AwT79wnry+hdk3Zjl8qlp9RwNNpdI/EGhNkyU3MVGstrPPxzr/C4k/L9n5mlud3mf/jSY5TGa7TSiqprZCpTNN77JqWHn6R77W3MyjzZjMu9t19k4fnvp9/cx99ZwcnJpcfAm3uE8tx5WlffIJO2FcHeLWXIVkQNXYXFRUqPPkzS2CLzse+l+/q3+fdfvcW11T1uLg+oDsU8empEfS4LRZNvX2uw1dD5339igr9xxuHGrk+5MqTA0eEgolQusHJvk4994jGVwH3/7Xcol8uMTo6zsiib/iPqGVXfP8CyLArlMks3biuzwMz0LOMzoyzevEd5qEwoSVIZ9tkGH71/hxMXj+A12mSLLptNeO3NAy6dLbN7kIAf872fLrC106HVDqmU8qoWVd9vceLUUcTAu7y+zpGFI9x4/0Mmp6eI5HOQN6jURtle20DXdQrVMjeu3KBWqzE+N8bW9i4nzp3kcH2LlftrFEYrTE9OEicGvd01mj2DhWNlnOEsD/34TcpGwLFR7f9j6b2DLEvP+7zn5HNz7NzTPd2TdvLMhtm8WGQCYDBIMciiJIqULaosiaLKomxJRdFSmbRl0ZZJFaWyRAkESaFAkRQRSIIEsFwsFhtnd2d2cuju6Zzu7ZvvPfm43q/1B/5a7Mx2uOd83/v+fs+jqmgHBxYGfb55Y8i/+fvH+Olf/TP8N3+dVpAhp7sYMsAS7a6ZV/Yea+c9qMyReBvY1iKDJMLNOkTtNWJvD3vyU0TetlpCGtvXME98kjjJkI42VPIu6u+qzbKeWSCVOqucUbS6UgZrAtnrN4nzE2oppmCbaQ2/f0+ZevTxF7AkQZd0CKJAnVlTZwq9eR3PLJCRhUDjFfTAJLZTAlEr168c2r9MWTxZRAdrWDOXD6t+uzcJ7HHc+oLiRYT9ZdzsaZXaE4uQzLzF7iDpRSs/iddawcrk1SUx7a/gVI8RC2j4YBnLMIlNmyTpKw2unjRIEou4c6AsPM7kZRVt1xrvQum0uiMa0vtv3SPRh0TUFbxU3n8CNRdOmxcO0OVuYvhSoMWUe5+l4zU2FaMtLVdVus+OhRp2qOqT5KG47LX+NplSiShyCBQIukTcuI4uBoXa42rLLnH6RBeeTqhqCaZAfwxHmQGsqWeJlW63d8gbSh2SxtsQddU723RdHK2In8q2fg1bUo2SBhFmnPAUAqk3R0pNLmwIBh2lBI6TTRJ3DtPKoyn7zBRh4wbG5LPqHSKDg1gu/cIbSLKHQEgZRMj9qHAEGgIdzpG0d9EENK+LLt5RamdNjsqaQPPmob9FLPVf0dHnKgwSF2e0RSoGoOwUQa+PlTHVuTcWHfLwgLC/TZovY8r5KM3h9T7EjkaYhRME3SU18EmNcbTuB/86VfRIW/qpE8qZne69qzq1ejIg8g5UF10TPYMlPUqDWCZJop4atnEq0/Tv/VcVIU2ku6tn1dRc4luReDarZwm33oLebeyzf1tRu4P+soqSJ0SqO6qgXPJrUT7O8P4rZKavKIWEL0TO3IzqGkvfUmjjqZtiNa7hpQaZzHFCy8cqn8SXuH/OxZj9JMHqX2AMttDEh9i7j1meJui1cfUhiTOGMegyTEdYpsQ2O8oBqk0+BlZdTcNxephpHa1QJdi/SXbuCrFE40TvIX1RPJL+FhhTWNkKlqExFN3Y/qtqciXxUk2Tfv2EmkKHssWJQkVgla9FD020gnR8PiDNiLfcx5YNaqQThxInOkrqtUkYqI2uXDyIm4R7d1S8L5EHaX2GcCQNR6khrBP7KbqePYzi22V8IQKHB8SuQ74yj585i9ZfxvBvMpJI8IEcKrNYYQv/IGJQrlKyD7uxsS5xZQd3NCCa/TTa3OfUVlx8n6LicASQoheI7BJG0MTKzypoh1DlrXwV0w8UpFEmV4g6TM9Dd/tQjRGYmOUpvAPRHZ4icBfR/G04uEUsXuSCkCrnSIVVMJ2HiSNsfu/P+fX/94/4jW9u87c+s6AOYDNH62zsDHj9WoPHT9aYzEZ0YpPFY1muXz/gK+8cUM8a/J+/cJT/7lPHMGvjWDUdWjH965u01h+oDYZT6xK7l3DGJsi3ljjYWad8+UXCQUqyf58kzaj6hTfYgUKNkpXS6w1wp0+R9DZVzCu0LTprK+RKJUWRT+VBY1awpy5htt7EH2n4omO0bIwjpxne/xZ27OOXJsmLFaF8kvTB62oLq89dItm7T9rrUpx1SU/XVPQ+2kv4/a/d5199aZ/tJQGChPzAxxbodLr09iLOPj7Jm28+ohF7LBZLlAoWW/2I9661eeaEzVfvv47RvcNg+R6mdZY42mL46D7J8BaZo8+gW0fpr3+d/JGPkcQBmsA1Y1+pI205mA230bKXQB8Q7HwDq/gUZGeVnx49ryLNhn9AUr6AnrSJewMMS8BNdXShvMu1WxgQAuqLWgpeostDKyjgpHuEMnjUxzAtk9QfEO+8CtUTYItizcFwUkXhlq5l0LyOnjuBI/GxyiTxo6+riLRdP4XXXFa1IEfp9lzSaJ8ktNHLx0n8Pcy8S/joHchNoI09rqLessENtr6DWb+AQU5m1miVo2iddTW91nKnCNs3SPITZCWCblQJmq+qC6GbmyOM8xjilhW1THtN6XJirU548CdYmTmM7AzpcA8tNVT3T9I8Yi2JpdrTfYA1/XnCR/8FWnfRT/wYRlwgju6hywtQImCJd6iCy0+iict6JC9kDUumuOEQ3ayAGD+CiMAEY7BK0HiP3JEfU7ob2UYbSZPEMDDNSSIhB0e7ylyQikHFEaaJOHUkMmao572QcCVWl0gyKeyRRAM1aMSx0T0BYaZEhkAWE+JAeCo1dNMk7d+AzDSmM0vY/DaGXSUpPkUm3sZPOqRMo8Vd4u4GpkALR32i3kOykxcI/USpjGyJ2ks/UXp5lVNq8h0FXUypoUXr6Imm9G/pYBOrNAOZGRIh5LfWlLWAoKUGMFGuhCPbxTgiY+dUxzPtv4s1+xFGoaXge7ojm4xNElOKRDq61BQzRXzp0Eq6STzNkkYzM9h+C9+cUoMN3btBlH2MpLuKoRlqoBDEAUZBDrpDLF2igI4azISb1zHGLiito5CypW8tf6ZrmgR6GV3r4W9fV993u/yYejaKpcOoP6XIzbpTxSRUxGfDHVMqyEQ6nm6JxOuStQYMkxqlJz/NL/+Vz/Grv7/Gc4sxqZulktXodSO+vRTxyz9W4W99wqWV1DkYNalmZxXMaXdtl+rUGENJ08ln1rDIyEYKW/18Tj1xmat/8RbtZpuF41MMBj7HF8f50zeW+JnfDPjhsxo7w4T9zoBPXJjh7Zt7HKvnOTs3xvvv3+e3v/AP1Eb5YHOPsh6xtbdPuTaLMz7H6OF7DEdCqbcxJqapuFn2rl7FLmcwJo7KPQOzuUkixqATj+NMHVUaPtk6O+UJRis3SC0XuzbJaNQh3lmn9uIPMlq5j9fYgO0trNMXsSeOoG2uk3vmowy+90d0tvfIjE0TWBq52eNq0OEtf0Deduitb1P59I+Tdlbov/c++ctPEyY+/f0D3PYegRZS+txPMlxax5RDsh8QhR3MYkklQbofvoX95Eu466uMrAS9PEf/xvcYP3uJZGwOdjcJJDra3IBGi+LHPosvw5YgIF6/hXPk3CE4amOZwO9TOn9F1X6C9WtKd6Xb46TNR/idNpmZKXp3b1F7+lP0mw2Moydxl99RGrbIMLFlG3fiKSI51xgZzIlJgntXcWsnSfxtBWLVewcMtu5Rfew5ZerotpZgdRX7yKLSf3rdDtnqJD1ZQMg8uCw6vyJev3OoYExCCqIhzcuFwiFqNYn9BjmnpOpUSaRhFqo4x88S3PsOke/gTExhDg7wfJ9E6phOTpmUUtvAnT/F6LvfZmiEGF6i6kTV+ZP0JheIb31IIR3QG3kKKtvfWKFYrlL91I/QeXCHcP0+bmmSdHoRXba9QczeO+8z/dQ5Ot4Ad/wEGQL2b91i5qUXcLSAX/mfv8x/uukzVrCoakO+8js/T+tgh2Swh63n6Xst3EpFabYqVo5B6hCOT2MebMDOkhp2GIVxvL1Vckdn8ZavE+71MRfPQnEcrd9UX+uwXMaWOlWnQ/v665Qfu0Tl0y/zQy/+IqWqxqc+cpqvvPpQDTM1PeBHX1zk/n6L79xocX0z5J98usLf/XvnuPvmIw46gZheKbgOo37K3OIs77z9ttrwm1ZCc+dA1eVEMehYBt3BkDBMqUzU1EVm7tRxrr39PuNT40zPTPHdb3+HJ69cZmdDLrU23UaXxcdOEnuhUpTl8g6/9pv30Al45nIBf2Dy8c8t0NpOWFq6R7lQZfJIHX/gsbG2i1PMU69VyeUcVu49YHx6Rm1Qu50utmVRrBTpdbpsLe9w/sp52p0OrZ1dlRpcvHSGJAxp7Tao1ut0RyOaO/vMLEyydG+NmXqJ0y8cZfr7X2OsXKPsyJA+oi5Kv7DLV6/2+OmXc/zGt97i4NXfUsvEpHeTlHFSUXcHK6r+q3s99NqFQ315sKUi3kS+snxYwima+4hibdC9RZh9DDcaEgoE28yhixnAG+AVF7ElsdpbIRXdmpaoJJBWu6hqkInSdVdleU5w8A765PcdGswadzHl70o19R50rDyjNMKIxADThIIA4WRxuQH6JImpYURNYvuwumd6CVF/B7swSSCdCqmH7d/HcaaJqjX00TaJqJY1jVgqj/l5ErnM7i2DKGpNG7qbCr6bWFk0Q9KtR9Cb95R9TBKChtZR1qdI8OtpTxl8BHQY+3vYcg7TbUXxRxz1uSn0wSaIklbAgJGmIvmp2IAkGS72llGXQAB+Ana2Q+I4RhNivm1i5h9TienRyleg8jiZidNKk2plMgRBlni0onhlZmkGvTxDvL9M0P4Aa/xxNC+W3S6Gt6aqcboML6y60p/HnU1V2woteb60MXNj6r0psOQ0GigNs73+Xfq1afL1x0n7O9A7QCtm1TLVpKTOEZrUKh2TQKuita6qmqJTOU0gVqPGTZWKTCtTCuZnRhVGia+SasmoQSYJCJxJdReSJVjcua5+LpoMQXJzaHiEwp8yLWzBWvY2QSsRGELuF/PYmDqHJhJJ6d1UYD9dIN1yzpEFtV1RvLdQfgclRXfkeXUuidImrlQaCwv0t6/hFOs4lQuE7XuEsrjOTqN13/g/0jSQrYR0zMbxB9vo0ikdu0Sw/i1MmV6ckYv7O1BeIGqsofn7h7EYOfjki+oDY5fmFEBKvqlx5yZIzNc3MZws8XCZVA5clXn0glwamsTxPnpq4Y96FGaeIWmvkPbuoc8+rTobfq+DVTqB1m9BtUDw9r/FlMtJfg56QvnPEptVotYNbGcaZHPi9/G3v41Zv4SWOYLu6sQHS2iVeUhks/KQJDNx2AcRlY/oQAT805VetI6eeOpFhFZkdLCMk69j2Vml+RAgTjxYwTQXSUxxhV5TsQtt+ulD6mVfLhodRVcXHRbNtzGqT6opTTzcI1t/nGAoD5lx9UOTA2UgUQ6BikkiQryhxTPQXYf2+2pDKpulsL+DaZfVJEoiWl5jmdQtk7XGFMwjMfLYqtvr4RmikxiobqTEqaNBV23dtfLH0f3rxKIA0cfQkjau69JvvYfTeoTWvkuvMyQpjFGSXvvKKtXZE/jBLLE6CwAAIABJREFUPqOxz5OZvsRo+y2y1dOqfyb0Uqv2DFrQVA5XcWYLZCP1RKNWU/1w2XJqcml2s8qPGkcdjPpLRJ1lnHSHtHqFsPVAxcCMrKg5mqSpRayVyY5nyNRmFLzu3/79n+OLv3+fk4sGO77DmXGbm0sRC2fLnFnIc/fRJvbQoacljHopf/Buh89fzPMPf+Yoz37iLEzMEH7wJqF3AIMy+/ur5IuQO3JWHXS9jW383WUyp45jRA69nQ2y43l0zyRNY5xSjaC3h1EdVxdxUxQc4ljfO6DT2qKSy6K5juptBbvL2KUFhkkLv7VPYXxRadU0s08cZmisvMHUqSvs7yxTrJ5S2rd4/13chUuMeh16a/eon/448cEj0qBDkDuFv36fyTNzJMU+oRyiyrO8+btv8j/90k2uH8SMuwY/+GKZumMo2MfYzDSvvLVFwUyYmS7Rand52Ojz4AFc/e4vc/TKy0SP1unc/RqZ2WOEQ5ck3MIcWyAeuIS9DxVwzxSQnmhfHEkZODDaVBv7NJHPR18pAeVlqhk+ljNGYuTQ3Dy63yWMWpgSPctPqEOdcGLlxRY7FeKwpybPup/gjYTy6grWkLj1HtizaOWjGAKAGe7A2AukvfeJBc6ju5CRy8k0RrJPKsodvYxVuYh39wuE2XEKEy8Rtu4QmxquU8fbfBszVyKd/CRG9w2ipKIib7LRS0pHSfq76vPmZiV2qBGYQqE10OTyOdgFq6hebsZwUwEv06BN2LmOVXxWAQrN+hkFYJGLtShwdGMcb7BEtjiJqdUY7r6KU7+g+m2hMcAqnSZorhA3b+FOP03UFaVpD8MaV8ojszqLt/8+bv1xvLCnPtNGSTbPawTbr5NqdTITl/CHW2huGVuz8OUgItt1wyGxcofUej/G9B4QOdMqpaWNtg/jdWmeyDHR5LMwbGMVjisvbxj4Kp2knObuLFbSJ+lvEpt1FS8WX23aX1VxNgR6auQw6BCJ9zh/gliXjlkfU4ZliYcW7RO6dczCeXQZwAgEMpCK0ASJpRG37yiLSbLwSVh/DRxLxeuFyJ8KA0QSDH5D0f3t4nHFG9FVLFkqF0NMUw4EB6rXLTcSQ/gSUlEYPiJTeR5fiMl772PVn1DQotgsKOOMVb2I11/C6m+p3xeJf4bxAbQeQOkEeiw6yE2s3LhI5Ilka+HtYIo9I0lIR0Mix8CUAVl/E33i6UP9ULRGErhKzSqRbTtbP+QmxANM1ySMMxhjR4l3P8DBJZQtgifDW4fQDHHsOpp0VIWZIwMTSTSMP6c2GIzW0eyKAqSlUQ8jO6WGIfGwR6ZaJ0wNhnLRHUVMffYn+Zc//hn+rz/c4ad++BTv39llwjUo1TL8h1e2+cJPlvmJz81ydxumxhwePNhhd3lNucFrkyV6TaFDm4xPzdDY3cUyBCJm8nBrh4XZCabmxvjgvSWmpyrM1xP+8X/a4bW7KRcWdO6v94kti6P1HM29IQszRbY3u3xsLsPf/Rc/yP4b92DqLCYjRlub5KtVfLmwaz6uU0UrOXjru0orabshQfcA3yxRufgi/v5DBtdfp7p4gUjMIOJD7/fRDtZpr6xSufK8slJYlrwjEzUsbL8vMdIy5edexn94DataYdRuqg2+W86gz54hlgO0U2J05ybm408pB7q3dFvpS0UDpov5ZmeD7v4KuaPncWbG6b3zGnphjPzxiwy9EfHDDwk7fUoTMzT9NrXpo0RLd9VQXwap+fNPM3q0ib+9hDNzlEgzyRcreN1dnMkZgr1dZf+JvZji5BR93yPc32bs0vN0lq4TbaxjnbiE6YQED26Te+IHCDfuo1VK6jAZCnx15jhki+iddVofyrNlkWDkURKF6NxJLNNk8PYrJCdOKi5ItHaNrFum2+uSmZ5VgMpEDur1ScJ7H5JbfAI/7GI+fBd9/AieREcLVcxshnR3h6CxjVkq4/XbVM6/wHDpKtqRJ4i37qMNu1iyresMcBZP0F2/S2lsXgEavWEfp1JUtRBfGxLLIXx3H2t6lmF7h+KZj+KtPSRav640sO755+hfewer4ioNrTlWVQOIwf1rmI0O2RdeZLTfQZME46AF4zO4WZ2k0yLod/C8LvXCPP08uDMXMXfv0zfqFOartG6+p1gX5ReeQCvrfPcX/jdKtWP8hz+7wU9/dJ7JJ15krJhj4+67VI5fxK7P0LrzOlErofDcFbKlGt3r7yCeXX3/LqE8kwzpa2sqPWsdOaoGz5LgKiyco9/ep/kXX2Xs3EWojxM9vEW2WCAzU+FPfvdd/uUr6zyzkMPNliCb8O++2uBvvmTgOHk2Ww0+8dQCv/ilh/z1F+v8r/90kbf/bJVBc6C+T5OzU0weHefG1bucu3ieve0t1h6scericcVu2RP1Y6Jx6alLNHabHOxvUSxVGPT7igEwMT1BfzRgenIC4aaJdlbgtZ0DYY7YFAsGcRjyu3+6xZHpCRx3QDXnMFONOXb+vAJxt9tttreb6nyUkeEWwr3r4eSzTE9M0m5JLD3loNMhm81RKpVVDF1SDKnQsvp9zl28yDf/6M85f/kxIl3j3s37uJqJm8/i5nJYls3UbI1kEFOc8PjYz99lvWvywlGHrWbAxLici0e89uGIo0WDV6//ezrvvkVufo5+J8EWW5g3IN5/DTiCNT6jzgBxbwlj4SdI924TDB6Qnf84iBLW6GOUzhBKJTod4vfuoUU65tgsmmjiBP7nmhhJjqBzE33iBUxdBtArRGYdpD4mNprQBG+DUPr2oVjMPorX2cZ0eyDqc0103UXiwW0SAerJO9mdwJWhdtyTAg5m/hgjuZCq93KedCQmmRFk6lA7i95dQhOe2NhplXjyl/8Cq3pBpYhFuZu4JQzNVMwRMgm6VOUG3cO6TeJge5vEsmEeNdCyFZVGinu31RBR0+fUctWyNNJ+R52fNMUjmiLVEtL+FmniKUuBpCt1LU9SmsZqrxA4FdJIgLd5ErOAluxhSNUhM6PuF5Y/Arm3lReV4c2V7bhUfnSTKNIx/Dvo2UtKo5d2PiRyZ5R9RD5nUhuTzrykl+M0JBP5+GGstuJJ0MIcPypWRPz2bUzhOOgl9GCDRJhKVhVHfsa9ZVU1TBc+r5LjWutD/N03MceewZ44y2jnJoknw2Z5jmZULTVt7eId3MQ99Wm0ziqe36RQuUwwCg4r2LIkKc0q9XNv5TpOsAszT5NkbMxOl0hF90doMjCROnvWUYMvgdNrI2EoLGEW5nCkPtBZIek9wJl+gXC0p+6J+WyFkY5KXcTNFXAn1X04GMYweqgqbgqULOm3oIUjaTp/+3AoI7V6gaGHQ8JRE6351v+dysFPKNWOOJOFGh410UXDJN7DWMPIFNG1NsnuEnFuFn30CGxR3ZXwYgcjlyfoD8h6e8TBiCDqYeXHMZ0FkqxFtP0O5uST6lIjsAk/fxwn66B19w41E+LDHHtBhB44ZsTwYBt98FBBgiLbxK0+Q7D7XfWw0ypn0YZ7IDoGPac2LxKbSERxYxj0vQRXiIsHNwjyM5hJAV3fJZBDrq6jSbRXgAbRHklGND6oCEgU72PIB1082GpK2MAUjKM8ycTBnPSJ9u+jjR9TE0BD1DujNlFRDqGT+JvvkqnUiCefR2s20JuvEFfE6WwqaFaaFAmCbczsBKb04YY7KgVhGOIKTdXkKDhYERaZ0vbIpQKzCjg40QZBctidlpqGMS592gOinWs4U88o0FWQCOyshDnaJnKkU2sTqC2bxFLukIT7OGMvY5rT6OlDouJlBZIQ4n66/kXi1a+rA19sFPDaBxTGjpNWHsM/+o8w/UfoW99ScWVNPgj+jlKJ2dK/8WIicXnK9LM0h98VRZFUFs6i6101AdS1OjrbxL6oQO6RpE3S2v+I1n8Veo8gdwErW2DU2SS/8DwuN1j64B7/5Jd+j7VOj0KhSsaKmJmUDYt0Vw22G6IHs8jP6ASNhM1HATOnTP7BX53k0ifPghMz2O6z/86HOHqeeiVHLKyIGbE+rDFqxbilKmYmh+U08PZs9u+/x8S5s+iFRXy5KESyvSiDnWJNfoRg9Zt420tkL30/Rtol7nRJbHnAOsqB3Ft+g9zpj2OWZ/Cv/gGjOKb09F8nfPgWjkDFCgXVqSXYx8NGo0XqF4hbLdyxSbR2E22mSLexq3Rt9vhpmjuPqBmieHMYjLoUwjbW910UGSUHr6/x638c8Bu/tcnUjMZMLeK5E1m8wODDvYHylMvWc36syFvX29zbS/hrP3SEf/07/xzaHfZXs+S4Q/tgC3fxSRzphkm3SkwYAj85WMYsVTDck6p7Hw7uYQjILgpIGJJKP90V1aGYDyz8sIWl2aS5k5iN76kNftSXrtM6sVZDc+sKbqZ7QoCdIhYVlZ1iJzmG7VWyubratIlZwMwbyixiifYpHBFZojURm4er/qeJulD8uobUD8A1Ydi7g2aLcaKobCG6KONyZ0ma7xL7O9jZWWL1AAxVb902DCJdJ42G6oKnOxOknXvo4y8RDJZxDJ3YypL01iAjl/oCabhEkj2G4TXRnSmlx9NCuSDv4k49Q//2V8kufAS9MM1w7c+xdZ3AymPlZkhCHcPbwNdkK1NUQ0dJ68Tt+5hxFmv8Mtra1xkW5hT4TwZoMjhDomESERxsQemoAtviH6A7JZVWSOXFYJdJOtuHlOEoxRLlWHmOdH+FJNzFEDtC4ssZjKS7oj6vaX4Kze+olIbUNEyJMNs5QgH3ddaIRddYnIHmGrqTohvSw5Y+r0YoNGCvg5afxjA0IhJ1mEpzs4faoyTCksNJewvKGYKN72JmLpHUjikwod68oQ4Rwj/RJyQaf091/ASoKpykuCvxyFhFn82cSWLWsNp3CQZt9EkB0MYkjdvoGdHgDcA5jZFsESA+5VmSwQPVk0sEGCikeOGUy8tbDjaDXcXAEPigvCfi0nkc21D8CoY+1vhJZTNIIp/EG2KGG5BZxHfrZFvvqt/FxMwSBB5uRrYgDVJzEjtfIe7eJ/Q1rJpQ9F3o7ZJmJokbb6hhVYIJ8m6rncG0baLOrgIpmkmXUfM+2epJTHuCQWOFjNEnMGpqI2OEw8Mhd6wRdtbI1E+r7WwgCYS8wKEeUL30aX7+x3+GP3pvl3/8Y5d5916bh2tbzM+U+cK3W/zO36nyo5+a4vqNTYgidUHwejG7WzvUx8fptfuCayHxQvb3d+i1PBYeW2B7vcH0TBWxBe22PM6cHsN1fM79Dw/RwoinTk2QdzV6UczuWpuXL83R9T2+9PomX/zJc3zsx55m+8E9SrNnGC5dx5BE2Nw88f6aOqQ4i0+SSuext0yw38FdOIG/eV/1bs2ZI2SDHt3+kPziOYZXX1csCbNWJ3f5E/g33sGqucpOwChQiUGt1SEthWjTp7Ecg/ThDXVW0De36Q9bZE6JhspHG58kEJr7QRvz0vOEy3fRFo9QqJxgdO1bKu2Wfe5j+LeuqeVG+eLTDPYahDJ8aNxXPWrR48YTR2WPznDrFolRIW7tY84tYroaoxsf4i6ewJ6ZpX/9Q6yyqXgO0cqS2pYFwz2M6TlsM4/f3KHy7Cfwb75Db69Jvuyoobz33vdwjhxntPwBUWUc98hJbBnuV6fIlCrsvvNNCapQuPgs8cY93PnHsGvj7H3vKyQrDYxqjeIzz+Pv7qsoa5orqaE72xtohTzuiccJXvsa4VSN6KChahfy35vGFsOH71M4fpLhg2WSjIs7f4bR5iq2DLFae6TzT+J95z/jHL+MOT1DsHQTbe4E8aObiimiEWCOT+Pdvolu66r+4k4sKONGNOgoDkPBKjJ49xUyx8+QBAP87ARGbQxz1ENvd6GkE9Smia6+jSXvixNX0LJ1wpVrmHUxvsSM7l5H6zfInnySYNQn2d3Fnp1l8OF1ip/6nBpOdV77FtVj57Bnptm5dYN4exenPMbEhTP0RwnZJ5/DvfUmQdpG02o09pfRJG5bzjJ45w1SO0/mzFm0yKH5vT8VCTPZI3MqwZCdPorbbylrwKg6SWHqKMHaTTJ+n72NTeyjc7h9DadSxpczgBEpVeTMU2dJDzb56Pf9R7ysw9/+bIW+Z/Jf3zngLz0+xa29HVwtw+zkkHdv21y9fcDP/fgUP/szJ9jZ7NHZ7xAPbTr9ParlKn4woD8KyBfEbCG08ZisYzPqj6jVy+ztdygVcgyGvtJO1mpVdjb3WDx5glZzV2mG+7LQc4uU8i6+lnBk+gjZUsrqaoff+9oSRcfF0kN+4vPHWd1qEA4DBRDtDXuK1TExN8v60rKqzZbGi/SbPaJYBp4GtYky21stXFtnZmGOve1tuvsdxmem5d7H9uY2M/PT9Lu+GmLVx+qYVkoYp2ys7uHoNv1Onyeer/NT/3yT11dSfuLFKmt7Q+6uNHjmdJVBDF/7XpNu89fR/Cn2br+uoLHyrrSciEHuOFanQyhnKdlglaQON8JLd8lljhDKO6I4j6F1las+7e6ii8Zt4YfRJQnXuK5qgIFA4RpX1btUKx4jiuT3dQkq55UmWdt9A73+hLKFSSQ7N/tJBg/+P/RcHr18BSuQ80df1fsUOLv5iLh2HL23SZrJEUaxSg4bAvCTC7WYeCSnphfB1Yj6LeJIJ1uroBtZIr1MuH9LMQzUs6m/TpAr4ziL+IMbiOfYsl2VFI5Et5ypKbCsgD61sK2I99rkBTThgkgCbuw4RmmB+ME3SO0cutDqozamWcBMY0bDfczSOJr45ftyRqiiazHh9pskhZM4uaPEoz2V6ku8XeRKo7tz+KNtrLIkL7YwyxPEwwapwHRT4auNoWu76N4QKmeII1ESb+NULxB1d0j9plIka3GftHoBQ85u/T2oHCcN9hEiVZS9QNJ7m1RpDR2lPxW7giZ1zuIi5miHIBipS7OEJ6LhkuKT6RLfL1dIcudJNBnsOwQrr+FMnCQtHcUQcGNvn0gUYkaCnnSJxUaUnSdObFL1d/SJ7AKuO60GFGKVCoYNtMLcYYrg4D3SiacwtCz+aA1T+Gv5RZUEFSaVm8sThabiywVyrpMlSH0BvXCSYPObOKUTjJwFaL+HK8lSYbzI4tST820BvXCOqLuGSRejOMWwsYShy7lVLCw+2bGzJAOPWFLcwxbawXf/RWqaRUWXHokyb/9NjPIFNfGT7YnQLCUaSuwrB7iKt442FcHZ37hJZuFl5enuDcTdKXTevCI76zuvMtSKmPXTGKMG6XCHyJXtXkepNpJILkINjMIcw8abWEkevVgnEb9kTnriAcHefaxcUY6W2PVn8YQmXhCas03Y3cCyRBtSJUpESzWhLiahW1A6LtprWAs/pJQYQlSXiJ5BVm0Exanmj3ZxpZfu3yfJXcISBaFs7d0xAruiXLgCPZQ0QpRdwE5lAnUb6i+oQ5JE4gVaI79BkdgQ4hG6Jflb2VK5RKMtFadMBLYn3ef2TTK5c0RuXl2QYy1UW9KovY7YNNOpJ2D3mqJ7K8f57huHmycBYAy3MRwhgmoQiPJpqP6ZVIKDvavq67HlgZWfJhp10B1dud+lW+pPPqOiSyPhDehlgs7bODLJk02qMcEIH6NoofsxuWREpEl3OSb0lgma25hP/hys/CFm6QKxnj88FMuDLhagyQXCwZrq1YhDW5IJ8jAxJQWSKahLbNS5iVZ7gbjxHtqwgbX4I4SNt0n0ClaxCK1VAmUtGFA8exLcY/zGz/8V/pcv7PDRY/B9Lz1BJ+3ya19e4cy0y+JiCb/f4dTRI3zz2irdVsziuMZf+1yFT/7ss4iLYnRzne0729QmBfI0zXDYIRj2MQKD9l6TsdNnSUZDBo0N6nOLjLwOrnucdCpL8uhDWs09sk4Wo14l2X6I2e0TVSvYp/8yo1tfUi55+8SPKFuDACLNY58lvvPbIhXFmH2ZeFeo94aUZ0lF1dWVxMse2YmLpLurxFoBo+QR7Htkjp9AayfEhRkFzdQzEX7XUwqwjFGEbIZWIIaGcZyZEwxf/TpmfZbsVIw9If5On9bqiF/9zTV+5cshObvP0+fyTGUzGKbPa9e7PHuyxsnjU6yu7vIfX9/nU48V+bObXydpdGiIJaAk/f+Xad74LdzaabUNNbx9okhqL+MykSJc+zbm/McPP1+Na0qXYjrjKuLkj9o4hUminRsKTim6W7o3VaQsDQ6UX1geRmIbkc6yxO8i6aXZBRyjpowAll3B0+tYvVuEmvQJRYk3EEYWBhVifYihaYdxbqUXnCFqLatNvmy4RXuj5cfR/C7RaAndHT/stof3SQcGmhg3GhKfqhHFGqZ3G0pPE0klRy6aYj2RC7XEtGsX0YTI6/UVxV4GFolTwbTrxPEuiTuPFg8P+R97H6iEkeHWSCVe1rxLmp1XoMRsxiSMErT4v+kshaEg0CB5EedE2dcl7d3BLk4wNARUIzF76ZPto7W3SCvzZPITeKmOkRiKjxFKry6JMQs1TCEQa5HanidaiJGMSDJTxMEeVqIRmRUcO8aLUN87hUp3C0TDFrbE/ERBJ8MNmYznq+pCH/fWFOQyLi6qYYVADRW8b/wprKhNIi5f4aFYJRVPF+q+XGptU6J/Mt2BpLWt+p2pKPQkGmfXSdvLZGToEa6SGgL1y+LuPyAuCaBKU0MMqTdp8kIT8CA5nIxL0F4+tAtYZXRJXskXE3gYRo7Ek+/RUYhCtGCgvMau1AeEEhztE5tiHVpES4bEUh+Jmqqa5Aj0NR4qPaMWrCMQ3Dg7SxqtcdihEILu4QvTqR1XEMFUoE+DJrq3Bto4RqGIv38Hu/YUid5WfmOBxgo4Mg3bqqoimh4ZMsUb3yQYtbDnP02qpyqmmmpZ4lSG1vJqbWEWT5C2b+E3HmEdOU1kVrHaayp1J4mxUGA+Uh8YHRyqRotHicNIbUZcUbP6Os7jZ/kbz36Wb98JeWw+j+1ojGVdBoM+37g94Nv/ZIGjky7Lq3uU60WGDR8jmyr1lx8Z7K1vMbMwreKheiTjeJk/a8rSIoe3B7eWlR5sfCLP7ZUWP/+FkLm5lGzisrzWxMnFTE8cYdA+YNHVuL7t8aV/+BJHPvMyrQ9vktl+yJ4nKs+Q6uw0Zm2GYa+BnXHxHz3CyJXUoUw2JGYaqU1bPOoQ3f6AdHxCDah7vQNypSlSW/ggJaJChcEbr+JMH0EvuZhGleHWQ+xSiczZZ4n3mwyvfg3n/JN0tzfIj5/DGSuw9ydfJDt7Sm2fw4e3MGePoTUPlLpWP/8ytmbir95S28ogV6N//x0cq0TmwkUG779J/sWP0bt7F0eqerMXVf+7/+pXsJ64Qu7oYyR7jwj8AFuYGi9+Cv+VrzDsdSkvniRo7hA3t8keO0mUq2BurxC0ttGOP4HuurRf+QqGllJ89gdh5w5JcQpn7jz+/e+hHbtAVp6VD95kKAwAI0dcGVOph57U0FyHIDGovPwDDO5ewzIC4sQl3GsQeeIMv0AicN5GRyUhmBb2wmu4Zy5hSg2hPHaYMAg89OMXMaU7v3Mf7+5D7KOzIvs79FCXK1j5KUik8wvZ2MZPI4JCnoxwlfaXSROL4sIZ+je+Q18KRDttytNH6MUd7F4bLzNFtpYjrh3B2V3Gk+1qzlV6u2Ao6thxotgjfHgH+/JLJGsPGd1+l9Lnfxp/dYn07jvYl18kbrfInLiI9/AaQQhab5vMhZcwSzW8tQ8UCFZbvsHITMmWJWGziz1/hMh1SYX/IIDo/W1VOYl315W/fXhwQGl6gtGdDzEnJ7BOnKd7/TaG65M3cwzzFrZvEho6ufFpwrxO3Bgp4GNomOqiFTx8n8yVT9N57030/fvkPvmTpI0lhrduU5iZYH99l8lLz5Kby/HP/tHv8oc3elxaHGNuPGB91WdsukRzt41bK/HkCZNvXe8zP5vj4O6Al5/O8pEXK0yUK7z/4TqGEVKrFNhYaVGZrTFey/JoZZdBr8/xcwvK5HT9vQ+oV8coFl0qE3WWHq5TKRXV8HNn/4BSMUcQRUxNT9Jttej3BtQqZZZWGzx2ZpJB4PHbX3rAM0/Psr815OQJm4Ik+HIOvf02tfES++0+o06f6SMTWALulHrs4HAIMj03pyoZjb19po5MYjoZvMGAqWNHGXUG3Lt9ixOPnWZz5RHlalXFuXvNlhp+F8UUgiyHbZrLO1x+boY/+JN9/vvf3OWxMZuXTua4vtajqMHxMzX+/de2uPHVv8Nj5y7S2Fwhm6kTePu4TgmvtEh48ABbqnL1xzGwSG/9O6z5H1QVZ2/nTQonPqH0ommUoo8CNH2IJ5yzprjlLXxRwZn1w0utAO+0EK29wWi0r6xolMrojbvoY5dJxVjitbFk0WjXDgcKtlRlVg4Tj5LmFUV5axWncoRUPHWer7TkwpyIPVlyxpjRkDgj6TKBxTpoAkeX4b3XIgg6Cpodxx5pZ0NZAiQdYBhVvPZd7PHzWLZowVeItRKidkkHLXTNVksbSU362DiyZBHQnDcisPNkDYdR+yGmKAvLUhHPEaj3lkbSv0u4u4Fz7PtJBkvqfWSLza3/kObDVymf/AyawNalxiWsA2ccU2p1wx2S8gz69gcKOi+8HDlFJP01BZQUYF9qlDHrx0gPlkizRxRxP5bhSiwconGlr9WHXQUSl1SnVTxGMBqiB2LZEQuAiy8JPEl0u+MEj76NKZv3qU8Q7fwxrl4nmZAhhECAq6TBgGjvXfTiaYxcTi00DC1CF8CxYZFYs8RmjCV3Wxw8WYaKxWD2GbR+gu8vY2TL6KOE2JGkxAaanCNkIVEWHso4fvMGaThCL8yjaxHECYn8O6Ks9prqrGOVzxPrI5JhF8MpHkLTpYrZaZLEDdxshsAXC8iuWvIgiXbdJ/VTfDE4WZqy0406O4pnlK/O4g9ukZoC/pMEzKZSCmruzOE9vvXqP0u1/hKe4VCYfZFR5zaaIYRol3jnexgLn0QLh2idBmluTvUuzULm8PCx8ipMP6fcg6JeEVF7HHZIRh2MqI1Rlinu81YRAAAgAElEQVRagcQpEvceoEUxkVtRPVi5HMoBSPyIaBFRZwPZlScymZbObtJR8SVxVjPawp74CCO3guVvYrrjRKGOro8wRINyIAe3Htmpxwm7O8StR1jVE4R+G13YBBLhD7bRhcjfPSAxErVFFgpy2Bd/+4zqKScywcrOK5tAIlsa8etWnsOM94iiGFO3FbdA9X3yC2qTK4flVDQSekzUuoWVqUDpKaK976jEgqm5pOVzxIaN5W2pS4VVFsDWJhhFzKCpSNfx1BUcmVgNNvEzY2i9VQx3SiUInKjP8L9BCJUxQAjfRlbFYpPBo0PYn5ZVvVJdl3XoxOGfnfTwhz6ma6tDdBR5hJt/ip07ilY5qTre4kDXnAk8DSxXtH07pLUzRB0hRN4lPfISmXiTgSdwxzWMmSuIW8Lav05kV6G7TCjqP3Gti9fasFQvMkw1LBWNlnqAj5bKFLiuKPqOqWOYGoODB5SDLn7tHPkTH4HBTX7qp/8Rb73T4+mnj/DiySx31g/U78ed2x7nzxXo7/fZ6ybUpkr8/tfX+Bsfc/nlX3kSa2GB5NaaIt/aEitdeIL0QLaIA8KtB+jzp8iWF4j390iOXFKbkPjG72PNXyZs7SkonFysjUQuSD2Qy83UEcxAHgWaAqwlBeE9CLk1y3BnCytsElolNaWVPpmo3cLuA/SiDKNikvw0/r2vk8mNoR95gcG9P8aQHk71MuHeDeV5lt2ppoVYpfOkLYl2ThDtPcIYm8KyJhi1dzCirgKh2YUSo+2raPVzatuRFvOEOyvkTp1DL7vots1LH/0631sd8eKZWV44D482e5w+Nc/Va6s8XOvzo993nN/+8j1OPGbzjVe+TFw+SfzhH9A+6KjPnzNWJ+k1CcIMVrkiXzmJ9BgF7BkcyP8DXz7bmRm1+bZFCykbcK1PMgjQSkW01DpUHcYemllQMWu50Fmxp6wTAgcV4JuoOFPZsMqDNjdBIBR+u470SqTKItPiqPEmpL6KuZlaUXVGVQfLniLt3iGxXLVBtrq7xLqpTAACY4ycIq5MuCU6blSUmz1qXlVbLemSR14HBqs49UXV6ZfNU+K31XZSS1ugia+9gGm5GLr03oZEvbuqsiAvJ0kq2GIa2LxKUnsMpziDJxoWoew6NmZSZlQoY238OUlOuoc5En+AEbtge8ofLyR9oeaODJcwkkO0B+V5Uu9A2SUUnX44UuToZLBPEnhQmED3BwpYGoUy/V7GKJ4DUVGJcUD+DmGdxLaCEPpuTkGdArlolaeI248IM1Nk5JkgRP/MPJoQgcVAIMqv3dcwi4sE5XPQlN6wDjL998C2YhXh93tiXpmArEEih3aJELtFBR+M90UDO4kpg44gQC9MoPkC9hTSvAzOB+gCcTUyGAI/lQOHUuVpKtEhz1xRb0U7b6iBolF7ATNTJOjfVwAjwy0S+wfqIKJ390lr86SDXZz8NP1ERygogfdIPf/SKFI/a9n0mFqWaP8DZSMwRH8oKTYmiRNRqU6RqE1FF7s8p/rlsrlMpBYhikghI0sNS++ji9lCklO21AU89Ngjzkwocng4fIRp1dXPNureUMM/9R7yumTy4wx3rirjhC3qxsG+8qJHchDQM1jKOdzCkC1IJgPbd9GL0ySZOprAd/0eVmWO2MiroZrqdWoJdnGGVi9mPK9hTNZ44rHPs1gyqCxMsbzZw2+3aRgF1nc8futvlvjkp2b59pdu88LnL9Nvtui1I5ViygqQr1SjJ1Hlzj6XrzzN+r01Vtcb1Gs5Rv0BnUaP8YVZLj9d54v/6Q7/9PcGXDlXV4wbN+syig12201ePH6Ecupxv6Pza3/vBPlTV9j6zjsq/TQ2XWV/YxlzsI9WP447cwqzVmV09VWsi88T3HmfUXuD8pWPKw7KaP0BcaFK7shxwt1ldIkMGyaDrVWywlG4/AL+qKnsAb1718mdWFRdy9733iIlInf2AsONNdyxMUXaNjJj+Jk8ji8plD0VpUxlA9XpkTn9lHLZx7v3Mc8+j57ViXf3wChw8OZX0RcvMHblJbw/+S9oF86SNSq0772JXpzEka+h31QpJm/zAfb5TyhAZiq9/PnjePceEm19QOn570eTYeHdq/hyGJ45TyZnE5PgX32VvpGhLkq8nRZZy2UY7WJmJlUtqnP3OoUzFxQXxMhmkZf2wco1Ks9+mnDjEXpvh5xo+BoNxSkKHz4kU8tjvPTX6L//x5gyfJ6ahb0ttVEMN+4o7oLYKnQni7expA6Q2ZlTeNGItOuRSKuiOA6rt9DnT6shjNDK/fvXSCamKc6cYrB0E2NyQT1rk6CDVZmi8dZ3yI2Pk61O0N5co3blk/Tv31BbPKs2hR72VQy2v7tD5fTz6nMQ7G+JGJIwDLDyBawwZBQZCi5sjMvn2VfJIokxpc19kshW6kh59ya9gVLSOZFYdYS1cxIjzNN888tk5JZWKFO6+BLe8k2Gy0uUnn6BYGuFtFwnerRC2Ngk/9RHFXXeNVJGy1fJPPMjpAcrxGIrePHH0LvbDNfuk5mbo/fwEYX6FFqlTtiTy5fB3iu/T+HFv0QahfjXvos5f5TiU59nuHaNdP0B+Sc/Q3ftBsnd6+Q//cMMv/Flcs9+hvzUMb7+b/53fvZ3OozbGs9ccWm1TTq+z4tnC/zBXzT5y5+f5da7BxTrOrs7PmHGJj+K+JVfmKXxqEUUmNTqOd670+DEYomhpGFcl/Fyhc2NR5x98jw7a1vcv/eQudk5/DCkUqqwvb3GuFRPRNuomxw7doz11VWq41W84ZDW7hBPFKl+h8XT82xvjfjzb21z/mIZx42YqGUol/O0Gz3V/c7Kgk1L2N/eJUlTKrWKzGexZWM9jGh32ooNMPIDdS4t5POs3FumOjFGpSQKvpjeQZOJ6WkO9hr0BdoY+OrPyRdFrefx4E6Xpz9zEmvQ4umfW6aWHTKZz9KiwIPlPaZqNh/cH/HzP/kRfuk3f5nujbcw/BGxXM7HTio9rW+Zqg5rOQ7hsIfefQ9t7CU0iZonD2FgEMj9ITOBKQR7GXh3rqNNflRB+MKVb2BMPoXmg2ZLsk762pJGiwiCPhl7krBxFc3OM0p0TFfHCjUSUzg8BaWoizuPMMoTRLHUk9/DLjyG57WwpW5ol4iDHbDGVOUsMULwxETTBaOGlckSeHuqky9b70SAu5KoTKLDZF8kC0mXRDz2/VWMqnB1JMckqUoIxEc/2Cd0KmSkJinDayL0JFF3FKkoi+FGoNCSwEzLjxFvfIukfkJBc/WhDC8uEq1+AzM3T1w8iSGJxsZDEuGeRDZGqYwvXJ7Iwpw6iSYA4vZ1xWUy7QUFwh3tfYCdm8VxSvR6u5j5MQXRFXJ9tH+buPkmzsxTijdghRGm2Hl6GxitO0R6SmbqWaLsPMn++2oYblfOqCR50n6IlqSHHAUth5WRumQHzaof2pSkFpH01VJT2A12pqosbZH/AD2toYuGOWmgxTqBL1rmeVKpWnaX6A3WyMr3U86qCeBtosXJoXHBnlJml6T9Gok7STY7QW//Js74JbSogW3O4AnrgQ7EOWUhEB6SaJlTf0+ZhPSxs2it+6ROTp2HZRAUdVYg0LAKNTQxWEjdUhguuRx2nFfntLizSlo7jtHeIJV6cUZqy03cbgvN6hGbk5gMGWxuY+b6mO4RtN4bv5JGEsf3YpLdD8jOPkHn/p9gn/ss+lB2diNs+cssn2D3bfTMcdVdlgmTnq8R7d4k1ks4llyqTdLiWaW/4eAhsaZh1s4Sh9tYcigy6qozoocDpZ4SEJgx8yLG7jvEQpCc/IhSMRlKh2coWJVsAAWKYhg6rlWl13ygJmmKOm6axNYURv+qsg8IXd+XLZDEsxMdu36aJEphsEfU38SeeJpwuIadLREmrooIIz2YvKQCRuoiJrEpqQFIbMU0p+gtfZHCiR8iEaCeRHG1InT30K2IYCTTwBLa5BNE7T1F6BanpkzQUqGMF88S7719+LCdf4bBttDVc+ipTihqO2eaIC2qTYi1+x360mkujKOHouCy0aVznK2RdLcwK2OqJ6hgYKlGlPw3R6Zs77rrDLxtsvYEsf+Q1LehLO7VDGE4gPwUSX9AWpjApI82lGFNTilRxB+eZidIurfx924ewhxrx0n3H5BUL2JLH2j/fQyJ88pqV2ibVlk9TIXxH7Q/PARNFIvEAgwTH7n0rOTJ6HUIhx5WNoMueqfRHkF2lkylRH/lA6KRSeHcebILZ1j60//MX/2ZX+Puts0PfDQmDqp4rS6DxKE99PnsR+Y52Fpna2Sxuhowq0f8wt85wZW/fgx2NUaP9uhsPqB4+kX0qEP34BH5I+cwuwGpbKcjjWDr26R+j8zYCTUw8vwG5thzamoZDgek699Fr80qfkWy/SaxM4VbnEfLlxh8+HuY+RrkZjEKNtHqMlQzGLMfR9v4Flr1Asn+PYKNGwoE6VarpI6BXv8+otU/JrGLpIVpRS5Nu9toRoBWPaXMDtroEQkV9KnjpGvvMRp2yc88gVnIq9hcX/rMI5+R6Fgmn8M5cpLm279JdvIyVmOFIDtBuWKR1kdqGPev/p/7/OJ/bPOJJyyVLukdZMhXTNyiRtQdkS1keedml1bH5zt/8Pc584M/zPDDV/A6Lcwog1acxC5kGSRdzG5KnLQOByC63NdqpKOYoGCj732AmRkjFkiJ9PwFApd0ifQapsBh4pbytCuvu5YjMHRsd1y9GA2xihTl8j2JJi8O+byJ5iRsYWTGkcCgAAo1Ywy7dJJAgDGdFbLlcYZ6TUWpdNnsykOstEgy2lVRJzNN8PxVNDk4CnzGnQH5/som+v9n6U2DNEvP8szr7N++5r5nZWVl7V3Ve7d6U0sISdgWRgbMMrYHiGFmYAKbILyMbbAdhI1nxkyMAWOHjC0I2cYY8AxaQEgtqSX1oq7uru7aKyszKyv35dvXs5/x86Z/6Y+6qyvz+8553+e57+tySlheU6V6LDFW9I5UokWXDpWt4Xb3sXILGMnJgSqy5d83ULC72BtgdLdUXMsyZAs9JBC9lcSocrLZjoiD4clGoDBLLPCtYZfg4DWsygsnpg5TbCshSX8dCo/h6C6eDHTm/6ryDvdrr2GJcUAO+BOvoB++QRw00QqXMayEMIlxhKQfOUT+rrqYqpec7aiBoPjQ6fZJCnIJctGGW8SdGpGkWbKLxNJHlAO076puodZto42eU51IQ8uiTbxIkPSwNGnyuST1A0IzJlWRLfgxXtQkI1BWf0go0bzMFKZdwXv4u+jF82hiYJCBYqpEmMizu6ySQZJSkYmzFgo9PUMoRoPDb6qXrFG+QGyVMdw9Ireruo96eKS4A2biEwm8x9IJmm3V4dSdqoIDaUaGWPq38mLvPCQtdYz4AO/hh6Qv/DhGKPHyOrE5iua4RM0dwsrjpEOdQIa7ksQS3Wemgp2eUZsTqXqILUIX0FrxNL5Akhr3iE3Z6OXUZziUAawYs+KE2CyTJD01iDXUQFtT1RlHuCiZEsNui8zgmHjyImHzEYakyNKn1WHO0hy8/hZ6bgJDoIhBjGHJsMEjGQZEwQZ2elFFMVNCF5eBr99QLJgokMOjDBqfQNce0dp7xMTjn8CemeZ8/jOcPZej1RtwZjJLXk84/+wS//Rf3uJXfiLHT/7Mk7z1X68xvbKE3uug2ymOjmqKCVOZqmKbKQ6297lzZ5WF2XGcdIad3RZXHltk71Gd8sIEI6Mx//j/ecCXrrtMVE0GvZhLczZRYvH+dpdRJ1aVqPW9hK/80gILS3P4wjsYqRK0PYI762hGgLNyicGDt4lFU6kNccaXiNJlRc2OjnfRqwVou+Adqd6mJAT844fYE2fUwdQTUN30HL7A2KpjmMVZgrVr+I2A7NwYA98gmzWIj/cZDDzS5y9hF0+SSIOjfZUyCLo9coUCvdiiff1bzD71KlLZDR6uqY1Y/umn6G0fkCrk0WVL7SY456/gbd/Gck/ewYmYeXZvkX7849Bp0r/9BrofEQz7RGNTZKoTdL/yBVIf/1E1zIofvE+UstRlwRiZV7DUoFYn6IoLu4+zdAnf66i+rXbcxrhwWW3B/f275F/+UVVTGW5cI84XsO2KSkcgdQpJLnpdOq1DnJULRI+28FqHpO0M1txpIrEe3L1J7sxFxUAyqpMYYYhTqNC+fx1z6SyOnaX/wTvEc7OIGc5t1Mif/xjdLVGcdjCmVtRgnckzmCaED95SIL7qxReIFmboX3sHPZUmOtjCmT+vNuyMTeKLK7zRJ8wK10ISBKOkytOYZpru9m11iYl0g0x5Br/xSHFiOgdrVKeXabWOMbQ0caGCgYcjZz15titDiKbo/mFpFN3TlKZYYJwZM4Mnb7+DbewLQi130f2Y/sZNcmNzRBcfx9jZw7ZTHN99W231qi/9BQav/z4xKRLhyKxcIckX6H/9S2ilFNm5q0S7G6Rf/Ev0vvq5k5RjfpzO3W9TefLTDEOdXG+HdqMJiUb6sacJNtdUkm2wvkXhqVdIdevUkoDqhACQdbxv/TnFT3+awd07LP3sd/jlHy5yeWKEX//GPne2mvzOz83SHVj87d/a5SMvpZnMmly7O+DMKYfvXe/zUx+d4ud++Rx3vv6Aa9f2eOm5aQpjFbY2jsnKok4B9A5UTXd8Yhy/P8R1h1QnK3RbXRZPn2ZrZ4+MnaLf6+IOBwrONzE/TRTG7D3aYXHlNEcHTSanKjRaNbY2XXquTyaT5uUX5jnYbzLsdok0OXaWGBuf4INr1ymOV5mdn+bR6hZOxlJMgVxGKpcmreMG1elJtSR6uL7O4qkFDo+OFDx8fmGW/f19iiNy5vW59eEtLl5ewclkaHeOuft+i1On0yzOw9T/fMwrFyt0Gx0cO6X4PS88e5pf/8Jtzs46vH3vi/RW1+ke7WHFx6TsDIPExLYLSjce94eEMnwVarueVhtx204TDlvENhhiMuofkhRXFMfGaL2Llp1C1yfQMpJw7Zxc1BxJv/Yx+g9UbVBZvqwEa/RZtMY7aMYiEW0FUzZLp1VfXBLPQu/XyisYkqxLj6hhQxIFBM1bitYfy0Ii7IAM/XNn0IcHhHqElpnAFAtN/5Bhv46ZGQNJLMRdDKnhyZLj8F2VMEvsRWI7BWEbrXlfOe/11BJJ6KthaiILl6CBLoOewSFuukK6fFEtyXzROIvONpDn2QF2akSlkmNRulc/wnDwiFQMgdhhMmX84T30oYstKkOVolN5bWKpQidyIVc5DmKjdMJq6txiKOpke17p2KWyJQw1J1ciPHpLVZIFwmzKhry5gV5eVHa6YXsVu3BVsZfiziZmUCcUiKFdQDMNxdTxyzPYfge/18QWU0I6QyjsFbk/Fi8THLyHrskzvKzYEI42qtIViTC9CueJ3SaJppMM9zF0Az9xMOIWdm6eUBuD7jX1ztONcQVIxwnR2kcYsgBMLILWDuTEptUgyVyE8FidLWO9qO6Ztmao9KMkAsnMEltdwuauGirIYsEcv4wm1qdhAvk8tu8z9FvoUmNIXPx+TS047UFNhTutyXMYsqQOh2oQJLVvK79MKKw4WQSnsypZG0lSVoYFbh+t9d5vJEIrNopTJHf+gEQOzIUJ4qBFIP8H2fjPXMVMBJBwh6C8qF5u6BJDnVJxM/nhR7K90EogEdnsRbSkRyzUy9HnwZcqQQnv4EOMYgFEvdDZURs5vXJOHarseIQwLVGZdbT0WeULNb1jhppHJrdEKNOq/g2czIJQ5wjlsKWVyYQtwtIsmlZGr71FVJhE17OEzfuYom4KBM4XkiQSjegTS7Q4/5jyPxvNB7j9XZzMDEFx4YRsGbZIBPSVvagUIfKFScRZX7+NLodTx8Xt7JHWy8r3HciWyBa4lU0yqCs3aCo/BnZRdUGkExSKQUGm/nIglw2dM4KWGyUMB4qI7hRPE7cPCTobimopvRnN3SDJnkUrLxMev6e2w2GcJzu6ctIBHh4QmFXJ1pw4zYMsVlJX6QpfJoyNe1iG7BWyaOWz6O668sMK2CyRfmt9DSoSO+/ipaexpVudiIaiQSD6IRUxlUhNX9U6JOon/sh4uEsgU7nJl9DyZ1T9QyoQ4q+MKMqrk0AuI7kKhDZ22KJfex9z4gpRXQjpR6SKZxnUmxTOPoM58yyf+8Wf4Fd+63Wunk8zXkpxerZCYxDx4f19rkyP8ubdHc6dm+dL3xY9i86/+Zs5fuhnPoqeMeDWTdq9MYyFEdoffINiaRnD7BLWm1jzj9HvrGMHA5yJV5RLNDRtwqitukFeporeuE08dQoON8hPPolXWsa995+wZbCSzoOZKFNB0ryFM3OWwe1volcv4fT21AGjUJigK4fxyMSeWEG3i7h6Cis+YLjxADvvgAxUmms4xRW6m9ew83lS1Qv0G7JRNrD8hDgnn8tZRc8XtgMLT2HUDtDLeXTXUJsPW+CC0hkqLBLVHmJZAenJRbUNH7o+7f27jAT7mJ/+ON/+/97nYz+zw098YoSNnSOunirjahm+8fo6Lz0xSrVc5E+/tkarC+++/fcYf/wz7N16n2q4SRjPk+RCwoNt4rSBIXR2f1dNfGV4F/jrOKPPi+0G7/Ad9MIZ9CRDFO1hSEUkM6k4CMgLJfbQNHFcDRUMzbZiooGYLiYUidWQDISeoLldBeRkeB+z8gp+0MDsrMH4CxD1lLdX69xU4MjcyFMEjMnHC9NKE+5/G0sOkKVzKkYmnvnQnkDvrhO0V7HKZ5U6Ri69ge0o8J/q3OWnFHhGulpWtkIia3jxqA5dpWqJwiZ6ZIktlHAQYFsSt5K49CEStJFol6oc2JM4nYcERoBmV6FbJxjcI5LN7/SrassddbZx26vkCwJ0vKw6d6IO9eUZIOFGIcunTqPJgLC7gTfYxxIewtiLCgYaa+qxhzXYV8YUq3SOSCJuchkUhYzvoZtZ4qPrIEmnwCey0xjpBdDrRGF4ku4pjhBvvqn+18ieIrKnMfsbeJ17mFNPEA1tlZYwTU0B7pRiUA8IZZvv5NQgUQ97JNSJMpewvD1iJ60MEUn7G8RGFeq3CZ0JUjOPk4jj2G8RJyk1LPVkQCm6P6MCVloNdeJsCqI0ZneLODeigKC6PK+tKSn0KA5EYo0SRj2lp4x69/AamziiWxRKc+EMWl00YiNE7jF2ekElc6SyELpddfGOdR9NqxDX34PiRShOEPXWMKVPKJ8Fa1K9IMPOQ5UIsd0j3ME2qVSaINRwZGufzZMMeuoFLe+RWNIeas9sqOSH6CKTgRwWR8F1VepABgSxM6V0mKnt1+gLBrA4p4bHmlQKxl7FTGVIeuuESU5VylRNIEmInCxWb5cwVcG0p1Qn0ND76LbAGI+UKk5qZK2NDygtzGAvXeDVsz9EkvEZq2T5yOUJvnV9n8vzDn/8Zpsv/PwEp+dGqbU71LoRvcMa1ckqOcfiqNakUa9hOSkuXFrh4foOgsZfvrDEtW/dpDBb5MLSimIDlIsWf/1fbCl/+HQm4b3dBo5vcXm5yHbT48npIvu9gN/780ccfvmnVYLv3rtrVGfmGBzukb/8IvlSifrqdZzjhxiXv0+R5IfX36J46SJhu4u/f18pRY3xMTVUErqxHDx9TyMjr6OxRTIziyQ7DwkSGKYg51Tp3fkQe3Qar7dDXkC2fbC1HkGrTpjK4uzu4hZKWJUK/tqHML5Erpol7Ed03vk62Sdfxco6dN55HXN0FkOGfc0DMh/7CXp3r+H3ulRWzuJvP4LcKP2dLQoXLzA4aCitp6omzJ/B39whOtoj+8RjDB9sYi+cIy4ViB7eO7EI2ZOYEhtfvYu/vkb5U59lmMnhfe0/UH7u0/jlMdztXaxUgna8i7ayQrS2hbv/gOInfpJo6xaebxP1NnG0FKniFOHcjLIfmLUWycQUVt5RHdNo+y5hfpKoUKHgGHRaNfxbb1H8i3+TuHtAdPM1jOkrxGZI0Gypy1rz+rcY/YGfwXdj/HvvkNLEA+8Q+wNyU4vEPY+B2C4KZex0mfq1b5PORhijpzAm54hFy7i5jts4ZuqFT1C//nWylRmsyQV6d98nfeZpxUHy1z9QiUVj/hKZapHBe9/BWjqrajj67i6RXFJKWeKZS6Rk6OEN0ceW6a1dx6/VcDIFkvEc6ZmncKI6vVYPLW0S7h6g6TqZxbP07r+LnSmReux5ou17xIfHxCkLt3OMVZzAkPOkLDXiDpnxSeKZFcJ332GweQP6AzKXnyL0Ywyh+adNde5L/A5Bo05q4SKmE9PZXiOVlcG1rjRylowUZlborN7EWVhQuuR0qUp/4y6pkQk1hDbsPPvvXGPp5WcwpvKc++jv8Nc+OUfBsXhQa7C9b1Ett/jNf36VX/m1bbZ26szM5vjyN5v83I8s8eaNOu9udPnpZ1L83X98nkf3BsQ9k1rvgEa9z+WVJTZ2tymmimw92qJQKnBqcZE7926zfHqFeu2AKPJpdvosn16i0WjhugPGxiZUF/nR6l3SmTz5Ulot4mSoNzZd5u6Hm9y8ccjimXHOnhnj4KhJ4HpK9be+sc7yaUmXRmxurHH+8cfYfLBJvpCiOjLJ4f4BuXyWQb+rDDKHuzVSaYuJ6WlW760xNj5JNpvi4doDnnnxFe7eus3cqVmCwGPt1iOK1SzpQkqZN+YuTTL3l67z+JUqGS3k7VuHXJipsLCQ5gt/usP5SZt31v6EgaSKBg4xQ8L2PnZ5FFM0et0d7EJVqdOkj67nRjBtCz/IoccH6kIqg9mgeY1sbpxAq+Lvv4MmFdqJV3GkQD48JIgMpceV90ksKlxh1PQfnoBJq6eIjh+oQRVWRaXcRKkulWhz7GXiQCrAeRItQg8ErLuuqsRa8SrB7vukJk7Tl7RX7xgqZ7FlgNi8S5waRzPKpLQWnlygnXF0PcGPXZxEnDFD9IEojeXd2sW2xvDSeXWpNTMzasGKK3c2OaNJlaCMLw/LrtT68grmbmlNxXOKu49U6uofw/0AACAASURBVNdYfInw6DaObhErOPoQx5gkCnYVnJWgh5adwdYNBsIzK50BAcyHBkbuAnbtO3Qjka1dxUzbRFEH3RXL1h2M3Fn6UY+0QMa1PnG/pbR9Zm5OGamkjmEIc8BKn0DiY+mzP8vw+H1VdTbLF+h7NeK926RNWeRqpKafJw57hMIk01IqnS01PnHsqSFL6Qzm0Xt47Tb5ydOEWIRJB/QyetLGzJ7Fd/eU8cQI+8rqkwi7y9tXVgZZfsi9N7YtVTWQO5h07RkeEyfyO5wicYfqzGhKDT13Wi2iHbEhlc8pToMo6W0th2/PYGRCUrqhDCpeb4DlTBHIUtkIVbVbTGumr0NpAtobaMI98JpoQRtdkoGStJc7YD9At3SV+LCKC3S33sIZeQpLqpHpEqEzh3f0AY7cHZtv/nJiJzFRcZmwX8fwO8TZcXS3RpgMyThZvGQCXXfRkwaaFypnuJbJYcYJbr+DI8MC2UhHBSK2VGxCaQKLS9jDDqEoYoYHJHtvoU++gJFZVP+xAqeKj2+rDbTADTxflFA7yN5SJrYStRHNnpAPI4nhyDZa+qbiK5XTsMSHTQOvt42VFVjZoiJC+oM22XQBV6oIlo4m276OuJo30bKnFKlckw9mZgU7ahKUVqB5G9OsoqWnSDrbeMGRSjrolcfQ97+s4BSOeDtzo0TZJfzGXWxbyI2LIB8S2wS/TdiXgcAo3shHsMN9TG+PJH+BQesYG1Ggndi0xOusaRLVFZicjy3qhuY14qRPnJ1VwD+54WjeGoY+TaL3wcipqSzd21jZCWI7rZQVYWpCTjlosYku0x/kkDhHNOgop7WADPVcUSldhMKuGQmGOYElQ8FOH/KmMLUIJepiOETYkBdd4iG65xHlJpQFITneRk9pJNlZjNYHxJkJpRLTMlJZ2EGzUiSRd6LkMqITlUrxjILlGXaPjvT8/SZhdob86SswluE3f+oz/Ls/6VCqFknpYGYS3JZLZMYMfYsXnilysBvxxvVjzo5X+JPPr6DldPxSlc4bN3DaA7Irl+m0djAGCfrceRzToPfobcz8GJnEple7gzV2EXPqaTp3/oB8dhzr3A8T7nyJ7tpb5E59StG7LaOl1BxSAdGr5zB6O/T2Vime+xSD43uYwyaepmFf/DHC6/8FXT8gGrmKJVNK00TXI3qNFllRZ+Zm0fN5hve+pjZTei5LVLlItPkaYXmWVBTgK8/0adLpUwyae0SHb5F74Rdg47sEmo9ZmMTvdzD7O0QF6eZO4h9+A80zya68xPDhG0SDGD9lE3khpewo7dBn5OIkZiXL7tsf8NhffcDUjM1nrk7z3Q92mCyNcGopIdEjJqoL/O+/e4NgMKSx+qtkFl5isLGG7x5gdAOV/hHitZDHtfqG+n0bEts8kKTEBRzpodnjaL37hHaBWL4vwz5auItnjGKlMsomIGkSN6qTGntGVR9Uaa54BkvXECaav/s9NT0OS+exe8fqouUO+zjZCXWhiqNjNG3y5KIcaoThI3ShpaenSIVNBUUT1Uzgb6IXX8Aw80QHX1dk5lSqegKZyacUL0QMGWpbnykq6B16lsjbIR7UsFPjRHLxEnignlcAFmPswgk4r7uNKYq55iZG5QqxTD+O7xHbJnFmGltsH70GcXUBLbeEOaidgPkcOcA/ZGhopOTQKE7h8mVVD5Kumun18LtSTzqNaQR4ro8+9jjsfwdD6lGpCpHUhpycqi0YuWX0pEUoEeawh+s3sLPjJ71zewJxQ4Wd+3iN26TmPkYSxCTtTSzp9NtiHmmog6ceG/iSuhCIYpgQ9Q+wJx5TMJ8oqqObRfTYV05f3XSJhFosLxi9hBOtEzFCKITf2g2M3CyIxrErm90quneIlbIYSsQtaJJ20gRaCk2Uq9l5DKFkl6sQZnDr7yjavW1l1TNXTAq2EJGDGoHXVvFjIzEIYwsjihX8NJ0ZVb8jxURJDogLL5LU/5x09hKh6Bj3voKGg165TBT1CM08VnsHPzpEF8Wq7mDoJSKp+chLtSAE4g2Sw3vEhk+quILf2ZSGCnH+wsnhRujO3qMT5aC83N01LCOrEi7Ch5CNpPQFo94xulI4ydbDAkrYRgc/yTKsfY+C/DPZMgM3ICuQJK2L1pf3p6c6/oZZxvPlz64SZefR5d1Xu0McbZKa+gShbE+DGrGexZCDaGoUK9JwqvIfu83pxb/HJ3/gIlGzLosWAi8gb6T5L+8e8cFvThK6GR60Dnj60pPU9g/od7p4gUvKcNDTKUrFEkdHewo2mC4XaNUHzI6W+fDOqooVP3W+yKFb4IW/s86rp8tKI2mUDDJ9TbE1BKrZS5pk7Bz3dgfc/41XGGROMex1FVw0dmwGN7+nYG2WqeHu3CAqzOLURVMZ0G+2sAojpK4+i9Xv4x9uo1dG1btJaoe5uSVa77+h9MPkLHp3b5IanaU8d47e6jWGjkZOy9PzhUsyovTGwc13ySydxcbk+O4tCk+9iHX6LN07b6EdHxFkJ5Wuq1oYJ6hM4R7fx17+CNbhOp47RHfS2KcWCLbX8fePsSfnGXbqZE+fh4OH+Ic1UhefpvvWnwlbkcz5x0iPTyiQU9I7pvPBDeKREYKDXYzmEelP/xiaeO0NgVuKNtzCSIYMtu7hP9ig8qkfw+vVsNuHWKefpf1wFe1wjfxLfxF/2ME72jupS6ZMUq5H30hhy+ascYhVqxNXRtG0hPTMIv21D9WWyhyfQe/t4cxeoiPvNEmzTZ3GW7+OX29TePI5BndvqtRC5tQV6NXVULVxd1XxGgYLy2idNvH2KsnCIoYA72odknxGfWb6gwSrlMeXVJFtYkQuaRnEprIMHr6vFGD2yhMM+wPiwy0sea9Mz+K+/030iQVMy8Zze+gPN9DmThFrQ8q5RY4Ob5GujpMc78o3jc7mAamURfmVH8TbeBszKKEvTeJu7SqminPmPMHWNqEwFlYuERkOvXe/Re7Vz8DeJvowgqJD6A0xjQxBxiBYvUPm7FX6xwckhy11lsoVy0Tj4zjdDv6ZJ1RKZ7B6k/zMEv2dVazKJL1Hj7DkvTFzEaOcQ9t+iJfLYMY2Yehjjs+pqLFXKGM+WqMvA4PER5udVy7yZHebzMwSvXKBEavF3/gfPs9OyqDVs7gyIxd5Uz3j/vMvV0jGx/ncb9/mi+8bXDrlU85naLsepXKV3/hP2/z0Cw6/9q+f5kv/6kNGyw6prKViz+3GMelCnukJSTkF1FodqpUcOxu7ykKQdRyOjhuK27Vy8RIPH9zHzmUol6vceO99SsURipU0qXSW27c3uHxunmHgsf6gSamUwsqYlHNZGo1DxmZmadWatLsdpTgVHW+qUCboddSlWV72xUqF2r6k9UycrINt6PgSiZZtaN/Fls625ave+OjYGN99/Xu88NFnqNc7JJFLSpNut4ff17n0fJkf/IWb3N6Lma3YDG2daqzRT/rqefbOoy5HD/+QpP42e+9sUrz0UWy9oAb7kdfGk89A7GJmR9CVLm8TPSXKwEcqYaZNPoPRvI/vNmW9qu4rmeoybpJTWl0R7sh5XWrKKiUtADhR6qZPA3snHJnKJSw9JGzcOeHkyOA48nFSecUh0yUt15dedgSiIRb1du06zspnCba/hiGcMlHFSV1O74ICznVIOrsY7gFR+RJG5KEHnqrhCRcglih6cwN7bJFAwVHX0SQFIPVVxybRimi+aIkHysLmGJ7S2yXJQJ25orQkhreJ9u6SXngav7kDDNQl0h+sQ6eLLltkYQ5J9VMbV5t4TXgKiejA1xWsOzP6GOHuu+jlBZL0iEoYyyIxPXKJOBG+QkQisRFcUo6Fp4tuugWhj2NVcHUfnTzEh8RiMNMMlbJIQhM7XyD0GiqpYYilKiP67RArCQg0HS228aM2utgKop5iRsVJfELfl417IpcNoRaNYTkZfO8RehDj6ga5kafxHvyOUuxacy8r3oInzxZDkh4F3P1votlj2OWz6p6juR66QLKRhGsBv9vASjoEmqmWPJHczwaHSpmuyyK9MEEkhicrr6DbYWJgGybDQUvZlwz5u+QXFMtEqvWiu438DqGqdWQxZIvvNTALc/gCo5bKrXCmJCmfCBcIND1WqY/o8CaWQHfHzxA3HpB0a2QWniZIfMLOEVrrO/9Hki5k6W69ThwlWDMvYYqeQ3qTifheE4LGujrcp6wCnf4xWUtI+TkMkSZ7AxLRuhnzSnOYmNPE/jqmF6m+Y3Dwtto0hZF0lucx5Z+t75CKm7jBEGtCencbxEkHM7NM5B4p4IX0NDFG1eFeDlS4D9Blm50eV3qmJDhUFQIBOrnrX8E49VGl49DCAyKZEgWGin8E0sPMjqntpCYat/JZ/N4DFU+3pOsexRipEpp7rPgBYgkwKou4e99TvRS/3yVltQkKZ7CDvpqc6BPPEAeein2K25zBQ+KqAOgGkvzC6/exhaC69yGaRMiFVOkeYZWu4JgVPI5VxM8unUFvbRMakdomiHPe7u3hy88lU8VrrGIWJ1WcyCyPEUrs1HcVv0B64ZFM98yM2pAa8QDDHCUSLUd7nWTsKvT3CTv7mOML6O0uUWEOuziDJw8HUVaJ+tEbEnhraDIcsBxsOdTH0pfqYOkQGFVibx27eFZRRIf9bez8edWR1eifOMLj4GRCnJlSChISFyPo4e29R1w+S370Ms39N6nIBUImX7ZPfjzLP/obv8I//uO7/JLE+Jsub9xqkMlGXDo3w92bBzx+Mc0fvRPDfpN/+w9XePHnLuC1I2pfvc/0uQv0b3+HWA5amRJuu0aumCGQyKhsOdtipBiQmb1AlD1DcPsP1aEjjANC2bjVj0hlS0pP5ExeJdp5i0h6lTKtHDTwpSgl3mQxY9QfkpFeVjRUblXcu9hC9q5epP/odZwkxtIlcuijdRroo9Mnfea9d9HHnlHRoNgPCJv7ZMtl+vsnikmjOoW79b6CxBgCrOs8VBceoXrmHBNXPzlEuvXbaKkMVmqBWL4HEgfLXkKzh8T7d7FH5/F9g+Fwm/zoOI1HMZV8gP3MAo++dodf+L92uN0J+Ksv5dnf79JuZpkYN6kPY9YeHtANod2E1//0Fzj7wo/jicfYM0iUe7VAPHoW6t9VQow4fVZZNmK5WO2/gTn5IpG7TSLQyZEZNH0EekcEvUN0GRANNwiO3sOa+ThGdpJIptF6mqC5hp6bIRl5Cu34eyo54Vshljxrqo+T7H8DrCk02Z4LF6S2qeKzZukcwfENKI1jekPlqA1iOexMoAu1V7zRiajoDtHMcQUCDHu3iIQuG/WJwh5WfhJNM1T3yslM4ImdRG2xp9CO7xILBE2AdeJdlzifVlYXzTBIEbu7Ck4l25Cos46RfRav+756MGdyo+rC7YXHCmZjpOZxZZjS2EIvjiplnkAzNdG3iGdXXvqSrBGSf3ZO6QZVx0/+bPkzUxp60CCObUyzRJzUCMWyEEZoR9/FHH8GwywSiPPb28ORiZ5ZIEpXVNfNFBOKRMYkYSQ2joJACu+g6RV1aQ2Ge6T9FpJBEE1pVL9DojXQrMskSFWihyMvR99X+rbEGSPRM+oZLcMTiefZhq0OBfIqkBeUWZokcZZIDr+NlhlXjBCpBsTlFfSwDp4HnRpJqaySSCADmg1MO09sTWBFu8o7LkRbpZBtSw1BVKfSLRUV64Ya0pKaUXUe3TIw/CN1mY+FAK/b+PVb6N1VYtmKSHqnWCWVkbyy9C070HugEgkSRU1kKCRxvWBNvV+wRE9VxAr2Vc3Br2+TFtK7VSE+uKe0poxcxXD3MSR+nR7DvS/PljkYnSM8uq+ew3ZhlKF/iGnnSKSPmJlCLz+uBkkRckDIqdhgKL7g2hr+2Hky2SpBIOkhV21jEWCQncWX57gfkC2fUoMxWxO7yghx2MY/ekgyvszo2Y/Q3/sqpy78Ki9fybN1OKCYLfDE+SJbRz3+45tNDn7vFEY6zxtfXmPydIHYCxgZG8ULPWzHOoHWeiFtuYQ7aVK5tNKIzi7OMqzXqG+FPPXxcX7/i7f5+/8Bfuz5Ml+7cUihYLEyXuHB9iHPPXGazc1dtlseTxVz/LPP/zUabz1AzzmQzaPZJQYbt3GSANfKoO/v4ly4gtB1ukdHZIvjxKOTxNdfJ3f5qnoWHn3zi+TOXMKZnyGqNYh27ysOy3BjH4oGqeVLBHKxFECkO1RsjOLF5xjevIaeEjpzjDc6gt5rkJm9LGEbjl/7IhPPfQxXai67+0QFnfzjf4Hh6rcJHzyk/KO/SOvPfxujMgf5Ebz2EaVsAS/w0dI5lVrM9Tu0ZIAeu6RmFmmvb1A5dxbP7StIrqid4mwR/VgMOANKz32Cxs33CG99h/yLf0klLG09wheF39EBzvQpxc1QA8hGE79xSNRrYz3zKtr2Lr3jXcaefZXg6Ij+tT/Fkkv5zBI09rGShKByBk2+p20h4C8yXLtPNokJq/MM5Wyys4mdKWDOLipOwuC9r2DNXAArxtJShL0WmbklOs0W6WoZd79Fsv8hzsQi1vmXCY8fEe9+gFE9S0if4bvvYc9Okzp7leb73yY3tkASDcjGEX35IQ+6BOI8b9bILD+Nu/4G9sIltKNdgrBHfvEJtIHUBHv0hkPSUxOYqRzD67fILI5RFwK+DDWWrxAMPSwjQB9ZImrvEW5uYM/MoecLdK6JIcpX7JryZ/83vNWbeO0WGfl9ZVMUsyUGMkBqH5KeuUTUPWS4u0728qfQ4x6tGzIgWsbM2mhHbQZbd0mqVTJzywRSl7QivLe+gX3hOdKlUVo3v05awJtiN6gdk52aJ7Ec+odb4EZk5yZxvYB0ThZPkuYc4tVrpC4/obbCxVKR/a9/kcrF59C8Jq1Wh5knlvlH/+g/Uo+KHNZC8sWEh3XZ3wb8m3+wRNGOcPSA//HvPeKhBMNyGucmBEJo0dZCHt5NOLXk87l//jE6u/tsfthi+kxVDSuF4XL3vXcZmx6nIDrMbhu3G5Cr5Nle3+byc49zvHfA3tYjqqOjGKZBqVhhf2+XTqvL5PxJpLkyMsrB/h71WoOjvQ6XLi3iSy5EtwmCmM2dbc6dPa/quI12k/HRcdUj39vZJhEjgWZSGqkwkO2mIUtCnWgYMT03R6tRp9lqEIYBlmmQyxexUxnylXHuvvsucayztDJJ42jAyESOr7+2wQ/+0Bh/9I0+v/3nA0aciEECpaxURl3KpsWXrrd4/ff+V579waeov7dBbuoqze1vkZMLVZLCyUwT9O8RZ6YwqBA8+vdYyz8L4Q5B7RA9PYbfeANz9IWTYeuwrWJ4gReSzowTCvxaooT1DfpuR1nRxIgjKTWvsasuzYKzFaifLITcg/cVzNgpXkG3HOL2ptKiCy9NoNi+wI0NAWofqjq1vDfdzW+qdA/VKfQ4pVLEpjZJkEiaQaj1j2GKFrV/rGqJse1gajK8l778NB49tUz0Bg2s1h0CaRGLwU1qbJkK4aBHIKp3K4suKUnayj4kPILYKarfW+QeKvh73BmeWAFELW4VMMqncbf+DHvhrxDsv07aa+LlZjDk7CuWjt0b6I5Devwq3uH3wMlgShU8PQn9bfz6XcVTSkliJ0phl2cVzFk23V62hC3BSD1EI0fQ+gBDs9CqTxEMdhSBX5IMwjFLwppiddjLP6ySjtruVzDP/Bx+61uYoQVGBa99D90pY6UKJ8N2Z1ylD8XGEaXn0MQylz6l+E2S3BZN3qCzQ7b8mLLiaZrwFBpCt0ZLFdHyi3As1pe0qhsIcFG4TWZ/nyg/qwZKXq+hvr9G+QxxdoRIGF+DXVXdi7QBSf0DdSZGYH7Nh5gzz0HtIYPhOumZT6sUftRcU2nyROtim6MnSUzdI7ZEZx1jGbECI2vN65jlReLSGeL6B2iprErFC/fAqS4QtO7hpKfp1h9i+j7puWdV4lxrXfs/E5luZLNjiqosPQeJ0EZ1idBPEnVlA12BwmWQA7aZEG9/HbPbRZ97RUHxzJT8kMfx2msqhqo5owT9PUzDOunpD2qqZ6EOLc33MeQyKXCwozfJFJaJU5N4g02SwMDR2oRycPRDLAEttbfAlh5nRmmchMxstGUgcU69yHW5rCVdTHueYP+PSU28QmAWccKm2sD1XZkmyQrcIG7tY45dVn9Ham9iyg9WvhEjC+C5J1WFkQuE7W0s6dBGGSLxRJ76MeL9L+NHKVISH5GXqTNPkkmwez6x6UJGPtQtpetLCdm8t0aSFuDGGN7RuurkSxwo6O2SNDYx5PCZPoMlnmxpwMnEURMS+RxJ/RZaOgWiWXPrimIp+sC4cxtNNqBZ6e55RJlxdOnjbv2/mCNX8XRHgfxMgVlUz2IODvGPHmCNLRP1u5hRFy8cKLWjXi0THB6QnXmSoXxgspdJUcfTchhek9DJ40h83bX+e//6PtrIigIQIvUExokEqiR6xdKsmqiL69TMXiHwjomG+zhpW4GyzPyCItyHnQjj9FUylRZ/67M/z796rcVffn6UjUfHFKsjnJ9NM+gNmZgYwSgM+eM/OKQS6vzxHy5QPLNE74NjZTAwdtvoy2U62z20OCA14ijqOhQwI5tQ9zCrs6R623SOH5DkpwWxRKo4j509S7D7Or3mGsXMFL6TUg/OxAxIFR4nclyS41XM3Dxx6SKme0g4eKSUjH7nIcN2l9LMHEPfQRvsk2glrKyowLqEkgQIjtGFOSFRKLuoYEu9jT8ipZXx0ymVDpGHu2hJzGyeyLRJGttoqQqxQMscHas4jbf5HmY2R2QYpIpX6NevYYvCsbpE78EfYow/j2kF9A7qVGakK5YmrK8SaSPE9oDUqe/HXfse5Y8sMNx/wA98/A3qdsyTZycolWTrZLJ6o87ChRH29o65vR/yzKjJb/3nf0F2YpT6ow4Vo0n96D6xK8OeiHR5nkjQ6qKmk0udQHKcIkZ5WcGfBFKC8J4lVt3fh9gncgpq6hmJr92XPtMxuu/jOzm1VYgHDQHvEkU2TmEcr3eMP+hSqIzh2cISaJCI3ULUgJLuMW3sxCEW0J30/GUAlZtBCyIiSbYIIVeUi6aP5jvo5Ql502FInF26aEmX2FogGe6pF70A2BItpzgDceM2UXCAlruk/g4S25Php52pglyYBy52MiAQGm1uFKt6mWFzA/mqkj6DL8DSxFSbs+H+W6Qq5zBKp3BFLdh/iDXynPJTJ6aPJRd/YXmobXxMIgOD2EBPjxI23yV2JtAzi6oaEGkhdu/mCbdEhiYSH3Vs4l6LRHp9uWlx+xG12ifKyswkvgziuhtKAZRI901eeq1j4s53SewpkvKKOjSrKH7/A8zMaeLBEKQ+k13BFpCn76pepC3PZOF8CFhQO4ZYDj8hti/x9Bk0r4YlGjNxtLuHygksqAEnP0MQR9imRSC1JE0GGn01NDVbG0SmWFkWVB1CgDteWMCir16SopkVnVHQbyqmgKLnyrDTFFjeFpFMzS15ZuYJYunCyRY1QI/qxJlzGFqB6OCrmOUZNexxpdZRXiEa3iSJ8iq+GUrSydRABiry7DQLhEJN1zQ0SVq5Q1LFKoP6jjpApKsXMSIfN27i5OaJXIkEi2JH6mgOptnBNBeJQkmhbao0lZYZw4+Fou+C9BSHPilb6lX3iAZ7aOXHMdMGoTWH0V0jdGsKDkRa8JsGsUT9hIIsbBWp6sVSvxAlo61ggOLGdjHJyuQ/WOWZV3+TT7x0ntKozb1bD2lGPoujJf7Na0fs/dsLFKo2929ItDzHvXuPuPr0eWzbZn9PBlMO7eM6s0uiPDJo1xrKBOD3fNJZk82dkE/98AT/4P8+5K0PIl5c6fPamqYSf7PVgE43YWJ0FNse8GBPY8Ho8Tt/8LfY/uJ3VGolIUf27BmMqfNw/018AXEd1vB1S10GEjtP4fwTNO7fQsxNycQs2t4O2tZNBkKoHquQmbyId7DGwO+Ry4wRD0KlQRTSvL10FiPsYWgTxFmXYb1D+dRjYPi0H3xIfvoUcXVG1Qbi9gGDMMKOEpxnv19BzsJeh+DwGDvqq8+ypN+yC+dxjx7h7+xgX35CXQQG7Q7Z/WP8pWWcsSred7+MPnWa7KWnCHYOGd79Hk6xgifwJVsnJfH/2SXCtVVSCwsE732HRNJ7uTzu/XdJF+ZJzl4B+ayLGaTTVFUYe+YU3odvEmbS5JcfY3DvdTyJUL/8w6Rth/7OQ+UCH3Z66AQ4s1MkWoHO29/BrgofIIXx+POYbhf/+ncxrzzDcHeNVGqc3s4auVIe7Ynvw//2V/FNn3jok6lOk7T2MC4+iedrpM0M+mgB942vKmCzJ8nPow2c/JjykhtBhFMs4vkJmb/w1wle+x0G9+9hTsxjlEdlJ6agy1FrTx3YrbSBe7QNpy6ib20TyQZNft5ahuLsMnHnSF2+nNll3J17mM0W4eg02Zc+yeDWW0S1Q2UsiI6OiQYDMqNVIE+nuY+5dxvz1NPqXaAl/ZPzmJNWgEi/28QxfFw/we/3iaWbrMVYk+OEnk1Kl1RYSQ2JGZ2Eo338jU0anS1mP/Jxjr/6FVJLy6RmltFGp/GP7kEnIBLNmqTAdh5gjS7T3RceiY41u0Ln/ocKdJa0+0ov6Qggz0jjHz4g6LZIjcxTtLI8WL3Bhc/8ZX79H3yef/Jne/ztz86xun3A3dWErjvkF39ogs/+lXF6x/L3LfBr//Qem4HBK08U2d0asDgeM0jSfO6/7PHjPzDGj7+SVtDPbr3P7GKGXsen1R4wvzCDG/bZ3aoxMTPO9Owkd67f4PJTT3J8cIDpWFixQaN9rLR7xUKBfLHC7s4jdWlfPrvEu2/dZPniaYr5DHfubHDh/GlVL6iOjFKolBQ1XzEHHJNGrUZ1YpyR4ihb25sqFTW/tMzGgwfqgrS8ssIb33qDqWlZeuikHZt0RjrwEY1mi06ny/yscFC6lMdH2bz3CLcXcfbJBXxPZ2wi4d99YYO//acuL8/nyedMRipZVVapPwAAIABJREFU3rq+zfOPzfLv/2ydX/rRp/knX/g77PzZVynPXcbfu4E2+zzJ8SNVvYqTgXpGx/vXSKyyutAJRFrqfbixMubElUkkwBD6kUoK6sMdZZCx0uNEwRCNLvrspwlaaxjNeyTFC2o7HsklPKrh9VtY85/G9IQN5is2j2vmcbJyH9pGE4ZPcQ59OCAaPFRQyyDSMcbPo9tV/Dt/hDY6hz12+QSaV74AhixXHmDigmj4vCN1xxITjdSjT7R7BZLmpoLyyZJMkpGJnN9zU2rIGHsJhho6CLLCVN9vPc6gN+8x1OTyDeawphZ6ZvkivtYhluqGnL/SRTTREhdWcGwdb+u7KnJuzj1DIguPdJVYIMV+TQ0XNNEJd+pqSy+Kc0koybufQYMwcImzUk84xMnPE0ni9fg+1thjJ5UJSZNYpZO6YHCghhi61EMLp3FGzyvQuNe9g1V+StkI4u1vEhSvkF14Gb99B1NzSahC3Cb2fMXnsIqyFE5h+k0G9VUs2hgTz5B4PQV1VUlrqWSIatjOYI4/jqGHxK1jPGOBlP8AT6pp2WmsqEvitdDSs0pPL4tCid+ZlRUGu98k66QYUsIqzChuWtz4gKgkoEbJuucUr8iT6kflElrtA1VHZPQ8xtED9JG5k0Wu2PjsHLRuYCajaPkirpgnEh19sEdSXCY4/FCl6+38klq8aZjoSajA/FamRCCDoWIef/NDdFmmJRFa89qvJhLPGmYXKeayJ1tb2UqUllX0VTQOVvcWrpDR4yap/EWGdgXL3yUW4J2oFyTHKx/Ezhq+mSadmifxdpTywszLhPpt8A3i3DgEu8oMgHw4VDR/50QhJoRMbx9LfkDyl9m/TpwtKNVM0F8nFWSwKnMMhyK8dYiERB3uoeVOY4TH6FGKyJFT5wLh4CGGHI7Ft2lP44uyLmwQ7ryNXZ6B8WdIBm3iRENLasTOIs7wkLB9DX3skwTuJlZaYFzS189jx5ZSOOipAvHkcyT7q6p3EWeSE2904RRRa4PYPVaXfOmnCDDMmniVXnubnOXgS9FU+mv5CWVYEDSG6W+q7Z0jUJBgqLrJWnFGXWBir0ss/aRN8UebJJOfJdr4ktoY6oU5DLlcBSEpzcCzLUUCN8Ur/OhP0KpXSYY1LL9BaExiFdMMmg/VBCgRbY/bhckrsPMttEEfu3AKrVQ6+W+QiZmAKrwAo7BIXH8HxxkjKD+mDqx2akK1XmN3A0IBa+Sh3UFPn0zuotjBTJoqeWHmz2Pmpwlqd+ju3mbs2e/HHpviH/7Ej/Brv7/Pj3y0gD9MWHvYZXq6Qqvb5txChaOjBvc28pxeyfBf//D7lN5s/xvfYsQap8MxplkhPXEKMzqkR5FsaYLu7W9jGg2MyiXC1gaBOUJaz5643r19VZ8wSqdVjCtyqoo+7W/8CaEnOsIRwuYakd/FLp4jnroAjV1siYqVpvE33yBoN8hf/izUbhP160TpIlZvQJx2SBLzRGVkGoQHt1XUKDXxLG7SJdr4Bk5xkWTiCUVITQbrOKXHCKK6ilunRj5J3L9NlBEA5HkCr6bUIcHa72NaRSidHHBMLSFo3iaRbnN16YTqLtudzBSZwSqt2oDSEy8yOD4m2LyBMT5C2M9RKHXQH3sa4791mf/+T3+Rf/2lNj/56SLr949ZWhZmR4ZGr02t1eXMyjxf+OImu5v/mpSepr23S/PhLcqVCZLCgprMR/19tOwkiddHjwM0YV9I1K1YPumOdfbQo66abCNsiOCAJH9JAeAifGlLEwy2sTPT6ImtLseWKRqWQ4zsGJSXGD76MnZ6BV26TsMhvieHk5Ki2obtR+hiI5E4ghWq7W3cOUYvj+LVV0mXRjD0KgP5bgjJXeBtvlgpRBE3x1Bga5qL0T1CS49Khg9PxRVjzOYmnjOBXZohbtxVD/OoehW784jIzkJvDStzHj+poVtjJ/2rhugE59DsUSLZSh99SYHkTOl1Wa6qLEis20i6eF5b/R6xRQEnsnvpaXVUz03UmX77Lom8+EcvoSswnDzPqljhEb54y9HQU6N43Q3SpTlCYxSttwHpnNL9+L2HaHKpss+gx2uEngBpdQV70QvpE52cPoXloC7qftjBqjxG7PWI5PCSW8DKmgSegGT6ijZrhgG+1LvsKYh7GN6+Ahka5hSYNjiiGHsfu7CIFvrEYm8xy2jWDIF1hNXzCQYtNdjSvQGu1sUsPoEWNEnkHeAdYQrnQZIVbo3IEP5AkSh1EisUsKqZGCRyKf/vgCTxABu9GrFovMSRnJtGN6vocRffl4v7qooJWoVleo33SY88o176SW9TTcZlYxvLgEQ0tX5dde217Dja4FANd4zYJLFNIkd89+MEgzV0r6k2GIlRBi2NJrW22ipaYQ5dtjdBXT33tOw5GG6pwbWCX6YcrNw5+o1VnO4NtJzoVCUB4OBPvoopP8/9e1ilGfztL2PPP4fbbxH3e2TGnyIScKJ0y8M+oZZGl2pBysSyysqtHQqU9niLysVlVf85tfSzPLFcxNFiLp0d5fCgy/hIlu/cOOb3/uEEjfUallGiOF6kOFrCSut880vfZnJilLNXL/Lg5h2aLdk26KxcPMvG+g65jLySMipxcOW5URb+8h6Xply+78kR/tU3d3liuszCVJGbqzs03Ijnzk3y1q0m58shn//cT9FrQFguoK3ex93fRZuZJ9i9Sfmxj6qkTHPjLpb8Dpt36egOdrumeo6mJN3MDOlLV2i+96YyckhP0zvYZvTZ53APaoLzI1NaJjQEFNnAbR2QHxmhvy3P2XGccpVuZ4ecsDkk+n2wjl7XCMweuclxhsct9FPLDG++R3HpEmHKEZUNw+4+hZFzhF5HGRcSyyJdnKZ75wZGQSNpCyAKUlc/QX/1BnbaUcuRdH2foWuSuXSJUICHuOr9P3h0F7/TYfSpZ3Gr07Tf/DpWcRy9mMYRw07kKsWdc+5ppayU4abe20efXkIfdEnkOVIcI24K4TlLYfYczb11vI3bFM9eVAwYM1fE33xEdnqEWHgd8h02CvQHDdKOo55Lw3f/K6lSjnj5qoI36/ffxMwV0CtTBMeb6uITS8z60X2yOYdB36P0kY/RX72jUo+OtIv318g882lIlTFzOXr33kYXwGthjEG9RdYzYGqS8MN3yF49R+vuHVX1ysydxTt8gHn2RbTaBt37d7ByObSRCpXMCPs33genz8gnf4rexhru6k3ssQmskSJu16Uw9PFUtSZHrpyluXpPpeHyV14kKY8R1Y/RizkG775Fd/sGEy//uIIg+/urpC99H+2v/i6pS1dJja6g1x6oOkdQLGDn8nhStcvLZyjAGD+NPjZCatCl/rUvkVuZIffyZzn8k88T144oXH2eyCmiC8D3+AjtzAr9hw9Pag8zEwS7Tbx2A7Nokbv8KlFTutgmneuvUXrm++lce4vq069Qa+4xkR5h4MTkRy1++1c+zxdu6rx6pcKZiSyrWyHf/G+X3r/7I/N84lMlfutfPuB/+Z8eJzMR8rM//xbv3E54/qksgyiinKnQaHZ5406fJyYc/v3vPolXG9Jth7QOO+hRyNFhk6XLp+i3u1SrZfpexKDVptZuML+wiKUZrK+tkc9JJ11XWsGD2hHjI9MUigXWVu9TzKUVTLb5/9P03lG2pWd95rPzybHSqVx1c+q+3bdzULfUQgkJaPCALYwRAwPGXsMweIBhGTwei8VgDzOIAcMQzBBlBowQEk2w1EKdc/fN+VbOderksPMev1959J/WuqvXvVXn7P197/v7PU+jx7n7T7Jb32NrZZvqSBErlaZR36ff7nHm/H006ges3L3HiftOUSiUWFtaVRvaVDqFG0VknDS6oVHf2ieTs6iMjWGYloJLHuy1SNkWmWKag0af6kie1m5X2QQa3S4ZLcPJY2n+4u/3+ae/3+GTDxTouTqmpbO5tc/p4yO8+n6dh88t8MVv/j6dv/xDmD+vIKKpkRNE7hWSvqb4ObaZV5+rfGEet7tJ1N9CE66YokM4pJRPtk0cJIdmL8tXwzFJu4XN20SRTnbqSbq7b2BJH730JNFgA7MwRti4pS5uhjFGEu4R+7JBFqByEW2wjy6mrKGk/iy0/LxK10VhQjpXRvcPGOhpsoVp3N4+ZqIrsK07WEWXFGJ6jCQ1RtxfVssEq3QUT7bjZo6gv42ZymNL6nJXkn0GcfYIGvvEbh/TFNC5wN11aN9Ty0+rNEeYFb14QDJsEXkJenWR+OC2YhAI7FRrb2BUJhG3cJR00bQCjruMa8+R5MukDRtv/X0Mu0BoyvOvgONId76AaXRUrF4qCKKW9y0xEIygRU3c+jKOnN27l0ni0iEYtS/nullM0RObZWK3heaEWLmzRFFbQaND0QbaUt/YRY96JNmj2FaVwc7fkBt/WnFLwq2XsWv3K8uO2A0krSl8s1CAjEYVszxL0F7Gyo4TybNWD4lCj7QlGmJhpZ0jGXbVIDGOGxjOFL6/QRIX1XJIKtfRwU3i3BFV3bNpMWivKZigJefEWFg9YpmqkzhFYldsRnKe6mDkxwmHGmHrGolSSS6penx66sMM91/FIK8We6mZRwhSZZVOTlIasaQkJ58i7i6pAYX8/WTJLRX62NCx7Ay+liWOE/TWDYzMLHo6zaCxRL66oKC6cXMLrfX6LyaaLjFjiTVX0aYfI9y/RMYsCQIT17QxhgcqQpKR2IM2RMseVZcqr7WH41gEfgMy42SdKYbNe2jRLmSkty4xS+lq7KMPe1A5ixEH+ME2mplWEX8GG7j1u2TzDol1hCDuKd1Z3JeuY4ieroA+JHQ3sfQUgXTyxh/FDFsMr/8n7OOfVpF4dUAMYsKwhaNL9KmttvFmb4mkMIOVO0LU21Ve0kTAW2ZOQSvEARr6+0RGGUO2f8IAEC3O0CPpXSVOz6vOThJ1iTsttPFHScnGv3+R0LkPM64TRBaaaLvyR1TfJx60FKFWM4sgMer8DMgXSPrlQumMW6pDKzFaoWfqmSKJXC4qDxxGjvU+buNAddiV2qF+idTp71E+XmTKV5wn7u6jNa8iNATpmMhlNS6fJtq9dtgJFpp/6wZUjqEFQsW8B84UqdJR3P3X1FbXnP4ww6UvK/J6ZvpZQnE/iwXBErr1AVZk4oq2ZLgH6WmCYR0t7hIbBezyMZL+MkZuAX//Knh19MI8ulkhCJqYVlltgEOtQaqxTebYU7Awz8//4H/Pz/3uVT73kVEyYY+ltsbMWA4n8sGxePvGkNtrAb/8k0f43A9oeG2Hzs2e0stYszM0br5HeqpGikkG3dsKkCQxTaMwpQipmgwonDLh8DZxc49gOMA5+lFlmZDkhS7TxvGHMDprmKV5IjNQGqiw3cISTkIYqjhsmJrF8dZUBzQOY0zbwCzNqWmuMToN/QitaKlUQ7L9hopZ2yNHFY/CzI2TNHcJe+vowmWYuA89OWCwcZXM+Dl0qYTkqrjNbQz50stmr7KAGekEu9eIZPPspcmc/RZorNO797ekxWMv4MvhGpmxU2iuT2gO6TX2cGpPEC29jZF1cYpzamAQHFwlTmXobg/J6h7lR+YgU+QXfvZNfu2v9nnu/Cj9YZ98JkNvqLG12eLYg1Nc+mCXeitgc/f/JBpO4G1eRR97hu7uZWx3A0O++wKgjOukszMqju7pFuxdVcpNa+Tw0iKXVcuxiIYN/IM1nEqZyJxHGy6DPYZmpRXETjg6mmgSfSGgLhOV5hVduL+zhhm1lK5SolMIgVWmvZ07ELUxSmdVd04XQm5/mTh1DsMJ1FTXKE2riJrWuEUgFZi8XM7lpSPx+Sam9OB8Uf46YAt8x2DoHeDooeqgi6pQLvaGGsAsYPYaRLlJfEkypUw0s4olrurd99EyYr5YgN5tyBxFYXc7ewoMI5vVQA5/Qq83J9C6lwjsMpqQ6aUTlksR7N9Rm2nTKRL0tlQXOM4dxxJXd9DCkk11c5O4fBzNFR2kh+nMER5cJMyOKl+5spZIraB55/DZNvUwSV8isbdUN13pTFvy95vDrJ4licTzGyt7gGwz9JEPEw42Mds3iQQskxhYww3Vn40jHdtJHQ4NBXCTOYouuj81sHyTqPIsznAZ35JneR/LEdjNKYyOxOXH5ddG1OkiIBKpfsh2wsiViML9w+FxbKNVTxE1L2NZI+qZHGk9KEyjybDXzhINtsFOo0tqzG2ryXXc38WQzUl6AilSR5LeMmX4UUQP9glIY+oBkR+pYamHp1SoMhQQLaw23FJbDEO6n/2+OjSFRoKexOjy+0f+zW1CqUWJVqnfI+neQxfGQ1wm6LyHNfqI4qomjUsEfVGBjRIWyuj9DfTcMSLTwRzK1mFdpVBCLYuRHVeKIjuVVXDAsPkaempMAZ0iYU6MfEhtRJPeTQVvDWNRDQ6Jd5fACkjKJ9XlnlhIyoYCILm7Fyk//B0c7Nxj5sSP8en7s5QLOVa2A8YLsNTssTGMWfm9pzno1rl6cZ9C1lLbAz9yyabz1GZqLN+6KbgdCmOjpAUsqQXsbLapZm3Wdj0ef7RIIpq6777Mj36kRDbWeH25S7mY5s56l+/76Cnu7u5Sdw0++KDOP//0LP/TP/8Qa29fo1RMKXaJy0BZINjdwvdCjOq4Aq/ZGZtge4dgfBR9e5vI9SgcOYlVyTPobON0PIx8haB5m/QR2XCklDrPmpokuXcRb/YUKW8T1vdg8RmQnvD1VyRISC6Xo+XHRD0fCgX0yVnSiUGwu03/YF19n8XznclV6G+vkj91jvZdSe3s46dHcKKEyA8wczaGFxHWquQnTjC49iLm+P1oAq0ancWTjXxjh6A2S7SzRbpSVtYDZ0w0Wwbdm1eVaqr6kU/g7e6qz51dyBJsr6NPnAH/AGfhON13X6MgSrqrr+OMThKMlAlv3iaW7/ZIlfDaVfwERh57WlUS4tV17KJwMfoMWzJ8zWLNncDYXibuNbDIqG1RevEkYX0HY+4EvWvv4khVUmjTU8dVVcK//Q7Z8eO45Wmid76shnGZuVkab71G5fHnMVJD/M4QvbZAsHRdFAFo0u/O5aE4TbJzndTYDNuXLjL6zEfwux7xzhrFJ56l+9arRJ0DUjPz6j3hDzYwQh0tXcENPOxMmpxpMVhfwu00yZQmSMoOg+02+dGa6pA3V29THJtlINTrbp2RM08wvHuFoNPHePhR/MvXKT/xNLtvv0l20KT0Lc8zGA5Jrr+Ln7MoyHCjWGOwvUp87xrmiQeRwmx/6SKFsx+md+99jGGL3PwxAarDwiKab+Nd/zrm7OPo1apKjrivvUDu/ufQT5zE3bxGuLWtLnvZ2Tnce0vYR04xuP4qWntIPFo59HU3NpWhp7d1h9yREyTVaYxhG8v3lZ45W7EZdCL+zRde4u9WOjx6JE02Y7G2G/Lg/VX+yXM6wdAg6AVs91scP7vAn/zxLr/+d01OLNh85GzIyopOtZbl65d2+M6zRf7RZ8sU8hPcu1VnrKTz/pt3uO+ZC2zcvotmW2pbb2MwPl1jY2dbJSpq81Pq8innnvrWOnI3aDR6ZDIOpu2weESAfAFry+vki0X21jaYXJjGsuHGtWXuO32aRqupGASVyjj1jV3KkyMcNJoqXVQqF5RN6Pjp+7h386oaGqSk6hWFNHZ3aDbalEdK5LJ5Ou2eUtbt7gkPBu576H5Wl5apTY3S74dk9Bazp09Q+e73eGrSoukO6AYhpxdkgxuxs9EU3huvbX2Dg7/+dSwrhVeaIS2LS/Gsd3YZSoqxPIMhLB5JD1VOK35PcHANY+IhNPl+SQqqs05aFoD2KH7YVFYYIYzaxUWSaJ1w+67SzupjZ0j8PUJ3gDX+EMG9r5Pk06QKDxOHW0QdgeyNY0vSJmihSXK40yQKDpkgknBWSeFOXTHIgp3L2NUTeKHY2HpqUy8Dezs/pRgGRvMysZUnLpzDtpqE3aYye2mZAlpn87CmIGA5ocVTPHTMb10CqVWWpkjJskn+vVGkgLhJ2FLMhtTIkUN7mCjlti+qCkJcPoOllRTg2JZ7jiGLsxX03CEnKtp8hSBdUSwbDBetJT/bk8SSppY+vEQNNJ3Y8AibdWxJb5pZBYT2t94hwiK9+C1qySR2gWzPJchPQbirGAx6NFAGMlV5kMWGLs/jXezsCMGwpYZcos0N/a5K6Hk7r+OMnCUSwwJ5NCOL4WgqwZBkJzFawtbRiMunSNoXiURpbDsYYp9LJKFVIcnMKj5GdPXfE1eexShW1bMcb0lpnKUOIIBvLTHQBDIYJwRDAZ0vqiRD7EqKMsYozhLLJ6ktFYAZNTztv/8bZKYeRBt5mKR1G82pYVSm8Na/gZmZwbAtPGGf6AF2aU62NhiyWOltEoeBunP6vR2S1CKOd1slQWWhrgCOxePomSqR21I1yciL0bt7JJVxLKlbSo23t4928Pa/S6xIDjwa7mCJzMyniFa+SaB5OKkcvcgiJdMKU5YoCfpgB614irB5j3DnFey5b4VUGtorxDIRNgpqIqWmLNJ9EX1emCFK5clkKgyk49O+iDnxHIOVN8iUykSarlRVplE59DOLBaB3V3VUZVIiIAStvEjSXkXTXXVwcP7/S79cSPUaWtQA6RlVz6BJrFo29pWTSukiE66kPEnUb2P09jBqHyKJdgkP7sDYI7D5BukJudwNMLMVfNFDVI6gxxY0NpT72hyVC29LwRUC3SERsn8sh2KhSzsqfWDaRxThXLNl05nD3b+mtjjyso69TdJGmTDpEQ4bGMUpLKEXdzdJCeRDJmbuPrEc+FIS72moyKtupvEPrhCmhcY6T9RrMhCYT3kO25wgcmz0KKK3+Q1FopQLWCKd8cICXm8ZQ0Basx8jEU+6VCVa21A5ThJsEcdF0qUFBjuvY9lCuwYjJR3fXVLFM4TpcZLOdfAiLNNm4O9jlk6g774DhSK6s6jUkFblJEHqKI62qyJOgbxcdiRGX6WYaTIYfwprfJbf+okf4xd/+22+68kpdhoH3P/ADPfW22ys15kdKdGarPCVP13i9/+pxff864/C0izttdeI9pewFh9A00Ll5Tb8Nbp33iZbu49QqO5eT8Vw7akTRL0DBU0zsg7u/g6mqINki5dIiNRH1xzVV0vq10ksHaN6DKO9rjo6GCnMxCHw1tAk3pOexcjV6N79OoX5x/G6W8SDHVI12eZfQ3f7BIUjCsqhaS7hgZC5+zhzz+A1JJI0pbpNNK+rKLVUYMzpo0qhGN57H3N07HAIVX6E2L1NuHMLq3pMMJdEQ5kwZtUhPBo7jzFsYnfuEVaOK92LDF3s7An0qq2+u95uHadaZSADiCSLIZ+V9mW8TkKsaxjdDpUHH0Q7e5o/+Je/w0//iseDj2rcvzhGNgjYarjsdBOmiln+6O/XefK+LF9970uwd4vu1Tt4QUymdhQ9M05ra5m0uF/kshhYGN6SgnaG6SqWcCo8iYnLhauE4eTwuvcwxx/BjEy8lf+ImT0DeoNh6gzZVBZP0ioCsbFyaEZ8GM+PbfQkIpCecOYYeigqlkh1ffEkOn0W3ckS9QU4J5RiHU9Au/0ucX9dDYEoCJxSdIMzygcbH7xBouUVY0CXy157m9jfxsos4AtJNTxQU3Gr+iSxt0TS3MISAJlRQ+/dhNJJNIGwCQDIKh2yLwypnSR4+lCqtIo/gPhXZcgTG6pL5vaWyZaOEZAhkj8URxLOgriFd7CCJbTYSBQtgpFJK0p+HO4rIE/gSa6mrTbxVrpEJCcas4Dd22SouABD7FSV2D1QXBsZgupCepWIa3SAF6VJFYvqQKHoMMkBgbA/5F0sn8Ooo3rZwjQ0CmUiT1fUdV0gMp27uEYJZ1TMK8LNeIuYUYzypIr5J0Lul86cpDLy4ioP8YQjkD1Byt/Gy4xiS5dRHMrDNVXxIlsFGQinZLM+REu6MHICff8WkfQby0+SWCHDO19SHUNKD2J13ldxfX3krAL1aI3X8CNDdUTjJCJ0ptDlOSgDBRm2BEP87TfRR05gJxrDgWiSZtAZEpmiYU3Ud11Oomb3CqGeIXBGcLwOceHwMi6DrdBdUxC+ODOOqUfoeu4wXZapErpDkNRKUlCWB9PWiPuypRfXvBgdFolFMZsWjVBfXExKC2o5ZeL6FbTUKDhjRMtfJqk9iS2DIzuDu3NNmUcEChQIsFXikxIN7Lexs7LV7RH2eirRoFkCgjyg1c0z/bHP8e6f/lue/+zv8PGnRylm8mpLJyDAduDx0ts93v/NKfKpEnvNWOkKR+dmWVObXY3xiRq3rl6nXCmTTafp9AaMTYwrmrJmamxutTi7mOYbl2N+/g+2+J//YZWXrnfYOLAYm3BwMmnS3RYv3u5wejbPxnqL73z0CP/jj32M1uUrBE4O06myefFN8kWT8dMfUtsOZ3aeMBlgGn3C85/BrG+CfB/6W8TX38MoVaCYV5aLYD8kzvq0t3bpbR/g21nShsn6zVX0SICVDrlsmmPnZtle21R+8/RCmZQkA8dOqiGUHNrjvIE+6BF1hYLcot7MYTs+7jtvkXvkUbZuXmaKHMlcjXh8jGjzAH9vCXvyhDJAdPvyLs8RpnS0Zl9Bn6LYZ+SBhxk066QnT+LVmwSbH2DkJ4lzWfXvjC9dVJYeAX3KprE6ex/7V97CcAOqH/skQb2BlnPw7txAx8A+dx5n5izd175C2K5TmDuL70d4eyvq3DT0+xjVCQzXZLizROQ1KT/+GaK9m+iVMYJeRNyuE27cJapMkRoZUbWE6sw8jVtikXEJizOkF4/hbq9jHNwgSEaJtQH5Y+cwdrdob26QrU2Qnn6AxnsvqedI7oEHcEKPzmadqhPSP3EfOatL8/L7jD74JFqzRxy1MKRyIVDM46LAEmK6AXs7RGNzymYxePtNMqfnYGcPX7MJC1PEH7xObtSm5+TIlabo3LlJt96l/J3/Lbz2F9TXthh7/vvo7O2hvfw1Gtk82VREbvE87uVVdLOFOLV8AAAgAElEQVSFMVYlM3OSaGuPZmubysgYvtui1XWx+01Si0dI9vfVZco4+jjtm69TPHqEcKtJHPTJz47Tvn0HO5Olee1dxp79FFFzi6Q3QDvyoNo89rYvYXoWSbGA0euSPSWwtF36azdJPfYRkqGH+82vYE2LklXDcBysc8/SeeGPSaUNkrnTpKdnCe+9x6DvkE2nyJ+v8cynfoNve+4Mb13ZJGdFHFsc5ea9Bt/5VMLHnj/Brdc2cTWPUafA9H2zfP+Pf5O1bpZPPKzREvd66HG8qrPTiHjx4pCf/WyOJ585Ta8R8cHlW8zNjuGks7R2OlSnRli6d52JkQlGpkbY2dhjYrzG7s4OYeQz6Aw4cuKoeLhZvnebEydPs7e/iz90KY+WWbm7yuzsnLqQyfsm8Fy19c+XixzsH1CuVsjn0vTafbrDPmk7pT7XjcYBU7PTbKxtquqmbcm7HmozY2zv7TMxPsbO1g7lUlklZ0+dPcvbf/8qHdfn+OI0ptRc5c4wdFk4n+OR77/L6u6QZ08X0ByH1V2XciahNXS5sRlQb/9nOOhycP0lQj1L1jDprr1I5uznMPp7artsGk20wQDyNTyBHFPBHDujWB5B5w6+nScjIFvhSyUJ4Z6cb0ehsqCMB2bjbRJvBN+MsaQGKc56zSUuP6QSkZLqMbNFpRKMJFlspBVw2LYChvtrqv8u7yUB8rq+mAEy2NVj6P1VguI5NG9A1L+noIGmXSMSh70MtzJVMoauKmqD/bs41QWs9BhGukooIOKB/PtKxFaBdL5Kf+8KGW8LY+RhlcLI2g7DWDbKdRIZcEpNINTQBDInKTNRDXZvHoLJy3Oqo54M19FqzzLcu4QZ9bFGHySQiP661IRG0CcfRRvsEHb3lGUjdD1lVxCXvbItZU4Qdy+qd2JsjeFkSypdFg/ruPXbKsns1J4j7N0kim0s2yDsbBHFA2Vv0PM1xdSSapFUD9EtwsG+IvRLLdATfp2Ysta+BuUTpMT+JKlEMfl4dcL+Nlaqdrgk7deVycwozisGml+/gRZ7OMe+V50jpWpoivmsu4wlKcPKA/ita0ojbEm6wHDRWx2S3DiREWJ2ReM3wC8eIZ2kGfY3SEldT4CwzghJbxn6Q/Tp49DaVHe3IDdCCodBZ42ktIAlasH+OoHYA3KTSt0sy9cgnccZ7BP5Un120Z0xyFSIul18S1h3smheg/QoSXMNTUCv5gimt44nBoX8JNqwT6L5UD2O1llDa737hSTsLauOuWmIB3GdQadO2jqOLtFfJ0+w/g11YWbyOYyhbI8CNIk+C0Fy5H78qIG2d13FVZPCOElrE6syToSDEabxvBXC+hL5qScUlVhrvEtYmFTx8EQsAP19jPlPEwqwSmscRibcttKiue1rmIHEY8aUHk9iw+QlFttkaE8SNW6Syo+rnmTUu4chUyChZ8sHRSbcdgW2XiVKTSpglXR8kqivupXysHeKNQJRx3V38NsHJMUiWYnoZ2Zw7/45hjOGM/+Y2iaHuoWRcUgE4GfkGbotjMwcibtDvPxV4uOfxRQI1cZfYxdOYlmhimHICyAJDZUiMOSXpOiV99CsOdXhTFIVdUG1goSgtaSI36JZ1J2K6rPHnomjCfXaRPK7aoMYyoXeRdcEWjWE1h1iZx7NMBSNXnQ94lB1CgK6myTxhLyaI+pvKvWLredIbEvFkxJREpUKeOsfYCX6IWws8BX90sxPK+do0ryMIReN7ITahsnUmqh/+GWyx2Bctn4baqKmKVvDnkpBJIFD5cEn+Kvf/FV+6Me+yIWTBWrFDKRCqlmTDy51uXAuz+++soPRzvPan4yy8ESV/nu+UhzaY/craGQgZNb0OIaRVQ8FnT0ozWB2JUYzQef2SyROmmI2x1B4B/kp0rWjuMJBqK9gScWjfA577DRh831QEeFZNRk03dtovU163V3S89+Fnc3QvfkSlhmjSx1l7+/RxyWa2cC280Q9D88MyE4+SLh1kagn5FIZjhxRXnN36w008W4uiAJzG3fjhnoxyVRQFEJqAuvEDIXIOftxEOd3VCEojBCIZkb6WvlJhgdrmAcXcUYfU/R2gXxowx36W2+TnvgY4eAKWpTGOP5p+u/8Ftkz34a2v0scLBNPPU5GT+N23keTbWG2SmfpA9X9089c4I9+4QV+6nf3+NBDGYKWcK5GMZIO9YMWvl7mxmqD7/tYlc//wQskKxfp9dYIhxmsaA9j5ASh4Kv9PpFMdYdNRag1i+fwOisqxWLJd9vzVYzJKtyHmUrhyWY0EL3KeUi6BINtDMcgCfMYuk7SXyGSCbwuTIcmpjhnmyvYxSKhliOoL2GOnxWPDObwKqGeV/F2qaIIBTtQTIKSSiTpMlQonCLyWsSOdKHEkGERZbMqOm3J4I6GAoeJ0s0wAiLk8itR7hxJKks4aBBlJnC0BL+1hFE4quCXXn8fu7SoqO/C3RCDSdRfVW5yccoHssGN+2iZBUUUTqycYiUQDdGzU8StFXQzhWboSkejJv+6gS7/3t23SJxp5c3V25vE5gC7/LSqTnn1Ncx0iUQuvrK5iyUhNUPsH5DIcGDQw44aRKmRQwK52F2CHrEAEDUdSwsJ/J6qamii+JReY2EODm4Qti7h5M+RZHKEsUQEJ9HcHVWfCNNlVesaDq6ji6KveoakJ97xMYzUKGHjHWK9hDl1gWhfntd9ovQMUecqmjmmqlP094hlUyi/rwhMGRpnysTdunqZGnoWr/4WhmzJJx4jEc3RwdvE7ga+n2DXHlJxfaUHMmvoVqLMMJoAUBPp7VuKlGtIZ1OeWTKlzwhXAwzhAkQc/qyjnUPYo1Em9g5IIh9dnoNaVkEF43wardsHTcOwy4rPIGmxULzHuTmSWFMXLRkUC0QHcwxbtvDpCo5XIBq8R2JJWmGcxF1W4ES8HTWxtwpzxHGGcOcN7PmPo2XH8ITnMXJWbU3iwQZRdx0rcwrPyJLKasRhikA2/e6KsoDI1j9xW4penUh/OjullIFCnn/7j3+Nf/wjf8RnPjLHnaUtYiul9FmWYbPbD3jpC/MsX+wTiCbK0lm7docnv/VJdtdW6feGTB9ZYGxyipUPrhAbIX4YK0Cp6CCDPjzx7ef5yf/1Tf7obzv89PeM8vJ1n1s7TRzTpuf5HB/NM17KUy1o/PEr+3zx587w+JMX6K9vkRfGkKWjHz+JsXMF7dxHYXuLwdp1jE6TdqBx5U6Xr37lm1QnRnGDmK++3CY1bigGxv4ODGKLXuDiqRFpIh4gHCfGzll4fQsviCjkdAVaG7ghKQEYJxFFBb7SqOQtUkHIiSmD5x87woe/60lqU2WojsPWdaJX3mK39gyWExEHbSIZNDT3yNamsYcB5vQ0gVQuJOI6MacGOv6N90hNLkBrQOyAWZ1S6Z3e/jJO+QShV1cAS1fipwI8PHUBd3OJuL1N/tSTuHsrWDPH6Q/2yA0DhjtbpM6eo/Pm6xRPnWbQC/Dff4nM8QcwH3iY6MZFrFyW8Mh5kuUrJBt3CW0b++gFDPk7VmUDNiTevKVqFPr4Itqlv8H1DfLT8wz3NhlmRkj3GzTXbuKMzVB87BncmyvY/gHa1DSZzgH7q7tkn/4ohmnSuPgO4eYatY99iHRzD+ZOKeAle3KIj6E0SXLrFsN6TxH8WV1nZa9LanKczs4+V5e36YcSAMwxWG8wcXKRRn2HQaNNNm9TNCNmjy6QTVcx+/uEhTylaobOwQ75/JRK2uEUDuuJ5pDED4lr02jXX0bPlWFpg255Aj1KCHtN2tdvMLRyTB4/SePuElZlGjufJnF7dKXbbujoWYdgb4v0/EnoRfiyWIp1nFxVsVEE+CzPFNdrE5tjJL11MoVJmrt3yR1sEdfmsEuzuBvXGOxtU37wwzQvv0x+ZhFfFjdOmqzr4zk69pELDG+9Tro2p+Lzw6VlLFHrrd/BqM5gzMyjhQ7FyYAf/OE/IKRIrdxk6BbY7e5wZ7fEv/8fSpy/f5yXXrjNE5+4n7tXrqqL1eLZaX7hVxssbezzwIVxPvFYgT97oclKa19FuO38GL/4QyPKpDPws1RGJtleW2e6VlYJN8NIuH3jFrlCCXfQo93pUshnlTJQBuv9Vhd/GNDtiG0mx4lzp7h28TJTU5M09+ucvXAfb7z6LroRM1YdU3auUqFIEMXUtwVemjD0h9TGa4zOTrC7tkmv2SFXkvdwzNTMHPv1PQY9l4X5WdX9100Nx7ZpH7TA0ElnMxzs1clXimpYsL61QbcDUxWNI8dL/NRv9fnKpSGf/XiFe7d7dAKfznBI3Le5vtGjceN3MUdG6a3LBXQRf/2L+PVNzNpjWFnZmt6EeASrPEncWyYWEJ/hHS5tjDSGvPvHLyhdsNZfw02NYrYuYQ27hLpJZE/gjFwgFEbXUGrJi+qd4UocvLeqBmp29jhu/zbqf5IoFT2sLlvpAoh1J4mI4jT6yCLu7f9EduqCYtX4g5uYoi0XvXLrAzK1J/DlXJLOHULRk5ZK4kRRTqn1BC6ubEneQGkME7krSL0ucdUQXesJG8CAyhlF1Nc2XiEJt9FTs2jVWfQkjyGK8sEWoTBsQuGsbRCNfwh9sEQ0aIKkCjW5XwQ4pWkF1RRuQixx+GGLOBqA9OszFq4xgSXct5xwM64qYJ1o5ROpJ3gHajAhZjJJgiKb8d66grXrKUdxg/TeBlZujMgzSUxZuiaEiY1h20SNq4oVRGZMZlREcjYQha5wgqwRxXxSy7LOJrbUz50USVsSmYsEjfex03NYuUk14NFMg9jX1VAn9FogF34BIA+HaBkTe+oz+GJO6N5RZibb00i8fbzyCSyJ9tPAa+yRKpxGy80pE1PibyljmhMf3t1Em2jamcP6YZioM5iqwxZOEIk2fuPr2FInFWZSakLBgHVhmsU74HpE2SqONUW4+xZB0CA7/634nZvEeUmwtNTyyHfl7Lkrvg3I6uhWDW3vstJI60c/SbDxHgy3scqSomujtd/95UQ3MsS6jt4/UFEKa/IMsW6S7L6PLlsYiSm1BXLyEHFjjUSgS4Wjh0AnrYeVmScUCJfEwE0BPOQVBCPULCwrQgsc8PcJLIOUHEwDTxFwg8opRY92gg0iid33bqupnpmu4Q8OMGYuEEknU7b4KmWwpmoFmplDk4uD0LGNDGHzEoMoJF09itlv4DZXVezfzksXdQG//h52Vle9f71wAs2M8fdWMTvXSMrnITutdHyG1iVyU+j5EkkkSokOw6HEL84TDW4rryy5IyQbL0l9F6t2QWlFmr0bFAJRgByCFbxUDaO5hp5NqwN3MtjHzh4j8ERzFaOVL2ArVYOndBuhlieS07goLQQqIl2+/j4Zodd29tRlynRy9PavYY/eh25lCDoeqXgDX5II2RJa6gT6cBXX3cepnFBx56DxTdJFMR24aN09fPFVVh451FlpZaLmNYLuPdLpceLJj8JwjyjYxiidU1NAdr6GOX6fgp/IM0OLDRVv0ZIYzc4SJjGmEZEqztPrDhQBM3QWsEshweYaRmWC/PlP8O6f/Ru+5bNf5LkHjtFqb7I4W2UgtH7TZ6ujc3qmzPKtFf6PnzjB6U/P03mvT250RD0whVJql87hdVcxBbYlWzHpZkcGmdnzeAcNPK1N0a4w7DTUxFNpsnLzh51JoWCmRvG33yU18SC+Fqrtv1Y4hbQt3O27GLMPkYrzBPVr+M1rZM59FmGPhiuvkLI1mHqI3t1vKlhMdvIBvKWv4fY8CrUjJNkRpWRhRJQrA6jfxMhXcfQM/e4q2bEHSLwGUb5IsH+FyM8ShWKEmMaoHMFOz9C/9VV0r0v67PeSSIy7t4qfH8OSHr1s1JM8g9u/R+HUdxOLK91PsI4+R7T6qgJESsw+kheN6GjSNaLS/dC6jlUaJRHAkXVAs+2QxF0y0ueem8c5Pca/+r4v8fm/Dnj+2Rxnx0u8f71OJpNiuhKSKxT4/J9u8uPfXuaXv/Q39K6+rAiiouFJZUYJsnN43Q9IB7qqzKg+vFwGu+sYqXHlsk00+79aOcYgcrFinVgTAr6NnZYu+466vIV6GstdI7QmVOdXGS5M6VqLw7WPIfFzcb0ne8qhKbG8oHlduWsjGaq4TQU1FHCWbN3F+27YMpEF2lfVwMAQ0Jz0nuT76O1jKX3ntmJYJKZM5ofoqRR+X2Kte2rY4pFS/fsoHqLFKZVmSIKeOhhokszwe/81TpWBQFPbDFO6BXZJReBjSqojbga7Sj0XSCVJ+sSOjWaU1DDSMNME/XW0sKM4B57Xx5JhSBQRi9nDKOO23sGZfkp1zkQrGltZAqOIHbYUcC7p3iI1+jBhao6ge0s5YfVUFe3gFUKxCyA2l5TqBWqWVJ98tOgAo7CI63qkpKPnHogUEE3i6O13ID+HZs8SDtfVxTu0Z1QvXKi8fqBhDhtK9yVxdYnKJ1mpdZSJBx1MMbmMHcVvy89ZOm+7JJl59Pxx4t1XIDeinmFRV7qLjkq5SHVIDxsqyh9Lr790QhbhSikqA6UwN0u0/EVIzaFVj5PI9lO0PoMtYqk19DexJK4owxHJV4gaSJ7HpviKPWL5/2EHbe8m8eSjSATC9PvEMm0fboonlcgRxWSC5bfR3V3i8nnMpMuw08QqnoCkQ9RvKJJ+omexEp8gUyQWXY9EKKwyemuFyMpjOaI93EBjnqRYox9pZOIAd+3/VTBNz7PIyvNUeDaG6Hx2SYuCV6wvziiaxPY6HdUTtI0sg2GdVGYa3VtSFxX5fAtUyy7k6N67xdjTj/Lin/4Z3/nPvsSPfOs8b1/a5f5j0xRLXS5vhqwuD3jnTx7izb+8hz2WcHRhgZvX5Ofvq/j/xsoGpVyWnd1dUvksjz7xNK9840W0/DizOYOgWObk0Qr/229d5v/6k03+l8/N8/WXD+jqOtOzRVa2u5RMl6OT41y9t8Pf34148afv4/Ef+jRR3SXQ+1z96pto5RFu3rrHX35jmZsDk8aOR1MAmAEM02DHGvmyiTE0GZsqcNBsMmmnaJmBAjNN5wpMljTK5Rw7+31ScUKq5KBFLTLpKivbfRr9LicXx9nZ6nLQbWHL8ybQ2LRS9LsBq50h9AVvGDNmGfyLT83y7KjHIz/4KRibgNV77L17mX4npHj0PrQohsjEOTqDv7lBfX2D8YcewrbLeHdeotPoUJ5eUIMyzRR76C2KC6cJb7+vlinF8RrdgQHpLGSySpdnJhqt229ROPssJnmGS+9gzB9Fa+8RttrEGBiSWIkTOHI/xq0rWNURBkEP0zUwqlKT9LDiIUmlRrizSrJ9FSN3hHDxKPHKDTL5PN2tDVKnL+Dt7Sg/dnbmOGFpmuDOTfreLmVEn+aiHXTpRDGpyZMUStO077wp4WAKj31YPbvJOARiZ9hZ4W/+7y8yTPLsdQJevN7A8wze3Ozhy9JFk82cqgjjyIAxVIYqhJMrGFZTBjeih/NiciNZEj/hQDhKKTB6keKTdOXzHcQ4OYeSEZAzYwmUcWwSzpYK9KIOT3/0CfJWRK2SZ+bYLGOjOSjlwRBV6x3CsRrmWpNgZxvr1Dn2/voFwv0uuU89j2U1ab7wVYzZC4RGH9buYS08QGF8gs6dD9QFKn/mIXbef5fsqTMUxo7Q+/qXCWrj6NkxUgKVzmbx9vYU8V5AsnrYxBBKe87B1m3F8UhaDaW8NcdqJJ0Duku3KT75caKVe+gSOa/VKJWOMHB7DK+9y/R3PM3v/O/f4F/8x5v8zHccYWO/x6U7u2wO03zhh/M8fjJDN8iyub7PqWNHuXr9A84/d5yik+VHf/YNbty2ePgk7PcSipU8c6WYzf0+L18O+KUfmePZx6v81d/cZrxisd8OqM5nmanMcPP6DVK5DIVSjunpWba2NhUE1Uo5uP4AU9JL+JKfVBfVUqHM/u4enWaXC4+fZ2Vzk0phhIMDsd/EOOkUo7UJ1pdWVfdfqobpjE2/5zGUyogOlZERsqWSMo64Hal4Omxt7VLIF0kXcwTDIY1GiyOL89TrbUVuP/PAOe7euM3ISIXN5S0sI2TxRIHP/2af//B2nYWCDPoNZkYMJkezSk35e2/s8v4ffC8PfOxbad65i+NkCaR7XX6aQf0mtrajTGN2OkuUO4/e+ABr4jH89pvEvQHO5FNEeoLX21GU/BQ9Ir1wSPr3fYzuLYyMhS/2o53X0UfPgVPB6jZJKmNqMRfs3kGXc2LmKPboFJEM3Af7GPnzRPmqetcYQQfPkEVIBqNxBabPEdfX8Fo3lGY7Y5Vwm9fRZp5TTJzIXyHeuUUkW+GJZ5Sm0pfBWL+OqRTiDTRVA5aI/jiGZhI2bmBMP0IY5AkGt8hKdz01BoMOfu6YIsoLbFlqvgJaDmS4Ntgj7N4kVXgUX+sqfbXUfYT7peVliOMSC0R72FSDgyg0VbVZQcH7N1XNTEvLElGWywMi38OWn2FhDn84IBXUiaSiaEotUNhCGcyMpEYFJDimnr3CHDMzNYL2PdXdt6tH0MRG1N9EE1irMYJuuGpYJzpRof2LWjUM9kG4AWJwsCYxrQKB2AAExic/q+YVvEyRgpnFk9qsncZRYBcImzuYsvC1bbzCHOHae2hhgyQ/Tjp3inC4iW7lYbhBrGekT4rm76vqu0b78C5XPKnOyWy9iFmeIfANNKekOFDyd5ezvR8eYOXnsb0Qr3ERvXhKKZBNWQq07qhFrLonD5bQEfvACPHudXTNA2eccP8a2ugZwmGXbGLip3XiO18mfeL7CZxI3ZEFOB4TkPi6YtrJv8sTxbtponU/+JUE+Xq391TXUJ84TdRYAuldmhXsYgk/kVjlNhqiiRgqPZbAqERvJ5t9ffI4ljPBsHFDTeiMwmnCwQ569w5m+RxuEhx2IJZfJUmn0MafRL/zh4ebscppNEPiIfvE0pUQrZ74FqVzIEApmcbZ0q3ok5gZtDgk2niJsHQK24xU7CPJTWHsvU6cOYqWFVd5n0jeKMMumvRwNy9jjtQwc0dw969iZaT7ppNoaayCfFkOGK5exFp4XLmC3dt/fagFO/6PMVb+gsBJKXe4LRG11iUS+wRmeYK4fpnh/jvk5j6Fp1cV6diwZwjaV7HDBnHxOJo+hqHt4QmMIXsMS0jyB+9gjD2GrmeJOxex7XHCtHTCRE+VKKJ4ZIWYQsNOsuqwijVPePA+ekbHCCU1IP7QVZKBgO+OYUpkv/EKuj2tKhXylE3238KqPiXtV4z+PqbeITBka7qvVGNafgpHGyNo/BXJICCZ+RYszVM9koyZo2dnMWVz6m3ip8axDu6gF48cKhtFtzH6OP3dNzCy0qEUZEpIMvDIFA2233iBmef/O4Zdl9rsD/PMIykeOjPKe5eaTJUdpRZrRw6dZkin2+Lv/sN95MsFVl69QcnMYmcDfHED76xjyrQ9VUXXWoR6jkxmAl/6v2tXFZHbHllAJ4dl9wlF6RFH6M2reJGjwCC6P8AvLJIrLtK98xeKbJ2+8AP4q19Dk47kye9S3Rzp+JKRXrs8WLIgVNZsCnKnCJqXyZiVQ9hIduSQ4L/2LvHEfWjb1whGF0hrsYr9epV5Ul4dty20WCG7z6gDpADNBNQi360oXVCkUH/jdQX1M4YSE+ugTTxCPNzEjDzFgPC7ffTqlBpk2JZD686L2ClJbWSxR+5XZNTB5iVSZ/8bIj+kkIvpHOwSS4e98tChbma4hyH8C/lW1YRK71KYsdAWn+VX/9mv8IX/3OXbHiuz2+1RG6lQl+hop6O88S98sM/yS79AauEY7Q9eIjP5uDwdccVdLz9JeRaMy4a6TSwb/dSUilp7Um2QAYA5gRF1GQbSi74fPdpRXItU/ihe0FYaFFGsBJ1bqjIgF9XQvY2RPQ3esorMCTFYK1YJtUX0g4uq42RUBVZTAhnKde+S6BZmWh6y8mBNqcFkNGhhVc+RuF006grWNuxs4RhiikhUlFsO3FplljBKMKSfLuR1IdL22mhyEUQ2zQ6aIx56V0FijNIskW9gCFBSLvFGhXj7RZJyjSiIMCWRlIgsoYlZO04sVOXhLunKUaKd94gqZ9TLQ2tdQndGieQASUSkVzBsg1jqTZ1tEjtA8yx0U7YRBRJJ5CQHRGJbELKtJTqHBE0gisJdiHoEg7bqiyWmfHauY5p57MTDc0Tl1EIPfRLp68vvS1Q+iQe+d9hXTxWVV1cV900BfW6g+TGa+OglVWRmSYS+2BYgahVNXrxeBy17mmB4CVMLFQRUevu6Lv+iojqkRZoMgYfq2RYNZXvdVaBXQ/6sKJAk5i6MFbEIZBbUpj7u31BwSUoVCfYpOKYAJLX0WWJ/B0sSGgLGHPZIOSP4woOQZINAVqUG5DWJRauYK6rPha5nDsGDsQSyykSpLtowIPTaOOXj+O0tNTCwRAubl47/EuFwgDl+gnjoonf2MPIRvhuQqjyI176ClSqpek1izyhAYiLAJ8dCT4tzWQbhVbz2e6SFeRE0CJ00YaeuwIte4xq2/OyqMtydwpfaTNjHNPIEeowp8KF0SdkLUvlJZcLx3WX0QQdr9EkSPSFpXyXj5DiIIsbOPcPlr/42n/vh3+OZD81w0A+p5bPs7+yx7sasr0W89W8nsMs1Li+vkR5qJCkb29aojpa5cfkmszNT5DM5llc2EUNyJuUoxk+rIVpAm8XjIT/zGyEvX67zDz+8wFffWCZVKnJuOoM31NDdkEv1FiemU+iNmAsXSnzuk+f5/P/zOi9/0KAZ2qy0fFKWiZ2SmoTO+VqavtSLLI1SziRGY7KaYX15n0wlo0jtrb5LSvg5rlQaDOodV/25XNFmt+4SRibn5vOEA48NGdYkGR49PclOb0CvFysFZCwASldTG52jUxUawyH7bsiVpS47bkLRF+GNwb9+fowf+Scfp3Dy5GFsffsqnZfvsqPrTJ0SCvc90g8/xcE3XqSzcpWJDz2voFmCppYNs9RNCmJRqk2TbN/DPPMMSadO63l95boAACAASURBVLd/HuvZZykdf4qDr/4OxUe/TfVnzbmTeGuXad++weRDzxAIw2JrmXBUAGIH5CZnlJmiff0i8V4PpzZO5vgJ4u26MqIILDhTmyPY21TvJrt2lrC+RyCJgoc+gX/7LcJ2A+vJT5K89zbe6hKlD39G1RqD1TvYpTz9vs5g+zaliQkc08OoZHHOPQqZKtd//de4ttxgjxJfeXOdl293cUODDD750RxJv8fEeE4dgG3L48hYllZLfr9pRjND+rFBIpaL1oBj0xO8fXeLsbLNkZEql7a2lRX0vxiB1YLn9sYBY7k8vUhH82KOTZRYHwxZ3e2TT4+wubevljSZYpWbd/dBLB6ijNYjZnIatbSOnok5N27xA9/+CPOL0+SzMfr5x7Dv3EK7t0JbNpjpGt1eSPaBc5gX3yPOpXHHJjFE2SfP+r5H3x9QyZTpNlbJzJ+hfeNlTEdSgzPEuTK5YpWDN79C/pHnMCZOUf/L36UwOoExJemtAuH2HVVFCnUNR6w42XH6W6uka7PEOYeCk6O1uYffXqE0eYpWa53pk3Os3LrFJ37qHX7oU0e4sbLPmbkCf/TqFo/N6fzaL17g5jsNLr97g49+5hF6XsLqjRXOP3wE678EjX7mJ9/l5esx/+CTkqCNlJI5n+5xbz/L3bsBv/QTWU4dX+TyxRYL86Pc22iyt3mHxWMLOJZFS/gRkl6Rc3MQkS+XqIxM0NjfIZPO0hv0qE1P0e/02N5YV73uam2EVqON7/ocOTrHvdvLRHHA8TOnuPz2JWq1caqTo0SRxo1b11isTZBKFdjY3SZTSBN0fWzHVMNkgXxKT1zeuRvry4yOz9Da3yWVkfprivfeucVoIcuJB0/SbjU4ceFBjGiTf/nv7vHnN0PmLR/TsNHTomWGQsbmD1/a5xd/9DQ//utfYuX3fo7ywhiZ/CR+UiDUpSYXg1VRw1RPqrNS65r4KMjgv7tFKlshFiZWTywpoXrvhUMPTSoIuo8hFhstxnCbiqElF1lkCCbquEAEu1LHPE7ck2RcD3/kPvTQVs96AdLFuOrSq/l9gs4mjlhjIhMr6h2+u2SPnZmG3gZm7IllEsPRVe3Tbm3hOZJ2Fp1wH9seoe8HZEwdf9jD1lMqnSN2n9gQg5FHb/cyzuhTaFnhk1xBN0cIHDnbvwHCMwjk5++ThA0Q8HPsozeuMZAL9PjDaFsvqVRtZvw8vvjtV/+OJFPGHHnqcIAv5047RSigQE9DD0Mss4QrnXmJbImmNJG5WA5SCUOjQiG7gL/85ySVoyohHXZuY9pV4t4uoWztjRKW8IesDLZUB4ctRdrX9VAlBRWzyEkTuBFauEfgDw4Tzum0gskLY0oq0PaoGOdKmMgybEAQDdQZ9bDf7qMbkUqHGgIdNkax0ykGa6/hzH+caPPrSpEu9w49NY2+/bdExRPKvmBWn8KVKqZKeYuKWoCsFbz6dWwnIaZyyH0rz2MHKehcxLXKpMQ8JWeUwSqaQBQtQwH99MwkUSCLnS0F+TPGzygzhOZMqKSpJNDJTciKUtWbE+E1eTFaWirjKcKNt4nys+rzasUZEuHe9A6I5c/JGUkq/cJkEPtR++KvJ4F8uKR/Kp1ugTsJ7d9OHcLsIklZHGfQX1GEQ3FYq4j3ttAtExJH9BKjIr5C7wlcZJJIMwlaN3CcqvKsR12XtETzBkICz6GrA/SWUnHIxNCszRL2E2zxThqaispqxbMM9t5AN0rYyRDSutqeijo6kXW0uLzr68ThLmF2BlMmIkYafShd5Bwpvciw/jqWliFxskqTZiYy+biKnV9Ezy4QyqHMP8Ayy6oXEWxcxRo/jRk3CIySmvLJRVoT5V4UkSQhZiAHYYfYayjCsz8QcJgkuvuEcjgbP4UfDUn5EUF5QRpPBK6G2Vklzkn8X6Byu6qvEZkp9aCQjnO8fxHHSePJYTHy0AWi2FtBMjiyeRbtk3dwU4GvBDZhmBViV6LXoyqeKsMFfbCt/ttS8Ug0izAUMq9GIr/HylGluUpaN4iSIimJ5Pi7uKGGMzKLdu8FDOEnWKNKRSJwwqR0BkP1mXRsQ1M2BvFsR/YocThUv8NC8SSemRzqwtxAEfE92drnNHKTWR559EcZtAyefmqO+noDs+AQDGIuzBu8ujHk6rWAt34px8Rzp+ldbpDIhbmSpV9fJWeJ1ih/CN6QC0tzDSMzQeQ38Dst7InjGIE8qBYI9uQBuafo4wg8w93Ayh/HtGLcO+9hzy4S6GUS2yDZfANLtCZCGdUzxMNVDKeiLvZ65QzRlS/jp6QdMUrsCVchr3R+emubYWuF2K6SmXxK/Z2C7jpJfw/DzuFv3cKanMIpnaaz+jKpxW+H7a8RG7OE7pLaRpqFSQar76puoNmWeHoVQ7pH/TpOZZFQOuSiTtQyeN1L+F2flMCHohG0/lW1RU3VHqd398/U0Ey3R7Cm5oiDHnbxzCHNuH+bJI4wxo9hew7tyCdHn25zl9LU/fR2N7EGa2jlUdLP/wM+/4++wL/6kwYfPZ1ltmLhuy63mgkn50Z55d3/j6X3DrYtPe8yn5XXXjvvfXK+Od++nbPULSvZwsKS7TGSjT1mMJ4aGGqqGDzl8QxFNDYFxoAYhhpgBgMycpItY1uWJXVLrVbn7ntv3xxPjjvHldfwfgf9pVKV7r0n7LW+731/v+fZ5NNn8vzLNy/Tv/U27LyiYIh+5uEYBkm/oz5LqSYPKEc9iIxMiLkxhiFbbxujd5s0a6JPPqk0M6lMfEW1M9wilo2/myPo76ukhlwADd0n7vewpDbQ20ErCUSvqpJD2cF3lAua6seI1/4QvXREAb9kECHPIt0fYxZmyPSQsL+KXTpBNBAPcR5NnODy+C8eJfLbKhUg2bNxd4Oc4ynAz3j3DeVudyeeIAubjPu3sN2jGN6hvjEVcKCAbMbbCrgnU3Pyp4m3v006eQ7bmiVt3iOuTKjLZNK7i1E5BYMtIgHy+DJcMsnKT2ME9xXELpUYu7x2jQhL3OGiMsxKWF5JvZgCodULcMubJBGoaf9DTO8EiKll1ENPR4yHtzCyCqYYPYJDIm5iypApVR5Z6YybkrrYfxtz6gJxb6i4FQIzEniYgG6Udi7sk7mL6BIxjwVSNH1oe0hCIono+mPCaKQOjNFgh6xQxS0uM978Nq53iqgo03V52exh6gGhqIbKJzHihkp9UThKNhQonoXhWofsgkCA/Ivodgm796GCgkmiQ/fkgm2qGKC4lKVPaSbbaljtyPciN6EOTtKXiwV8FMo7ap4wE5JdGVPSNpLsYkgcJxilY8TNWwq+pFcvkO6/T7F2noH4mts7aPVF1dlL80s48j3b+BaGJGwmzpJ2PiQrXsKQ53zQUTpA6VmmwoERmJlsYsUjbBmkUUOxZny3hCUR0dYWmdHE9S6SybbBv4dbfULF8rLxFon8bO1lkQyorYhcQqTCZTrTSuGEDEQaH4I45e0SSa+l1JsmfUaDpgIKls68xMbb/5H/4X/6EkeWFrl7fQenECrV1d4BGF7Ka//6HPfe3qQb5Jmom2zdO+Dsk5e4c+sDKjmPyuICu5ur5LUcrqnTjVPKnsPu2j7kc5x/rsYX/mYTf9zg3DEPjSK3NwIagyaj/wr++/OPTbHa0bjycJ9y0WAYaNzdjhmGAYuTFo8frVPMizt7yHjsc3rB473bbbWZmJl0aHcNwsDnoDdkZq5MKPH3KAVXo5rPMfQPaxzt4YjJXI68rtHTDPbbLWYnJhgN+ywt1ZifmuG1qzfo9RMWyp7iGPTikKJpUK9WaHYHDIKYxZLE+OSwXSTK+Xyw2uTgIKQ7MrkwnfG3vvAEP/KJMpx/jNF7G4y37jKSruduQj3XI/fY8/Q7LbT1OwRBdphcmVjEcTSC9fuYS+fQWy2yC09i3HmXeHYZfW2V5v3L1J98HjNfonX5bbzJFYzpWUbf+QPMxz9DoeTQfu+7VF78ETXI1Jpt0ulFxu+/TaFsEJbqh3aRSHzWFsPOAWY4RgsSsqWjKoWQbu9jXXgBf3eH8PI3KD37adx6gd03XkefrjE5fZz2rQ8Yrq8y/amP4M5cwI7WYdylsRXw5W9s8k9+6yq9ZEzXN3i8Zio2x3StSnlO/s6AC2eW6HZ6bOwE+OmIxXqdVnuXvXFA1SmzvdtmaqaIkVocNHocWS6hxRm9KKElCcNRxOxUlWTcY68xZHahRNROGeghlulQtlJ6UazOIhfPn+Sdyw/Jlx1eunCadz5cVRyaxx4/yqvfuMueAbt7HVq+XB9NVcErFW1G45CPHq/ys5+Z5NLZKWYsA+/ZF0lFo/a1r9L1QoxHPk+yfY39N15j+bM/Se/atxhs7DL/kc+w9+Yf4xVLGM98Xv1cw3f/jN7afQpPfYr0wRXM6QWywgxuxSVuNNTMKFi/jSP6snxKNn+CbGuVbOxjeRZadUqBD6X20nr193Bf/KIaiMrzquBm2OEBk5/9HZ4/5bFcEYVqGavo8LXXtnnl12eI4hlG3SYyAnN0h0FPIF8THD/m0fXb/OI/3qIxdPj0CwbDqMjwoM+pFYdvX20zGCZ86W9dImod4EzP8vDGPsWSweLyMntbu3TbDQ4abc6dv8Dm+kN6/R5nzpznzq1buJKsigKOnz7Orbv3qBQqOLkcubxDt9vGNnPqYlrwiqzdf6gG2eVckY2dHY4cP6o2ma5lK4BgV2wYc3NsrcvPMMf8yiINYQc4OYb9IVu7Ozzy2KP4wxGNVpcoGlGuS/zZIOwN6Y/Git/rGjkqro8/scLZn3mPz10o0o0T7j7sYdkaj5yp8v239zl3qsbvvf89Gv/v/0j+ib9EKNai/kNqszOM4qrqbQsIcLj1Klb9Ekn5nOJ9OXTUxjnNfKzaeUa7H6ohd67+JMP2DXS3jKmjNN9GrorpmgRZrBZ6coEVsK7ohynNkpZmGF77MkY0pLDyIr1hU0yvZBTR5ewk5xgRvHauEunTeKZJ4HfU+cctzSNym7wkx8Imtt87HEoI4HvjVQZ6glsQLbr4/FKMcEfZDpzl5xUXRevfJ9JsXGeBLHqgLspWoaRqcP7m21jFSeLOJlbtCHq+TtjfI+nuYM49Q+qWMA/eBTGSzD5LsPceudkXFOssDYfqLBF130ETFtTMJaXUHjdv44mlyCor849winTLUrH3IOlhe0fU/x7ufQ9HFN3Tz6C13yQyJrGCFqmoiSvz0LiDrpavPqHl4kqaUOoCRpGkLfYjU12A5Q4n8GYj3VdnFOPgIXGwqzgCkmwPwx5u1sdPHTS/haVbRDlPnRVE6S4gVQEmumJtEKbP+B6mliPK5cl699DmPoItesfCBcbBquLbmQfXSHIraGaiKnICyUy1CqlA8nsHakCj6pZSPSxN4QrQcST2MFnI2IRyl6vOQ3EO/WBN1Sck0ZgOPlRpJz23rO7hsuJOgzaGN41mSz2pp1IVYg3TQjkvBiodKMsItZyafpK4eVWd5fS8LNI10kEDjQyrepos6itwoGEV1F1L67z3jzPZeocClUgL6pfYFtmLuB77Nw438PkykcTYHdF/ibdxrCZdmT6AQRdz4hRpR8BbRSzXJs1sgkGT3PRJwq1XsHUB/VmkVnToV/Zq6DKdMgU6JYYAXx0Q08oShj/Gtw10ObxK/CProe/eIiktYRVOksYbmALmiOUBKDGPvuoI5oRFkGYknRuHdGkjRi/J5spWPWHRU2Xeooo8CuBJZlCiJssym0TgFNNPqMiIHrvoAo4bNwjlkm/NqgGCFW4Qjg+w5n5IEZrjh6+Re+QLaqIUXvvqISyjdAbDkMvvSZALgiXRYlE/TKPFQxhtEEmH3z2mNBuW6FZksxeNSQbXMaSOoKdkot1wXTR/SDDaIw41BQQR1Z+TrhGnDsNej5y1r2Igul4i8reIo5HqCMvlINl7kyTcVbFct36RQAvImttEcsiWX4apJeKdW/gH71N48m+R3PuKFCpVJ0kmbrpbxPAfEmVFpUrUnTk1FUwDR20GTK9M0PgAU4Y9srk0SyTBLvbUBFloU7rwLH/18z/Fl3//Cn/584uMmiN2WykTkxar6wPyVYtXL494/VenOP6FTzG8sY62vyZmN4LqMfTt6xSWjxOJa1W4BDsfEO6tkX/qZ4j23iHeuYI98QLJ4B5xfxfr2NNk4YCkt48tMf/qCrrEy8UCUJ0nG45UlFsAi8gH/dZ3VHw/f/6TxO27+ImNObhP3LqDoZdxTnyMaBQSPfi62rxGgzZeMY9+/KfI1v9ATY8T6RcXKzjePP7mdxXJ2YwLKlqmS5Rt8gyD/TUqi2fwN99Dn/sBxtt/ihH6GKUVou1r2MceO9xY7n+IefwT6OYUyfYHUHQJRHWZDdGLy1hhQpK11OQvE7WIdOOnTyhoniiHBGSiyeViuI278BLhznUFkLSzkE57k/zELFbl5OEQbjzGnvKUlcA9/iS5J8/zCz/4z/nSt0P+6g9Ps7vTwLaKBIOU0Ojz6rtj/ucvPsX/+e//Ld3Lv6v0XJq2wJgmjllFHz1k3G1iTj2PQZPMl4HIKYLRA5UOiS0XU8ByY5Mk3TmkoB7cIdYSNe2UKpEmoBd9ihTRjYpVtINdXSaRQYZo+EY7BJUlbOuYMocIJM9KRRd2CmMUkcjlf7RDKNtkpSXtYbuiBN0lkbi4FqNXzqhLayIvTB1CsV4UxL7QVGR7XS8qpoXmN9BzczB5Br2zSezv/zcPfUTqnDwcGLevo1cfgWyoUgqWxNY0sRkIWyRTA0rp5tFePfTPiwqov45RvYCeDhgfvEIWu7j1c4z2r2AbrkruCCwKebYK8MaeITYNDKlG6bbSaqbDXfVS0CpHYLRLFjRxM9FRnlD1hHDYVFovifQjU/aiVA0moPMhTr5wePEvTimGh1WaUuAqqzglaTSywR300jkyf50s8NGLx1X8Lhv0MO2EVKB1MpwM90j1gmAs1BAz2v+OqtRIlcr0HxKPxaV7TEESLXkuqrpDES3eJBX7gXdcJcGi9iZ2YZHE30WXOoaAGwWCKEkGYbZIHljqTf2GgnzGuo8ukT4tUTUOe+ajpPL/s0uqKiBDC5mcS6fSSHNkdgF93FI9bKN2nrC3jiUgKjmcjMZkB+9gioFAAJS2KGEL6KN90vyUsgFE/R0Mu44umtDuLUxnCo2KMptI8iRVdQBJeB3+DsCQNHdReaGtUYPRUN4XL6BburqgxZ3LjMMM013AcBPS8UANvfygh56NQKKasVx4WkodKee5aNxXg8m410K3UzS9Sjy6oSpe0n8UUGw0Cpj82Gd493f/BZ/8sX/Ps8/NkjW6vPD8PHcftLhyp83UVJE/+rWLPLi6RWB4TNcS7t1pMFEtU5ye551vfZ+lY8tkRkzeLaqKy/rGHsXyIsQbLM/NUq84/PDfvY9lDDg1VeLOjkYziyh4stGKKJRcdncDonFKbIzx9DxHZ0yubQ157Eidve6YSGjWRokbmy0WakWmp/Kk/ljpfXN5C8c12euPmSoWGQ8HBENb1b/7QcTG3pDjC1WpchKOQ5LAwXV8FqanuHJ7m6XlOus7LaolGztMaQxjcuU8VpwxikeM/ZQjyxMMBmMMU2dts8VspUISRQrO6Wg2jYG4j8dsD8Y83E7VWeYf/MVF/te/8rLqZ8ZSAbp2neagi2MVOXi4ytS50+pAZrQaaIsnVJIruvoa7iMfY3T5FbzqHFF1Hs011FZOd01Fi/fHPcyoh3HxcWyjTv/13yH/1KewPJ3md76FERtYuRzuuUcZba4rU4o1fwS/38XodAVTgXvhKbqv/yHe+WdJDY2iUPI/eINhc4vK/BK9rVXchfNqaOc5IbizbF59h5m5IrUnHoXSNPQa7F2/zR9/sMc///YGjV5I6yDlzCRcfOQ4/V6XXMFGGw65sT5keb5KlPh0D0bgeoTRkMWZMus7oRiaqU16BAIYs0w6nRA/DpSmrB+ELE4V8WVzvdtnZaFCvzkiiSMqUwWlX+w2+0RaytxEie5gzG5zxAtnFnnYOcBxpcYJq42YI0tFBv2Ilckqd9dWma5NUCrrdNs+s5NlPjxoMupFjCOf1sDmoBlj5C0W6za/9OllPvXRRWaOzhEXK2gPbjC4vasu0unCHFp3RyXnsvoEndU9vPEO2uIFRpv3scpV8vUy7dt3sPQAu75C6DcVD6B3/Q1qjzxP58Y76G6B2tMvM157SPvd71N65DxOeQZ9dpGD734diwh95RTa6l18pPa5yMT8MsV6yLEf+c9UaiVeXtZxvRyN4ZC33h/wjf/nKI2NLm5hhlZ7m0i2q1mBYt3g/tU2T3xsgcljRf7F37/O5TWLhYWEUs7k8o0u05MxnaBE2B3wL//BMVpdjeZBRDDoUZ+a5t7te+ScPOceOUF9Zpqd+w/oi54yCskV8uwdNMmh0Wn1mD+2hCe/w1FKq9ngxImTXL96hWqtTn1qkt3Ndfww5uixY/QaHZrdJjMzMzTbA+JwQDgOOH3pMeJ4xPb6JktHT3D7w8uMxj5z8wvK7lGuTXL32g3OPnKWOBzR7YdMlYvcubeKaeocO3uG62+9r5TLZx9b4uTPbXFyIWUxlzI7W6Hd8WnHI27cC8g7Nje3X6Pz9n8i8ufwKnnFOIm2d9EqklbzVTQ7y5bQo5uHsO/JE4S7V7AnnyQNt9AMT9UzZQtt1S7hr79KafoMfUmtpX2c8kl1ntBGPkm6rxKfbv24umyFvZvkZ54g9GVI18D0jjHc+C84U08rHZ6oUHHFU28QNu9glxdIClMYrYeqK68N5TxSVTwXPeuTDQN137DP/Bjjne/jTRxDSx3S/W+TCURX89D8DXW3iLfexJ2YwfeWscSo07hCriaWi4jE72OamXpPOdUzRJ1NUi3ElrCq31VnVM0RCGSbeDTClIVJ6ybp8vPoQUA8WsWSZaBTRxN+m3CIhE+TqxOJBWG0QVoSwHmZpL+uKoaeu0DU/0ANMKzUJtHGjI0cBVlojLfor/0x3pGXsd0FYlnq6CZm87ZixsmiR5JfVvkIsUTYDdnkywV59zD5N2qh5RcJpZIXD8hVTyqVYCqVgNRAi3fI5N8dd7AmBax7l6ixjTb7jILYa7mysl7I0ls35Y4oyUQdw00Jmw9x6ueId94hqy9j5icV2NGQHv9gWzGe1BlFS8nCLWxnTi0cpK4xoocp99mDD4gFQmzNYAkMPu6gT10k7d4mkwFL+ZK6L6aDfay5S/h7D7Enxbi3D7JoFtC9IYuRo8Rpim1naEFTVVi0yhkyM1P/Xvwmutw95a7ZW2cgqtTJ0wrSHe/exCsUIFdlNOigtd78J5khoB+Z5tg1LEaMJPo92FNREJlcpfv30Lwy+nCg4A9y4bO8CkkqKggDW2BButCxPbLBNllpXnVbJd6iC71Xk6TANG6wQeSdRM/ZRAf3FUk2qh4jjqQbu3EIY9q9Tnb0kwogpvXuoZzPxUXScR8z2gU5CMcDAjunYu9R886hw3FK3JAjnNwyqSiMOrcV+TnRcoQPfwvTPoWxeIlMYHqpi/ngd4mSHrljP4HfWyd2PPKVx4mabzIa9SnI9McV8v+7CMY/yi2p7W22/k2syikyL2K4t0MxX0IgitbCp4gwCNf/CHfiSUJdw5QOR+k0Ofka994njTbQvdMKApjELbVVj4snSVp30L0qRvEM0eafqgeBPSM1iiFpFOFKx6h5A3PuZbLxAelQ+vVniI0KRthQ8VVLfiFLK5hmDMOuAkkIeyBxz2CZPsHwPsZw/N9in5OQnybo7xAdXMZdfBx3OMDXhCAuhOsdTIE3Spda3O25ImGakHUP1DbeyioKPGTJVrT/IaPmPt7Cx9HDq2xev87xv/C/cOdP/zU/8Of+E0+dzKgeq3NyepHW/phWdwPHdfmPbwb8s58s89O/9lka//kVyu6IpFQnST2CmTPkNt7FTDRGwxZ60SBstSgsPqm6hYYeYjIi9TXG4o22bZWGEGq6wP/8ve+hTV5UfnjTtUiCWPEGDN8naB9gWRFRZpCffZqBgD0kWZBzlC5RX/4sadYmuvPH6lKn1nLy8GmsogdiHDMJkh3y1efQLIF2DUmCQOlc7JknSP0twtYHuNkSwfgm+vwLih4e3P2m6vxbhq8mrlE8SXTwChQW0NMxwbiLKTT2aIPMPY5bnScNhmStB6SliUMv6qCFHcP44KEC44k+LZUecquJYfjKkCDEVn3pBwj9W9D1ScdD8md+iFG3weD2n6kDdrk+oWjuUdTAGuyiHXsG51SZT3/0t7m2A3/jJ+a48qF0Rj1On53nlTce8sqHHb7ytx/jE3/z39C/8RZ2uIORKzOISxjydcrmW6wK4wOS/BFFslfKv3CIXX+eRPNIxtfJ1r+BNffnSSVxFO4Qi0olMUhzRXJ6xrB1F9tylec1MSWSWmR08DaGXcYozuIUpxnuvo+TBMQzP46TrjM8+IBc7ahifKSZbCabZEKLr5xVw4jMrGDbOtFQLpIBemGBpPMeRmsDX/zUix8nsaZJOg+wS2X1uUr7+4fPG0nB9O4TpS0SfQbDSDEt6bpq+OYsVrB32DsPAjVVRf4NelclaQRTpvW20YQyLDyKzocEtYskiYXXfgNqTzCOA1zpYjkTBGEXQ6bEuqEOl8L3sPQyiRB5c3nCkY8l8Lv8cbX909J9YsvDTD2lDAo6lzHlRezKhcTDUDDClKxwnqzxBplYLuTyu3ebOBsqPkikjWDYwilOKYiannaJtRpWfKC6u5qeV9159VxIBDpYQN99g0AzMUvn0B2TpN9UJg45NGld+XrF6jJ9mGywhPp/nzQ0kfaAQZ/MlrSNRPeERSCWAIck3kPfv0k281GVTJB/eyygwfwyptSUhvfUu8conEQ3LKL+pjJ1CBVZag1ic5B0hjaKib0CbnGKSM+T+ZvoQUykW1hy0BO9T7CPZucUV2LUu03BmiIyy9j+fQXwykQL56+hiaJQFEH9HbLR8R2ZHQAAIABJREFUBkkUo8mBTOoSSZc0f+oQ9qgqE1Vo/4kahATtFp58xtyj6P42vmiROtvy6joEMWZ1dYkVa4BoWqPhNlYW4A972GZMlFpoSUMlZtLmurzz1ecrGN7Eqp4j0wri7FHuZtPJKWVs7dnnee93foOPf/Hf8/NfOM/ubouKlXHQ8ZUOND5o82/+9hKjfsbth2PqZZdYeBVaxv5GU0D7zM4t8r03brJ8bJGFk/Pkggb9do/FI0cwnTGr2yH/6jdWubxjEaRw82DIFz+6wsbOAUmUoyupBT3F0zMFFRtm8i7SKNRcSrrBeze3mJwsUnQ1muMR01NFmg2fsmUyFr+24eLlNG6uNdVQwQU6g4ALJ2fxwz7XV7scnasxbEf0whFHV8r4Q1sxHvwkU+9K0zLIVTzxbXDQDhgnGu1Wj5PLU2ppEI9CdDel04+xdY2S59AeBvSChFrVYU46+nmNxm6P0swU17d22LovP2P42ZcX+bmPz3PsE4+AadP42pvKBFB96mU6N7+H7VvonodvmsSbG3gXn8IfpVhJS2yj+PI+OvYM2tjHf/g2ljuFacFYNl1Hn6LgufSvvY5bWsB4+nniB3dV6kjSbv69yzgLxzFzAvJtq+eBtGP1ood//yblZz5PunGH1p33KR05Qji1Av0urucQN1p09ncZ9YYs1acpvXRO1YU+fKfJf3n3Hr/x6i73doaK9XO0AM8+NUUw8tXmbWV+kfWtba5uDbi0MsvVewdMVXO8/Nwsb769w2Z7xPmVWWVjuHZ/S22UDcejZtv4yKLGwrVkESab24jYNylXC+x3+pSLEvmOqFfyyj6yud0k0A3qOZ3Hz01z+26bg2HA0kqZN9/d4vSRRfp+n/5wxEwpx8O9EdVSXoEKJzyT/rDLOIuYrs7SOGixXLc5CEX7FbKwvMS162sMY58ra3K4N3lhRefHz9b44g+dZeLCAtHRp+DKdbrbooU2laaxcmSR8ahH5/Kr1M4+Q7TXVAswb26e8aCNWfUwuynUZ4g7TSLTIi/cmtmJw1TI/jrhg7tYT7+EvndAGB/gnnha1a6sYoHBh1exahZedYb2vU3mXzjH3/jf/jU3dh0ePz7B7nBEvWDyrff7fP2XjxJFY77/3gFPPr2CFhoEgyGhbUO7y+X7B3zi86coVEr877/4Bn1fZ3rOo5x3CLsjfNtWgzbvv15afumXLrK7NmL15j0WjpymUHFoNzrsbklyqEAwGjIzO8N40Of8E49z//YtQgG4WbKndui1GtQma+p3yrJM9vb2WVpaotvvsnT0mIIB7qxtUSnVuX7jJhceOcXW6hanz59ha22DvZ09ZuenafZ6nDh5SrEAOs0mx0+fVPDozbUNtjf3mZ6bIe8IT8hg0GlTqNXUENcfddSicuFoFe9MnRf/3LtsRWOOTziUXSkQ6wo8fGN1n0Y3YafxijJ67bzz+ziTl/AHkkC5RunUZ4mFhi6X9+ISYetttCBQ225TeFNCaY97GPl5rDRiND5At0qk/W0sV6p4ctEqYKZt0jgkkbi3LQmubVVP1oRzVJ4AZ5HAX8fLSaVHzFC3MSpHCMIAQ2pkSYekuY05f0kN9uNQ6m6GWsiZnRuEhcdw5SI+lnd+FT1poBVPqch32pJ3Y6YA4IkvCW1PJQBjY16BhnOpDH1rKrEdr72HVr6AZQ5IOtvY1TNomsDSQzIxDQgoVzbQZqhMOX53DbMyhVZ/FL2zoT5rQZbDFiixLDTMAnpduAJ9Mn9LKQjN4EBBIDUxCkjlT/7sTBS/PUIjwxzfxq2+hJ8zlNUsTwNf7pSieR/skRbmiOMWZtBV31/TcUilAiz8OStCL66QyFkuTXGE6yT3mEINY3BA4s1jFirqnR2JKq9/G9u2VKJbL6ygR8Kzu4Ux/ZSC7kptIXXmVU1VDjxiCZB6bSKAxlg0lAVix1HnLWE7qaWWsKrisaL0azLAFYNa6uEI083wFM9Bvo9y7jTp4Xuz6O2b5IQjZOTor34De+4J4iwnATS1FJG4vzV9WiXeTD2vYNRylzYLCwSddaV/z6wauqGrs14ml35JY0thZtg4rNRqCfHgKk5ugtScJezcxtDSwyRhcR5dl8rjCEtqWZI2EHVy+/u/mDEaY88+Sdq+hb/7Jvaxn4LRbQU4EQCdOJEHsm3aeY/c+b+AJmT71tviw0GrzpB0NgnsGnkvT5ZbIBnuoksXo3VfbbWt0gzB/d8m8k7jTF1AG28Q9vawSnX8vds4c08oeKBlVAh7D0hyUziBwCekq+6Sls6oF17cf6g6Z+QniUYtTM/FKi6TdXdU7z/M19VEXUX1ZXwhh8OxdGZTTCFRB7fR3SeJpD8bbKJrJRIjVCqvUqHCcODD/ltYExcOD3Z6RhRLh1ROwgWwJ0juf5V4+hGy2KPg9gmdY2SifLM1gkBml2Ps/DFVU5A+kfR8SDwFLRQSuVKI+OuQFXFynurhGK6kGxbxwy6Z30J3axjkiYMdedqizz1JcP/PyAtrIn9WqQMdATxQIrY0tPZ1jNLjJKMtbNsjlB+uUMWDnpoy4cxhk4eCqMsaGNYxRtvfIBf7qh8z8AdUZp8ilhSIdJhl6yfxJLtCOtxXwC5NdBPNXaXSS6VTYuUIOvs4+SLDdkfpPkZbN5msJVhP/jRPLzzHTBmefeYMa5tDWkGTrYdDThxZ5IONHX766Qn+2q9/kvD6HeJ2E8euE4UhIy2mWF9g1LyDU10i3buPLSqlShEnnSDYeVNRw4NAppcTaNkAS3R0/Qck0RB7/iWGD15TW+XSiZcYdjeVzifaeZe0cBxr6VmiW79HbvFZUs8luP09YaIpPlOUuRiTJ0n2PziMWC5/DH3vbRLpl08/iRH08Tdfg3wRc+kThGtvYZgJdu24eiGMGvfIi07EzLBsOZjm1cXFsqvS8EaXyP7MWSKzhDW4hpZZ4M2ql1vcaWHkXYKdK7gTJ8jkENnroukFtLk5FRFONr6lEg7OwjJxOgn9XfKVOYbNByT9Tcz5F9V0PAqbFKdOEKxdpXf3fWrP/Thj6dnfewWtIOmbOq7XRS+KGnMPPTeDNRcSjXscfewNPvliHWnjtrsD+iMPxxthBznu3m/z6lv/lOLJj7L6rV+hXlxBqyyQdWQYMEcgPajxOtbkJYL2HaU4CXUdMwKrWFXTW10i0WlAKsOKRMMa3SaJAzJ3WW1dkv4NDGeJRBNKv42VthXhPg2F/H8V36liCVk+2CHMHPR87RAMKL0oRyoeGsagrS6ZahLf2SLNTSvwnePmlZJNk8NxVsYf3ULbfZvEO0muUoVoRJx4qm4TyoWyeRd75hmMRD5P4gFfJop10u47mKLujGVpJVtZh7AnysAFBaxLRg1Sf6i0nGEsG/dT6uInHBBz5w1MSQRk0vUXhWiCLhG3aKysBXIBj+IAx5shijSgTzo6wCqsoGVj4rCHZubQRJdqTZAVjkHzOhFDrPwFNH0MUZs0fwStt3oYty/Noo32yXJnwAiVpkYldsYCbS2SSooBF02SC9JntD3i8c6hd9c7dQhHHe2raTdTT6jIuu4soHNAOu6p5FO29SeKSJ+VT2MFq2QybOs8xJl9Vv356WATvfaE+plmzXcUvNH0O6pKhLzQDGFurIFVV89Ik4QoHON4AmSVA3tIljrouvBdqhjkiBpvqp+5WT9L2NlCkzqXV1YbEIH6adJkN0OyfoNUnnV16XUnyhyju3moPIXWvopl6ITymZQXeX8Ls3KaNG6TSVpBBh+Dhtru4y1gCVRw1Fc6WrHcmEZE1LqGLumXbhPqJeKh8AUOoZiZdNbkidq6glt+lDhuqk2OW1kh6q9iGCZG7VEiUcAO7qELC6R0DEvAh6Gk1UYKfqnnVkgk6eRNYqQhkUz4BUTpN/F3m8z88F/k+p/8Jh//0X/O516e4aAZcOnEBK3OAV97u8fnLk3ya3//PLfeXGPYHzGzOM3u+j5e3qQ6PcHevW2qMzXmjk4Sjg4d9cWTs/zWV9b4p1/eZd9waXRMVmoRJ+aL3GuOmMl70gxgNM6wtJSD7oCzK3Nk/oiNlk/oj5gRBVsuIe34KhaM7VB2NBXjT6JMbYjtao5eY8Cp+Tq6K5F+6fImlLwCZhZgOjFFq8hOr0cYJ9TKBeIowh8HNHzY2OkpaOnpCY+7W20F1K15JueOTXLz4a66AB20hMSdI69Be6yRcyKmp8pIYESWDZutDhMFV9pXuEULaUKKbqw5GDNTMWhGBg/vtmglBudmSnzlH73MwsULJFqF7iv/AX9UoHjycYbvf4esbCDmwbGkZGwdZBiXn2DwwSuU51YYtPYJsKjOVkicOnFjE0Qf6eQVAFgfx4z9A0yh3pcr5MolRjevgGHhPfk8o7e+zXjUxzt6Xqks7foUQSgA2ibJzm3yH/1BtJ19AklUGDMg3Wiphe224MTz5CtjPvqF3+CdrYicAWeXLKbqE+hayGwlx/XVprIdmYFBtaodnotMV3GBrEJCVwYmB12cosNUxWGvG9L3BRTskvo9wkxnqV6iF0Qc7Aw5cbyIH2asLE6x9nALP7XI5zXuPmzy1NkVbt3dUsA5t2RihhapmVD0XLb2eyxMlujKOdOJ8bsWjt6jUJsgC8a45SLdZkjbDxR/pz3OuLgyybUH25xYmWB6wuPBjs/axi71coFhPObRlWkS2+Tda3sEccCdpjxn4OUjeX7+s/N88vEFKrKZH/WI/JRue0ic6LiNe6RzF9GzLqMHa3jzs+o8FY1iwk4Hb6KCvXSEsDVi9PA97MzFnCgzHLbwjj9BZfIY29/9d5h7Tcqf/hm6176J2U8ovfAxmltdbGfEYGOf5QtzXP36u/y133zAXn/IipPj1Nk8b90c88s/qvPSF5/jzptN2q27pGOb+ePTdBt9lViaPrHIcHtMQo+FJxb5Z7/yNje2DZ66cKjXK7mZAu6++X6Pz37E4mf/+0e5f2uD9t6I46dOcP/2DbzipLooyKChWJ5k496aGuDVypOM5PIgrRmho8cJAxk8Tk4x9sdMTE6wtb6pILbHz5xnb2uTbquNZshnrcSJU8d47dXXmZ+foTpRYNAfYxekVpAyGg1UvH/QExVwpiq1Z88/xgff+z5eQaLaDqEfEGsRs8tLBIMxuqPR3eozPT/BxFLKx3/qGqupzaWjFr3GmLMnp+gFY/ab8GdXW9z+k7/LsWcfxX/vawTeCey8S7h1A2fmHMn+FVIxLOkaSTTGKZ9G63cZ994hU5tzofWLFlZgtWKikPraFIQjMn8V31pEtxLM5ip6tEc8+QyGML9yDnGiofdW1XlcjGJCqU/SjlThGd/5Kt6JT6oUoxkOFEMps11ldRFYb5KMlZ3GyiJ8SRrIwFeiepOPK2h5sv4tBeGzZl/EkKye9MejnoJ5S+IsrB1TPCRJKcpmODn4vlLp2sWThK27aMmI0Cuh93uYtbnDVKU7S3hwU51Jrcp5ZdbJ9t/FmL6gBoRZ8zLe4vMqlRu1Rce8gKFbaPE6Qd/HrZwk9Fex9TKUjyt7RrJ3Da02j+4tYwiPZSysohDL0slE52fbZGFbfa26PBlzU0RhByP16e9+SG7iMYziNGlPXPfLygwhA0wZkujaPulATDfCI1klrMxhRJIEv4q28Ak1VIj3vosul2C7phJ2FIukMpwY7KOLanm4gyPLj+K8WkTIoFhYdgIERnPV0FXOfzK4TQbrWFJrH7XRSsfVQiOWOrakhhyNzJtR6mCVxs4i9X3UZAmit4iGwgjYx6qeJYnakocgSEJMWcRVn0LiTcn+62jutIJlS4JXc+vKtoeYKuqPSgcO2rdUVTbSZDAt9FQT3b+HXrpIFvcJkxDHFs7TQBnvkvwE6YNXMYwEY+EThDtvoZdm1KBBa7/165khlFXRS0ct/EELZ+oRtGCbRDqbWUpYXMIy8mRtmfC4JAPRWOXJvCWSeIwhcffiafS0RWpVVMwtbN0C+SXNwJp7Cm24SRzK73+GJlFrOTDJh2K0RZLJBvU45uAe0egBWu055bs2g111EY2dGRUnzQkpn5RUiJCNB2obJ1FMmXLEKjabkPXuYIy6OHNPEyQD7CAkqlxSW11z3FGpBQE3iGpPL51R8V49HuKKPu7e90h06dzX1AHXNE0SK1GUyaB7E9OYwJJNsSNAokBNvORiZ0xcxBiESndo6lVSW0dPAqzKRbXNGq5+B7teJz7ooFcmSOw6jmjNEnFbajjBmNCr4li6etngS22gSuZ3Vd80JxfInNCtdUzZCJgebjBUFPPEWwLZbEXCbLhGWjyCJ771bEymFw9jqZEMZqbQxq+j6QvonsC7Nol7myQTF9H6DzGKJ9RFRvomVtQnkIOnxEoamzi2T6C7eDIBE9+rEZOT6eDBezgTLxEQkYtuK/NC/sQlPnnqcxwMm/zg07Pc2Bhxd7vL+VN1Xjxa5td/a5WPXoR/+6UnJOVNHNdwxnv4zgye3mOwdZd09nGy7bfRTQe7ckJBEAVgp7U2yWbPoR1cJZSt7srHiW78R0XkFuJ/0rxNrv4oiWUSrr9GVJwjZzoqZu63rqmejLjj/d4OpgClJGXRuIU2+QQ5iR8Pb6A7K2TVR/FXf0dtb9PyErmZx0g2XyPWdHJzpzD0HP3uAU7rPtr0IqP2mPTgQ+zl57DKAvzIEzeuqC2p8Cssb1qlSgxJVlQvEiZdtN3baDML5Orn6e1eQc9cbIky1c4r2KXARwrVBTVJDNwaxWKZYOcO7vwlgt13VNQpHe0qWrTEqfKVmrowCDiFYI9UgJOWTJHnSJrvk2oF3OoEFBYZbbynOAkSwcq0lOG4Ry0+wPjY54lubHL2J77GpQWbKTm4F0zuPgzUZXS3EeNUClx9//+it7kDuodXnKW5/RCTDvmFxxlvvqUo5jJwEz2iPMwSiS6FAVr/Paz5H1SRPqN/jcw7cbgFlv6goro+BN2RJhyZ7ikonb/7HmZ5VsHy4s5dTPnzqqfRO28QD+VCdB5kaxtsYAjlNR2gF84ePqdk66rJ7790ZWeFyqcig9I/1wXYqCpNTfT+PtrEUbRUJwqGGAW5jHZANtiFI4TjQ6Cc5c2r9Il02YX5IB7WNA3QJMkgD1NNUjd99MIERjpWcfQ0EN+0B5mAOUU3Fyv9pMT14/Gqgqnq/V1ifwtr4TOH/nN5pghRP+yRCCg1c4hponfaUBbIotyHBWg3UmDDTPzCY3HDpmqarKETe8IvGVGonCPsynDMVMkr6fojG2l5MWtVtKmz0FnFkhOJ1PT0WUxtRNy6rdIZplw4zYSo18YwYozycZWksOVdIY7c2jJa/4Bw702y+qMUJx8hbt8hlMGDcCkqx0mlD9t5APKsksNIGoHod/oPscVokMVYzoJ6F4z2r2PUVzDdvNLySERSlGx4y9jlRcXgMP0+hqrCSE1tU70AZfvveLOyTmXUE7bHANNZVJeaTOpLYpRofoghf49QQOsrKj4Y9RuCfSWziiSGjRWNSCTGJ8wAAUwmMjCRTKClEgWm1sa050lNW7EEwlAGLwUsfYakf0cd2szKI0SjTcSvKZAiW4BGDMlG60o1m69MEjvzRDK4FlaEn9Jf+wOs+RfJ2znGUYqlyab3HllFIFMyRB5iJCMC4Y0YJZyJIyBDz/IiB/f3WHnxBTY++D2OfvRL/I0fWVDVvY2dfZr9NpcfZlRDk/e/9Qz3v7+GY3gUKhqt/QBXOvJRwgeX1/iJv/4077x6nbe+F3Bz4PKND7v0Bympq7NczVHMDMpVg91Wk0HkMF2wGQz7HJ0p0xoLJzxiwvbY6UgSQCfnpUpjlEltxBLeQ4KVy1iYmqUxbDL0M2bLBTpZSnO7Q75osNmKaY6gog3p+CZeOc9ALoCGS384ZGLKU2CsZAhpPGBpaR7Hb7LX1Tm9OMnRmSJv3N1gZaEksywKRYeg2yNfrnL9+jqnTyzx/oNt+v2Ix04v0hX1r+Wy05QEpMa4MyRnWjx+YYlxMOTNG/ucP1an3+0RCljXmeW7b6wxskLmTI33/78fpzbnwV5AW8uRiwLs6RrdD1dxVuYZ3rsshDsKx+doXX2d/MQZpRCUbZyQ+inXVaom3NxEn5/F0XIM7r2L7U1QePGHaX/3K7iLkjRxVLfcnKhj2g5JZ4xbzzMMDLThLtnggCC0KMytqF5oZ/sBsV5jcbpKK1eiPqljTpb5hV/4d3zlzZBBL+ZzHzvCXqNFoeiyt9nE1zMWl+YIwy7+OGKqUOfG+io9P+PJE4usTJf45ps3mSh7FL08vm2S0zKqVTFaxDzY6R8qMF1bxdZPegXW2y1izaAsnKS8R7ffo1R0yNkeQS+gbWvoksrwyhTzifpz1nd9qjWbmzf2iW2NciHPbL3EeDBEL3jUCjmu3N9UCcGpmqegcbqVMhoqDDG1So7dgzbELlkaMDcvINGYLM4oFPP0hmPCfo+60OzTmPu7Q3SphNwfEJoZP//SAv/0Vz+PtjhJ9u032N8YYdTqquozSm3yNYfuB5eZe+ZTBO1txgLUbDxU9Udxrkt1s91bY/LpHyAaREQ33yM/OUc3CChKr3tyHkMzaH7nT6gsncQ68zjx9gOCNGH64z/Mja/8Npf+0ff4TM3k7IUZ7ndGvHO1z+ef0Ph7f/Us9x4OlSFlZrJCZzykt7vP0okVWo0eD++vUs67LBxfZPH8Kf7gt97g1357lx96psCMEeOUJtke+bzyRpMv/kCZR04Y5IpzHDQGDFq7nLx0gXzJ4e4Voe1PqCHJ5oM1qrUqk3Mzauh2sLPBiVNnaHXbamGUL+TVJb7XGbAkiYnhiPUHG8yvLKi0R7c9IFfIqcGuHNm3NrYwZPWp6ZQrJby8x92rdzly5piyC+ipzvyxBVU98UolwmGkwHpiBZCaiAwhJhenaW7ts77d5ZOfOcXf+9Id/u3rLV44W8IMbUahjMRTJio5vvztNr/9d87zY7/0d+heX8c0Yuj3GUV9ZU0yrYAAUbsdqC26OoPL4kw01oKezUsVr4Sl5UiG2zB8oFgkuCWyTM7YbcJhH2PiJFl/V6UkdEmOBQPIIpLBAVqxglWUWsE1zIKOmX+S0drXlY5NTCtmd4dx7wFaaRLDzisotaq3mbMYdkriToKkG5MxcbqPox8h3vsO9vQisbmMLjR6s4hTe5ZR0iDbfk31vrOVj+DuXyExpd7VIeq3yVWWifHVeccJ2vRFByfn5Pyi0pv7/VtYqUbqTmKJlrB18zB5LRWZ9rtonljTJMFyCqIDsvCQYSBbefO/QacjqWo7R8n0MpopCpAdNVRyiwskmUa6993D+p0zQdJ4n3TyIq5uEN5/TW3CFfSgNousI81Bg2h4B9NaISstHBL4hY1WOILR2cDvP8BdeJYk3MMUdaIwAeQ8L/e09lXo7StFtQyXJCGmK4OOmB220eSuZoQYY5dQC7DzklqQM2KCnl9Ak5+zqJX1Moawn4abavghEXpjtIsmvX9dOECJsl4JAFGAsKktS8AJhnJG2npfLQ0t+b631kirc+jdB5i1CwT3voruLZKWZsnl51StQjPKxG4NTXhPelVp2Gm/Q1Y9R9qRz0ePNDeDmXbI9AraqE0o6ZJjP0Kw8z7ZeA3HmmHsFrDjIUEyxI41svycqknKf7RSjazXR+tf+b+zJOgRjdtqWq25S6RWmWRwAytOCHwB0nnk8gsE/fsqyqulLbREU5uSLNgnDW0VU5YeBXKglounW0AvL0NrVW2TjHwNzZ4kkQt92sNKLfThLvb04wwiIWaKjqqsInsuAX7nOqY9Rzp1SYEhss5d9IJsLMeHl/LCEbKHv0NCDlPcrbklMltix0NSXbaBx6H5XbJEnPBnSQUYJQe6eEAWim1AJnE5dVDJ0hb9SMMrnMHU7jHuCkhsCsPSSBFw3h1kSEJOuqsWaa8DqY82WiOTyO3M04f9ne4atrie5cCTdQgkfpwVFWnUnjpD0m+h53IE0pGVr0E85kI+lZ6KwA9juahMqUuD/M3Kf+1KtyTAFj93FJMmO+gFmfQcqK+JcYAhk93NV2HyY2jROnFzE2/2WcZWhOecYRzeR9v4BqlWwxF7QWQSqyirRE18dQGheIRYDvjxiLBxRW3k46Xn0Vubiq5N1jx0V0rEOwoZ6TpecZE48slXysSDffIXPsef/uY/5Kf/0u/wk5+eoh0NyXyDxfkq93datIfiNh/z1e/+ZfTty+x/+wG1517GX3+LpLtP6cSn8XfexZTL7OTL6Nt/SBIYeNNH2L/xFhWJFy48qyI8ujVNWlpRvSz5/VJkfIqkjq10JEYYEfY3sLORivQKMEx+huP7b2MuPoEjAMuxr3q+zsIjBJ3raJ0WYSQvyTzZ9HNY8ZDx/TexFo6QjnRSL4dtFNSGwr/3OtbEWXX4j9pvY3tniU1dbXOju2/A0pNqsmlYRfU9HXRWKa28SNy8AcNd0GqHg5TJS+pwr0VDgvG+ilKL1jHJXAqkBBJHTnvEu1cPJ6rVefTeAakmHviAmIDMrpN09pQv18ydoPvwddwTF0H8rLnTxIUEf1dMGI+q3rPuLmPnjzBovIbfODwgZf0e/RRKn/3v+A//6Pf5mV9Z5ec+M8/RmsVXXtvm5FSJ0kzGb36tyZ/+q5/h6S/8CP76dXSqjGWA1erg1cpqmBZFHrYnSYSWUoJKV8vI59FGB2TWNHHaV5NJ8chLWM8Y76g71tjfoThxiVC0e/JzFEJvf1VojESBjL8GGJVL6IMtAjNCk81+54Fcl5VayNFzatAhc8LR2h+Qm/kIsVz0uqLkPILGSBFtY4lAhRJnrEOlAplPJoNEPUc0DtHyLmZSIhGNjWzI5UUvEMGxvAgN0I+SpZLikQvxWTIB0MTbihScmjVFlg1pk4YRmlPHtsUxP1L2gqx8grR3BcOeQh4poSauYQ0jFvCfRdLewJCLenmBWLbCfgPbnFJqqszfxcgvqdiXRLk0bQgCgSovoZePqINGNrrpciDBAAAgAElEQVSB4c2TjLexzQmSicdg5zuYk8dJE3mWbBMVF9EGPYyxeOxLapsduEcp2jOE/Yck+9/Emn6JtLhA1ltFG26Q5I6rF6VsIGLdJuo8wHIlJruFNv1xJWOwMrE/5IhHl7GLxzArZwi3PiAcralhVJZqmOVlNFEWNW9h1R5XtQTDq6kNfdKWJFWRpHIJo3tNfZ2JU0DzxTksoJuSGijbEodLNDRLqho3VSIgl5vAl/RXsIMpJpbhOrbiJDTURF82EXZpUTEilGscS8EqtfyCciabrk0c6SSmqVI0Au9JQyFdl0jktklJpRK04gJh+y66DEqXnmN871XyKx+jsfkmxXyBMPbx8qKglHpDjthvYmVDYoldBn1Z2KIZBfzhDqXJM4ziEHPvHbL8UfSZ8yQCkEwDzHibQHrblcfU5z8aB5ArkcrfXZEB9QkyYRroEWOtSPWRF+m/82Uqz/0q/8cPHWV32OZO0+fTpyu8sZ5x5cYBt3/3Gbr397h24HNmpqQun+s3Hyin9id+dIbXXmvwc/+iy+3tmHxhyGwtz9EJj+4gYLGoM1W36Q8SNvohecdl0OlQqVUpuAZbO21MufwxoB0IFNFiftah0+0xtzBD0hjSk6FALmN/d0zJ8njQH7PXCWj1YmVEkZSHDLfmi5B3dbo6FEM5T6WcXS7TCyPu7iSUHEntGXTChLHAg3WdlgyL9BhRP8ufoWY3OTUbx0pMIiumUvQ4tuBQEeWxEfPU4iSm4/JHr9+lP0yZWioQBhHHZ6tqsbG/PWB7GHBsbhq3kOPWgx1mKyYBY5ZrNa7tD9lb8/nqL3+cJ370U4zeku3/BL2hRfbOm3jnluk9WKN26hRJUlJR4kxi48tLGJlHtHkdPV8l0PPkI6mB9fGtPKV6nu61awoElmQ5krCPuTCJvXSRbOeuYj/4e3fIDg4ovfQT9HdvkHcCsqmzanA6vPIGpXNHMT64RscuUX5qBW/tNj/4t1/j69cTnrrkMRlDLe+R2Bau3WenFRBnRQatPiuLJa6t9jl/vMznHj3J73/zLXYih3Mnj/OHb7/HeGxgu+L6S9jrJ+rclYp+quNLx0cpjsMMqjmNtvwX+czmbUJ5nqcmhBHVvIZXsciaEY9cmGGj0cIYa1y8sExru4lrZUwvFXh4u0FlpkDeKNDs9/BHfUZ90Et51ne6nJnO4ZUdWoMQLxWlrMnZ49N8+/V1PInnE+MKTCON1W+XOO5XN5qcPzrFUr3Ae3fWSKwchiSxHJsPbu7TGmjULJe//lGDv/KzL1F/+mniW3fZefUt7Jl53Mc/SefmNwnvrlJ94knS9P9n6b2jLUvPOr1n571PPjecm0Pl3Dmrg9QCgRokGIRmMJiFNeDBDB4wLBhYzDBey2YwhllEGxszGLPWwCyGICSBEEgtqYNa6lTVleNNdfM99+S08/Z6v5p/u9Wlqrrn7P197/v7PY9O2Dwk6GzhFauUP/RpepdepVqp0G500TqbpDMLWLkiycoq2ZIksSL09Q8YuTVKs5N07l7FMQqUz5+icfMO537mff7kl5/mL7/0Fu/f0ZmdhRnD5fd/vko3G6PZSwj7dYoCW9y6Ty6Xpybfszgg6IcPEohpwqmTLm9fafF//kkbK2fz8ed0NQT5x3cG1PeG/NFvnWHjbo90EFFbmOfiO+8zPlFh2OnKcY+p+SnV7b93b4Xjx45wuFen0WyQ84ocO3dW/TzuSyIi5+F5Ug3osLd/SKVUYGZ5jjBOiYYDDup1pufnqVTLtOsNarNzrK3cVdavheUlXv/KN/m2b/8QfhqrKkC/36dQKipSubAGRFcrnJXpuSl6YcjajVUefuQsN2/e5zt++Al+6ede50vbNT5+IeH6dqysPr3WgKPHJvjcV3b4D//qOD/6u/8J/83PMWq2lQ0pc8dJe+ukQ9H+niCND8mkEyjbfEmFjWSzXMIYcwjqTQkaYoiRxzuBKdtaUZLbOTR5749GpGPHMWUxZ5uE/R6uFakkYWhMY0lF0PBJrTEY1hW8WM6GAjq3SieRqbQW9XC8eUaZqZKFZr9J4m9i5RbJhA0WZWSDDXBMDHk/d99BM48x6ss7L4fT22IQblGefYrQlGTpCBIHrb3NUOvizDxK1rqJGZokjovuHxC0N/DGz6KVlwjkXTVaI3SmsbNJ0LbJ+kMytfjwVZojck+iCxRQ6gSaqIg7ZAIftXVSPcEuL5MyRda7iCbGoUJFpSo1uySrKpL2LrqotWVRo0+QyaKjcQkzP0ZYWETbvY3mpMqgRrCHIdH9/AxpUxhzoincU716ARamEtfPChhGVy1piFKMsSMKfm45OrHYeyrLGN376n+rgIb9HoE9ga3HxFIzd2XDP6WUjnq6iSl14cKySnZkkjLsH+CWjxBI5bkvDK4aUWddJS50w1DLVBn+SHVPhmViUNILJdJASFQ9DNchbt/HcCtkAune+DJubkHdj9X5VfTDw3uMbv4V9ol/ilGZwxQmWG+NNF8mtefUmd0SW1TlGIYeKFNDMljH0VLFt4otEyPSSYuLmJqvap1aS+qOTbTak8SSptActGKV8PAunldWd6Jo2EXrvv3rWTw6xCjNkPiCMF3BKJ9RAD655GYSoZcDdjpUcWSKE4qSnQ77KqacJXWSzjpu8RSxQKvEITk6IBNQU5Yj1YZk9qQCNOjelCKFa2GPSHQK8pHYuYkpbsOsp/zJjjVOJNsoUXLJICEcEGz+A9bDPwbiW+/cUdqJTCKeWobhiRt5k0S0bUZKKtCw6hlo3MQwRgwTA2+0TSTgKTlYZRGxTLusitIkkEha4T3M/Dy6MAW2/k5tiKyp82q6a0gfWV4dooXIxEFvEBji6QZTUgfRIVk4VH+uMLUpFsYZ9tax5IvcH5HtfY3c0e9QnnbZMBny0JCLq2zZbv45+rH/Vnm8JQ4u00epOojWIgp6SjshKpEg62HI72/QImx/C3v5e9APbhEXJjBjAZ6FZGZKVnqWrP0tkigltSwcUW+VloiG62StVZyjnyKRTqneISjMYwuNXD7MxTEVSZbqhHyAk6HwGGyM3Lzabia+p2oAeryjei8CqMqEQOSN47WvE5vz5E48QZat4I3/ED/9yWnVH7t4pUlsNPFDODnu8kd/3+JPf36J7/iZl9l+8yrF3japkZAJTdUoo0nnZXKBaO8O5twZzLHTDK/8NVq5StAb4E2ewBrt0EsCihNP0br7WSoP/ziJRJ37t9EmThDt76L3b5NZM9gLAmkLIAiJ5fCdHOJ5k2TehLp42emQOLRIfIlo9dB7LobWJZKI9OQzmHGGb/fxzEnS5jWMqQ/RufM5XNtDsywMUamYNWzTJDz4FvmHfpywcQV//ZvoBaH7T2EVHNL6TaL8NF71LMHOB6R2CTNfxggHZFrGsLWJLpTWYx8l6d4Eqb4ILHPinNrW6q0bdLqbOL6GlnMVb0HLGmhuDl/cyfKgLC0RbL9BZhYxZ86ibV8hMjWSNFUb9+KxV4ibawQHq5hzRzH8tlLYjAYrFKrnlAPd3FslMEfkX/wYn3n5d/jLq0M+9ey0ehEPByMWJse5uHabvds+b178Q6z8GQY73yIyj5MGG+SSe/jZIqkjFFsff/uOcqoacoGWLnmWV8M2mitqyps4i2Si1vPvY8leT14iYn4YNjDMPEmWoqeB+ixqyBZ0m1gUmKM9VU9xi3I5K5OK1q9+GWv8KJG5gN16lWD/lrpQ6e6c+rNmhWVGrYuYQvStvaQGbsbgPppTIPMD/OYdBW4RR320/kV0L4cx9ZxKCJmpJHr6ZAIulURA2saWKbDfViyPVDPU5dZv36J89HuI4xH6aAeteFZF1RKh9spF10nQ9AppZw3TKjKSKbq8+O1xlYCIpTYkgwCJ+2kF1aHXlateTBenlO5PuuRJuo0pRFt3gijexXamCSQemJUwc56E1bFFSxoJC2GkHvqm66g+WWpYD6CoEi8TPasttSSdWB5oYV/ZYOSZaI6dUNF92eLHnUNVHZEovp6GKimUGRmWO0a/WcfOCfjVwElbxGkNQ/Q8Vh6Z9qrfu22ja+Po6SGDjkBSa2TpAUYqkcV9tSGO5eZgTStAmvwejSBRvz/hKxiqW6krXWwihP9EGLeaSkFEVomMPHa8RSxvKvGAu9No/bsgcCLTIoo6qsMtOlB9/EkyMyZZ+yKaO4NdO0fW22IUBJh6hu5axIGJlXPIogREJygO49GhAiFm2qJKVQWH72OPP6MuZwLFkyij4U0p20yStJV6UpnPi0fRupJkC0jc02ThfTyrTCBgKXORLBMVUUTiLeB2LjNKNezyY6pjHh2+r4ZG1viiUhFm3iR61FeHBtKGUpaCz+HqOssvfIzk3qssPPurfNdzFa7cGTI/luG5ot7T2d8NuP63T7D97jYN6R/HCVv3mzzzysNMLhT4jV+/zq98volRcvneJ6sc7rXp+pY6lKrthWnSbHXJGRaDWGNuwlHd3JFwKiyHjZ020iA5MVFk6PtUJor4gxGG5iow27VBwHY9ImcllKyMINJ5cbnIQ0sO0zWX4zMOTz5yAisYUHjmY+o7QP0u5CTuLdsqHybnYG9dbq5ATtUJSC38jbtYiydo3VxRGku3OMGld2/RavY5NIeMehpvvn+An2pcX4/YGcnwUMNyY1wMZqoOjx5ZoFAy2N1u0u11VAdcSNDjJXkvp+zsChsjwzE1KqbH5LTN3b029aHB9mqff/P9i/zsL383/a/fIZyqkuy36fSbjMnNza0yuP02lvBHZo4zXL/H+JkLDJ08cXOH4vgsiakxWtshC3qKq6GNC2xuge72LYqnniK8eQm9PIV/cFPpmAsPP8rhm5+jfOHDWPaM+udJV76/HTqNvlInzz90Emu6AsaIVz75p7yTxPzYY4u8fnuT2aLFUJRXps6ZI/N86+o6jy7W+GBnl+987hRf+eCAm5sDVR/YPYiVTlmUYB4Wp8fzPDWWkToRC8fmmaqWceJDZheOcP7RkyqR6e92iQMZZpXV8DNwC3RurKEvjvPunV0FAsz6I75+d8j1rZiwDLuNUG2IhY/R78Js3iK0dQqGRqoFTFak+JPn/GIOzTKZz5U58IdcXD1Uw6GJfJFmvce54y6hb3PYCzmy7NGsB4SZRpjG3Nto89Qjs9y7t08h55HP2VQnyty+t690glMlh4lclRu7O3xrLWG+kPFzHynxP/7Ic2RnHyfZ7tG8+hqupAuOHCU7bJDWt3Efe4zDNy9j1CZwPY/R/qbItUlbh1TPPPoAWv3kS+irN2neeA+7WiNXyGNOjRPVfdL6GsbxR8lPF2h/83VO/tIHfPqZMvV9n01i5hyXvf2QNz//MGuvt7i7P6Bkp3g5naXlBfrDWF3M5TkxvzzD7l6HvZ0Dnn35JMND6bPk+I0/vsIg9ThSCpg/PsHq/R4feqzKo0dddvYjrl5c5+WPP/sA5rl9wLA3xCs5FDyXjdX76pnb6nZ5+vnnadT3FLHfy3nU63Uq5Qlah3Xy5Rynz59jd/uA1uEBE7Uajd1dvIJU6yyxInN40GTh6JJic4gu1i3mFe9jY3sbPdOZmZ+h02zS7vcIez4TC9PkXA9dOD4+jFXzNA8aFMYKfO1v7/Cx7zrD6m6fD/3yTb79XFEND7VUagpdRjFcvTXgUx+d4Pe++CqHr38JI91VfxZJAWrSyZfLYfEY2v0vE+oR7sL3YhgaSf0OTDxMfPiq4mmZ4+eJAh937BjxoIsuHBgtJBUT2qCjTFJh5wPIP4JJi8jMMI0qVmao+p/RW8GcfBH6t4kG19EKF9Rm3TACUukelY8SdLfJyXNBsp3FYyR+XS0uo533wCngzDyP1rmHPxKafaxi7QJ1zlWWycIRfX9fKXJFQWkXZgkP3yetPQmDTeygR2ZUCeXehKVguFHvviLjS5Iv9TNSI8DSykSytJVJnijgtS5hdwt94gkcSQD7DeLCmLpfSAVBrFxSjzQ0jcH2Jdwx6ejvkk2dw1abnT6RU1OLnrj+NlnlNHrlYYz2ZZVqtnOTjMIR7sRRAt9Hb94gLUzjpRlhFqt6rViYsso8RndPma9G0itt7GEW85iF4woEzt7XyUSzaNfImtcVDDB34ftJ+yGj3S8pJbSY0NK0q+xBsjSKhPEkhH9/G3PhFdL2OmF4gCkq49hUafesdE59bpG7niaWtC3FpErz42pxbmYjDFlcCNjTLKOFIyL/UP15tepZxU2Q0KPcV5NQ0owVxXlC+FC5HJYsukd9rNKYek6IES6VX0vqjeU5QnsCp3NXnSG0qEgYNdXn06ydYbR9RSWcpR+ud3dIjBKWUyGQs53YhSTVaNokjVvqv7OsWZL8FHr3puIgaZ1v/XqmOp9YaKMGkTbC1uQwViUZiLt7CU3gAcM1nLBMYjsqamwUyyrOj1km6t0j7R1i104r/ZxMTlJCzOE9Qs3FEFiSqJdsHePgfcJBH3vxBQVUy3a/STr1BGZaJkoO0FJNHablYCrdSpwZjKSD5U3h79/CXJauRAk92cb0jtLf+ga6V8MrLxJKp1XBF2wo5MkSCyuRC52rtn8SVZUOT1pcQpPDbSijjYHyqRYKiyS9D0jNinoIpZ1ttKWn0A5X1UFcqxwnOLyD4d/EnPkBMtH36SGJU1TTwiQwSaJ9pTJMBs0H3dRClcHBFbyxF4n2v6oo5Hpv5QFdU14Sd79AVjmhkg+y5RAqdyR9GRlqSHVH00iNAsnhTewx2fo8QrzyF2QLLyiXoyaXRRmSSPRm8gJR6z3SsIk192m05uvKdCBwMiFg6oUxEqFOOuPK0W5bEpseoOeLBPIzEtiHENntIsHwPtnut9QWMBzt45iTZOPz+N0rePYspldlsPkW3tgcw9AgbW9T/a7P8P/92v/Kr/3S1/jwRytsbNeZrdVUxaHZ7nN5tc8vfGaWn/rJ8xx84zUm5l8gcCKiehPXM9GXLpCtfJORXsMeP83g6p/iLj8H7brSm5hahG/V8IwBo9Yexsxz0LlCVhwnObijNGrW2GlSe564+w6GXPBLiwTNTVLHwuquYldOEpUeI9j5PK5dxo+EMJ1/EI+uzJEevIEx+SSjvfuY4U10uXQWj0FlinT7KmnrNs6pF0hFLzZcU0ojGUY5My8wXP0LdGMGvd/COfsCyTAkWfuS0nwELXlZLRIVbAW1kxiWQAnjravkly4wOmyTyQalcARrsEcsk8GDt8iE/j/zHGb9beLcEuHmN8lNH2VYmMW1SgwP1yjK5UsmlO0dtO2riu7qHJPP7XXSmQ8/qE60LpLpMUa/T1pdwvHG8JtbmGM1BvevqU1M7HuM/CHDOGXpqedJtDs89NHrPD2fUZco+khjbNpjebLGn/zNBk9c0PnsxW/SePvzRHdvUDjzELp1hICW2sjJizoWa4Z8H8RRn0knbookrGOkJprWI45N7OoiSeqTJh5eYYpwsEPUv41hzanzfZCNwcFrZNVT6KWz6MmqWEIVNFN+btDAlN794W0sr6zi4LLdz/LLijcw3HsTR5gkU5Ka8RH3mmGh4KPZxusKMmMvvKQgcsSQCulWBpg16au7CiITyyCu/j5MPYHt99SzLSksq1Oqpo0wwh10AQhlJQx3jEzeLDIwlbtq6x314tYkPhfHGFmPKOhgTT6GYXhqeJrKy14u5rr0/xKSuKeqVI6WI7UcokEXLd5Gdzx0TfR7XdWPz88/gt/eUHE2BttQKOHYiwo8Fwgb4OAuuiGVhpryyGN6hH5d6VolIpZIPN8skw7uYKW6ql1lgwZGaZZYgKydhuoxinZG1IRmVlYRN0kwaTlDUdgdPVIA2GTnHomQ9GvCTwEzkJSUhT62RBb6JFkfrbejKlyJPYeVr4L8c7rofvCg6iDbg8ZlaG2q+lXmSWrMwO93scceAbtI1rtM2tzDmjxPLKRhN0GLRkTWUUz5vXWugFnAtgvK7iHaWXv2IbKwyejWX5A/+RLIRTwIyaItBWrM7CU16M3CA7LhAZZVwvdm0TNDgSpTrUySNrEECCW1MnsGwysQ6SGEksY4JGfPEuET66KzrSrtYDbcVT6KSAwTMoU3TOLMxfIqRIcfqPSZEIrjoIsldgERmLkx5EUbKuYKSxloMv9QbY0sU1bjUyqK7mo9glGGbueJOhuUL3yIxsUv8dQnf5uHzxbwgwJn5kxFnh7oRb7+9g6v/8YM5WKBbqKx8t4WM0t5jp8Y59/8H3f4v7+ccmbZJUfEZE2obdLDz2EU89y6s8vSZInJaoFv3NxVdcGHlksMhhFNqQgkMhAwKFXK1A+b7B/EzJ2cZm27wQerXRY0g29/tMyLF+Z45dnjaI4kYxLGzz6GwsY3d2C7D6LlG/XpthzsooMtl3svQj/o0DkcUrhwCnvrLuHMNLqwPPxUsXCGNz8g//LHifZGWMkhLEs/u0y21UJbPAL1+6rDLomotFfH16fZvHqL3/8v13lr3+bivniyU8aNhMmZHDOFAicrFp1hxKHfYb1lsDQGZ+en+catOhNVj4O9IXk7I2CAmavyzr0W//J8jt/+zz8Fb7zLa29f5fFHHyPOZ/TXD3CmJsgdfYhkf4XGnVXKRYt44RQl26QX65iejhGMpBNHtLNJKjaTsTG0yMeaqKkD5OCtV7Hm5vFOPfTABDBooVljBPUtdFkAxL569qai+Q36FJ85Q5AN+c5/8ZfcbpkcmSxxaiKk07Xxs5CzJ6fY26uTUMKtJJS6Pn99qcnBMMV25DMW8URF57tfWmTZDKkUXJ75wW8jE2Dl1iaFF/6Z2pYmq1cV80mGBPGNOtmRRSkFYpdzKs48aDRwZyZh/Qam2YflJyGxoFkH4SvVmySRdLKvElePUZxc5EtffJPdXpP3Vvt84411diITJ4vZE8GKZknwEcdKWJr2mC7lqRUzKtUid7abSi0XhANa7ZC860FOhuwh81IN6EU8fnaW9ftSYZOUms1o2CaIDdUtLk269LsJeT2gtrDE9Tu7XLw/oqQF/NW//wjf9uKyGugE91bprbcYtLYZ/9ArCpAdd/YZWTaVo2c5fP91zEGKXpRhaYqeRaTlCeIwwG530acWYbKG3euRLB3HTAy2vvx5Tj75MNnJOaZO/1tOzHu8cq5GP+3SG8JX3vd57Y/PqZrNV798mec/+RSb1+6zurbK7NQsk1Pj7O7u0j5oceLMGfqDjuIb3Fs94JXve5Qr793jy2/JEkSGHB4bnSHDRsq/+YXTZEOT9Z0OlZLHYf2QhaPzXH3/FsvHltDshMbuIWPj4wy6I1VR67Y7mJaphhjywJ9fWOTqxetMzk4wf2SJnc0ttlY2KJYL2IZNsVpVi5Kb16+rFN2Zh85y75bwf1LOP3ZOmTm69RZRFFKbm8Ifhpi2webKFqVKXoENc8UiN6/fZnlpglJlhv3tOjs7dV7+2BkajZTFf36JT79QpGw4XF3r8tSpKdrEXLm8z/KUx59f/gb+1/4eu5oQ727he2MUSgWiTM4fSxh6RDq8q7SU1uyTqoqbZkPCg3XssVMKbhmlUrqM1XtQ9IRZv6ngzYE+xB1/jPDOf8HMzaBVjpL2Oipqb8dtEtlEG3nS2CLIOuQtl1hg1nFCGNvoo7oyeVl6FbO2QByKRlnkKpYCGAvLK7MnSOX8LTVpsb80N9CsSLHYonAFe+YloiCh6JUfvAcrzxCGPVwBCo98TKkmChzZtQmigYIZWtHhg+GELnEp7QFQVw5Ink3i+2QC1pXUbxBizZwhvfe3ymoUIMnWFnppjsQfqsqS1CuT0Mc0htA7IK2cQZPlqZxpxQhgV1TcXfeK6JIaEFhesK+G5Gnax0xd4v49VYuIEiHct9F1g0Q676K5M6bRzaEC4BrmojLF6fqIgVjp4jz5vFSofaXji/qXlXnKGD9G0pF7zrgodUh1l0wU0DkBqhmkwnJo3mHUuYo9+TE8t0RQfxXyJ1TFUNKcYkKSSoj07pP2ilL+6tVTiiEg7/RUVOJxiBFsKRh4IhUDqUWQKDZauPkWcXSAPf2oSnYnOx+gTb+sFOWD/Zu4ogEdlwRKpKrAiW1gBTFavEGmj5GWTqI13iRyFtCMCo5VJzOOKctRevgeRq5GmOpY/n1iGdHak0RGSta8AsVxnMTD72xiTp8hNqfIkhb6qI0WDNA6b/xilhRnMRPpSAUkuaOKUImQjr2i+guVrqRXreG35ZAcPuhauDUcu0okfZVIDqXvY4giK9pXXnVbX4bacdLOFUaDAa4nhNzz6sBqmqJBO0q4+1XM/BnM8ZPE/a0HdOacRGRaitwcjA6lOIZTPUWsjRRYS3pEji7bao9Y1F7ZAVbhFHokJOBIKTm04RbO5ItEUZM4s7H1RH0wM+lOiDpJn0GP6+huSUEHDWMKoXJoUQsKp8hal4m6e1jHv005NFNfuAOuqkdY0nlJQZPNkPw4Bc4lrlBCbIFgRX2C8AB7lBGnbdy5R5W/3j+8jjlxFk2i68HGg8uGTGJkNRXo6O6IbBCSyEaoMKMc6Ui/pDSFJd1lPVGAHfQKuuDoc0tgWWhhX2ZoSncRidZK4rMSHey8jzb97YpWHY8amG5FbcFFC6gFcuxtYTrSnzPUBjJRnWLpk0ufbvZBvUGgEZXHiTc+B7ar2AzqodS9StgWh+sxEm1IefkE7f6Qk2f+FWeOu8zP51ld8dFNn/mixTfaBrPtjHe3/hu6d7bwLl+jHzjYR8bRRjra3jrpmedhEDFa+QLO058hWb+Cq7UIBNBYnaWzfw2ndozYXsJuf0AgX/5UHKMmhjxwO6uqO55MnsETlWRrFd0QeFEN89jzjK5+DssxSMwyQeMO+akzaMMHD1U8Rzk4BeqlC5VzsE82HMLcI2jdLaLdS+SOfphI/g6GsYQkMOMeo/o2NNaJp46Sy02TbL9FMvMwrmg02y0yM8SdOUK3vk2uuoxdXKSz/ZaKc9tuSYH/5PIZN65h5oUkOkLbX8Ndeo6ocznKgngAACAASURBVKgmn+GwjuvJw/cTBM3rOAJAGmj0tt5UF57UEZhkBVIPQ34NiYlbJ9GKDn7Swtx4H33mGVJJbDS3SawuXm6G4cYHWNV59PGzjHZuky8FOFMXGG3t0G7uM/tPvpOv/8E/8lt/ccDSkom/bzAyYprDlHMPLfGHn73On/3aj/CdP/oT9K6+TjI2jdHoofk3GGLgjl1Ql1mMmGTYJ9Ei9MTElDSQEOtH99GHAlRZQNMCBq01HNmuy+RSH6jvqPKgycvTqGCFjQcKuvwxBcxiuI6RP0qQDjBlUCYTYEOgKQVS+SzLpTVXQ098zFhDH60TekfQ5BJ2uEZp7jS+kK7DNXR5wI4ewJNU783Io8n0WTawgzrGkW9HD5sq6qZnLRg2yWpPqeeJLhPbRNRzA0yB4Q22iYM6hlDuxbUq+rssh978AKN2kri+SlauqI1/uvs2qYyWa89ide+oKGkqNHmBDJk+sZ+RSMxMBhLSPSw9jCkvMsNQdoOo38A0fMyJp9W/l2e1bZ8kMpv4m3+PXT4C2jSa4yHiZBlgWeLjHTtH0t5Q3nIZPGhJg8SuYUnFxHCIO1eV3tWuPazMKmIPiawimpuQdDpqeOUaeQIB2UjkUTgi/jbYAhuNiVvvM8p03LHniMMDUvk1lLxQeAYmWtIicSVJlmcUJeQMk2C4BpaHrY8RqDRCR3EkIqTa4ZLoAsTzlXoP+ZlXTj5IcUTiX++iOSZ6dxPd8PC9E8ooIdR8XXdIzAJeHBJbNdJwTySoJG4ZPWyoHmoaJipNYUQHZAJ5LOVUlPyBzmiAFbfUWjIVvaykh0YhtiXPTYni3SdL5CK+RGq0yLYvYQr4UN6LowNFcdfyy6r3aIRd8UcSCFC23yeXK8qcX8X6IsNCt8vQbanUHMGAWKb8uSkYtLDSHqnoM8UQkVmEUZt0KBN9Uw0BcmcusPH1v+eH/vv/hxefmuSN1UPmrQKFoke92WNjd8Rf/uKMSqrtHwzxIp3FF0+rbub8P7nGueNVTk7rrG5GOHlD1fDC2MW0ElrDGNcwmJ/LP9jSajpHZxyaDQFbynarj62n+CON/X7IZD5Pc9hiqWjzmz/7EsefOwtba1CdlCMR6foBac5SvuNRvY5dPUlaLrD1+j+yeOok3c37DId7lI6fod+u48Y2hbxDoxdQ8vIqrunv3qFy5jn8+hrumUfZ/drf0e/HnHrlY8Tv3MSfmWS0s04lp2E//gmicI1iu0dayCuuijd5BENAbsPrdFaH/MP72/zWX11ibRO6RsQL54/R7fSpujGTVZdgGKuUXjPpkRcieT/k5NEJ4jTj8noTx7a4udnhf3j2KP/zr3wU9kc06l2ilfu4p49jFHMM91oqyaDtbGAeP41ZlSGmS9zZwxy0wE/RJyZp376ILmeuhx558K5uHlCULfLOOsGgh1mbwb/8LrmnP0zaC4h33mXs2Y/T25aNXB9vegxt8wbuzAzf9wt/y1evdTh7egyr16SR2sxUDdX5nZsosbbV5sq9PsNUuBMWH1pw+PHvrnHO9Dnx3AWsxZNEhSpWb0javELmTNN9+wpRzqW0/BjD9m2RGqENmrgPPS/+MO5/9e84+vzTRL2M5PA+vhhDqmO41QJ+fYhuVvHmDPa+/mXmL5yh6UyQS3qUTR+tPE02Oa+2j5kvWjU5H7UIJM3X36N+Y4U337lDo9PmC1eGbLcG1Jsp7VFM0bPU93IvinhpqcCF05Os3W+x2+gz5VkUxsrs77U4enZB9dALclHCx9E09poCPo6ZKhVoDyIMbchYzmOUpISZTXuvx8X9mGPjEV/74x9n+tTDDL/4H2k2HOwnjjLa9pnK++xfWsG7cIGcneEnXZzSFEbi0m3tKVvRYG+dytknlAc9SiOiTg9H+uizs2T37ijOVeUHf4Af+fAv0xovUysYXFtpkxk+nUGRf/1Jgx/64Se5/tpN4tTn/NNP8PZXvq668bW5CbXgyhUkxaTR63fZ2zvAiW3OPLKEY3m0o5hoFPEzv36Lpy54qg6juSH/4ieeYnQw4NrFNUw3pd7sc/LIHNWJCe7cukWuUKJarDAMJd1TIYljCsUyw16fzc01HMchGiaUxyoc1huMOgMeffZRDvf2Fcdj9d4GMzM1mo02J0+fwPUkZbBPFEZESYTr5nBdUw1OB8OB4tgUikWVYPT7A0ah0DpTajMLdHtdmge7WI5FouV5+LhFP0l57ucaPL6UZ6/dxw+GnJivYRoWl29uMYgyVjb+hHi9QUSewfYVrNoSiVHGipoK7qaVFx9c5ORqWDyqLqOpNamAcEFqqQuvmXWJhBGguWi6RzbaV5fm0HHxSicU3Fxgw8IMI1dT6WcjrBMGNpbmY9ky9C4TjjrkyvMEidibimTdbSxNIwhjxUQyC9PEoj5uXcatPUWSVnBo4AeJshNJsk/UkcoOpU2SBWKQSUlGK+ilZdIkr6xqSivbvf+AVVaZfgDUlcSyGDoiG8OUumOT2C2p1JCYlHx/A7d8AS01MTMBljqYuSNojdeIghBz4hlIhkQyXBBDmCZ69wdJW1N0ilFfMXkyYS2JQUiA7PJnkrN21FKwcq18CjMJSWSIImnB4Q4EddLicRD1uyyZS8uqPhu7R4i71yDooJsFxe8Qvkw6ahF781hpU9UUkqwAnYvolYcUi0S2ULKMzXk2sTtN5nfRcxlpq0Uq1oL8JJaoeSRJ171JJJt0fwdD+GBTz8Jgg7Q0jt6WuxhEklKuX8OafFTxpKRyaXk6iXUEQyrI8T6jYUTOHVOsp1A00KJTtMAonX4w6El3SXttzMIkiSGGkkwpUmNVTdwgS1JlnEhVylKgTFKNvIRbPkOQlDHYIEky4qCDo5cJdQcjV0ITsLJdxS6fJpRzXuUEehqpBbCo5aPhLsbs07D/HrookGtPkYYNtO47/3sWyyEkExpzmUzib1GHJByRKy4RyGVfs9GlT7v1dQXB0Z0UY7jzoFutJ5jS4dVc4tIpBWTRGu+pTqdePacu9Jls8rMZdP8DtLmP4QuUQQAKtRNqQx8O6oS77+CMncOY/jaSTHrmfZUaMH3pZCYkxUmIxzCGsrU5xM8m0AQW5XdJ6lcgP40jkeBhn2g0wqssE4d7WHaJxN8llAOuHPz619GzPFEiPWMB6lRByMyZo6iTUejjlAtk9jJGNiRubWEZLrEnndAEwz1OJnAm01IeXl0rguYTxz0sb4FERWhlmgxaZ0P9nUYtUWlMkiUFjKrE7SfUh8UbtPHlUinER62M3rxGVj1CKATOMMIuzeLvvkESG+TEBCA7os4BmimTp1nCqItVmFO1h6R5TfXJ/VGP7PCKMhlEQQunIvAPRz1InOIFYokFB6tY1acx/LpSjRnkyMTtLe1Jb5xMyNTSj8+E0LxA0tog1cwH+onWhlL3pDKNzAvwrkXpkY/y6Q99nG++1eSffWpO+YBnS3lWD+ucWZrlD/9qnY0/G6fw/Iv0vrJCEjfwpkr0/D3yphyuBljuLJaADp0pjIObBELXDGNyR18mXv9bAnueskSEettkUYTtWgSakMAPcY4/jeZ3SDp3MEZd0tIcUWMf98RLD/rkrTWioE++s0MgF8P5J8lrGb296xjFSezqnJoCMvsCo7VvUViW6LZO1FjHnnqIULQmByt41VkF+ZIHdFQ4jtm4SdyX2E0ed3wS0xwjks3TnTfRzDaRfOHzebyFTxIcfACbr6kNnnXkecVGCA/fkpYzmvQkRR1TfBjqbxAXjmItnMHyRwrYJ6kMU+KEcpkOYszSohqSObWTDJtrhDtXKTz0faq3ajkmUX2dsHkbz3XJjEnM2UeI779BbNrYR74P/8afk+gB+fmXFHjIsqQdGWP4JsNwiCW1jJxNbszlU//0Nd7a9vn+Z8ZZ3d3HlK11OKLRNhVv483Gu+g3XqXpx1hRgi/bLHcCJ20Sy4UmlRlAh0jLKa1OaOfU5iBKPaUBjQ0HevKd1LHzE6piAjWycAesEhy8gzH2GNnkKdLdr5IEQyjOqVi+UOkDLcKYeB5ruIWftrC8RaLWNna1CEGPII3Qq4+hiw4ukwnzjjwPGR28iy1DIE+AabaC6xjNyySueGulFrBFIjFVU/77J7H2volveHizT9Pb+TKFylMkrk3WWUMXk4OkC2RKH8ngSzpvonQMFeDOEIvF/ltkAkcUZoAoDnsr6DJ1Lwrkp0i683USK086/jSe6HLqV9Gkqy8mjt4NdbAzay/ii1lluElWlHrOAMtxSIx54nSE0XofqzBDUDqKebiBNn6OJN5ExyXc/Aq66OWOf6/SxwkENEmEzVCEJCIehGhGA6NyQVUiDNsmkmhcpj1IgSUNNL+PXjpGMGpgSdIiCdFkSJxNkEQ31DAnFVu0xO/3rpNOn0YPRxi5pQfPS/kMy/DEqqBrPqkYASQZJimlcIDh1Qg678Hcy7iZgz/aVwNLozBFfPgOmhzAKi8SmxokHfTOHQVbIh0RdVrg5dDdKprfwHBnyVxHJUMScZLnTxJ4A7TmUEXz5eBmlsThfaCUg+bYSYLEU4gHKepr+6+TiJlm9kX0QIPRPUKBV9YeJWndRLdLhEGILbF/K4RBQ/09muKfKVYYyf9NcoAphF4zp3SdwoNJhm0sO1KUX61whvDwbZzCCQLh7+zfxBo/pyCgCsqoCaHcR8sto3WuqjpLOKqj9Q7Q586p3p/00Rt7dU4+9wJBa48zF/45iZPjueUcs1MVLm9ssrQwqRR5v/8/zbC1GlFdmqJ5f4fF45N84bUdfuB3D/jEaZtBKBt0jcg0IRO4m85oYKh+475sUx2XsbzBzu6ASE95+ZkZbq+PeHe9QzyQVECRhaki9d0GDEb89d/8S/UdjncP6DT8Bx514Ty3ezjTBcKBT+/gPotPv0xr6w652CaqlTAnjpDs3yERu8DcPO6wzyBJsAoVRiu79O5donT2UdWVjxtNnLOPkW1t41kprV6INeHgHHuaweXXGDb2cEtltPwinds38aZd9Lyl/O5zZYv1fbjwk/8ddA5htE88ivnffvMb/M7nb5DqOsNE49GaRm0yR6OfYZYtjhYcfD+kZ9rEnYTAkCCDT7Op8+Z6m888Ps3/+3/9GNFwha3XruJVq3hPv4L/zlfROi0i26Myt0Dz+kVMzyZXHCOcPY4WBqQb66THlkBivdVJopFPcP+WAkzlF2YYtdsY5TJeb0hYncYYNsG1CVd3KC5P0mn1KM/N4R2v8Uf/4Qv82H9a4ftPuFyrD/joeTECaFy9tctEeZobe1tMxwaf+eQstalxLjw5x9yJBdg+JJo+il59mP5nf0dZSdwjF/Dv32UUWOSWFrDCLoP2SKnOcpWI7n4Hb2wK59xjdL7wnxl/6in67QFZsE9upHEQmowzIpk8RiTwqn6LpFCmeuQRxQFIunv06xvgZwTSNzZNCrPHad+7ythslSxXxJ1bxM1nmHKuWngGFo/C6kViM8f62+9x951rvHs/5ve/Iec5g35q4lmZUu8+eWxKQR5zSUrO0xm0Y9phSHPkq0urk/gqUSPXMyOBWi1Hv53gZxo1V0cfd7i3csh2PWU0ivjpF8f4uZ96gsITzzD82lv0Lt0nKY/DyUXcbEhvTy5rPstnn6Rz6yJZ/xDjw99D1qqTbV+HmfPEl99hmFiUxzNGQZni8gJ+Z42pT36SP/iJX+df/12PV84ZuI7HxPwMX/76Bh99PM9v/sJx/uovLzM7X2T59El624eESURj/5AsMTh29hiNnT3ajUOWzp2mOp5j6+59Vld6PPrcEUoFh2++s003DDHNHF/4h/t898tykZ6hWsox0vL4nSaNRpPBoMfy8hHy1So3Ll1RUL/qRI3NrW30VGNqapLp+Unu3bmHZbpMz9a4ff06e7s9PvKxFwiGQ+5trFByCziujee48iPmcG+PTqfH408/zsbqBnnXpj8c4jg5tfnvNTqqZiYAUBkcFMeqJGlEtzmi22rw0MPnhbXG+t11PMPmxJMVPvXz19nu5ahYPvNLE1y5sc9sTeB9fd68mrF/59/hRCmrG4dUK1JJM1QFM9QDcpLeK4zhDwZorQ8wZx8lToaqBuTLEkDuIqVTxMMOumWrLboMcWRAn3akMltFEy6RM0XgG7hWXyVXpf8uDhs3Zyq4nC8XMX8PrXycxF4gjfdwLDGvbKqhn2zErcRCn1hWF+o06GGJord3T51nBC6eujPo7jRmvspIS3Ayg1hqzN40oTWFIcsVvaLSdgiHK2+TDWKSeBsnd4RMl6FBTg06BLScSLxckkzecQlISiYO81AYPCFG+QhREOGWpkj3r5BMvoTGACPaUWd1LTPVey7tNxWB3sifUEvERCDOKlUn0Dmh4csw4oBY7Dj2NJor6eARhrTpm1exJ04RJrYCKStjkSX6ulmC9jdFfYZZOaa6/0K+17WqAsDKwtpMewR+F3f8goKap3pBgbilRipsJamKSyVT6r5BdwejchxNQJ2ddbLuO+hjz5JUzmJs/T361JP44YC8aHOlYta5R6IPMURdT0Q42oNOHc2OiPNHMKSW2bmrlgIEu6Sx3OUsgv4qxcmTRJIuaL9PHOexxEJg6qS9FQXmNmT0mITki0egfR0/fxQpb0apRuJLemCorFTCGZDzSCIWO72EkUVEopcc3MaQ80quoMD2mVVGFz2kbRJvvk3mhtjZtLIXiPWEwglMp6TMEZIYSHWTdLCD1vrWr2aaovTWVPRAa1xGc+dI5S9aVAlmUXnSEytH2pEt7CPgzhOLVs010XMnMZJ9/ECmQULFhMieUV3baHiIK7opgRiJQ3R4D+P4p4nb2xi9m8QTj2PIv+vtY5q28gBH3hjpoItZlM77KqHuqTiooifFfQy7Siov9L0rJN6iouzr6i+goCLtKLLnHIE4Ev09NYiwhdDt2KofpcWrZO6TYPawZKvDLKPgOvlUtBIuVI+QyuSmtYK2+BGl5cv6W5jiXhZiuaEr93JfplvDCN3VyVq7GGlbMRAs2UDKV0vptsTHKequBnoq21obJ2nSZxpNXkbBrlIQWlnCyCozuvNHlOa+h3RijqTfgeiARKDduRpWflJFqslCDL2Gr2loO19Br57FqhwnsUKS+hqF8jK+aPsCoY9+gOaewpCLhb9CVngSrf06QfM+5sJ3qkN+0ttWH7Q0P4knEZn8NMFgE6P5Afr0h0iRSV6miKd2d4dRd1M95Nx8hf5oj6mTz9PYX2Pu3E/xnU/EuLlxKnJA2t9nYu4Yn32jy0++3Odnf/N5wsv3iZxFRv2GiuSYWkKwcpX82afI6rcxHI9I6OXpGI6b0bn5Ku7i0+pQbjhziuQf1d+jMv9hfOkfGROYrXdIzTy26MmG2woworszBDuvKR2dJiq1ROJUQ/z6gepx5h/6BOnedQUksirTdLcukiuNk7X3GElUxz2m6O76eIWsfkCUSyjmjzM6uEJiuripJY9WkmIZSy9gFOcI2ldUp9moHsff+CpZqYYz/jDp1tsk4w+TdW6gH95XOijmnkDPEvzWNewowlj4CKO997C9cZJ0iC06skGPpLWGvfQS6fYlsokyxtiz+Jf+I/rCM5iVWbK9i5jFcaLGBqZsbscWMQ7XlN8c2yNs30NzZjEWHld2jFQ6+YP7ajJsnf9B0u4mpmzO85O011YwiibliRxpq0ynd4PSR76b3ctvcfaTt/mBT+bo7kecP7rMpau3ODFn8MX3NH77p5/moz//i/Ref41sQrbhZRzPJepskRhT6oEkF0m3soCWO6om3cjlXrfV5j0Twrv0yOwFtR2T3iRRA0MmtOMfVipN+R5nhoCaNEzhOWgt9LHHSPb/a7xeK6FJHVgiVLH5XyGjOllJBjvXSKMBWmEZw5kmaX6FdPI7sOK2SvloXgVDXuLuDEb3LqFc2sYeUi7e1H9gn7AqVWKjiibgwuG2UujJEEwLfUIjjyWDGcUkKWCwR2TMqWFi2rqhhgRG7gSGGD4GHVJ5oI9CFUm283lJ/Kr/Tkv3iEeR+hlIzy0wJpUaKw19NWTUhGNSLCuNHoM1dPmzFs8SSsYzuo3rnSOSIYSYQZwFsaCj+TvY+dOgexjN6xizTxCmDknzEkblKIiWNI0xog66oaFpOoP+LnaS4My+QO/gW7i6g1Y4RyRAm6Cthp6ZV0XrSfzYAqmH6CGOWSWxdMLIxQzWlCFG4u5msElmVtHyU6T+Otqogzn2BNHwPmYcKPWnmDk0r6a6lEnjPRwnT9LrEZo2jlrH2GoTo0lKzKuog5IMPaM0xhXKW/EcmZUjHA3Ixz5B4y200hyZPUPavY5ZPvPAluHfJe33sMefUHF9zSqRxH1yYYvEkEHuSP2alj1NKurH3l30rEtm1VSVRw4z1kjsCYbaYkphWSwXktSwtIDYSkiFekwBWpew8uOkiUXAEM8rqQGCNjhA8+ZUdUi2XHrnAww5uFFBr18idF3ssYcefC8GPeIkwrYjNBnsBBpWbwXsmMQ6rmoYckiU4UPl7Ivs7r3FmfO/zNPnq0yVdKpewsqOxspeS0HyLv3eGfIlj5VrPfRwm6kzyzzxo3fI8hkvH3XYGHlMejGyJOr2B1SqJfZbAdWiSRDrzBQyWgddzFqFbuBy/9YuTHoc8yBIND759FGGrSavS/99A974vSfx/Tz9IMLcuMZw+hHGzsxh9jJaty6SO3qazCkyvH6ZwuljqlfZu3MduzCOWZajoSBp8iQbl0jI4770afR7b5P2+uizE3QvXcebqzHqdhgedhh/6Cl6GzdUvW177RaTxRzVT/wIw7/5U8JqEddx0cxZvIdPs/eNr1KZcUj3E4zZIsFmk5EesXxsAV56Ed54k8ubG6zu5Pj0r3yNzEz42MNVhi3xgod4Re0B2DJ2MGwffWSQ81wxPvKVO20+MhXzV1/4t8T9ARt//Xm8mSr5ydNQnlDJMcMT9qhoJAOGty5TeehRets9CnOTxMLZ6LbQayfRSjbDlTvEd97Hef4TGPttjCmH4IM3SZfPowtl3syRcwMG9RXKUjnTYfzYeWZf+T3KRZcfeGGGrcNApQ37PfmMjvjirS7Hx2ze/d1PkD32NGlcwrr9mtooydKof+0aQ2+KIi0sv4955Cjh/Hl455v4lQnsskdQ32SiNkfr/i1KuRxZsYa/JsDQBLc4heEHaNUqPd2iND5O1thipIV4E0fpv/M2hbOnFJC5tXEHa/Y0dlsitJo6W6S+T2enR+3UGXrDiHjrXUqL52nt7zKUy3S7R2G6hBGmlF/8KFp9l7BqYx9/VsVf/S//GX/2NzeJCkW+/J7PqzfrDOKMsaJs+W0WpjzGCib9rvBWLCbGCmw1BjRafXQnY7pUxJAlQa+nPjc79YBiPmL5yBw3NxrcuOMrLd3/8omH+IV/9yKUPbprTQqBQ9BtMjB03JJH+84t0n5CseCo57NdKTDc6wq1ifHlh+gbEf7OPSYmF7CXZrn1xS/z8EeOcxBNcfqH/4RvXxbVos0wi3nn+oBjEyaf/f3HefvVdRZOzVIem+CDN99gamFOnXXq9QOyKCYINeaXph742HG4c22F6cUJZmYrjAYj5hfHeOe9Vd6/2ODYuTlu3zzg46+IiWsgcCuqYwV2t7oUxz2GozYT5Qnu3rjH3NI8O1tbeOUCc7Mz3Lp2l5naNJGRMLc4x8HuLlMLs2pRsHr3JuViFcuw6LZbBIGPH0XMTk/jByPuXVvj9JPn0OKU9ZV7zE0v4qc9FhaW2VjfYvn4Ijeu3FQGgnyhwrB9SK6UZ3fvgLwr5wydZttnfnGS+RNj/OrvXOEPvnTIdzxXY3WrQ7WQZ7I2zbXrt/nWVkbn8q+THy/SfP8a7vJp/L2baMZI3X0MudNohgIr9zdfxT7yXThSb+5egu4AozqubFTBUCMnYLdhg8CrkjNKyuaT5SShclNB5xjskHjT6GGGptdJtt4jLp4nP35EPTustE9oF3CygNTvqaWGvNe1nKU63GkoqUZdscBEIervXcIaO6OWHpkoxN2jCvCXqrRkXi0wBeQuMF1hX+mti6RWDsS01pThYYBGVfXq8fuq5qjlixjDOrHE3K0losEGWucK1vyLaGlZqcqz0Q666GYtiyzW0LxxeSKjZQHx4Qfo+VOKgSRBTb30iEr6paMtDLdIKgYoImJ3Ak04BrJsKM+od2iKaCt1Vd2LZbEhnCO5M8rldbinNMpaeVnd62SwIO9gbfZltO4dsihVPDVRJ2qidZahQ3GacOs99EzDnjyvksCBMHnEQqesdEOMrEQYN1QHnv41QiYJ+9fJj50lFn7CwQfojmjjW2pRFg1beGI2CBsKvKyostK9lwv68IDIK2HYYw+UxWlA0rsNlTOq/hfJyGfQwuhvkhZn1aAo6G1g5ovokh6pHFPw6xDp/xuEu6+Sm/s2RqOQRAwMM49jBAOC/YuYcq4cP6E4D1ZRIwlFJ68/AIwLFD4LlA1KLARp0sK2pkjEtOA30EZ76nOViDLRrOFIEiDrYpWOo3c2yYSD0HnnNzIh5RuO0BN3VE8+qz6OkTWxhAjvd4hsE0sc6jK9a69hWOPqYoxRUD0GWttEmkTehT6aQw+lVymwu+OMBnsqHiTmALkcWHFENLyFnquh5RYU6CkZNtG8MXBniDb/EeIhzvJ3kHY2FDkzkChY4Rh60iJ1ChjdJvGuOC1Poc09gTHqEWZ5LH2g+pR6d4XEGcOqHiGuryi9RZpIBHlfQa20iQtkQsje/gbuuEBAJF5/oA77iaglDi+SpT2shZeJOxtYnQ2S2RdJZTItJEg9RncmwKw8UJfJC3LsDEnaw5TeeHygyKe6+MtlG5UZaoAifR9dgCNGQlI4iWbqJNK/EdiZkSeWL77lqsOtpg0J/3+e3jRKzvM8z7y+vfaqrurqfUc3dgIgAO6LSIqUI1u2TMdLPFYWTzIzTiYniWfi5NiZxI6SSSbJSTz22HGccSTP8SYvsS2JNQnxNwAAIABJREFUsiRKFClKFAmSAAiAWAg0ekPvXfv+7TPP2znzk+cQjUZXdX3v+zz3fV17H5LILxAkpkC2ufVrWMkxYtlSVmUjmVDgsrDxPubQWQUojIw8fvV9CE0cYTKYMUG3i+OuEmXP49Vu4IycxPd0okiqBRqO9G/1ELc/IJlOEgRJ5R4Xj7m81q7UAfwemhDDrQIEG5gSL45cEktHeOLIp8gbMUePLXBveZ+f/ivH+Re/fQnbyuK3XD78xjOE2WO03n2D/s4OQ3OLaDNJtt5dZeLYaYyJx/HWXyUY1DDEtSq2x5mP4d58BSuhoS39OOH2l9ASS+qNK/yGeGiEUOKyPZfM2BGCZIb+5huKXupHkJiYQu7+/dVrZOcfIxb6qt/G1C28yhpk+miDtJS+CXu7WBMXFQAsannYRp/2zuFUUgj2g14LyxOXuINVHCFMlKCxjDP6GP3Ku1jZE+hxVYHZ3NgjKsyqrb7ReAfvoI42dYp49xaWdJ3SGdydy9iZMloY4KfHsUaWCB5cxZFkmVPG629gailCQ6BkJeVdF8uEmCD81bewF/4SXthD37yEcfJl9RoG61cwlj5OdPvPsEZOEOezhF0Db/27eGGf/OSSelgMtlaJyyOYEx8n2vom/b1bOKOnsZQNw2SgZcgmGrhykculSFwo8HOf/kM+/w2bR5/weHRqhLVaiBlHfPdGk1OOzxdufQmzVaWzs4meLDGo1Ulk5JIc44nSzApx3Rp69ghxv0HsVTHjDEF/BbP0ELr8HokONGhjxx6+fC5k5zD2vsLAz5AqjahhWixd7NhHa34I+WPE2oC4eYAum6VBS9Vr4vyQgvNovnAARpQZQpdLmyHuVzCbu8TJcaWRCSV6W1jADffQ7Sk1KBPPfBxItWYXQV7p0pMSMHBiFL/xXQwmCKc+AXtfV3Fm3ZAuWYAmlpE4gSGTYAED6WVibwczvaB+BzU9T9jaVvA7LS0VJJ9osEEYaCqFJDCiUJBk7ffQtSTRyGNElbfUe07LjELlMmFijFRpTmlmPEwFtTS6LWL5eQ228L0eCYkOuhXlvRUCfpydBIHs9Q5UH9c0DUJfBElJpZGRSkwgNSvR95Am6nYUb0A2t/JviiTN1Nsg6m5hTTxPGPfRensYZkYR+QfrX0MvP0Sm/Ah+676KRsY4RHaE6TWI5DLs74BVVhUAw1s9fPBZEglME8qUfLAr7XlSQUCQHFeD1lgo+xK97A0OnzG6RRCGKoYZR0ksx8YTP3OvjSmDlL138Q6WscuPE2fk7/KI9t8lUb6getKBsB1M0Z/W8LKjKqXgiJLGyBI4+cONvEBiBzUVyxdNoW1lCA7eZxAlyU2cIXR9+pW3sKRGVnyYqL1MSESAiaUFmO4Az+vgjD3CoLeNKaRf8QV7HcL0UUxJCkQdIjlMxSm83i2S+TN47Q2M1DD0POhcIRq+eKgnTJewnWF6/U3SmUm89rp6bolBJhKAULJI0F0hYU3gLJxn985XOfLCf+Lnf+ose9vrtNsBRxZTvHfb5Pr9Jm/+2yGGSHB/q8vp8xk2tmM+/tkVzs4VWRyzubvWpNMZsDQ/TKXVZGQoy+ZuRLvbwkhYjGXyXF1vcL/iYhoRC0PwxEyGR5ZmeefeFkEo1YQutpPh+vU6f/4vzzI0nibMnya5d4du4NDe3SJVKtDdWWHm0ZcJhxN03vw6zugYnTBJ1ukT9CICAYBIFWYg0dIufR2MVhUzN4Y+Mo9jeLQP1kgUZ4iiLlGjQ2imD1+DwQ75Y6eoXr2BMT5J1hqwt7rH8GMfx458qpe+wfDZh9HKx3D6PWr7t4l7Blo7wk3HTJSGCdu7WPOjcHwWf9fll//NW/z7L77PxVMFhnIO9VaNW9sujx2fpbkni46IqZlZNjdWFYvkjy/v8xs//Qg/849/lNqbrylDkFk6SSqTp3L1bXLjY3j5EYxeHfv0E1TefEUdLov5FDvX3qN0+lF6vkfhxEU8qYP1XMxRm/6NO9iTcwT7FfSFMwz2bitvvV6aZv3P/5jpcpbs42c486lf56AN/8OLU8yfWuS1762yXzkgaehcO4ioNnq0b/xvhH2d6hvfRc+m2V/7CL+pUVicJSMsJVEvzyzSkepnpoTjtejtrpM//zyeHeNduUX20Y/RWb9O7e4Kc8fP0Ssl0Ha3oF7BGp7FT3jEhWHcd9/HXnwMo5yj952v4wVdhs8+Rf1gl6GURisQSKqOIaaLgxpxIU1S7EhDk/TurKhEl1y4M7GuOEbd5poi7vcaVcKJWfr37zN+ZILqlfcYOX8RSnls+f0eLdDe2VWwtEtfeoP/+K0NruzG7NUldeiQThhMDVsM6RaZXEw00OkOfEpDFs12W+l36/sNxhdH2NkQeLWF2+wxPTPM2sYBVyo9lswE//ozx3nhB56lkHSh22Pv1g0Mu4y3s0LhxU/S2d8n2llDnzqCd7Cjhqn5c0/Qr1YI7q8SFEqkRfdWC0iXLbpanqV/8CWeLBtcnM/x9Wu7HF+a4t27O3z7l88pz3hlMyA3lOLe8j1mjy0qan06JdvGkEvfvs6Fx0+z/aCutpfDY2kFQLt69RYPnzuDb3rYTkSz32f1usvrb2/z2IUcjz85x4O1fSzTI5crkMvnuHfrPqfOHiM9MsbV195UNbKlk8fo9jqsL29jJw36vYCs4i0cXpAHg77q6Bu2xuTEFG2xd/W65EslZZHKlodVGuCjG7cYGi6QzQ7RkcuwFyomkDBZgsAj5WRI5LI0KvsKtDoxP8/G2qZSgdq2geGYXH9vh09+apKrtwI+8e82+KETKVqDHul8mvqDHo+/OMOvfX6ZP/6VH+P5v/kZoms36Bli9ijhtu8QCjtM4KrGmGKL6qLTDUPMQgmvuU8iNwbaqKKpy+V90FghIT/VsQvQ2MWTqtnkI1jyh4UbINq9/AS6KKzJw8ElBdomfxJdjDriNu9uHN6jzCRB/wEaBbRkHtMZwhOIsCv3JTAEmLp/C3virIrky3lVlKhRHBJ5FcxBqFLDcSxpuip6Zgl967/ilz+GkUjjr3xFVgZEsjzIzqPJnU6qrk4Gs3lX1dmM4iICVjL7FYLCEfzaB9ij5xWEWbroodqutIh0S9WZpZamuU1Vp9Ll5yJKZ6kLjD1E3N5WGjupFvpxH91vYYbuYSVTanfCNHO38QahYj4FmmhA9wkEdh3IQMMkFDidLBbMPIYeY6XnlVbY8rfVklUqvNnRs/i6aKwFNp/GaK4QjRyD7XfQZNChl9C8TYJEEqu2qTgnWmkRgwrutT/DuvDTIGey3fcwipOqDuzpJo6dVpYezRNA3zT9dhUzbeL3I2zDUnBGM3aIrQFBT5gRO5jFBfTGLoEmvAaN2EwrbkZfIIWjR4ldCzPaRtelglgjyhaIm5vYiTFCMdwJe60vysj6IYNOFJkxhLKEiC0FipaEVJRJoPkGmiQ8ckuE1MCXBWSRYPsulhOru0kYNcBPkFAVwwSGwAvjnkqmi8JRamu6QPi7O2jtK78WB7H0JSrQ3iG0AywBVslQYGgcb/MKlkwaRp8m1hrYooUQiJbvosl2pPy42qwnaBIkRgiMDMLoDQ4+wEtKIDJL5PcxLJvImVTe5rB5n/T4SbqxHAQdrO4G7QffwZl5UlH9xWftVz/EyU8z8Fw4+FBtWmL6GOXzqrdjdu4o1YzVaxJFB1ijjylwhN5tKzBPMjVCKC/UQA5KBTTpsPYaBN07GEMPKVe5JnCx0nksr0tv733ITWCPPQmDGt726xjp49i5UfrVZRyJJ9vDmL37RA0hYp4nFABd94CEENXzMwTyRpO4xeRFrI1v4FpFORoqmFLkbREWHiKq3yHUkqqTb/S30IwQz5R4iE1i7zJRcR7f90k4KQL1D3TR+z6BKDz2PkLz99BGH8LoNYgkGu6UGax/ET1/DvGKycUqCur4UQUnuYDfq2FKD1XedO0qUWYUOzVBXFuh5z1Q8EShXXd23idBAnPirPKJyjbGr6+qDyVxSAoR3MXHHEjawiSRmyKRN7l05et83499nl/8W+f56mu36PYG/OiLC3zuiztK1/i7/2CY8//Tsxx88TvoYZ7M7BjdnTXsU0+R3FpWF/duu4VTmCBq3FK9pvBgGzNfRJ96lvjBuwxaazilI2jNA6V2MhJlYnteXSaC+n1iW2omK0qFJjHjWBzhmqMUMlrzJvHcc2h+SP/WF3BGThFikxBdyGBPwa7Cjos1NkVvbxmzeZ/cmb+ueqbdjW8ryId94mVY+waWbCpziwxq1/D2t0nOXVAgFoGZ6JMvYTau0t64RX76HPHEo4StOwoQI5CsqHIHLwoxhybVwMeKZVvaU5R5W2jlEj/bX8ZKDqkpqpU5ij56mvDmlyFbJDITWJkcgVBEe66iiCqgY+0WuudiZlKkFj7FwdU/wJHeUmYcQ1IguOjy70wWsfILyhghtg/ZuooXXU/m6LWbZKaeUuRWQ7ru6VH8Tg3LKZEc6tFzfB5/4S2MksUTSyniXsTEQpqgEvDFd7b5jz//Mk/+jz9F5doyjiHkVgMjExFWu2RFdWYlCSt3SUp/TrSaBQGsRQS1myRkAisJGRkMaiaW31WwE5OKqnqYvs9gcB+r/HF1QZPInJZ8SE2rVRgqMa0qJUpHl5MhoYfXWscozKv4dUAGU7pQmqADTOjX1M/QjLpoQ2fxtK5yyYoKJqJFEHUgcDClJ1/fUIqghJPD7dzBNYtkxp/E8PYVRMcWJZ/AnXQNo72HLl8fi1j0LJatrAeiC5GLstO4SpQYJhw6h1l/jyA1imFPE3dX1CRfvLt9Ab2lJDFwlMCVKkGAHoXq4ajJ57FeOqTgy8NfoI6yNdCFsltXSh4hYwvtWW3X5YhUOg8PvqZYDHr5afzObQzpuKf/G8SuekNBgtLZYyqm6MsBJ5VHS50gaN5HDw+IM6OYrX38aBc7d0LplbR+Cy0zQtjbUZ+rlpEUqoU6rOC7ioxv+HuqJ52SrnX2CL7fwOi7RJ5QjXtgjOCL6tH3VIxQuCXCFQm1iLSA8QyZbjsK5BhqpkqH2Ok8rgxgJQki7xe3gVGcI9JHMKrvKLaB1Ji0vjzwTNVfD0Q1GfaI5RIeuhhDk0S1bWLZ9siKOZT/x0ETC4B076WnKFsz6dxLhDA0wS4QWzkM3SMQyJHUHOTSGRlKxSgHI1qbkBUqvzim6xiFJcLBXTXscByb2NNUZ9IpjKtUh2GEBN0aenoW2vfUAU4bPkHcXCGQ+pw+IDX0BIPOCqFEdYcmiKQDaQwTagIcOgAtiVU+QbNdYayYJ25cZ+zUP+Oli5PkihqNVpO8pAQ8g//nnSr3/u9TlKfSbFwRCnuNf/VKxGpVVFsN8uU8rUoVjDQnp/PUuh0+2nOVyqqYTqvLWaZQ4Euvr3JypsD3fv1lEifGaN2JePTlf8NwxuD4TIKnzy7x1UurvH3b5/VfOc/04ixbGzWKmTyuKJ4GPulHP0XPNoi+9xrm0dNEm1cVnVqAlWQXcDtbGJV1Muc/gefHdG++TvrCj2CYIe0PXqMwf47GzXfVdj19/mmltEokM7idCk4+j3vnDtHcFJlal91332Dk8afRMgVlHvClgiGx2KUThK++gjN7RBmJotIohYxBGOWovvcm+vYKbbdN+eL3k1tYwB4L+Y1f+DJ//8v3ODWqMTuRptrUefr4KOvNFut7LTJWQqUy4tqAoGDy5vUur/7L7+P5T03T+rCJUd2nPzKE3uhQW9lj6Mwiwssyyw6NtfuUxo7RP1jHJIUxN4rR3FWDzmZjmWgQEKysUn7kEVr3PmLgZ8nODinyv14qqsG60XTJ/b2foP3V1xj/yS/yk0+PE/SbbLcFUDwg4+mUjxb4/df3ufEfn+P0M+fY+90vEZ88LWZoUuUxwtW7REUbAotI+tvnnqRx7y5mfR233VIbw+LcMbrtOqnJeYKKuMpTOOUhevduqiRO0AtImyHMncK7fx17+ij0m/TvvoezcIrevY9InpUUnGxcPdzROaydTZqbd0mOlrFmHsL76CrOmYuwv0v7zg2chIU5Ok08PEFw+S20Rz9OaWKcyntvEO2uo0+cQCuM0vn2Fxh57kfoVbawi8NE+5tEbgNr/iFyUv+I8jB5igcfvs2f/s7XefvmJl9bMWj2xREeceHhMsa+xMJ7SjeYzMXMjeXJpGxWVqtoWYPFoRI7rTblnINmxXzn2jYruxYJE77/RJrP/9vvI3fxDP7aCq37dTLNDjc2W8yeWKS/fYdgt0vhxBxWrkR75wGFkUnahTJGYGCvXiKn23jnHqL01K/yl56cZrKks7myz/GFLL/y5Tq//Jkkf/mHjuD1DfqtBqubVaYnhllb3yZfTHP67Gn+/Pe/xRNPn2Tl/gZjE+MMjRS5eekO7XaLR585Tb5Y4v1LVziycESd6+5/tM3SqQnGJ8Z45/XL5IfyzM/P8uHV6wyNjShoWqdRpfmgQnG2xPzkOOv3PuKjtS4nl6ZYXt4iJwrEgoGTNRUvo7rX5+xjp2i0K6wurzI5NkEqY3Plezc588gxWs0WxeIwu7vbBEHEULmMpencvPwh5598mIiYgedRLJWpVCrsr6+Tysol2WBubo7rH9xidm6Yq5ebfPylIq98ZY3/5asac3kfMxSKdp/RskMxpfNf3mjyub9zgr/2q7/C/je+QWFygoO1XTJHHyas3SUOYkyB9QpEri9LPhutMI/ek964hR8a+I0NnMzwIRQuFmNPG+ReIglDYcykZMDtE/e3VGrNyC/hD/pYiBHGUXXTweq3MYtH0GUZJLaYUFeVOKt6jSBRQJM+txwYhDEmKkCpUMVyplCNMAV+c/cukUhPYOWmCVsyeO1jyEJT6thBnaizgV5cVBWJyJnAidtEDVmK5rFEY21IYlJMZh5RZJISppczp2w3we6bJIYfx5etfneVyC4Tm3kF4ZZF8aHHfaAYR/6gdUiYH1RVlSLstTAKo6quJLXpMNTU8sm2HDypFcrZ0tKx4uQhK6lwEk10ucJUy4yid9aJey38YB9SM1iSyhDtn5PCbe+iy0IsiLHzU3g9GYqKTnFK8ZDEZubMfxq/eZPQLpHQNVx5LltJrFCqSkVlJworN5XZhPRxdR7AaxPXrmHNviiHAWVCCiVpaI5j5KfVEMN26+rcE/lSUUmqBCTyPD94DyM/Btljh4lROVNkJwkOLmNh44rCsDSCrU8S7L6qlMdOehy3K0nSNeLEEFZCXttFfPeuel9jTOE3L+OkxMIk/IBhQrerkseWKZYGASg2FdicugwVJCVaJRR9oNy8ZTEYdAm0lKpASOXYHAhbToYFskgRW1MNz5pT9gatc/XXYoE19CtXcdJzCk4QCPjOH6CVn1VdSZo3seTy7j0glM1SYgqdLl6vozqktrz4rQaEFXWhxZ7Bby3j2Fl8PYlXuUtm8lG8qEUcWdjSsZBNoJgGZUgwSBPpHUVd1GXYkBxGHzSJwpbqgcgLL++7+P87tMiG0As1tQkPskX83Rtq4mMI5E+rYwY6QWoeO6rhRgHU1lTfRry/sXTdNdFsZdSGXKZ+od7CTJUwoiKhtg1BBk22ZPtXVUc0kB/swCeQ6YpsYUOZUFrE8R5xcxdbhh62RHiFYhnT3/4AfeYpTCHldms44v2WqEWvCcOLKlZjWBqRniNqr6pqgykDCkcI5gIFeiB5SozcEYLWZQY9qbYm0A2JL9p4vW0ca0rpwlx3F90ZU53mWFgGVgojbBBpjjq4xokY7+AmlmFglc7Qr90kSYa+kDeTQxgCKGvXCEfOozVuq06RJpu2oKaghc6YDGSG8Dpb2MI5EFCaliI3NIXUcCl1mD32DxHswfc9M04iaJNKl0nldHoHXa5d3+Vrr/40/dpt+lUXQ2wKmSPE8t+1GlZhkszIGN3duyRSKfwwQE9ksZIlArdPIjVJt3aXpC39PBNT4qn9mPTS99OvXqO/t4w1/hzUr6uOtFJZNlewp5+Dxgbd3TdJZeeVRkOi7tr840T6MP7Gl9TFQjcKaDRB4I2NHeXrtE7+oKJjRkGILZWExj0C5whWSiOobijoly6KhtwstkSgM8cx2cLdvEwUybRyFr+9RdB+gHP8Uwom59ZvKQVLmD+OJWXZ5BCB0O51Jb/DF6p3foxg5y56WeCEcpFcUwwC08kSSie93ySRO023foOMvB+GT6tkjt7ch+4B/foa1pFPYlTvKOijJXEzz8MafQYj2iTY/B6hlgc9xJAuuCPu1ixm+jRBCsJ738bUQ3q9Dpm559SQxKx9Bzf/DJmjw3z4X7/CX/lXyzx5uoSv56gf7FHZjyimYq61fdZXX4HV+/Q6A+JMSnnY4yClLBlJmarG4PVXMaRlac2iJ9KKA+LKtl0us7IFNxIMOrcxnRFMTSJjEwyEyt7eIy5JXcBF692H9LyCpBh+Tf38OqGlvK5xYB7C4EST5h4QdD/CzJ4hHuypOF0gAz43JJT4VGziuftq4hzHAvELD8nUiTxxf5+IBunUaUK5jDav0N2/TG7yU8RJucwNVDJASLnewQq6FUB2EV1BZiYJOrcw07O4riR6BOpyCkSLE3mEYRP6VbTi44fRNl1SO/JcTWG2N4iMJJErUbWUSjOI4UIewqIBRWo8iWEQEF5n/XDL7+QJWvfRkwmM7FNondtqUBo0KkoTE1klgvAARwZRvoVbeVt1He3sY0TNZXRDtHIFAiPGSOSJ9DRx5QaYUn04c6hHlCl+Jk+QWCIaLBPWNtETBoadJHCOogVyYIqxnDEGss0WsJQjOpyGqsZYQw9jyvfRl5jco4p4rNIb4m43+irCpksHUypk/ZoagMrgQ7MyWOkx/M4KyOvtCHQtwhIfcGOfwG+SGjnBINKxgw6amSVoyWf4HmFB6mViQGkR52fRJILaukEq/RChIdaNMaUXFMigjYfvuoSS0NI8wdQRSO3MD5TyUE+XFWgwEqCRWVIU4lj+W8CWRoEo6ivYbDpTZtB6AIMHGNljqmM6CCvYCeHXaCq2J0YdzctBUsbkHjRWiJwSehhiJ0yVlImYRtO3iCr31aDFlJ9FboI4GkX3lwkkMeZMYxhNsCZV2iA9UcLRkpy8+FPMFlwqzQLDuS5DAtuqR3y4Y/L1f1ZiNBOy10lwdCbLyz9/hXe2Ih457jCcLtPv1hVsrxnH+LKJ6wuJRVdU7aIdstLsYPVjXvvmPyVZ2VDR1XsfdXjxZ7/KX/vBGQxf4/Wr64yVS2x3qnz1s99P2tPpymlSqC67W9hTJ0icu8jgza/D3iaJh55R3BzPDNA6XazRJRIZm9a3XyF14YdAazP4xh/jHjtHavY04eqHxOKvb7bIyKVkc43c2SW0gxa9vkty8Qz9VoXExBF6B7vYYRd/f4fE2acJpEu/u479yZ+m/sofYbh7JM4/R7hXxRls0w8L9NaukCmlcX7gZ3Evv8Gw6dPoV8hNzCjt24UX/jm3qvC4MI7zKTxfZ6cbM5YxODE9xKVb+8rT/dJDQ7x2tcr9jQGr7/1DvGvLtDebMFbEX1khOzOLMTFPfOcmLTEeZIcUqyIhn2NjC7SvvI+d1lTSUipM8iGdK2Rhdomtb/5Xxs4/SafSwEjaND9aZvTkEubQGNnFUR754d9AZBIvPDzG166tE6VsjhTzNFyDKx/s8slzBr/9559l9XffIBVukb/4NI2r34FWH31mAiM7rjrZ9RuXCBo9zKlJ9MkZZccwazvUVm5hD42Snl+kt3GX7OPPEm1vMNiv45w+j1Hdobu/gR5qapiVKY4S9Fp0Oi6ZGQFP1ohHJzG6DfqrtwlL06QE7DoYKK1W8thZurfeIjG5iNZpEiYyeAc17Jl5EqZJa/MjEpqDP3AVT8aYGFPVQXltU0vHcde38SvLZB7/NLvvvYGjBRTnjtM4aJLeu0lCtIWLJ+H0PNx8D8aOcvmN93j39bt89s82CQtwYTLBZlMn4+iMJB182Tg7UK93VXpgOJ/l1JEyB80uoTbAlKCKnuA7Nyp0vQQ/eRb+/mdOcfGJUzCUQSIs8d1dKpvbZI6cpdndg0aH1PSIis3LJVuWTa27V4n6EdNPn+WJT/wKPcfkE4/leP1Sl2fOZLm25nPhWMBn/+dFbn13jzhpUCzncbstXC9JMqGpC2q/M1DavXq9wXN/6WPc+uAmq/dXOXfxYQa9Lv1+yMHOA1U3XDg5yfD0cX77l/+EYlHnsafO8P7V+5TzaY6cnKJaHZBMmnS7A7x2lURyiI822oxNJJkeSbO1I69bh/L0OHsbDyiWi/QaddICBrRN4kafwtgQ2UKebs9l4/4DTjx8nM0H2zT2DrATNuOTE7i+p8CFo8NFGq0ete0KrXab8489rMwE1XqdhZlptrZ3OLK4QPXggH6/x9jsHKbuYbk+T/zSOkktYKyU4uhIjmt39plcSPFH32nzSz9xlF/8wu+x9oc/R+nk8xjdnkpaxeWHFBzPpKMquZGeVTA9rd/ASMh9Z4gw6JIwknTq21ipJFKbjqMuRv6Y0ntLb136fHZWDDoptH4HXdhjgfCzM/QDqVnHKrEnF1ejOIVuzhP2buN7ArezMe35Q426DIeT05h+HTFz+wIGt9PEfowTdPCkkitqamKMwgTh7mvITF2fehJv9221mPDdBxjGMFH5FNTuYEQGYW6UuLVB1FrFzEwTRwF6YUpdgoPWOk5iVFr/6uwhWmA76hI6cxAIxV+AwUmCsK2qe5roWYVoHwaYpXMK7ut17qBrmjIZeINlDKm5ye+0YtrY6rwZtJcx5M/LnUwqCFrMoHkbOyV1p7LqtUftO8TZJfT0BEHrDk7QRRMDkKR3/QNMYxRNFgS1+4TpY9jZFL4/UFywfltOri5+b5lEagEjPaIsdZKuVBUGYTTpFnHYI9h5DX3y44cV0TBxaEvq1Rk4SRKBQNmXVfJKlm2SFI+0YbUg1wTwYybQZSIjff3sf1vySX2hsKh07Um/Ql/OuFh0AAAgAElEQVTuHEnhVVUIBh204kPoyQxxXAB/S0EJpRYRSgrDNNDEMKX18OUckppDb36IKRp3dX6NSMi9yLOERoBZGMVob+KnZ4h2bor3WSW5XT/CtrNYhQLtygMsLY0+PKIq5bpXx2vvg5UhWTyGF7TR2u/8B4EiKwq/JhFb08LRDLTcMbzKX6AbJcLhZ9DDTWjtQedADQn6kSiYJg63FdLJSJTRhbwo8gMzh9EXt3mkVBKioknlHyXq3sNIF8CeVj1zs3UZ30/ijCzgBjaaG2FlRAVUVcqsaOQ0KbdCTz5+V9+GqSfRLDGGynTPw9x+kyAMsE7+r3i7rwprUm36pAMu3ftI4iHSlRUPeaeqPJuGAJlkY+sKtVpeCJO4vYY7/ij61mvEmSkcUemkxg8j/vLLavmEW5fRSmcUsdPdv4OVHFdbuFgmMAIE2X4bfewZBUQM/RBj9iWi1Vfx0iUc3VMqQnp31OVF80Kl9JKeqS6396CJN9CxzILiBOhGqC5Dnt+XpT5WegJfgFgyoTLz6sIinW7RK8r/J5tmgfXJ9q3bvk86fw437mDWryn1oBtI3GseTyLJ7XUQQrWZxkoN04/l4LWPPXWRqFkn8PZI2UVa1esC+0YbPqU87rKx9Q7u4mSGaLd3KD//GeofvsWzL/x9PvbEDPWDfUaHcjxxsci/+PU7TA1n+OP//Si5vEGrVif0daykqMP6GJmS2ib6rXuYUR8XS8X7BNCij87T3/kQJIJpp4nsnCKLakMLalOoSR/c1PFbK1DdQZ+6gNGvEiTSGMk8entAKL7TgtQVRqC/iVd9QELqGM6winOHQubMzxM3HtBr3SN7/CfoN7awWrfRS2cIKveVSlL84GZZ4BnjtNs3yaRPoPW38cVH2m8SSjdKwCJ6Cr+/hl2QykUad+MdklMX1KXFXXuDxJGnFVjIr22oCJB08vVWlcAuYg/N48v3uPUe6dQ4g0RK2TCcqU/SvPEHpIonsOafpHvzt9WApDD9JGH1Lv3WAZmZs/QaDbmrYcYpAvHbOnl18UyJq7Z9Dzt7hEi0f40KcfUGZiKLPfkSbvcj9NYBvvcAomGSYwt49y8Rjs2RHHkct7OHt/wK1tBZ7KOTJBIlfvRHfodMOsHmQRvNSfDEmRSeNszn/vQ2X/jlz/DC3/2nVF79bfLDWfw4Sb++hTNUUgMM3RNnbkKpN+W9L/Ac0xvQ7+9ipcfRpBuvZ/ErN0hmZghSOWXHCMKGOggLiE3i8rHyzq4oSJmVWMKTDlkiiR0KTbir6MTSP5QUC65MpiWxMowR+MQSSZOHp28RC3Stt0VsCsdk5pCWKgMVYaF0VlXkPR4+pQi2ouIy3CZBcgTNq6CnigTS23N31WRYOA5adlSZFlQNQSi9MmTpXEPPzBFIoiYK8OV7662hpY+hpwpqMOEZeRxNLsGieCuiBx0iYX1IdWBQVzR8AQ5JVFBWUrHhE7WWMZKy7XbRMwsYhoNfu4sRrxLoZXThKcgNwG0rboLf7SiGSCganuCAsL2uUilm8RixmcGKIoLBCrFoIqXb1ttjoCdI508TtlcEFaC6blIBilM59F6PABc7OY7fuY+hZdCTeYLIwXTX1YW1jUfCOYfu3lLKLiM/Cu019PQInruNLUYAw0CzJlR3P5EcEBlFov4uhjNFoLcJg4Sq1sSRrZSe4e4lPMl0TL3IoHMHPFvB8sR8YRUfU4MQzZblTVFVF0Izhv1r6plkFE8dfo/7lzBKT6tNh3QEtcnvI2rtQHhAqA1hpB2MfoPAGMdMOyrhZdtFfNmi9MXskcYQ169QjxE+g0Nk6URGWmnm4syQSigFO9fRs+OqImJ0bxJZskUp0xX/rlbDSJ8FbQi/c52ENao2jraVIzby9Pbfwc6PqeqCik96Van4oQ0/jcEmbN4mmnpJwZXMwVVqlT5jJ55Ay0RMDf8tLp4OGCrPUtA9Kt06OxWfd7YC/vPfGebHPjbOu9/d5uiSQbo8x5GfvEw6n+BkKWKvqzM6dri5E71aLFu8/gBr4OKGOu9sa3x6yuUPv/CzrL67wvzpBS5/6S1+6U9v8My5IVbu1YmzBpt3B9ysD7jxR38VvVdjtzNgJF3AnFvC339A/+51/FaTxPmXiHduYy9eoPPu10lOzqNrOdoPbinTjX76KYxuRxkpEqOzBHtSRalhWFnisTHcjRUFyMtfeJFuMkOqU8OrVlRSKE5kMMM+zrmXaL7+R6QXjxImEjS/+grZU2cVTLZQPEojk8e+/wHW6YeUdrYnB6S7b6EtnWTwoIJWPYCRYWzdoLhwFH2kyE/96Gf5/VsmP/iQyehEhgfViM2DPR6eGqHlh1TaAdbAozyc5e1bFX7t717g0z/yDG6nTmK0ANLbrbfAasI2NAf7ZErjhPv79LHRZ8cZXLlKb7UK7QOKz75IPHWMaO0W1Qd3yZ88QbQjXvJh0qMzNO+8Tb+nM/XMc3SqmxQ/9Xl+ZKnAwrkJvvy9TfKmxuyQSZWY6octvvebj2OniiIdUHR1KztMf2VDJR26Ul+7d4l++4DCIy/RuvkB+Zk5PMXS6TJ48BHO4kOYWpqgs4+3K1DVANcfMPTcy/QvfZs4ncEclapmF2vxEZqXvoGel9dDFmV3yT3yaeL9dXCSBI0GwaCNPTKMOXeU+PUv4U8skhxdova1z8PEDPb0cRIji9Q++ArWzh65Zz9JZ+0mWr6kgGVWtY5thiSK4zBxAquzR+3a+ySnFoinj5IxfNb+4LewF89jl4XOnKb14A4j2Qk6vSbp2SMMlYeIjyzx4Ouvsfi3X+UHXlri+QmHb9zeoNkKSCZsWl7I1Ngw16+uMzM9RCGrs7rWYbxssFcPSDh9Tk6VubzR4v5BQL2lk481/tGPFfk7P/EU6RFLQVrFHLR/74C0LLt0i5aZJKXpaN0DWl5EamiB4qde4N/97L/jc2/u8qt/4wSf+/YyxVKa6/fqTGcNvvCfzvD2K8tMTk1S29ul2e0zMi4wWo/aQZ1FxdSwqO7sUW+1KJdLpFMpBYns9lq4AQylc/ixNKZhcrzM9sYqqUwSTYsoTC+xevMWrWqkiPXHFotMXzxKe/8ALaGTyiSwJZy721Q2naGZktJNV9erCmzt1SUZ11emkPSQRiGf49a1dRZm8yRSGbq+p2j5kmCYnZ2n0ahTazTJZjLMLS7x1ne+SyaTUssvIxbehkEiLcyWAN/tceXKMsdOzJC0EnT9Hs2DJi/81DM8+vJr6mtkEwMWx0d4d7nCxy4c57f+4j1ODOf51t238K+9Tb12l2x2Cr/xHu7wxzAFuNbbJsrPYvvyeecTC5/G6qu6Y5woHiYIg4BYqgqmwI6n0VzZWA8wiuOYvk579y3SVoYoMYYyS4qhyBMbhPT/RQuYIRlVaFduk5x5Gn3g4asBulTlPFXjlQG6KMCD+m1F7pevK2Md1xkmkmqZ8JMEcuseEFuGujf069ex8gJh7xDoOXVvkCqB07uDnz5F1N3FNlzc3HGlsXNk+N1axRo6gxeEBGIQSxfUvU9dlLU2mvCkJJ6uKpZdDEmqSj9+/y21UdenzspWh7h+55BcLwuJ/h6GJAnq99RdxcyN4HV7mJ5cwnOYiZLyz3ud+uHSIDNB1FxV3DWtMKKqEPJnaO0zECCipLV71wjqXczxZzG8HfqDmhr8xZHYu/rqc93SpvG7tyCIDv8dwmgQ604ij9U/wMjPEkg8XpKN5hBmeoJYEge2wCUdDLNJ2BNWQINYmE2ag7fxJ9hH/zK+OyDuC7FnTynXjcQInlNSi1x//wbmkCx/uuhuRwHBw6Slvi/DWVLsAO/Or2Ms/gS6M0VYvUxg+DgCBbQLmK113LCDNfE0UbdCFPYPgZJ6TNzfIZb7rixzw4g4FB9DQF9qhqkkbpBFE65BcZJIkm16SqnoQ7Fb2RPo/jq6VcbKFIldn9gJCZ0ycXsHS8viixWu8ebPxXHYgtxDh6or2d6IZs8cxfDuEbZqyuWuyTRH/GdyTk8Po7fW1AFBQXrkUhH7BJFJFA9Uj9u0fFyBygnxf/Yl9L7AvA7QnCEFwQrDLlH1Js7SjxL3NjGcWKkrELeh20GXuIlc5DOjhLVVYul+JqYx28uqOx9kF4naa2jVVeLSEnZ/hXj2B9UhTP0QnJTqkUSDUHnP8ar4ehEjmVJdO692HX34qFIC6bVltWGUH7QhkvFgl9AaI25ukxyaw02Mou29f6jTkkPx/mV1EdWHHsIPd5UvXmIypIrqMM3aF/Fnfgj0gfowkURBFMQQDQgFliX6s/wRYqOEV7kG6WGMukxxIgwZtjRvo2fKRNaYugyIZlC6PzK1Cm3pxWiE/Ta6kDH7HWJtTwERRXlhWCnsVBl/7yZ6QqjnO+rDS6Y/VnHpcNNo54jkw6hyR2nkTFFOiO/SBE0I2FLZGJLp5A69epPcwmNojQcEshsTUNtglcKTf5WLpadJFVwuHisrv+7dDQ/H9pkaGeNCvsLPfe5lgitv0N4OsGcfgaBOf/0ayXH5BQvUe2rQErrqGJQfQr/5h8T5MaKhRYzamtKDOLHJIKhhFiUu3cCzbaKd+zilKYwwptveIjf1NP7Wh3iyvbMCvP4+uhD4Rx6Fxi1FyjSmP0b/9p+jiTatcFLGqjBxCqN1HW/rHlbmJMbkSaWFtGVYZPRw9QkizcWOc2C0GezfUku75OwLRGtfRlt4Hl82wBIhjUEbmSPparhOCAd3IFEitkeh8RFI3CYzqS5NA3HJtu8RDRpE2THMdoM4K9TXGiF9osgjIXT64jyD9dcUZCQefwErW1Y0f9FbpnOLhEpDoWOWFhh09ojFkBDYmNOPENz/C1y3Qer4y/i710hGEVp+FM9IYHTuo6XOoHlbuBKB7jRJzz8Lgz0iPybuXIdWFW3uBXwBgHa7FD/+LF/+Pz7Pz/5WyKMXhwj6bT52aoK9rsnv/MltDrDodL5C3O1Qv/02dnaWjp8iG+3ha2kVFVfOdb9CIn0cv/MhoVDRpVsutzb5vdRF66OhGSm89m2s/Gml0Ym3v6YmoQLdiwzpgI6qHqErBwNxpmbGCV0Xo7NLLDF0UdvJxlWm0WFbXdwl3m7bKWJXJ9z/JtrEU+jGELQ+InCGsZLDBNUPlB9eKyziZMq4lWW0sIVRPEugR8QSOQtcLIHgCMBQ/O3JAq4mPAnp5kndqam8vWEovJAWvjzkSueI3AqGFmFEEWE8cphEcnKKRhvFfeVmNRLDilir63mwBcSziyWbMRloRJH6MBebgVQJNNnWt68qQKAYAGSQKTyVOD9C3K5hCQjGdYmiFram//8bbRmoiakl8jzSySz9zoai58r0W8i80n+TdEzcv48nmjmB7aTmcGuX0auXsCd+TD0PsLoqyiebEC9oyvGEQBfns3OoR/LqSmcaCuCnv4OdLhBYw+heh2DvFvrQEfSEdOK21MEi9GJC7wDD0InNBBquuiDLIccQmF48QVx/VXmijcLDaHEPTRdbwShR0EPzIyKtRZycPrSwNN5W37ckrTRX1E8uVvEk3sYbZMoPq9dHfv+wTMJ+HVvRgS28dkVBnPTRU8RBTzx1aMKrERqrWQb3PnpimjiQbqSkyIRKrKnUhoBZHSEiyXbeW8brdrDHnqC/9T1VjYkyC2ozZCSSipcTtb+JUfph4oFsniLVdzRSc4R1iVKnMYqPoLWXcf0QzRwQWXIY86B6Dy0vB846ce483c17lOeKBPEen/70P+HCmQU2t7uULYudrocXu3znesCv/t0SP/7SCKvbIbbfZnRxmLffDnjuFy6xOJPnwoTGXrXJ2HCJSNPx3BhXNjy2RdjzuVf3yUQd3n7jFwm+9S1agy4371v8zd+8xI8/O85Go8sTS0V6UYHP/tENar/5Evpklp4zg3f9TWWxSQYSVCuhHzlB4CRpfesV8ufPEvc93KZcasfQM8NoO+sMNpYhSpC7+DCtB8uY3R5xaVRFdUUTaz3xg4RyETxYIfX8Z2jdfY/go9s4T30Ss3lAf/UGcWkSpySDuzZ+pUUYedjFURLFEbr1OlZ5BP3Ou9STBtn8lKrI+LLRWb9DrHskpTdpyGHMYre1z9xTj+NMDPF//tLn+flXejx71GKklGd3v0Vo6+RE/+Zr7DUCnj5ic3M9ZrvW5Orrfxtcm9//L2/w3IVpavtb9KSnXCgx5LUo5YSuP4mdSeN1dexzZ/H8JtpHoszKsfv2u5j5UbR6h+TFJ3FKWar33yUl1aX9Jv7qZUY/+QL/4d/8Hv/kL2r82FKOcx9f4g/+9DYXjk1QrVX52pU6/9ffOsNf/4UfZ/N3fo+xUy8yUJ32ZQbXL+PMHyF56kXCrRsMqhVSj3wCb1c2iSb9jTsktAF+epT06Ait27dUGlGbOEFyb52oUMROZBUwLGxIyqmmqmbOhUcJ7lzB9ALcIMJ56LSq3PVX7pM/9zihbANNi7gjxP0Bxr2r2HPTtAszZKp7uNUdMtML+Hub6Lk8rUab9IT0q6ew99do7q0Sk8AeX8CVje3dO+QevkBt7T52eRRnago6Pt6Nt0gunlOxYM0TZXOK3sEOyVyGbGaCS29/iROPvETu4WF+5uV/z29+FPLcYhFLD6j1u2QMh4N6n3LWIFPIU2lVKdk5fN8ik7exkxEHzRZZJ6Fo9kXpWCdi1vbabO8O2G/HlIYdfualeX74XJqjjy5iHTkFK6tEY3M0P3iTpOHh1bP4WpvspM23vrLC3/iDdX7iSJaDcMBg4NB0YbU94L1fX6K23eCju3UuXlji/UvXyBeLTE+VqTcHbK1tMD49RiqRFDkyXmyqVGWr2eaxZx7j/q1ltnZ3mFqcVr3iTqfBwtIYa7cbyoBklPLMTxtk5QI+rNNvtFi9o3PzwyqDwYDdurxufVKJAhfP57mzvMdU0eL0sWEKIxmc4ijXX79OaX4SXUsRVQ/wbY96TeamEU4mUPeFdNrA80JlMCgVc8wcPc7tKx/Q7vc4/8gjHOzuU69WCGMDS4FqQ2aPHGHnwSa7e/vMH5mj3fe5fX2fl39ogh/8hQNuV7v88CNDXL7TIpWIKeVzfHDvgFo7pNL5KsHOBu2VD4l6LRypCk9cIF79olLBRsWLClY+EGiugvfaavHiDJ3Dp0rCNPD31jDHz+NWPsRy66qDL1C3QPhpsTxnjhJ6O2ii986UCLo7RIMexrjoH9tqYOCYEW5bBs+H+uVYFxXgbZXA9WURqncP+WBSz+utqkWrpScw9KJSopu6JMryBKK7Ts8pTWy/K/Dd4yRt/3BQ4pRh/30Vp3eKM7ibl0gMLxImp9H9qhraWQNZNgyrSLvo6KKeVBI1LFkoCn1+0FG1SENPqNqcpDAlrSB/t95aUXYVGdoH4T6J4Ueg2ySQeuTwotLg6Zop2ECV7Iu7D9Bk+Fk+C9V3MQvzRKLEDaRWUD9MeUcmtt7BPfiAxOiT8rRD82VxtHaoJHZmVAIhSolSWPTuLSgexWzsEXTuqXuVpHWs1BT9EPT9b2HbM3h6HVInVJrAH8hdxkUfOoOthSpNqCUc8KTbXyMM00prK3wBzyiR8nfoOyPYyRxhs4aBPFMLJLSO+jnQXSHQZTHTwBkaQXcWGFQ+VEOHEP9QKyjqwINLKm2hJ0Yx8nP01flO1NJJZT0IKtsYaRn8xwSe1AmyIBV4ue9J5SHsYmXnlIUs7tdxpTJqj2PZFl5YxRsMSPgxQdxWxH/TdhRHIxQOlqNhCD8iMUm/fk3erYcWh+b3fjEW0J+dHUOX+IscOKWf0bmHOfXfEYVN4gdfxBg6rdQBppieO9uQTBLrCQVqEhd7JNvNdObQq+jYYJWgs6Y2q4mJJzC0Lm5lGwTip+sYkiGPU2p6E27dRhtdUKAszXtA4IvrWC67CaXVMiR2abnQ2lJdTARYlT2mIuyy5ZLtjd8/wJTvQw64Tk5BpJT2SjcPf2E0Da+zj5kVXcI8UW8PoiZ6Z5+eOUYqrqCNPYy8a4LGVRh/gWj3igL22bkCgT6M3W/gVm5gH3meqLmvHvhadQs9NUQsvtdYtpRd3NtfQJ96iqSA+eQXyi4TNTaUNkLXewS9beXWdMzkYRfUEEVNCq11m0ASBa5EkG389r7qvWrZYfRYtB06Qb+GmczS7eyrD8RBv4LlVnFGnlZgQqlSaJ0DQlGRmRMYAgpLl+kIeC6ZJco/Qlj7FrYmhOomcWEcM8wR7H0XCuNoubN4nWXSVokoMan6tmG4R2vzEuX5J2i3uxSPTNJYu8bZx/41j59Ik83nGE5rjKfbfH1NY2vd49XPDjH04nm0VZ/I6xB1q/S9Lk56HnNoGqN1lc7+OgmhphZn4GCL3t4dnJSuSKSWbtIbVPErV8mOP0GoD+ivXVPvU3NGLgAa7od/QeLo8wTJAoON10hMfQy98QA38LGk4y+9cLlAjH+CsL6GVpPOex4tN42/9yYxBYy559H7DQVEtM0Z+vtvqOhRPDSOWV3BLD9GZ+s7GKKtG5ujL1BI01G+VN3vE/tt9Kf/EeGl/4yma0rZJ9xd+QV0exVF8Q+W/4y+VyJz4km0xjKG/DkjpTYfwknQvTzm9BLhwTpGdwU3OY7RfoAlFZbxU3j1VcL6Afb0BWivE+TPqJhyt/Uh2fLDePe/SpCeEKw0TnYO007S37+PIzDA4Tn8e3+CYc5gTJ5XQ4y4eoX0wgv0N1cwh8uQnCAQ531tg8ToWUjM0l77jookp7JZuvsm1gunSNf2mX7mVS4cG2O/3WCi7JC3TUZLBl95u8a//ceP8cLf+0/sf+03yE+MMOiPYRsVDMtUFwlDOti5aQZ3v45hdLBmPqWIwxLDC71tVfcxZdNuyLR9gDl0kv72m1jeHvHCX1UPCbO9RmSk1GZeH9zFb7vEMvnMz0BrmaSA0QoLGPKw8mq4zRb68BEccfHKNlGUWwc3yOaPKR2XXK41ZQypqOGWaJHcZo3E8JSqgYi2RTbSmhXhS9VAqjfePgk7QxALoC9LJPYQbw/bzuDHIZpsDMihZ4XnID2/GnGvg54RuryPmcwRtK4RRwUFDAuFfi99cn8DXSbg0gEVu0ngKXuI6Oik9yXSNz80sQOPqDyCFstFtEHo3sNx5lSP3PPW0M0JNUDQ3Q110ZWv43c2iVMCPlpS6Z84buDLJl6lH7rEonHVbJyoSt8sk3LyeM0HGEGDKCXVsGGi3W9ipCYZmEXM5hqaYnEk1dZBonJKEWDLILGI7e3j9TYht4QuQB/p+UlHTq72qTKmdyABRqxQDqcStTfQVTVm95CUG7bV9lwbOo538G00PYGee0QR8b2BJMRC2esfPsjsIpoAhCRGJ9sFr4cpQ22ZysVSHythhgcEspFIZ/CbDzBlwm6NgtsiimWj4OAFaYzEoflB7zYhVVaqIRn8yJcysjOEMnCLeqpXHJPET5rYUu0YiKYuT9TchPwJYjvF4P43sKwIe/QpAn8V0/fQM8fwNEuxIoyDt2DkotpqRF6k3oeRk1bbHzsOGLQqWBJ9zOfVIUXAYXHpIQVvwgzwRZtVfh43XsaNM4xkTJ5+9r9HTIezUwUyGZ2sxB21PtdWYv7538jzULpJL3mUZKeCb7kce2GBv/kzV/jc5ZhPPVPkVDng9orLg0pMOReRsNPcr9S5MFPmew+qvFhM8Bt/9nO0v/kqjC7yx/8vS+8dpll61mfeJ58vp8o5de6e3JOlkTRCI2kUQAiEZIMwy4W9AuP1rrwOLDb2wmXjNU6AvaxtYEE2wbYAxVEYMTn1dPf0TOdQXTl/OZ68ft7aP2euuaarvq46532f5/e7769c4Fe+e53Pny2zuduilEsR/A8t139+eYvl//hRhhZz7Gy65IIW1a3bZI8+rtSxXrWKbqWx8kL33iebytO6e1ENb0zTQSsVsY88TLx6S+lsZbBnZyfwM2lsP6G3flHBU9OlktKvtV/5OkYnwJwZJv/kZ+jefgunMIp3/Qpmvogvz8dunZzh0R+dwn/nFWV2yCw8qIjXUhGxUyW2nv9jyh/5rNr2WZ02vmPTW9sCO8D0ApzyBHFQpzI/yhtv3OXD/+ANZpZSLJRz7G33MG2dexZTVHsm3aYYFGzOLQuZPaLdsdnzPMFi0gFSOZewPcC3IJ11GMrZpGQA0W3yVz5yjB++b4ylo2ny99yr0j9hdZfBxjYrN6rMf/pTHDz/NmZ7GX3uNE4S4Ey6/G+/cZ7r6wOGRmIMT0KBBqNH86yvHHBxs8Plr/498nGT5ZfeZPSJs/gb8lxwMXsxfnkEa+MG3f0Nyo99FL/VIt5dI+pXlQI47LRIPfpR/FvXsUYrtF78LsOf+il6Ny6SOMKocWlXd3FE2VisgPCCCkX8Vk2dHbPTJxk0q4S3X8eqDGObJarvvU322ClV0YyFe9L08WpbML1AeelBqm8/hzEnatI6cbtOZuEk3XfPEXoxmdP3YvU6UB6TnBb9zWv0dqukFk4iuyprUKf95qtkTtxL6eEPs3XuLXIyzClJzDuFQY/G9i5hrc3c2cfY3dll6Pgoju3zwMf+C7e7Hh8+U6HX7+E6lnrmNFoBc3NT1Hs1Ot2QoNOjkCvgR12yAiLuDuj5FrWwRSZxKOUF6jzAth3137+3E9LrhFTSFovDET/7zGk++sMfIEsPxxSW0CiEJuzcppMu85Gf+EMiQs6erJCLLfZCjT96YY3n/sEcTzzocOHdPpPHphSn69b12ziuy/z8DNsbmxxUm+TyBbI5l7trGywszJIvZLh5c5WlY3NK19nejzGKfY7OzfLOtX06tTpPPjZLatihtdXh/J0Wv/3Vbd67ozE8klGGBK/VZnquSH0vZKUmQwDZ6MY4jnylBicKA37tf15iYTpUX8/OtS5vrDQ4dmyUfMpRYO/9/R6e3NCsmLFKid2dPXVJmZiYYvPOsrrwB6EYGhLGJ0epNhocWzrC5s4mO1t1PvyxD/HqD14kky9QKpW4fv2AxdEDfu1PQzR+vFoAACAASURBVL62VeDpozH1us9cpUK10aEfx7yx3KS1/t/p717C61vInsZryfbZRx9/AsIaeiBQuRZxahHDHKiYfNzewpRUmZkiCjYxUyfw2xuw9ZeY8x+H0gLxwTtYkh4aOUYwSDBsuUftqLi5dMu99gpm+V70wjBxq6nO7lGk09t7i6wspAxbwdsSd0SpoePOJhFZtYwIt18kJWYYOSt0t9R5wgrLhK6DXigr5oyl9/Dq22hGBrMwQ+DXMEMNQxaYB2+iDd2HFZl4Oy+gyX3KW8HM309ghuCUFfgwtDQs4Y0NqlgyWDRkYbKqvn+jdFaxiujuYpaX0MI9BgcXVcpWVLwCM43TeUETqwpK6JSh10CPewps7kcmpm2rM3Pf99S23KgsEG29gpGSJfIk6ewk/c4Bcf0O6cn7iDpi5emge1WM0nHC5rsg+sOCnFeXFfsrbKyqxVgSNtHtYZUqEuiSGgzsv4mZuw9tZIJg/yaWJAtEjyiJh4NLJGELbeyJwxSBnC0d0bO7h0pu28YadKG9jmdJ/x91to6DmkoYS+IhWP82zsIniWSR5w9IibFBjFR2nqRxjsidRXcskuauqvil3AJ9SaFarhiDlVEqZeZV6sRrLKPLMjY7jd5bV4w97JICU3vCCKrdRB//IZx0AW/tOayhJwkl4RpIglagh3mM6rv4SYwx8gCxKenFFSyviy3naKlDumXMWKO3dx5H7qSui3bwyq8mrpNVW8yO9Pj9dYrjT9Ft3gW9QyQ9K10+t0V18ReonWgQ9NFHiKKWuqTIC9oIRcuWV+Re098kMY4Q08To1zAKS4TiUq9u4YyfJhHKc2OHZOIImsAdOh0Sp09sTgpKCk/I+v2ApDSGVruAPfE0ocA1wt4hFd3bxZRfFL+K71dxhu8n7Ldg+zV14Izkm5OKgsDTZGomG09NlA2C1XRUDFx0hfFgGzvQiHITavOK10STDoq/B8MPQe8yulQEuhsKGCaKuXDte5hTHycRMEV9jbRENEyTeFfi089gxAJW2EOfuB+/WkczOmitTTrr38Sd/VHsqYehLjRnBy1p0t97m8zIh4gGq/TMAq78kAkESTr2fQ8jJx5LXUVNEyGUyy9EZolIpulRg0FTunYNoswIiHOzJ8mAYZzUuFLB4O2gZYaI7Wmc7e8SlM+o6EvsHsG2BTbiI1XcuHlHdUj8zDCGbK53zx9O5t1hIv8A1x4mSA/jRk1Si0f47Ps/w+auwxP3Gly406eYKjC30Of/fT7ks6c0/u+vfJjw1g6DrqkATe3tS2jIZM0jPvYBPIm/332ewc5tMouPkipV6Hni/lzAu/tNSe1i5kZU6kD1qhqi0+li+juQLaHZFfqhgV6/jj1+HKc4T3/vpnJ9yv7QmnlMEVyD/m2yMx9W1P7u/gqSdknlp7CH7qPf2iLubZAaPoIv16sd6W5LD8kHMSXsv4NulHFKR+gPNikMPaKix1rfwxMtokSkcnnV0403X0UrSxdtnP71bxKPjuEW7yGWOLlwHkyfUHpb3U0c8bp2qhgzH1FTTfPun+MnWdLFGTVttgWImAzo3fw+VuVetIkl9PVXCdxhBanUB7fw1t9Rm2It75L0AmW88PdEp3Saweo5DGdAUjhNXF/Hzpgk6Uk1NdQrp/DXX8UYe0DpJ7XBKkkyQb95VV1Q4vyoiuvLFs6Qwcqt81j5GTw7T+nRYf71//kav/z7d/hXP7XErVrC8tVd8vkUdtmmfm2XP7ryFr2Lr6vDVZBy0bpS2SgSdqvodkI8+RjcfAFdBiwjjyhit4KMdlcxzBRa+xZBSmon0kk3GKwKkfZ+gqCv+CKGK8O7Lfo758iOP0zSWZF2MVZaNvL7h/AeV7bCh674xLYxk4xyzuqd22gj71Pfs1y45EGgZ8oEMgxM+rjZReWidfx1gq23SCaeVHEscewaBbF2SM2ihRaYIODP8hJeb0fF+3U7Rdy4gpWdUZrMyBdCrLz0H8Lv31CJFPHPR5ql1EF+JL2wPo7EEHVHMQ8klaOZ8lk0DmF0ZhpT7CpyYfdqaMG+qjgl1XXM0gmi0giWaHH0FFr1HSIB4gQRaSdFrytfl0+iD6HndUzR8RpZ+v0tLKG/ynZZ9/E7O+CmcI2C2nSGou0TbarYTLSYRFIVaRm0hmiZEaJ+Q8Ulk/RhjUhUf6pe0zvAr10jyU6QKs7j758n6rSwyhV03yQePaX+2dFDQqkUVVeJxYQhVHwZvgwGaM6kGojKz53ASxPTwJDDRWuFoN9CL81iSNUj9JU+NpGunPAT5K0hKsd+k1gMHZLqkiSBJvqiPoZYCIwJtWFh7BkG0T5W4xp6+dHDQUMcENRvqguhkLslNREeXFMXQi1zlDBpqkNIEnbR07PKcSzbL0ORiouYzhhJ4xaxmG76cqAawRAQZ9jFj2SoVDys1w3WDjVJ4kLfWUczHJJsTtk/4kGfODUt5A36nfNoSR5TT6mfAYlgSpXFFJBj402i2htohfcreoFdmqTbvE42tkifeYyFygdZmswwPFVWhPHsUIZ6Y8C17Zi///kJvviJIi99a5VMPsPJexaIOEBzivzc33uJr77rUMzYPHMyVCqkQqrIpdvrgkwlW8jyvWt7fOneIv/mj38e75U1jNNzvPaHf87P/MlV7inbVBONB6cLXLpT460Vj1d+7RHufeA0t9fXmJw8SufS23BsAUvL4q3dIqrWcWbn0PSYTrdDihRxdQdr9ihJ2seOZfO8ij42hCdVQTMg2hJbSED5oz9O560fKOVTMjpNcP4N8k89TefCOxiZNP3OOpnp0+gjE5h7y7Q2trErZQyJUo4dJ7gjJpY8iWPhbd8itsrk5h9G278DKZ3Wxjr23AlsMQ4ZIanZYzRWlxmdmGV/r6aepZM//KNsf+3PmPjS97lnzObxo1nOrwq0R6xHPQ5qPsdKGXZCn5liSanfskbE9Nwoe9urDGWH1AXh8voWWTtHtdrgwLWpdWLqmz0RVYovg+kJn1/4zPt5fCjkno89gj/5AOlXv8XuWy+SufdJ2gOdsRPT1Fu3eeLHv8XikgVeQKsv6YVIbUDfWutwIhPznf/8M3Qur+O3+tiTZQIhnre7BI09UtMV7JFTdC4+h37mo1gCGs6l6L38HOXTD9FI57HXV4l3b6KdfQpHQIGhx6BRQ3cE3NzE1Gwy88fpjYxBvYrdD7GiA7xuG3/5uqKOVx55lmA4T3TzAtV3L1J54DHssQcIqxcIPYugW8OemMN2CwwGHezOXVJzD7P7rf9G+dGPEWkd+r022dIorXfOkYyUcOX34L3XqfzU36a/uYZx/i2M46dovfUd7MUTWBIBXn5FJWsCt0LO1PFqLcyxElpHnO0a7Z1ddYSa/asfJdn3yTz1Gzw6n1X996PjE9zc3uCglVBOo+Lpvb5PR9TSkhLRoVwRSK/P3GSGaq1HsxkSYNGIWjgBjBfyuK7F3d19JocrrO/2WT5osCsAesvgqO3wiQ9M0jN8vnDfKI9/6hF+7m/+Ced3fcZzARM5i6vrfbYbAV96psTf/vlFLn5/i+5AoF8hR4XM3+pz6Y0rPP2xJ7l6/TrFbI5cPo3neeSKJZZF9+vB7NI027t7pHSbzR2foqtjDfc589AJ9lZ3+Oq3mvzm1w7YDkzmhmyefaDIxt4+biZLoztg2A4YGy7SGvj0PYMj43ku7hxw/saAcdfh1kafpbk0v/DxMp/+/ALVy9dZ28mw9PBJevVVDtY6DKS+1QkYGx9lfHaJuzdvUt3ZZVRZAxq4TgbbNSjlc2xu7tFudMkVMnS6LQqFglIMlzJFbtxaplwscOqpUb7ylRV+9re3+eT9BXJ5ja09X2kxH5mb4J9/Y5n67d+hOPcQtb/8TwoWncnm2avuUx49RW/162TH76fbqCvbjoS+QtE06x11zgxSE1jyXhT2TVjFFLK8aygYnpE/RTJYVbYdPZI0IIRyGXfSRFoOlxqBNqrYam7axJefm87WYcVs/JgC2kqKz3TnCJ3g0AjVaxLG8q5dRPP28Dp7aGaCUzqqLpzyvk1NPoJXE4tAjJmXVPQFkoGPJgpqYS7JosJ3iDa+h3Xk41j9JkFpiXjrKrojG/VJBROPpbKtjypInybvetcmCOpYRoZEkgjCw5Jtdr+Bryp546qyInBBMrNoZkwkyxQtjS4JbElkMlA8uCT8/80HsvwLZTA/QBNjhFyC/UB4o2pAaAey7d9XnX0tc0qdqwU4qKUiLGOBvqQRaufIDN1DNFhX9cEgbOBEgrF0SUTVW7ugEqJWdk5d0I3xh2UdB509gkIFM+wRHGxiZXLqgi2AenmnJ0kbTaCMgU4U7KhFqOVtK6tR6OTQ998j8MWqdFypvM32XbreLqnUApaj05cUpTV5mECVtEpmRLHstM4Kg+23SOXuIx6dQTNLGFIT37+uSP7dzh0sMdskJYxgS0qFOIZ7WFGNBMZaRdcPFyMCDDdy88Sd99DFxubIQknU9BqGpOLSc7DxkqrHa4VZ9XenuUXi7bfV965rGcVfCPoN9IKwxm6jtc7980QAY6I+cvJ5/N1bWKI1KCwoEr/dXSOQD0g6BUmDWAiVmVH8zj6pzDRRbxXT1PF1C6vXVb172brG5SWMQV95ZaUOQE/iMRZGbolksE/c7yriZaxJVGFAJFst6bsmOmbUJRQ3p+Ah0/OKfIn086MmempWTcsSXcB3Dng9tXkSfkCUL2CKPzwWQNcoYaeDEffRrBSaPUbY20Dv3T2c5ozcp7RB3bU/wSk8hFM+jTbYJRRSZFt6TsPo4YYCBhq5aRWLCXdfxxo6Syh92s3vodkxVvoUnuZi+FW0zDTIv5evJ7ug1BkDLUO6KKTjF+mnK6TTRaW0EMBZIPUEvY/XdzDaN3EWfohYKN39TWLxjvfXlKMyK11hLSAORzH7q8RGiJ6bI3EL2EFImNRp3Pk+mZmnsTMjtFZfxi4sYjsOcWOFwaCOK2Ga4pyCdlhyUZBJ+IFQtxPlrjetMn5tgzhuk5beTvsufekrZYbI+E3aYU7pSiqnFukd1Dl99h/xgUdzLEykefemTzElCqUSl95Y4a3v3q9cztuvVbHLTYz2ALsgl/YRws1XsKeWgFm06irMnSTYeAO9clwdeL39C8RCq3SyoOVxF+4lvPOWWi5SLKrkhz7YRz+4SzR2P3HtFlGvjTs6Q3Rwm0Ao3a54pMdV9UL0GL7TJTPxNP36lvKSO0c/Qr/WQYs2ob2GpVcIxIUe+VjHP0v38u9juTmMiR8jufX7hKWjYtNkIHqNnoAXz+BkdQLDQfCsAh7UnDFMZFgWqW6OWRwi3HtHgZ1SlUU1YInl58OQhEcXauexyw+SlI/Qu/pVNFPDrcwRO8N4jTVS0hHKZInka0oPEzVWiB1dxYUi30Or3UafPEbSCzHDJnEqrS4e8kJxDIMgP0t8/dvoQnWf/wDh9lskgz7u8Wdh62Vi0Qxm50m2XlCxb7NyjKC1ji6+1fay0os5eamYSMeqRnVllfHHP0a32mDssT/ll35ymt0dGTLI1qNO56DHV88lbK/9IfnKIjuv/1eKUzK1rRN6Uk3xMWVznDlCr3kVXS7d5Xug30CzPfUckEiX9NbczDBB7TKaVsQauYdoW2oyBZJ0Fk1+d2QCH8tGVEwIchFNSJICmgCzhOQbNNULLcY6/HuM+vj2BNpgD2RYEySYSYfA66hBnCkvX3cczb8F1jSakyPxOsSuTLFlc585vKCqDbeDPpBt1TKJWAA6oosp4rhL9P0tEtk+K8hii0ScrUYZ4gOSzBiJDPTS0k+vQlRQ0TnNFSJvTllYzO4WfUmlODGmO660lQrkmHLUz3milzDGHlIRcvm6vPVvoBdOo8szWrpjpbOYWgvddhnsXceWyXb+tGIGmKlhkvwZtP4yAwHmyIait4NmFIkqi+iNZQh6RPn70OkRy6AtMNBdWxkpgt3vqRerlh5TfBbDO1COaYnxBY19XMMn0g+HEXL5jtuiO5xQbBjD21KfZSwgIa2pqky+uOFTk2CYCigaVM9jOKKGPU0QrCu9aeLLnzHAdScJEN3su+rQFuKIa4EkIzWgKkl3HxGwS63I0w1se4Kgt4ofJ2Rys3jdDQUxVLUWK0bPnyJa+QZR+RiapmNJX3MQYUTbRKkJYhn4duV34X2EtfewzKyKUcqAWO+vYpRO4onpIJbNgagENQIxungW6cmTKlqpHbwK4kku3I8RbqvOtO/dxm3X8PNniJpXcEqLynxBf4ChST0sAH1IPfelGyydwSRdJOyJkHJPaaXCjjh/q2i0SfQRNCdNt7HK6PQs/sQTPDI6z8Mny2wPEo5ULHb3B8og8hdvVPmnf63Az3/+BFffWKFUKTCIEvy9Bktn8iTjRZ77zjq/+ZU+7+710NI+c4UMxyZTpDSbiytVZaB4+tgI//QfP010qYq+NMqb37jGT/3BmzxzZIiVRocHT1aEScpXXtvh+V+/n3seeoCVd6+TkSCyYZI7eR/da+/gdfZVD72/e8Doj3+R7puvo5fkQpkQloawvBj2ttAFhDkyQvsv/pj8mfsYiEFldwv7Qz+Bd+45dEeYQCHsb+M+9Az11UvorTZDD3+I/q07qjKmZVO4vSr7t96lMjOP3+xjLpykf/M9tZEqnHmS7pvfxxwqoB9/VNXezH4Vpz+g2W1RfugD9G+v0Ni7rHgd+fxx3OkhGvvbFJ58jJ3vvc3nf+k5KqfLjLkJF6/2mFsoMD6a46DaZ3eriZXLsDDssruxRc2z1AG/WNYYHxql1Q1YX69x9PgkSTdgYHtCAqA/MKkNOmzs1NgclKgd1PjAnMWjDyzy088ucuSDR2Dd58rz32Np/hQ73SqPfvl1nrq3wOzoMFcP9jloDDhWcvj2xQ6fu9/k3/7ul1j/wQ3iaI2KmBOakpo4hd9tE+2ukL7vSdrL75I5+gjdS99TFUizUCHOWcQr1+mur+FKJUeUqU5INDyK3fNV/Fn81CqXM7EAsvXa3uSgtc/40mmlFd27eYXS7BLG0hLJ7ipJXkBX62pQGWWH6V1+mfz7fxS/J1CuNr1LV8kcP0OQSRFV1/HfOYc5Pa/qUKUPfgr/jRepX32L/P33Km94sCt2Dw3TqxP5IfHEItbUHLleD297i1YUUzl6jP7GVcJ2F983ceZPkE4SmhurFCeyDBotyhMTcHya9z3zr7m6ccDTD1aoVQdUOx6LI8NYls+VO/vMT4+RMkz22y1cW85yaXaqfQU/HCk79OXPKzu0uxqbOw0yWZNS3mYQ+hR1k4mJsrrMbu/2SLk6+djg27fq7Ld1EbcxP6ozY+s0LTg5M0QmyXJne4+0Y3O15nPp946yfP4O3dBleHyMrJNib2eb1eVVls6cYnN5ldHJUXbXd0gXXFJOhlQ+haPZvPPuLdJmRBebe+4bYWpigtsXVrjczvIP/8MytmkzPhqiizrY63F6OkNPes6xw0pLwoY+jpkwOZJCAk2Dg4QfrNZ4/Fiex0+P890392j2LfaqETPpJt/590dJRiq89/Iu7YZHphBScQrsHNRoduqcuu8Mq3fW1UKtMj1Ku9Fm0Oyon6dsQdKyNpvrm8wsyWVNU5BDwQY1mwNyOYsbV3b46E+c4Y0Le7z/y2t88SMVbt2p02xHzAy7fOLpJb787y/y4u98mrM/8TeoX/gubv4E3t2XMIeX1FDY6LuHjDJnnEivkvgxRn8PLT+v0muJZuJvv4Vht9FGP43Zv4HveaTcIp4MeuUsM/JhIm9NwWPVnah5BVLDRMLhcR2lJ9cHDUIB4aZHMITfJP3s0hS+cHW6dZLaOwSFRYz0DJEwcUTjG4iKWMe2F+l3bqlYuJ2aUowySVGEsRxN0krfbKcK6iIvkDw9EY5BQS0CQ6kfBxGm0cfQCsSi4BWSTLiNZdjYRgGvfpNkaFot28RMRK6Ev3MRR5J/URPDroCdw8lmCCTZE/ZIZafxwwa6pO0kxRZ1RQRMp7qi7hau3yER5a9E2SW1J9Tj1i36mSUK2TQDeVbYLkFvG90qYRZHSLoDZVQTTlSop+lvfJuMsKKGH4fuirQTSOQu2F8ncQqqWqkLnydsEXQ3iHOL6JLuM3UFiRdzEb2q0kFrWgM9tYSZ1Aj27yhdomYPEcQCo5YKVh1TYIO5aZWKlAqNHidqQSL3VKcwQvfuRVxZHJoFycQrM5rWqRO09hVYXJnJWmvoRookPyntbnrdd0kPvZ9IIv+2nCF7WEFdJQulvqTFPtqgpZYoEuuPvYBAIPX9iKQ4rZZbBC0CT4B/wijbRxOrULCBlpTUxT9uXEcffVQNUTWpVZTmsA7uYFRm8TcksRHhSBVS8uSNHbTGhX+XBK01bAFcSfet11AqIi09iW2W6adKEkZXUIWeLjuHjqLOR43LaJnTGKauHI+hENHDNka7ruIcVn6IJGmqSIrS+vQO0FICPpIubEvRG2NvH0sgEnqM58fo0pUWtdX4WaWDM3beJEhZyggQtmrY5RNoWgejeoNo6D7i/Ano3iaRy6BcxocfVWRGUf+FyRBmsq9UYolc3OwJpdJIBgc42UmlSQilz96V7WEabbCPZ48IB0xtvsgJJE5I5tJgkUlWCj19SJmXM58l5ETpyrs2ob2Ek9To1Zehv4Yz/pTqXoiWS9t5m0gukGNPkBycUxvo2BxR4LqkeFpFhdQGzCorR6XfbKPp+5gbL+OU3kd3+B7ig7dxMuIxF02K9E9EQWITd26q2KxQIqVA40y+j1DiTMGWgruYhqU6y9JFD/y6Im1HncvKB68P34e//GfYQ48RJaLcGqjLUij6N4mp+utYboFI07E1k6gX0utvMfroffz+r/4a/+LfXuDzP3yKc+/cYaKY5n0PTPMH37jE8eki/+r3PkRUTRP1t9h86wLFGYGyTJPkF0jyKfpvf/cwhnv8cVKpNJ0bb6OPz5Mrz9JZf1f1QI3dbXTHo+e3saWfbDoEzSq2bFhdMTZskwzSGOVpgtvfJSiOkRL3p0R2XSGrSxTJRosdkv13FegjM32cIL1IuPoCeucm2vTHseafJrz53wj8KvbIWbTODQWikr6iXLSMxCPwmhjpMZLBIT2c3h2C/TU1nLK0HbSJH1b0Trt26TBSlj1OavgMUeMd4sTGHDlFv3aX1KBF1N/EmP4IoVzaOisYVgEjNQKeQWR0lPZFiLKhAOliTQ2rot4mcWMbc/whjKyOGWbwBgcYEyex+01ad19XVZfs3DP0ay/jDp0h9kx6az8gM/+oeigbjTVFOtelq+SMKAVgZu5DamMRd87jlB6Wewhh9RV0iWPrBbXxdMYeJJCHbG0bY/QE6bzL45//DvVuzDOPl7i2LK7SPrMFjT99tc/PfuEk//I//yXdi/8C3ysTGz7Z4dP4BxvqMxboi0y1pfuuLp+y/Qx9rNwkWtJWWhwrs0g4WD10ccsbkgOizMNosUbSfA2z8hiJbhLvvEw0/ICCQ0adFaXINLRpNEllSA0pdJAjjgz25PKqUgFOBt2QKagUNUJssSxEwi4JDuPuhkO/egPXHcIsH5EvTul+eq1VrPw4VrehtjoCiQzld0acqKajIm1meYYw1gn2zyuVqTF0j3qhRK0NoqCJlSmoaW7kSRqiSCTVmCQgCjw1uJNpvZDV5f8tcE9NBgeRSeQW4eCu+r2I63UGO9/FXfoRxZawhh8hCoWNoBGtv4zuFqDyIElPtt4uKTPBl6hcOCDZfRcjnUErnoawT7TzIpqYKUpPErbPo7XX0Uv3EkU7mPLStspEgagAF9H9LmYskd5jinMgdhFJ4zjjD+FVr5C4p7CKBZJen0i0rNJT0woE3u5hAiZqkcjALD2GJdHLoIMVbEBSJJGKk24TSGRSNva2QSAgw2AfOxkoWi2V9xEfXMDWjEPrip1S02xfr2D0tw75LM4UuihuJP0g9H6nrBgeYV0ijIs4koAINrDDUeLGt4krT2ElB/ixh0lRASE1GSTFuzDoClIWs3BE1hIkEr/XyxBVFancTU8pWFYkqZWwg9AHo8TFMjxC0X1GLoEnQ5WGGkbr1jiJ5aP3FYMMKCl7hyZVCHeIoHldvefMmc8Qpi2M+nn0tkeQncHJChNjj/DgHbTRx9DsYZz2HcL0CI6TZrC1BiWd7OIxPnbqi0zOZemJWlHz6A88Wr7GxXWDf/dFh08+VOLFczvc8+Aig+oevTDNSDpNZnGaXDkk2LzOX14r8IV/cZWRxOexe8a5u13HKbq8fbHBIxMO3/j6L7D9jYuM/viz/OYv/jr/6rU9fu4D8wpg57Wq7LdDvvVegyu/+iTljz3N9svncNIxficiPzFJ89p19KEShbF5evK81gbE65u0V++QPnKGvC3twRsYR+5Dy2QxGnWssRm8+h7+rUuk7/8A/toy3cYOhfFRovEl0nrCYHOdqHugoJFaaYiktYPlZKmvbTD9+Mdpd3YJ93Yw+nW0uZOYrYbiiLhnP0SyvUHr4jdJL56AvT2c3CztmtiQPHLj0/jZCq5TZu/6RdKWQRjE5G1xaOdJHb+X17/5Gp/7J69yz+ksB/U29yyOK//2W1d2mZ2t0GonRFbCcNqk2W7S7GpU8iZZ18HXItarXcoCaWv5HLR7lNIaQ9kM2Uya6YLBcqfFwYFsklO80+pTbcDf/cQp/tEXH8QYK2GdmOf8b/8ej/2jG/zih0YY6C3e3dSoyFbO9fnzy03e+fUf4l6rxrlGlvuffD+7d95R1HhbNMjT9xK/9zZm0sYQvXHsMej3VSKOyjDGrWWStIY7OYsnfIpdMXOY6ItnSVav4MWypTMxuy0oZgi6dYyhI0qj1t+6Q/7pz6jnaO21l3CzeaLdZfzRebLFMaLdNRidxrh7Gc8P6cY+2dEFXLkk5cfoDyJ0UWvKBWhmFn95W0Vc9aUF7H5XKXtl46qvXmFveZmRZ38Ws7PLYHOZyMrA9nskoydwHJ2g7RPZGplsbzYQbwAAIABJREFUFiMICOIIP9LJVobQvAGeZeG39img8a0bTX70X17gfUcEmAWuHZPLGKwctBgfHsO1QqqtGGjBwCCbT4Gkqno6RlZggxB324xnUlyr9smkHdqNkMWpLIVMnkajxXoUk9IMHNFB9zrMjORYGB/htUtr5PM2vX5EtevheRFBN+LUTJF+HPLN5YDL/2yRucmYlXXQLYuwu0+pNMrG9oG0ZHEsk0K+wM0rdykNpymPTNKo1XEzNkmokTJCRk9PE1cb/Nnza/zjP2owXs6j0ePUlMvISI6NnRZXlzuMjlb4zBMVLtzs8ebVDc4s5CnlDN641qIgUMC0weZOwpHZFN2eML4iHj6ZwQts/uG3m8S9gG98ucCzHz/Gq89fJmn5PPTMWZav3ZUQKnrKpphzqG4dkCplKZaHufT6eeaPzdBqdPD6HvOL8/QGDRrVPu2mXFADNLOAlYlxjCILixGbGzEf/vU2i+MtRM7TCXNYZlNVoZ6/1ufN//I3uO9Hfpqtl/6C8sxZegcvKDZYWtKP7hC97RcOGU+dAC3cwNJjQjkfFx/FoaNUrgjzy99Ad+bR8hXM+m0GzRuqQm2NnVL1ADOylc89HDQV18wyhyBYJrDK4I6o94mVHscLO+jbr2KWnyCOJQkdkLT2wZlQsEVR2Eb1bdzCnKpLJ4lD6IsOeR9HTxHKJddwMc0Iv7aLFVfRpj9CsnNJqU8TrYIX7pFKTak7jxbtKm2esG0Qhk9BFle2GiCYBHTqd3HHHlLvMa27i5+ZxYpifFEySxVLGAg6OG5FaWkj2f4PVtC9tLoES3Xb13IkUVXZwSQZIM9KI1NS1WypMMiS02ivEJbOoIXrikdkF0+jGZLY80hMqU34mAJ1tQU+PIZ+cB6cIubE++nd/abSDwpHSOl9rTS6LP5MGTIPk+y/hlZYJLZSJDWBjebR3SH0WJ4h0wrYbWSPEXk7GJ7gin3MUBSwIe7QEZWi7FffQXeG1RJV6pG+8J6srIIh6mPydXdI7vw3tOwMsStnhzll6Al0l7Th0m5uqvqcVRkjGIh1rqUq8ZHcgcxAJaqj2lX8dg17+PihUtGdIbKE59RRy1BJoJDKovk7JM0qSa6skh7CUZDPTO5smoDN628RxznF/kqEKdfz0U2H0Igws0XCao04N4WRdNXSQlhMKmkfeWiN1/914g+2SMedQ2d2ZUptwAXuJ0RHPT2qOhatW9/ATk9hFk/hb7+MPnJGXVCi7gYUT2LFA0KhcGvSiQwUNVi4swLc03LDRJ5JaAXYnn9IuXal9yGRaQEt7aBFebRMgaBXh+wUpmtDe+8w+ivfdiqPNdgjivLEtefRnCmMoccUSVsTKn5wcDhtkQ1URjZL0iNtkNhzBKvfQC8fRxMYYGgS6x5J8z1MbQSjOKs6L5po2nQHrXkTffT+Q9J3e0u50CNDwIgukYC8OrLRXCeVPUIgWjujgJ6aYbD9PNroCWnvYDjSydCx736HzpU/JjU0inb8ixgSrZZpeqwfdm5SoyRy68oMMNoB2mAbLzVPfvgegr3zxOOP4QTreKL/q9YwW++ROGX84WNKdZJYh+R/K5WmW92F9T9X7lFKJ/B3LmOVZonjQ3JkUN0lLk2g5yYxN18gLC0pwji506rXojdlS5kQtDpk3RG8lGzEbLR+SGC2MUJR1jwJ8Tpn7/8y2VzE+55Y4NK1darbfaYWKiR7Pf73n87zyM8+xdYfv0Rh2FWfY9AR+GMBQ7rb8/cQ77xH3NpUMChvUJOnCWblfuKdS/jNA5zFD8Bgh97yZVJTx1XtQ08CvPYGRpLFLA8TCVqktYM2NEu/uUMmPYXfWsPvH5AyixgzDzFYf0FBNayJ+/Cv/wWRa5JyR+nWmmTG5gnls7OEhjwgEQ1iqoxvjuPKJVld0LfR5j6FG3YYNFcU9VsNyvIV4sBlcOf7pASqohXBlenbGvrck9iNXXq71zBcDW/QIFs4SeBOQ/cWetAgFr1ZQYBrLnpnh9gaJpLEtbieG7vo1NBH30+4+m20mQ9jV99k0OoqsrU7/jBxa5kkHoCkaHLys+bTX7+NK2C1kSkGV/4cc/IRFTVm8x0CAUcaHnFtE6tyTLQSaNRIUkuKft+5+y2Kxz+jouCD699CN03siccIe3sKyBmL8mXnDoZeIPPUCV78ynf43K9s89OfqnD3Wo1b+w73nCow7fb5/W9VOX/1txieO0vjvW8r2vtAtuXdgPT0Q8TdHvH+e4RDR3B8X8E6bStDZ+t5LGMYY/4TRNUX0YOAMDeLmZ5F79wipCAfkKKii1vXSKfU1yOXrUh+fsWzm8miWUNoMgDsbpDY8yS5CvbOiwy0NM7ow+AdqO5+ErQwBNzoVfF1E1fgValJBbMzO3WipEtky7RY6jFruOUFEmcEv7GlNuTiS4+1GEsmvXELnaw4Ooj8uoKvHBJ9hZYvyQaLUF42aRkA5DDSSwTBNoYmm/YecT/ASKWIjSKJUH6Fu6HFaDKVl0i4pE5k3WGPokVddOGu4KDtvEY0+qCiyYprN1x+UanpjNHH0ZxYRfQiGV5lZhWIaSC6G0n8yHAle5SU0I4PXgf5jHPz6FnRJ9agd9hZjFwDxy4TDQJVf3LsPKEt7JABuriT7Yp6ZoeRpdJhmnBDpJuvtTDscYJwH+3gFrHARYvHsKVGJOq8oK3qSklskFge8f5lII099yxR+45KiJmjp9UwhH1hGgzUsNdPeuogJzUfsUHIAEcqXzKkEcim0gYJpKi7QpKbxNCE3ZJgiu5GTCL1bUVmjp00ZndXGV0GAoJys4RBH4SALtDAzi0V1Qt2ruNMH1GqSvHrmqGYZYTzEUPmAby7f4I9/DhxEGIEVRVNj1tXsIceJpKfES0P4W1oJ2hTj6q/t6Cxgi7xUXcCXwCxAifMiJO3SVS/jDv1BJ78OSvPk4w/AIGDLYeozhaxv4s1+jTJ9uvouYLartAdMBClYm2bytMf45Nnf4y9PZMnPjDB1t1t1mvyVve4tOXyf/31Sb7wQYebVxMqJYuDvkh9diiNZFTfdu3OAR99apKvvTXgJ397nV/57ClevbWpOr8ZPcVzN1v8rY/O8o9/+ZPc+taLHHn2s1z4r1/nD752hQYazkiGg5U+Q8M2K42IL9xb4fP/0zP0b4pK1cRrH5BfepSBxDpru3j1TfThYdzJE+pg49++gTk2jLd+HXt0GqtQonP5qrrE6+MVbN2l36phyDDLTBHsrGEOTdDfu01p5l7qe7vkpifITB+hevk8KaklVqZxgy7Vao98Ws5WbfVelIBq+/JrZEUolElhlsdJOQ6Nu9dwrDRBoYSbL6BJter6y3SiDkMnP4RRrys+R1Dfoxtp5E2NoXvOsHztHKe+dI6f/NQRursN9vd8GrokmgYcnx1iZ7tKRvSogUGzGzBdSrFVr2IZjloidAY9ylbC0vw8qwd7bK50efSBSRrtNiO5Muu7NW7vN5goZ3DSDuv7HbxGxHpf495hja//yd/kzT/9Pj/z/1zkg/dPk7JDqo2ETAZ6borvfecu7/zGvUwtLHCwG5ObOYIvC47BgPbFVyj80OcV+LBT3VZ8E/PIaezhCbwVsZb4JKur+N0a1sy9xGFfpa6kzhntrdNcvULxh34U7+ZNuueeY/QDz9Le2KMwu0Ccgd3vfI3yQx9hIF7r7U2c4QU62+dwJx9EHx0nOP88MuY1n/wcWnuF4PI19FJF8Z9MN0uvsYs9MUFqeJ79iy8ydv9jdBo+TneHRuuAjFQnp+dovvUCqWIRP1+CA1Gq2ugnHycnCsLVqzB5DCca0LxzheITHyXYWMW79i7GsdO071ymdOoB4r02va1VJp9+gvrOXZZ+5jmeemAKM/DY6/Z4+NgY9XaPW7tNdtd6DNlQdS1GLZORsSJZK8X+/g7pYh491FnZ3aVSyJHOO1y9fsDxhXEWpg3urFWxzRTZrMXObpf1/R7z0xXa7Q7FdEDOSDM6WmIQ2rS7dXaaTTxS5FyDg15Et2/xzFyXf/a/TvDcX2xx75NHWVvbVpow2/CVc3xiZoyDjQNsy6DV7VApWzTrPoGuMz2SxykYDJo2n/z719jwDO6f1vi7nz3Gf/mLFa72uzw4XqE8NsTzr7zHvTOif07R6gRkTZcdv0u3r1HKOjxwIsNLb29SDx2GMzaz0/IZGLzw+iYTYzqFrEsn1Lm0FvCffn6cH/nSWVa+/gNysU1dWAwy8M5J1TZQRPq9g121vBKSfXlyHK/XJ2s5aqlV3d4iVyoTeF3yw0O0ax1W7uwyuTiM3u9TyJV47FdusziT5rHpNCs1Dd/rcObkNP/xv1/jy58/yt/57f9A9/YltHgfb+sa0dgnsSSxFdSJhx9HK6QVjZ29Jq7dwwt7xPbIYaW4J3aATXRJq5nC/jkgDLRDWLlUtQ5u4Lhj6h4gQ+oolgqBsGXKRJ07SgFoTdyL79vY3h0Se1JFuxOngpnoknPDTjr4sgn3u4RRn8Dfx66cIalfxqhtYk5+RNVg9NhTAwAzf4bYbBM214l6LbXQFFOaIT1+GSqIMSs9TxA1cFNlNH2K0LtC7OsKLEwkQ/smuGWswQFBv4slVVFJZPf3iV0hkhVUtF3zm4RuVpHwtahOXwj7RlkpQr24jSP6X3OEsPYitjGLlvgEaRdNnyXq3iQe7GPlJ9D9Pt1BGzc7Rbx/nqQwhalniVpXCfUMzsSD6v2vef1DBsnoaWUyEBWhYmzRVmY1E12lzvG7SnsZSZUx2FEGglAWgINtlaaM9QRNanZJl7B1AWP805id2yr5KTUw20jT79XQtl4hHntQbf/N/euHAN6pR9E2XyJq7WLPPU7U2yGOUmj1G2gzDxNvnsOZOEbgzKA3b5O4o1ieAKlLqgYSirJZwH9Jj1hMSkkGHUkpRbgpi05zj4LIm40skanhJMLZuwJxCq04pv57KxDTmejiRwkPzmGlhkESxdULDPoDVWOOTJeovoaeE9ZBluTgDczyWULJXch5ydZJ5Pxt9BVrClmONV7+ZcHvH8LzykJ0HBC2r+KSIxl/SHUWg72buKYNSVdtcEIZCiSRUvL4tZuY5TnV89RsiWuY2OkxgsBBQxzeNTxdx8rJRtFX3wzx4WbOFNVGeoRYPIexJ94K9MIksXADZCsuF2RTw7bH8e9+C8aXMLMPYdZepU8Zy5ZevEwB08RaCb23iRHvE1gLRI07aPEWxuSPEdffVNu3IJRJUUdNOGOJxoiXUs1CUgr6k8hBoy/b15TqCkb+QNHAB7Jhl18ML1EE6cToEpplUvsv0SueIEwKWK33sNxp1ccSpU/39f8DW/r3oyfpHawRWi45w6fbqpEKQKQAok2RXy1Rk+kpHd3MqmGD366TOB527jT9jcsYocgHThPnJhncfgc3m6F16y7ukTN04iFGlpaI539EQXtk6OCPnSQMHBylhOigSRzc1FUXxJ5/FqrXiIVUre+qgYg8RIQALsMeueTK34VsfVO5SXw9h9XZYnt1haXP/HU23v4GR8/+Ev/Lp2Zw8jY51+XGu9s4FYvLdwO++x/uxyykqW/vk9JHibwOg2iXbHaJsHpD2vngpEnsImHYwxk9S/f8f8QuTmKOHiGu3iGUB4+RwioeId5+Q10a0kNP0Guv4lo9GP4gUfNtovomZllImw7xwXWs3DgIzNLbo7+3g2n7OLlxIm2KnrdNOpNDd2cIqaDlHaIrv4uRnTikrZaOk0iiQhymUU9BwKL8iIrTt5tXKI4/pKAkchBPssPYlYfx66/ipgsEoggZmiJptok2X1K9I73fIjQc3JRDuybwkhLp3HEIGwTmCDRXMPQQUguHoBV3AlOiNe09/Op7GFPPotnOIRguM4dmTxHLAzQpEOz/JYYXy/MYa+i06jyL8m6QcTBDB62/S9jcI3X8Jxhs/kDVXswTXyDpdmH3HL2wiuPOKypogIHRvQZzz6p4enTt6yTlcWIjq2ju/bUr5CYs4txjCMnN9e9izBR55od/QHVg8+Bilk3prO4EfO7HjvJb/+Yiv/Ubn+Ajv/hLdM99E1KTBH1fRdJsb51er4qVn1XTyKj6HvrEM4oqm1RvEzpFjMw8YesWqfJJQjFcmAJiuQ7mBLrE6NtrJALts8TDapDoEY41SaRH9Ddk4DOHUVpAD+ogv1+tuyS5gupgq9xY+wZaKqsYAArQI8kD2fwLgtadRBsckAy2MQyVe1KbaUMcbKk0XreBIxF+r0ni2JjBgNALlJlA6L+6O4+pD5Sa0NJcAj/E1jzFq5AesVa9RhII/V9uHQ6aNYWZDAjloS6KzrR4dkXL18QXzeGgT7/xurJQ6Mc+j97bIQj3MIpnD5+X+6+jhwlJYQY92FfPk0i2culpIm8Lrd+G1Bha0FYDLVs0NENLUL9ELNvsXEWp9AS8Gu2dwxp+CD3o0JfLeH4Efes8oVVGGz6KFjTwtl9DS42Tmnw/Ue1NguIJZQzRZBAVyXZA6gt5Yvnk5HdY/gzLBFM4AGsyGiURDzLSMRRwV5/AyCuQoR4dsmK01gHIVtwSUFcBwl0Mb4O49BR60gLpXUoVze9KShbXdRQLRDaA9Hvqch6QQRf2g+8Rid7JMfDjtIrwCd9DYIHy9x+SImrfRpdhzPATqlpldZqEiUAR82qoYOgRie1iZo4ShwNCUcjK8FGGxdJdCHsMBAokxoTyEFrurIIEBSt/qJgnztLH8dtdtKCuFKJhv4c99zSa3mUgOh4zixZnDzuR0TZxVEZL6XBwE7N4P6FYO+jii24xCEBYNEFd8UREfYaYLdp14v4K+cc+zV95//t49ZUejz0hjJSEYd2ja2l8/zL89IkB/+SXj/Odr28yO5NTCrH33r7G8PQopeERWnv75LUWz9/I84u/e5tHZ3X6liMsNx6ayPHdC3X+2oM2X/6dX2Trd7/OzKc/xt7yCj/65T/iicUSkVvglUvrfOx0ma9f6/CJhQz/5Df+KmuvvIIRCM+gS3HmOK3ly1gjU5jNOtX9HXK5YfTjpxlcv4Q9O0O4X8OJApp+A8uwyJ98iNbbr1H44LMMLrxKOpclmDtNd2WFtBy6NzeJihX0E6fRRafW6ynekJDbu3Yev1HFGh4jXSyiD9p4ojo+qHHr3AvMfeiDCPJlsLOHVRkl3L1F7n2fprO3Qnz+JbTx0+pzTmJoXXmL4vs+SrtVp5CxCVsD2vUqY488iTU7x9kTf5vF00Usy6NZC5ReMYzEoRlya6+hnPJFMUB4PqeOjtNtdvCNLE4ifX9Y2TxASyxmhstUa3VVbdjtGqpjOj8m8d0Be7UO42MVVmo7zKSHWK/X2apH7NcTHp2PKFUm2GvJO9dg0K5xanKYZW/A5jZc+2fvJ7cwx87Fd0kmcmgb2xhy0e57yj1dOv4AA++AOLChvkGn2qJy+iwDSSgVxhhsXMNK53DEt13dwjZ1WrdvkJsTuJmJ1gzou5AaGcZv1vA22qSKk4QjJvrOLfzVNaypY9hi/zj5AO2v/Tbu9OThGVA0awfraLU1Bf0TQFV08zLO4hJ2ukj7+mX1XDEakqI7ILV4htbaDXInHiSq7hLI8DdycScn6S1fU89pM2ip80BUmSCdc2hefhMrlcXvhNgyhJucIzazmI7L+u/+FiPPfBAr52DmpkhPZPEPVjn+Y1/l2MIQli9npBR5M007iHjrxhYPzVX4Oz/2KL/6ey/zvdUWU3mHhWEBWAdMjFTQMylqLY+DWlMNl8LeALecZWE0zbXbHVrtOtlCkTNzZTYPGsReAtLRdSWG3GW/PqBctpUKb6fRZymTQTc9XEvndkPnxmqNzf9+ivVbTXUhbdbrLB6Z5vz5dzh98gTVdsiV997hzKmT9Notut0mU6MlgshjbnaUbz6/w9/6vR2KGZdnHq6oym5pKs/rr6/RjG2OTLtMjw4p88jWepPXdhsKnlerCY8LgjwMWhZTRZMwipkuySslx53VOo+dHGWz1iJpRpy9d5Jap86rF6vcrOn8wZfG+eznFlm+vcvmlW1afZ/pmTGarQOGR0cZdH2KQwUa9Q75oTxBZ8DGyipjU+P0ZOA58JmanqLeqJHEEfOLk+xueoojcvZzZ3jmCy9wdWfAqSLk8xkGAxMrF3Ph7TqPnMnxx28+R/v8C6Qqw/S222hZDbNfJ1ae+BZeo4+ZtlW1L5D9uNhfumughUS7N8Ax0UoPEEf7+PVlMpX7ZZOAr6XUFlrI7QLCi1OT6AcX0P8/lt48XLOzrNO91/ytb/723t+eq2rX3jUPqUpSqVQGMxBCQMMkoGhrow1N91HPpacvz+A5dmuLYGPbdrccaLnURhQhIoNACBCQJJCQOZWa52HP4zdPa17nPG/Jn7lSYdfe317rfZ/n97vvjGxz86pemxamcbMj+De+S2KUsKbuUUrysN+8Zc2ROqIuF3gLU+5Fuk+3uUp5+hH6SYh36jPkdj2uljSppELEsFOexNCyaukYeZtEqYldniaVRaOkDDMFaDfprzxFfu+/UAYxbeUHaDOPoDvjxI3zSk0qJjNJ/GrRCrowiCI514RowuCJOiryniDvFQFmgyWg96RDLLVHQ5PrG5nCJOH6SQJdw518AL3fIRDrWv9VXFcAlxoDdePyiGNfqdYNZ4jQq4Hn4QyWSIZmwd1JsP4SugzlgzqxAAWlking7N4NzNHbic0CWtwn7a6iF7ajGxllW8I0sCOb0BbDj5Dy5RK+rlTCgZzr9BJZSWfc/CfM7Q8TNs+RSnojO0Ww+SOMygkMWydpX0STKtHQLjICKxYOnTuOufoUYWYEinNkynP0F76LnZkmzVjosggf+Op+o5LySUctDlIjp0DMhpyrzAJJ0sPJ7yOU+lOyibZ8lrQ8q5hEqWspSHvY3VLJXnITmPYwYSo1C/nFg7i7TCIJQC0haFzGljpjv43nCddkt0p7m63TDKQ7IksQMUwlBQQrlNQWscp7QBY07Z98LI3TVF3+dMMmaUlE5KqKOTrF20BUDalPIr5wLYe+eUNFbIUcKeCUJHIVzE4OuWac0L3095gz92KUD5LULqBVD6J1byiFmzZ0B0FN4DsVkkD9LXDyO/Cku+HLNmRDwZqonSTKVzC1cRUNkjhavPBj7OpxRb5UujOJ4YY1zOGD6pAv/dFIDtbdLnirSLFUXtpmVrous2QkYtVaw09lQzeq3OMCVpIJk1AOI3McTXQOcpGszpGmQvC+jFHYQSI/dHF96hoD+f7oPazyIeLLn0M3SpizjykQh3TAdekS91+ke+pravss32TLkghnohSE8kva74e4AvaSKZ5RJtAieuLpTC0Ko0KEvKH0GXIgTutXaG01yY5m0NoJA/oUR2dv+Vg1D8uy6K71KW3Pkn3ovxNv3LwFKos9nJE78EUdoYfK8R3nhjD8LkH3Es7wnYRCOvY7mJbFQNcwZMvkzmEbLn5zFc2qKVOD7w8olyZx9j3G7/3bX+YrT53mg/dVObfQ5tDuEuWRIb764jLbSPjb7/883nM/Iljukd27jUQX6I70szv4Eu8vZNFH7iR2xKBwg7TvYVenSdurhJ6HIRv/vvTo+sQlF2od9MljCqgWX38dn4Dc+LFb9PbsKN65z6kNaH60SpS7C723TCATQGeEXGU/nc1XyJgxhlVmoMsmtA4rr6leluZmMS05FDbxxm5HW3kRO7cTb+tF9dn3CxWswXX1NWhTxwjWXsLMbSd1Jd6XUQTzWCbFdknFB4NBg3jpZewT/xva4BLW2lXCTAU9O0JcX1Zd78hN0dx9aLXX0bo94pnblTYzabyOM/mY4iwMGktYVg67Oks6/waJ7RAborlbJg4yOHN34TU3cCZvJ7r5rNrw5yuTRBtX0YbmSEUNo2dItt+PtnmRMPJxhyboNtYxwwStkCEcRJjZFDptTCSSGjIy9yA9iaRtXkV3SqTdJTLV47SvfQ3D2o1fnSSb6GSPjPOxX3+Cr7+Usnsiy+h0jotXV9m/ZyerC+v8/LuO8d6P/S29H/xXkoyDWx4hdMdJ/ECB+kwzYRAfxDKla7UGUY84KhMVHYz6KTQvVkMivX6JaMd7lHJT/idTdoHoSFRMgdsEeGn6GMY4RrSG315Hs8sYxSlFh43tPtn8ftXrH6x8F0MGRDqEXhOnKmaSUCUcBCSWSMcr6mGIlSCQ/3/x8naUSlQYInphP1qwQpik6iGsi+u9cYHU0LGzu/A2foydncQIm8SYxMVdaJJKcirEUR/TLKhtvK5ZSs0pVQ9Ejde+iZERG8AwUWoT+w1Mc5wE6X4tEUrqSjpzRqhelnHzAnHngmIp6COHSUWvGggWRXQ7km5KsKIemBMq6iY9+1gi6vK7v3kK35TL/WHFU0liiTQ2cHNj6EkRscGk/iJacQLdncLozSv4XuoWIMkq763Zu0FEjsjJ4xgV9dk0gp6ysEgfXRJghthYBOYnCTFNV9/neCAAxDJ2tKmGTnaucAsma4Wk+jBYk2gC3UkNBdkJNl7HGDmgVFFa97IyqGi9FbX914bvVF8L0oML69hBqLr/oh5zRLtEScE91UDXl619G9vZSZSVYciaAm/K89UyJC2yQS9KcYdn8OS5IE7ewnYFC5MmmCYHrVhi6nm0aJNENzDCNrEkJdxZNTSTesTArmJ0ZMAjeVYH0xUVZUCSnQY7QF+X59KigvjouW1EXl/ZRBIthxWv4kunVvPwGcJ0TcJBl7gzj+UIT2a7chObAjlM60SiPZOhNx6WZJODFkl2nNxtD/KBO27j+obB4QMVTl/p895jFTZ7Pp/6fp3/+7FhPv7JnVz6wQDLaZEYOQqmzdLyqiLRGx3YvzfP3z3T4GNfa3Jir2iEMixs9NgzXeClqw2O5uAbL/wBrS9+g+TIYfJCM3/40/zcAzt4/c01dh4qMelafPbZZT71odv44K//AquvvUFhuERn6YJ4H0iKQ5iSYBsEWI6tNmTe5g0yu44QLs+TVvL0z72PxDvzAAAgAElEQVTB6CPvZTCIaH/n7yntOUggKZjR7fidGvnl66S3HyfdFBBjTNLuYok+aZDSb63j7r6DtNnDqp1Xywh33+0EcQcj9Enkd6++QuRmKYxM01m5gZHIMCUmTixyh+5i8N2v4xdd8kPDhH2pg2RwMzF+fZ387vuIrJzSBIftAU7jBqW3nOBffeQJvnCtw0MHJvE7dQ7vmsb3A9bWmngCG2xH7Jou0+h1WNrqUSoWSAc9GmHKWNFkcniM59+cZ3aijJWFrVYDTbZFRkxB3lVeSDPpUy2XWG8N6PZ75GIYnSrT7vuEmovu+1TKLt2+cJVCZUO5sNLj6LY8T/3Z+2gsNxUcs3/9NKV9D9EdNFQVQ2Cr6dAY0smKr59Hn5mBVkNxIqyVaxh3PYzVbdBp93ALI3iL55Uf3S05MHMf3Y1r5PUUe6jM1uIaI0feSuvqS/TaNbJT4vJep7T7AINzr9G5fpnqB3+D+o++T2nvYXovPIkh9aGBz6BVx9l/J4VhqflptE6/Tl5AyNOHMRZOEpRG8BevUNh1iKjVxj58N+2nPk85XyQanYJMFsuoMAhX8W8uY6cBcXEcY8hWl30niNBaa7S6bQqH30a6cJZoZJS4tY4Z6cRytq35hM0r7PjQr7L7nt9nqxHxzmPb2eq2WVxuMj5ZpO9prLcb/OcP3c1Pf/RhXvnyRT76p1/n4lbKtm1iRbIp0Kcfp0yODDNdshh0B9QHEastn5whcDtRSw6w0ohtwy6d1GBrvYHt5KkOubSbTVyBy/ZFv5gl8EJVUxrLmHipzY8urvDCH04wPJbn9Mk6+aJgkkR5Cytry4xVq3RqLaZ2VdlYaNFpBRz9KbE+GfzOp6/x3Vc83nKvQyWTcnFZiE8OtYHOcEFefxlFR7+52KWfGLx0M2ZX2eEjD06zc0+RET3mjkrEK2s6T55usLC1TN4q8cy5FjNTJm97YC8rV5Z542bEWDnm0HiB7dtyfOWlFq9caPO3v72b9/zSDOtnVrl4bpHt+/ejRVus3qizc9ccteYmpbJoGHUunDlPuSxAPVdwblTGJmjVVmnU2oxPTtOorav+9/WrW7zz/VO8/bcu8eaqwW2zstxKyWcqhEmDy9f6PHr3FH/x/a/QeukJ/FaVbDWjdMmi2IvDHJp3AbO0nzASUr8M8Zcxhu8kUbpXSDTZsi5hejeIcwduXUrNPLp3hqS5ApUdRJGGk62ihV2ioIch725ZQMgmWoa3YQOzL4mzIVIvwpLBv6iQ+w3iqIkhf9bvEwow2p5B7vaRRLrNLI4ug6Q6obdBZngPmlT99DKeLNOyk2iDGrEQ4P26Yu3ouX1o6TqaViU1JDXaJV578Va1M3cEo3NeVS+ltx9tXcHa9tOkg5tqoJGM3Qv1K5jZMZVMDLdOY1bvURpWoe+G3TrkZwkXnsDK7MAp3km3/UMFMDfLc9CVhXCsoNfByhsYciayi/jNa1iVXfi2KLDPKttPGvRIhVMsyuvinlvb8mAeTRhK7hhxt4ku1YD0/+8+DUJ1zhOapRjo0sZFtMIkWuiSRItQ2qe4FAoSLByD9nXCqIs5fFxVBK3yTqVE1OTSXxzDq13FDFbQtr+LwfpJ3PJ2BVtOuk2sfIXBzR+hjd6OObwDrbtFJKwC3SDJVbA1D2PrKsncLxHffJ64lGL0QtLyHJbWIR301d1YhiNa2sZoXVNgvji/V71zotprhMYQmcm7FU8s6V8j7d6qLGqer3hCaeM0enEGu7QLvXudyC2S9mMMSV1W9zBoXVF6SISZFa4S5qcwvT7UTqNPnsCvn8WWn4eVJV2/TCJDaOHWhTW01qnPpPpgi8TvoKddEuk02Dux/Zv4cpHIZ0iTIklsYlRvx1h9AT9aJVO9m7AvwANPdTrQY7TSLHq/SyQkybiJFcWkUQGNJmFuGDNJCTrXsEp71UFJqV1km6rpKlaqqM2bl0mzFlb1AcL2JTKagZ8bQ5PoZH6EQH7Y5TvQDY104xTaiACsLmIU5m51Ye0pqP8Eu7QfStOEF78GQluPIiw7Im4tqstDbImndRi/s6zAPmnhAGn/Av7yNeyZhzEkhitd6OYSqdYjyM3iyi9XuIAxcr+KocjXHFfGsURJMRiAUB/NdXovfxbNa2LLZk6PcIbm6C2cJ3JzuOUhNheXqVZFRzhBc/0cpYmdtG5KVyWlNL2L2BvQadQxyzm0jkDdpgmTNmE0ICv9Ol/DHR1Vh9h45TJxMkLanwc6GNsfwDzwUYgiBV+zgobM2hToQjSB5sJz+AJedHIEboXM8FHi9iJhtKTi1rLRi+pCUp7EFMd2bpzGma9SKDuUH/4AR2beA52Ye+8axkt0RbMXwNW3Xvf4818e4YO/vY/1F86SFe98WcKnFsYgwN62C813wE1VWiRoXSQKu+hpHtuKicePq0lz0q6ha5GKV9tDP0Xn4l+RsWdIS8NqM2Y6Nt6l55TeLHPk13GckLAlNoRV4tYbmNkJ7MKsYlAE7RXCrmhbJlUP3z/3JfTqARAdyOpryu/u195UNHe9vkqih1ijx+m1zlLY+R6CG98ilQPD6By6sV0NjOjfIN2aJ3RCcsN3qM5p0rikesq5ubcRFw6QXP82mjTFp47TvfBl8rNvUzC3oH0VK7EVGT30eqrbZKQhvdXnMWIde2I/SWECTcugxSlp8w3VqZbudKqNKM2Yqa/T7epk5Sk7dpRIIkvSN59+DH/h21jOiPJrZ4TgXthLuvoa0fBetaH0V18kMzyHPXk7nnhGoy2ixqKqC7D8Il7Qwdn7OPHCqzI0xKjOqI5VEouG7DkFJOvXWgw/+gDz3zzN237vJD97X5Vv/7DF8dsLBAOfpOmxNHB54bU/I1w5Sz/cSbT1Gma2jF4+RKoXSWXzX5jCb5zBNCvolV3ovYbqWhtGngiPwO9j+ivo1ePQl618m9ix1KRZOlASrYt9D8edpNc5p6Bw7tDt+DIRrl1RcE1vIH9mVPXPXKdEp9UgOzpLtHYRKz+ips6RJ1obgVQNkdTFXhCTiC4uNYhH9qkBSiIQUiHXSlVEIINBiOYIGLCNNnobulkhWHoap3w3YfckureukgySTJKOaSwdN1HEDXpgyB1XLtS+iv+G/qYi69sS1ercRGu+rLbRAjmN0hTHKBCkLdJ+B0teJOGa0p3qqcQOJ4idIlHrPK5A5gTCY9sYzrAC4kUy/fU3kDdrao6i9QQ+eBOjeCdpOoCgqb5GcRDrlktEE4MSupcSm3307LDiLkTemoozasY0eJeJ4wxkiiqWFtsTpAItlS1AYVZtIExHhhFlpRmVEkMUbhF058kN3a64MELtl1ON8B/kL6p3a6QlORx1FCBTd8voUVNtJAxfNqEeQdAmkxFwqqegsYlVwcqMEofCUBigJeEtWKzeJ01y2EFNbVyS8hFovEQsHIChO6E4SRr21c9aD0tQKqlklRlZGN3zhKJesiq3ev8yvOlex9LzWFqLXtDGMIaVRkk3Y+JBiiqaRlLDqqhhhMTcMwUZLpuqWiFfl9pkjJ8g7a6r5IsQ//WsRuzuwtBTwn5bAUv1MMVwhS0jGySL1BL/b089F3WvQVQcxujJSUKYNFliYwSzv0WreYnKyC6yJ36Rf/nAXZw+3eK+R2Y4f6HGthGd0Xye//aDdR7aofFPfzbL1U2X+TOSxsrgVgrMbZtiZXWJ5kbAsXtK/F9/Ns+TNxwe3Z+h3fPQBgnFcplvnWpw97DJV176OP5ffB7v2L1UxmLuv+f/xa7Y3HdwVLEvWp2UV69u8K/vrfDh3/vXrL10XemUnGGTdPyoclh7a9dI2y3suRniekzSuqFSH2mkkxkeIxQ96soCmqthVKW+F7D59S9TOHqfSqcEy6fRpw5Tv77IzLYx+uUyW6+/xNSBvdQuz5PNauQPHSS8fh19dBfrb7yI2e2Q3ztDknfpbNYo7TxK/8ILOG4F33TI0CYpTuN5Pexuk+yDjxMuL6F3V+k1fPLj43TrTZLuJnkZqG2bo79ynXirzci+SZ58+k0++vmrHNxRZLPXpGjk2DczjOe3VYrC9ywasunTsoyW85RKBq1Gn+p0lTfP3eDwjjEWN+oMyeBbt9nYalGpZOh7EZv1HjPTVXqDLmXNpC/9dSHZd3UyjoYXRESaxshIltpqg6YXcvjADFk94G+/u8g7j43y91/8Tdaffob8yCjd5gJ2ZR+m1mXzzBnGHnqM7ps/Uc/dwvYjKp1S2nUQVq/RunqZ3JETDDZXsIxEObi9mzcoCTBRziepJEV8TKHehyGtK+eZOHIPRkFn4/xpMiOjDI0dY6FxlqpYiwpjzG+2mT06S9/ZTjr/KtHldfSDu8nvuBP/8g/pv3KS9PgDjExNKyijv3YJZ4ds3Kbw1tegOEW+GNE69QaDbov80DbMobwagvjz1ynumSGuTOLNX8W18vjnTlO46wSDuIdWWyFVl6UW7aDJ8K4jSrE8aDYxRkcJLp6j7PTQ3/tz/MrP/GeeO7fMux6cxA81Bj2NOEyEjcZzL29yYK7AN77wq1Aag4Ulvvw/n+KvX1rl+VN9SlmXbtpjLG9yYFcZP9I5OjHJ1c0GjbUNSiMmupPn5pIA4mJmRiu0mh7trs9QJUuz01e6w4lRm9gw2GqGjOUcrjZa5I2EE9Vx3v2Qxu13DnP17CrD1WFW6gMO3L6drcUaV87PM3tgjvn5dZzU5N637+DmxZv80r+vszIwOHEQHrx9iu88vcrE9iK+L577/K1haqfHxTWfeivgXQcK/Mr79rP/gT3QXoJdj+ALl+vmCrl9R2D+TcLAwBrK8eSXvsmfPrHGpVqBnz2eIxku8uQzFzk2XWbPdJb5WpPVUGOPZZOv2nziN8Y49eY6O+f2Eaddzr92hUPHdnL10hr12jr33HeCKEo4d+YShVxO/ayHqiNkCxkuX7zJ1PQkb75yg0ffeTdu1qE04vPxz2/y8b++zoN7LfL5PDe3WhzeM8xTz2zyjhNFPvfj79F89ivodHCqRxUHBKNM0j7JYPUsYfEuchmbTN4hFoe7qpYl2EmfSO40/TVsAQ9np5TO3JfN6+ZpcsLHsQrqXSnksHSwgZWp0hdTlVTPho5ieMvKgiZA7FgvkcSLaH5K6kxjds+SGOPo5Wm0zVPo43ehS4RfziJ+gySUlMAeosYpbHcELzeFXntDDS1NAeQFV0iiDGZxP0ncUEs3TXPwGufRrQLO1H0K8CxRdkR/Lcry/gaanJHlPlbaiSGsJL1FsHEBu3yAWKL1niSp78O/9m2VqnRGDhC0l4jCdYpzb2ewfkGBCM3qHaQL30fLH1QX3Ex4jb4/QNdcdc6IO5cx5Yyv6cSNRZwdDxO2VzDkXmi7qvIgijxhJuDIEEMymDHaoAmSgtV6Kn2p56cVfJneBsbUA2iDebU4SK1xEgEEBm1sWdAIp2mwRVb+KwJ/jhLSziJaJk9361WyM+8g3prHGZX68TMKoi2wUk3gw/0W5ugMUZwjo3cU/DE0x3AqtxFaG+g9G8uSBGqV/vlPkpt7v1qaDdZOYo/sUylVrb3EIE3IVGbRwp6qLadpRg2NRFsa6z2M9rpaLIdWRS3UtcRVCdSkMKvuBlE0wBFuXGMJrzCGHQfoepkoI+ueIuHaWcyRAmlhJ9HKTYyCg1U6iLf1OnHrJrld7yZsXUHrBySVccLlk0rHaBb3kA7qYgH4b2nYvghG6Zb+KR5gDu/BrJ8jyk6j6w0GGzfVpdhqXicWV3Nzi0BvqeitbDsSia+Kmi2GWLohnQWMVCco3kZy5bNEVon89keJWpdu9UiyO9EyDkg8NztJvHUOTdwk2f1YpmzjfEVSDUWVtbWEsfMESWMV06th73oXXn0BOicxhB6S345eHMf3PKzBDRg+QCw6OV36HkMgG8aBxCqKGAJWEBBaSS7+W5jeJkYmi1Y4AAKZqEgMO48YwuhdRivuJRUKe0/I+1Xi0aOYmy/jJcLXymL668TaCFjS35Xo9RZWJiW+9gzBYIFsKceg2Ve0zPz0MN5aW6k0dOkgez0SO0vGSdWlpN+roXkJsdei3epR2jaNX1/DHxgM79lJ2q+rvlNpZEgBVsLmGkngYpUyaAKXKs7g33gDVyI8D/8OkXmIpPsi6eIZzOIBEHp2/TzOtnsgP0ey+RyYo7L7JBHyp3SVhAqvDci4s3gZB2vzLGbmljZHF3Ve1uPxBz/Knqk+NT9Lu9bnLSfka9/gL5+q8dIX76X68P14Ly6SZlKirWs4Q3uJV18lLVXRgxitu4hu5RXcxhnfjRU18NsDNCfEyo4r5WAgP0tREA1L986iTwM3u10R8CN/GTM3qjqYfriqgHfiG40GV0l6Eca2e3Cqd5GsP00q07rCONnegI47grnxA5xt7ydxJ0iufx6jcpuKa9uiWaGm+kyuM6o0a5EEfWUS27uEaZsMBLKoHuB1Yq+BPn4M7fp38MKEzOR+RSJFlwRKCxr/hF75GSLbJ5bJ5+QJ4vopMpk5fP+Kmiabk29TG8/B2mlVT3HHjxFJZNtv4Us0WB5Y8gtlFiUNht5vKuiYbCBT0SnGIYP+EkYQEIldw4pUjcE0Cqp7nfZ81WsdXBKw1QMkkYMZiOPdUj10q3ODUOjz3RX07DSe6BErM9ihRWv1OfWAyux6HMNrUtvcINu6hDk8g18ZomyXSYcc7njbF9g5VqRPgNfLIlWiu/aX+cp3Fnjj+d9laGac3mqdRNtO3FvFLFSIB6sEA+lAHyLDinqgh45J4hzElG57/SRpoYjj3EbAgLh1gYxVVAdTecCYumw+ZUBkqcqPemmFgRoceLqmIm9paT9OVFdE/lBPSDd+jD5yN5H8e07uljLPyuHIP2tdU5BSpzyLKZRX+X1OG8JvIo01pRM1MnvRvLNESYprlRhkZ0h7q6Sdi5gyec0VlI8Va4rEstHkJSaJJq2AGa2oYaHEXFPZXmcnMGRT2biiOqquPUNf4u9Sk5KLqVPAdytYq6KJmVDpp8BvKcCqGUt9poI1epCgeYmkdROnekRF9iLBEtgxqTmJRltN+a0dP0fUPIduOESajyl/39U3MNwi2DZpv63SB57E1BQPIUTTAiK3hK7lsTtXGYR9RfrXBIooaZ5/HvoKWFTrrymYlHAQxaUsk21D9/+5ilBUF/c4bmHl9+Fv/ATLzpCGQraJ1Ytet6dB1ZSa6EN7kcycaIG0/ISq8QgAUxgDiRwihFGTGcORgYkWElAmq8vVWJLSNXVYkJSFQPpwhbexTNRbxh27g0GaUckGx/eIs7Nomo/enafrB2TGZjFDjVCzscMO/e48puuqNIYrgzfp1dkCJRpT6RwlQ5INi6idokWijsSMx5QCCbuMJe8uzSX0+0TeFUx7O2hiHIlJM9tugQPlEDm4jiOXeDX8HojSBshj6DKczhD1tjDTALOyU16qhN4N1X8UOKFoEiX+KMkSK+5i5qtEQZ/8kfv45K/9It99fpHQT9gxNUG33cIJA17b1DhajvjaXzzClVPLbC2ssPPoXtbX2nTrG7gZh42VkLe/o8rHv7jK73+pz8P7QuyMbDMdSiWLL3xnnjsnbZ788cfY+tYPyO8YJqclPPVP1/nMV89xfC5LIzUZ9Lpcqen84tEcH/1PH+Ly//gb9GKZytHDClIZLK+o92T/+jz5XbvRAzkAFrFGRvCXL9+KxEcGYadNeW4//QsX8HcfxO216C6dY/S+96oB2tp3nmBi9yE6MmTPTuBtbVC8/z50rYmV9NHjPOQSqM4Q9Nsk8/PUzq6qpUZRDpw21JcWsFwb8/AxomuXMeM+idh5Zvap7126tkDGGBDktssYivLYLoIbp9RAXbZPTI+QNGJyZo3sifv5rff9B9biIrP7Jzl59hqVXJ6ltU11EclaDqfnaxw9UKXWDOm3G1xfjziwPY+tZVRcs1zKKENArdeh6mZwCw4r9Z4s5KjLwNOxmZoosLTcxbASuoOI2fFR+u0OW2FCNS8AUQuv4+EnITNTeZ59dYPPf+wx3vLwfla/8hS+aPGun4W4h7v7GKltEKUu/tXTlG67jajbw19dJepHjD76bja+/7doziiFQwcxzSyNcz/B0m3c6R2EUqmJfDZffROnMMToB9+N6yQQaMSdFsbsbuLLrzCYX2OwVie1RtB37ERfv6m4Sqmrk4qqcWERxqeIjD7xZh+73yAtT6G7Ce2bq9hNAV2Ooa3MY+7ZpQwC/pLoWSdwx2aJW5u3hmZBj86NcxTG9kjYkn67jXPwDsLOGtqpU6S334ElzwrDoXvjDSzZxrkuem0ZmiH6o+/CLKS0vvcMO9/7dr7410/xv3zmLA/uqyrieSeOyVgm2bxBo2mQ1wc8+cWP4n3vZTJjJcJ3vxurt8LSt5+hvOMof/gHX+KJs231fFmR/rwl1qaUe2Zz7D40R7+2SdzXmJ3OUdvqcWm5QWil5CwDxy2gBWLPSehv+qRDQ0S9DXVJGK/mWOt32VzweOlTU2y0QpzMDm7MzxPJO1AXQ5HOzsOjdDYihkZM0kHIr/zRsmKM3Hu4xKATcWqpw3TVpmLn2egbvHKpRcSADxweYm2jy59/7sNk28KMmcav7qT93Wew/Dab7UUqmQrO0duIr12kt+mxbX+J5M7H0b0l/uF/Psen/+Y8pekqk1WLpWaL6XyWrV6PVgD3HCzz6SfX+fyHK/z040M8/Y0N5naUWWhsYphVdu8eYnN9U1Xs5DItsPHqWBW/K5A4g36/x67dc6zPL7O0KOrAYeavb3Li3jH+8mtt/vS5kOO7u9iRy+urbfZUhlhrdJQ+7+TyK4ob0rx2kZyRV0lcSRZboatggwKClu2oOXWvisYHq29i6QHa+D2KXRbKhj+tEcr7WJ7feoDha0RRQ9U1zWgdX57fZhWzOsNg4xyu5eCHIZYhELZJdMME+fedHaSxdNhvYnbWSN0pkso0YesGpmyPh6cIW120bJ80zGHZVaL+NZVUFZgwfo9I7+NITVqqve4YWmWWTBoQtJbRM3l0Iccn8p44RGKnGLYMOwYk8RKW6IQlkZgbJZUk8PyLOKWdt/hBUUMt1Aa96xhTj6MtvkDUu4Sz5wOKVWXFwkMqk+SHiZ1Jku4V9N48lGaJG2tYlTJJKKv0gUqbidUgEVZP7JH0VlWlU8uJns4hbl1RaUNDQMmZGaVZTgOB9mXU0EGU83hikxonsgYknQh7ZI4kl0FrNYmE0ZPqil0nhqnEyCq9LKGmVI3yGYojByNpYGam8Qc3sN1ZgvZFjIn7oHdD3Vn9zBRG66JaiFvlMcJOA91fwRx+hFD3iDd/gj5+tzozBHJmE1q/12Qw/xzu5BES0QI3VhhU5sgLtL9+hlSA2omtVJ9S1xWNvQyBbKdKKnW2blstv4Wa6Ob2kw4WSIMOsZgN8lMkHVnQz2NNPoLeW8Lr1TC33S07CsLeZUx9FDNYoHf+H8gc+T+JtBqp38cpTatFtPCN0s48xsRbbgGw+wKkHiHqrKM1XvpEaljSfx8jEaWVnHUoEvQXyblDRKJjal8l9lZI5cMaedhCWJeNmBx2y7vpL5/EkcNfbhtptIkupExNSKAinzPJjOxVYCc99BX5XABOujmE7haw5BAUaWrynnTFXe0p2nuSbuHkponDHkkgzu2jJJ2zRM4UmfY1tUUST6SeG8Us7iBYOUVSexmG78EcEcDNPBnvGnF2UmkkdH8dtLzSq2hppA5T0rcXnVacdbA0cT5P3orXSn+3u4Fe2klsiGPaVZ2LVL7mVJyxoLlVzOayAuM4w2UST4Ac+q1ByMb36Cy+RNZwiG0HtzhMq76FV29THBnBGR6i1+4QdLrkixXltZYLuPRtctX99Ns3cItVks0aukTltYROW7QnCd12T5FzBXaXL8jUVsPfWKS47wRxs4EWXoJ8lXTmPThxlShbhXRFEE0KuKcXJjD7feKeXLCHcYSKpclGr0msbVMKxrQ7j1XZrVgE/fUruJVJive/l8/97m/yW594ni9//CH+8ptnsXSLvZMWr11q0GsM+OGTjyLNjsGVdfLVaRoLr+BWiiRjD6joS9JaVg90bWgYt7iLvijohLZ/+0fRb36dcKuNNTyJFyRYwTXM2V8hWH+FTKlEb/UmzugYht/E14fJ5qYJl54BO0eatbE8E6+YJ2OOqMN32LiiYkLW+DbSnhDNizjSYxbIpFzuZIgzfBi8deL6VQUPccbm0GLRUUonPMbMZBX3QbajMo1LA1GbHcRf+YHqd2dHj6L3zpBOnCBut5SqzXJHFS0/al6BbhuGd5K0zmOO3YU5vp/+qW+SRi1yuSqR+D/bG0TZSegLylfDzI+TDLbAmgC3Qnz1SfSZB0lWzmBO7AbpYK1/D0e0dqLF0xKi3A7C01/HueNDpBKj3jyFEaREhW3o0oMP64q3YMoD1ynjrzyHaeTRD/wiZlIjnj9Nkiboez9AfPlLGO4IRmUngyvfwAkEROIQFg7hb13ErAyR3DhN6V1vZd+hb3FgV4b3vWWOp35wmUq+TLma4cfPX+Uzn/4gh97+H/DPfpZ+ugcrPENaEY7CBtryT7D3vAtN1wlXXkCvbFNb4ChTQet5RFpfVYwsu0jiCf1UBhue2orJBVTmc6ZThvopwtjEqUyDVBYE1kYNHZ3Iv+XATsVi0l/Hr5/HFB1n5Kt/HusCzsuiORmirVeIzLKq86R2FkMm1v3rSv0j+rdIKkUSzR+9j6S/qqJ9qeWg64kCGmJYRJX7sM0eaa9GZJcwPYlmrxPYFqaAcfwBRuoo1Y8mEEhR39kC0mlheHLZjdEr20mayyCHYLOIkd+nNtCmVEx0eSZdQLfG0YqTsHWVNFwhHb5DipjqwS5JHIkNClhI796AHY+QrL4KloEm/IPcCJokSjIBaZAq5WrUOkdu8hiRNqbowHrawW9u4kzdSSJViM5l9MIsSX8DisPEW1egt4Y1/SCxKDCjPpnCLKHUsKKmYgYkcckJbcQAACAASURBVEcljCTukAQ1KOxDbwiVeJuq/IjVIZIpq4BqXAfDyBF35zH0LHZuBs/Q0PsLxBIRjEMi/xqOM0KwtUycN3HLd8qbj6B1Wg0h9J2/cCtC2DsLzgymaRCEbUyrim4KIDBQvIhAhqO1M5j5XYT00Fs3FGXfkIRZ7XXIbCMysrjFScJBSpQIjKqC3rtIrDnq0ilaw1RYBjKlN0ZxzJjIKmAK6FQ2FKKblWGQu1MNmIVRIXUMGeBorkRMJT3SIxloWGaGULRKtddJdB29tEsNfMw4wBd1Zmqh26PoySqxLgmgMQb9LRzRLcoBwTBxpE+o+wTLS4y84yN84hfeyn/8+y3edlQ6kFmKVsJMIcPnX1vljio8+VcPcfXVNQUOksNTfWWVsWKFhYUt9u/Zwc4DBr/z36/zX7/X4fd+fg9PvXwdO7Epl0xeW095+3jMZz/1q/hLGwQryxTunON737rGr37qZT784Dg/PNfi0QMVfnB2gzvGcvyXv/ow0bw89w3q82cpCEBq21781UX8+VNk7nxAbYRC2TJbBn0jR37PAcLWBuH8Rfi5f4f91U8pMwa7D+JstGg2VzAKGTIj23AcjdrNDUZ37sA8vp/g7CXOXL3O175ykmdONemY8FNDPv/iZ+/jgV/7l2innyfe8Gj2IwULNdstOnaRyv2PsfnaK2RiDztboWsEON0WXuiq92HpjnuIBgGDc2+Sm5zFlL68xNOnh2lcvEbhrjtxdu/lE//m4/zV86u848E96tB5+uKKmC5J45BcGjE0OcKVa0LwtskVHI7dNkUpY/PMGxcJejapk5CRAVDoUSrnKbpFlldvMjY2RTzoCvqTm602WatMK6wxmi0wNV7glbOrZBwbLZVkcZ4oDZkZLtL1Ar7/4hKv/cmjTDp9Flplysf2UHv2h1Snpmh3BIKZVc9Ma+cs/kadjJWQDpdpX71OVkClSYg+No6+2KLVWWf4Ax+l+eKzZBohzt2zJF4Wq+iTtUKCS3V++PJ55ptNHjs8y5OnFnj3bTuYfOQYWnWO8PSbDJakWlnCW5hXpG5zbjeO2E3SEFuGdXO76TVaWEuXVRIwv/t2ojMvwew+BpGG1V0mU52iM39Vvec0y6Hf3MSdmITegMQ1yUwfZSCq6vY6/c0azj2PQG0d79I5wlQMDmX0baPgZggabcUxicsFLBlkrtdpd+pMvu/tXP7BVY79P9/k/cenaLcltafyOAS6T31DOC0hL7/+n+h/6Rv0pJ42fZByuoS5rUqkjWKWJQmUcvMbz/O9c4usb8I/vLbF5WZKJYrpFjWVJJoqaviGwWw5y/i0g9vSaaehGvqMbB9n/fIGPdNgqNfFLWW5uDlgw4ux2vDJf5PjbYd0msEQ/toapZkdLF1b5OhDR1m7uoVhhuzZNcTdv3iG+2/X2T47xV8/tcL7DrvUw5ROZCrQnlyUJ/yE992/g3/724+jFUeIaLH8zCvkuwZx0UKfnMPJJaw+8TWcozsoVucYtJZIujYjQ2NIdskU7fJDR/EuXeTQO/6RfrnA8bGAnZNl5mseg4FBe9CkGxi0u1m+/UdlRrMWG5saVi4lCCOqQztZWb6hVOBT27aztrVJZWSIfq1Oo90i6KfqeVxvBmzft4O8ZbC5WmP3Nvj+uYQPfrrNu2/PIIGqnm9QHnE4f63B6maf5aWnSPQRulfP0Z7/R4aLOwk96bsvoR/4V2jy7O+dAzODVj+HPlgjGL0TLTKw06Yi4qeS2ivdSZzNYG79mDhzkDS5jlW6hzhoQiQw30lCSe8hzIDtGLJAjWyQS3m0oTS7osazDQfPqSiDlaHJ2URqUZCunVSDrkx2HH9QV1F3I5tXwFh1LqldILv3/Qpslwr0MrmlGdZ0TZ3D43YNq5LHinQi6bSbO9RwJlp7TdVfnZHb8brr6AK2zVcJVy9gV3fc0iB2G2iOpvg5yaCDnehEco6SZYnci9I+ev4IQf0UemUfmmPg1k8TjBzH0nMMROsrPDVnFDN3iKhzCuG6C5vE0rKkpUml6hTdZyp3q+yEUj3GehGkUt64ooZOkn5g4yJmNouRnyK08+pya2ohkVNAb9+60yTdeWJhyokG1M0TJza2JFlcSUy3IeiiZ8tqqZMaBlrsqrMOkpo05Hw/IJSfbyZL4rVIAtErlnFyw3SvfxV77HG0jEW0+gLW+L0KMq93m6TCPMhNk22eIaq9iTXzXnpX/g4tP4btHiFxKui6D4NraukkDCDTknO7pXhnFKfR8kUczaRXv4CW3ab4A/HaWVJJYctgpi/WggkGMgASIHutpox2An7UcjPoiU6a2Y6x9oyqTwrYOCXELuxSUOpE4OD9JQKvgaFnVOKA7BjaYFEMAn+YJnaFrFNQcWmJukr3IRi6HWtwVUEeDHMHtr9J4Jbx53+EXt6FMXRIabe8JCFnOSoeG8mlUmKdpT1KeyAxCOmjyhDBiNdBrypwoD68W9G3Bxuv444eIRl00WW64tcUG8AcPoAedUiTAkmwglmcU5ov6S7YoUdgzIArO8o+kQCoDHFz1xTQKrFDdFc6oFsEy8/iDN+HOXwIggUF10hMS2kO5Qcnk8bY21Rwhnwmi+dMqKhp3s0R92tEtUUwK2jFCGsQKbd2WhojM/noP7u8ZWOWUSAfoyeHkm0kySbRC/9RkTijrgXT2/BWl1RMuzhWIdU1NLkIiGlBLgmFMaVCjPwemUJWgUwIU9xKWT1ohPjrN6TnjKKQBv0G1lBJgQFD3yNXGaMxP698yiO7JomCAX2/Q+GRz+PPP401tJPUcbFTnTDwlXoq0VzVMZTOUargVuvKi6tnq+j5MsHKSdzRPYTiuExqdFdWGHv7O/g/3vkBvvBsk19+eIibGxEFXaNULfDm1S7HRkP+6BuPED31BqFrE2QmMNcuoQ/tR9c8umtnyc7cj17cT9y+QtK+jJE9SCKfi24XbfsDxOsvQm+dTPUQSTKAsbvQVl/Db64pKF/ouljTx9CiFiyfJxSw3OQdaM4w1BfRvIuYxhhxboJw5G605afQg4baKJqmo/qkOJvY7YRw+C6lG4u3XlcXj2DrIvm5ewmsKaKrT2OWpKezB0ffIOyG6BLj2ThHIhfjzZewzUmSomzsdqDZCVrrvNIn4ekK6JL4N9FH70bzu7D2LM70exms/ph4/CHysw/gvfAHGEP7wS0rgmlkFbGkCxWukahYUI8kyeB3r5Et30WU9dXD0ZReZ+0m0eRxNCFJCvSydQlNTBzSi5KUzfjDaK0LhAtvoO99t4pb6a6mtueaqB1lE20aGFaFoH4dQ1zZURtNeBzLr5Cd3IcfWhjOCIYzoL74Cvmx42S1gaKoa/UNrEN5/uSTl/js10PeeULn+mqX1Q2dPRMmF28MOLoN/uLVr9E4vYK28ROSNL2lWZR4V9TCDx1i0wS7iJudILz2TbTyNJYzpIaIqXw2ZVBT2q7gaYk7iyku12gdPTNJ5JbV8Egos6mQ/NtNrMo2zHCAb3pYuosnAMxwS3XWUmsYKwmIxOtb3qfgXKl3BT0zhSgYjIzAugyS1kl1aYsZxhDKfL4McmkzAjS/R+A3sEtHMII19dxJMtPQOEuIi1GukkilIitRZhuyYg/ZRhRex25dIi7sJkk8LFEFyhjDzCq7BUYWRJHnDxSp15FOvTOKNbSbqHYWo7j71uS2flXpInWrRpo/rGBTSX6CtFsTQgKBOAN8SVAcV+A/zV/Cyo3it9okmRxm57qi5svGWU/6OG5JDcSEkULjnBo8GJXbSWpnSZMttPK9CrSXykQ9aaIXd5HIy1NenK2GgsvoAk4S37FhE/fqRJZ5y1LgSxpBFHlyqBdCvmzqewTWOG5O+r2JUqVKDSLJjaCLFsirY9MjFDXr6APoUZ1k7btQOkZQ2UVSP4VpjajnmeHXiLP71LPELc2pz0zoG2rjm7ZaKnIoB8QolgOBiaUVMdI2fqqjycteBr6KxSCk5haJuQ137LCqKISXv05S3oEjQz93jrR9SV0aNIn7l+9CFxVQ9yTp6E+pioyuV4mbZ275ljOGAtDqw/ej6wPSjQu3Bo6TR2H1J6S5EWy9iCf1DNmKaLeqFsHyczj5GZKsAHw2la9ZhifG8G0YvSUGvXVcK8fAaynloZ7ZpjgHom6VupDXj6g+9B7+5CPv53//qyt84pdn+dL3Fzi6b5yi7fHEay1+7lCOz3xiLy8+eZN8yVUJi/mFRR5+7/2sXd+kt9Xl6FtH+PXfu85TZww+8o4SX/nxEgXDZKRY4MpWl+OjGn/+u/fTOO/Tj1aZefwB/se//wafe7nNh99a5YmXV9k5bhA1Q75/LebKnz+GPTnDxmaD4OybWFkNY+8duPJ5bPfw1hfQZahY30CvlIlHthFfeJO04GCkGTJxgJd3CQYxo3N7GWwtsfH8C5jDRUb37aehuYztO4w9AX/3a3/K//p0QCP2mMppahtu2SnzTdhoBswM6zzxkcPc/fAhOhttrK6GP5XHTxzCN36CkS+gl2TwNqyeK3onhH0H0JsNYul6SnImdRnMv6aiwYY1qpg6a4119r//IzRef5pPfvJHvKFV1LNyc9BjfKRC1rLoBQHFjEk7iVlqtLh3/w6uXWswX+9Q7xistYR4DyXdICPd0DxsbqlfPwznVh1xOq/zltsqXL3eYm7bEJv1NuWxCsvLHSwjJhokWDlLabqWF5vceWCKQS/hqVMbnPn929jzlru58uYNRo0+SdNnMDVOurDM0P3vhOYNWssLuEZeKWZxbbK3PU7zwg8xrlxk+L630Nuq0Zm/RNYoMbBDJh/8GUXzjjYukRmx+dDvPsPXf1wjP5ql1e+r7viIZbAVaYxq8Et3OvyXP/oVgmKJtafPkHHrmE4Bs9ek3tgit/0wrm3SfOZruPvvxbNiilNzJLP76b30JFY3IDl4nPy2g7R+8ITq0dsHDrN18lWcsQkKQ0MMVhZIRnZgBB2VJMzYWXxRSYoKUNgglVHMxipWrkgg6c+cQyLvlYZH4K1SHN9D78Z1Ni9c5tBvvp9nv/wmj/zxi/zq/aN0PZ3VZl9VdMojBdbmW1xbj9ic/yPqz5y8xZDJFVh/8w1lzvLXrzI6sRt3bhJHQSoP4EvNbv5N8Gy2ahtcuJHhs198Cr1S5dp6g2YvptGOyQonp5uqZ6tuhOydzWN2A5pmoobW447OA4dGWW6u8MOXDZ793Bw3LiwqNfLsnjmuXl0hXw65cUXnnp0JT19t88dfaPHwPRP85MwW1eGU27aP8/Tr69x7x3a+891LHJ8x+NSnfpa8qB1ffokb58/ixAaZo3O4chZYn2dLgKPTu3H7Abm8y/pgicxqk2Rsjky+QLy5rNRply6tc/x9jxKzzj0P/w2BY/LY0TFCTRYRxVspE1Pj2+djjhba/ONf3MP3vn6GXXtmKOcizpy9ScYtc+C2XSzevEZ9q8VwdYiVhXVytsbIjmnqGy2cjEmuWMK1bDZXN9hzYAfX1nrc8+8u8tY7Cogvh9hgvVWnE+rcXAo5/czH2DY5xtrSJWwro86PcpuwRG23+FWCeAhn+30Ecp/xlrCrB4jSCsbyV9GLu5XLHn9BJYQlaZaaYwrybMQb9EPRb5cUJyiJtjCkL54/qC7IAp1FlM6xSSZXIRSVXWeRWIDF1aPY0iYbXFTpHTE3RMXdOJKvHLQwCkeImi9hFPep+pcRt4n8CHSB3Ik2WYCpAuLdQxStKqCe2FPkOWUWby2VVHUyN0G89gqJmVX3IkmmSt2ZkgzOIa0LPyqn7FIC6xPzD1L38OTP26pSKAkIU86tArsNQvRcBrN9BYbuIEbo8y9gzL2fNDZg/Vm00TsxepfpL5/BGT9GrEeY7jZSmVbWrhN1L2ENn0A35HvWVvpASfPEjonpVPHlrGJJErCLmWzgm7PYToLf3iQMNsjl95EmLeLBElp2DlMTbk8Pv3kdM1rFnH6P0r2HjVcxKzuwiPClttnfIus6xGlWLX293oqChNKrqw5+KHUhOQMaQyTtVbQkIB3eh7P6IoEM+8sH0DbPKR6UOXECr7+sdMexewRdUiTeJXrJCO7EHuLuAppvYY/Jz0dXnx9ZpMhCRstlie0Z9NwQZn+dcOMVksJOVcOWM6Gv9cgKXFkGHEkTr7lMRiqUhT1quGz2rxO4u9TyRwiBmfEThKtvoFtb4BzBcBKi1VeIGMOt7iPuX1Np1Vj+fp2X/jiVS3ZUPIwlwKOG0IZvEFZ+Cl16xL01kkyRpLt165BnuSoCJFAFzSyg+6vEldswpPufHWC0LXAdTPkA61m83mUy9j504QD4K1g58SxKr0VTzllPH0LTOmiDgfqA2q5FJIqDJFLdBTtMiYszaL2bMHw3yfKzpK3z6DsfQ1s/SRya6G4WffgAWq5MvLVMprSDQDRuXhdndL/68CcCxYh8TPG556rE7QUV5c6KrsodJZLtmhwSSRVQIzsieg4dWwtIwj6xUyaN+ipiLP16cTN7tSWM8iyBZmHZeTVw0GfeilY/Q9I7z+DmKQx/naifwSnnVMRVN3L47R5Bv0lldAxfqg6qT9ojWxwlGrRVpUFvCiwrQpeeSWTi5GzVdbUF1DPoEfkeia8RSkTZMRlsDCjtGCfRspidN7CP/wmen0cXspMm75Ex/LUfK3JvPC1RkkUMa0z5p+WlJb7aKNwkU9iFkdtHKO71xirtdpuh7fvI75njodm3qZ7xvYcdvFCn108ZHi/zzHMr/Mb/x9J7Rll6lme615d3DrVrV06dc25lhIRAYEQGEwzGxtiGsfH4LM/xcjq2ZzyMjbExnvHysbEHkzGMhUmSQCCUY0vqbqlbnaq7q6orh11VO+/95XOet/xHP1hC1V07fO/7PPd9XW8t8it/fJzO9BJ+u5ds1mGjskBKoDqiZVx/WcV0jcx2jISDK9o9gTFJbC+VVL0bXRtUXeKu3sJJ99Bphqomkp24XXWCu7VFrIHbCDuzeNdfwJZo/eprRCkbhFRuFkmE6zSrK6Syo8QCa+s7iL78nFLZ+bVN9OY8DL8dvX0WPQzQsoNqQKWtzeC6s5i730I09TJ61EIr9qMHGm5NnMcSsT+hLphy0RcdXFCdwTDkopxFS6VUXC/OjeFefYBU+ThuryRYpNowiHf+G2rTlbWTeP2H1d8/mxvFD8RF30enM4dRXcDqOaouUQKxjCIPPXuI6MaPcGtXyZduomVqJOJVQi+NLnrJKK3gM6FjE0k0SKBBqn+cUOqacO1VkoURdC9BpzGplDtWaa+ahIati5ipgwSdG7jeCulEH0HvKOb6Bu7KJPbEcbyWS1yfJ8LFl5rL8gaJbbuwb3431564n+MfPMV778xTWdjkXe88xLPPz3Nutko5ivjZ9KO4s3MYMz+gnbsZJ78LP5iWvTC4SeyMrXzygbA/DB87dUBktERCntWSBEFFxXiDxhWVSBFmhKYI7Gn8+hRWtwr9+xQNVyweBjZesIFWOogpTAg7wtGydBYeITH+JsIwi1+bURcspZZM9OC2VtQE1UwlCFN9mPVFCC31/5W4up7cSdx4FRIFcfxBcwGt705C+fnpHH7yENbSt1XqxMofU/HwyF9Ei1MqESWvY7hxGSNZQssOq/6wLh7esIFu9RCbGXw93FJkzv6YuHgTet8E3sYMhiecgKSyToj2z6CJFll47g1M0Xd2Z9XnxdbES76JnxpGCwNMt0po2nSvPUTy2KfQxPcql36/rbR4kVQT9IQ82rCEdKfsAXVoVdS23ow8vO5lYucIdrxGVFtC75kgcgYU5db01/Dku1+c35pO7FaIDY0gDtWQJ64u0O1eJ5GY2NJ9JpK0CycwFh5Uhhe23YejkkZz+F3RmRrYA7ehN6p4dhVN71VqIonNk+lH72rowQye6WDqoxBcwa2tkJYBiaQHph8lSltbwKPqpKrjGKVt6vtdgFexGF4Sw0S+8EVQulrLtVTqPhYoomWBwAA9qT/1qYd+2G2jrZ7d0lLqNh0jS7a7jN8QRs0o1K8q24CmNWW/g1XYh99YwLBSBKleouYUmmFgOmLvmFPVDsPsARzi9jzuxovoZhJdQIK9xwiWnlAMHWFZqGinLmyGDGa6H7d1A7vyGnrfYbpuBzuhkei5mfb6BZxsiaBdo1vfoHzH3dz/X/+MX/vM0/zJL+3kK4/foMeJKGgJZiKToTjk4R+c5OpjCywt1CmPZLBSBUzhPBhdLpxZ4V0/v5M/+PNX+NcXQ27b7VBthnR1h3t2Jfna85vstl1+/K+/SqOpPqpEWo3Lz1/mE587xz03F6hUdPZO2NTiLA89f5VX/vmdrBd3Yzcr+Fdfw9x9B5bWprswi6sHpHYcU3yPxgtPkx4Ywu8vkonl5VhDG9pDtF5RIGBGhzEqXaqLz5NPjBH39hBcvUj58ISq7v3Cx77GDy9VuHVfP+NDBusbAfV2h1sP9ONJd7vZ4Ikzy1yrwhN/cpTb33sf7cefgT37iJptvKUbyiZp9fQRpEyM3jEqP/4G6dEDlG+/jeXHf0R3aonc8cPYjo1XcUnuGcVdnSE/PEbUdwdLj3+BuekFvjNrsrjSxfVcVWUwxRjQ7lIqFnj83Ax2pKkLXsvXePP2LCf3pbl7d5nS6AiGmSSXSRE7Gp3lKvkcLFUavLbY5o//4QwvbsZM9Kc4MQ6FRIlKo8NUZYPRUpZyIavOXfPzmyoGvt4JibNZri9UWfj6h8gN7mT1pdMY2Qx0XcxkFmNkEG/xBn5lCbNYJpw5hxeYJO/5MKxOEk5dxrnlHeiTz6GPjOHZGZo/+zpDOw6wppfI5z3Yv4e33fkvPNkMeMPBFMNmRGQUaRt1ioVeri/MMd7fx7/+9Drb+zKcf+A38Dc30OubVF+9hjmxE6c3h3vjMtqOvWpL5S3PkDQNgvwI0dRr6L19tGfnsNJpVRUJ45BgcRaGt5Hu7ac7d0klt8TIkUwL1G+W2OhBF3tStYZ+Sap421SM388XlDHJffZRMkPb8AbHyZSLdK5O4gztxt45yvpzzzDx/vfyRx/7az77VJX3nUzgYLPi1kgJyMwPWK50aFddJl/8M7zLl1mbv0F5YJx6KkF8rUKwMUn68O1kvA6T11fI7x3APfcSPaJFfce7yMoCqKgrewkyPNSzBCszbC5UFH+hVlmjnG7RiVNYo4f51ue/xv/9lbP83IksB8sFzi1X2TY+yCMvLvD5j2eY2DnCzKVVCrmIZDLN40/P8O6P3szMzHU++fvrHD4sBNwctY7Pu+8e4ImX6jx1bZ3k/1+7+rMP7+Ddv/MxvPllmHqVS6cuMnryKJ2uR6o0gTnQR2PqefRQYNQ3cMYOKhNNq+uTyQ4okJ7dqG6lk47eRVJ3WHjs2wy88c3Y6S4n3/xlSp7OnsNZGl7IzsEsT51ZJhTwo5Pk4S+9nlS1xulrK+TtgEDAmENjNDZbdJQj3SbfWyLo+KzOL5DOpSkOlNUQ+er5eRrdNsMjPWwb62dlZYn3/fUqWqiTzsU4iQRrK5ukEynOLXaZefZvGNh7K+sv/h+cKEOUzxFbGYIowNi4RFQ+gRG7WHLxTQ0QCcRcAL1GgJM/uHXnkeeI3k+0/gJmnFbLC4Im4cLTmP1HMPNjhHK+lJRZsh9TzxK5s0Riv+lWlS7XTBfUQD2sVzCNBJpYyZrX1b1KYHkqbRzZ6Lap7kTa8qsEqUGVQBOIqnDQ2ue+SfrQLxLIpVeSgKWdRFKpltSbJfYlqSUWCbo3MNtiL8pi5AcwowTdbgVTrEEIid7GTpdpXfsWxsid6OnDeFe/RLcbkopWidJ7SO24Vy0n47hOKO/V1eex5ZztZDDESZ8cx5fzePUUqYG7aeseuKJK1nGrFTSrgNV3EK99A6uxqlSJuiN1RIvYGSWWBHjjApREw95PIHUCUcabha1FxOrzCshu9N+qovwIqycM8GqXsCQ9J0nmYF3VX43hk2j1afz6EoYAvt1pgkaTRM8hYrFvBQJlWcKT1E5hl4LMp3tGlZHJd6sY7XUi6exnd2PFHQWH1DKH8WRqHojhyMCvriv+irB6vChNnN6Bc+N+4r7DpDLbaM78iFjqvjs+QNBeI96cVFYy191UkG8/0LEHxogkDCk3z6iFV18g0fKJyiNEkoagTShpBW9dMY7sMMZtXEW0R46ZAVmqVV7Di5oqUS9g9KC5gd6tYWeH6UShusMK3yNZOESrU8VqX8KUs1nQQaud+nwscInYzGLGMYG3stVHTOZJysZMqMriXg88Ois/xTKHYWQvxvIMca5vy8dcv0GU2UWcHELzpjAyW5C/aO1ZtOwYmjOkDvFC+TRLdxFsnCHuLKnIoxDcpQNju0tEsQAgxIgoLVGZIxRByNupMQV9MBGC7Xa8rni5ywoipPcfVURMqzaDlkgRd3T156J2XW0GI6FT998ERg594xLIJMWUD1dA5JjSRsWUTr1MhQf2qg+EW13AEAqmpqOnd6KlhMS6pBzRIgaPRaNVPArteZAvw95jKsIfidc5P0FsO+hrL9G4/AMciQ6tPEdYnyboahQPvJ7W2nWa9VWcdFKpCa201ARG8EXPFsV044hUuoBhWXQ3VwjFf9xokpKeUiJFZ/U6dq5fTcuiWIBi1S1FIj20p5/CnngriZHXE4XiErfQIoGULKuuaNy5jjFwB7gevvSy9SpBYhQ9XMNM71S0zaA1p5zwVukQ3Rsz5Pe9jsi+xrHRX2PPngQ37xyn0q6yXKny2pLFiXSTf/nZL6Fvlll46VsMDPbQELOEnyZuSYJjAHPwOP7cU3iVaVK9BxURv1m5RKJ8HLt/gtrkwzgygKJI3DiLXb4DoziI726gm8MEYY144yWSA7fRXXyNxuwFeg+/BSMxQm3pZ1iSrMgfRhd7hKRE6teVyzyx/T0Yc8/iSmIksVtR/41oliCw1IZNs7JE9WUsAemV9tLVBfDVwUmNEAYV4voGsdgvxBBhi2ZENry71EU6p+rkTAAAIABJREFUlPeQVUZrXCFs1TBkWtp/DKOzpJIdmvTr08Nq6yzkaUk/dC58WfXVU3vuUsrNsDuH1gzxfYGqNLBCGz0pv4es0mc6cpBJZjDH3ko8+6RSUJpWiSC7Dz1awRcFYquCIxdWo4zZWSDs1IgTOeyB1+HVzysCuyV/XquE7tiwep1Qb6CXX49Wu6y0ZaFZJZG5F91cpzv3DPTcghWu0olMsukctNdwh28huXqW6vIsPbfdREuI1x9/mFv3jnFhapXDR8qsrdQU4PKhR2f5zj9+hCPveSe1izLUigjWFhUM0Deb2G1TEZvjKIW39CBO6QDxwDEiiXmvv4w5fAREWzf3hBpqGZkBTFFZpvsw1qfwwhCrfIQwnCd2mwpeo/tCvm4Qm71ozVn0fB9eWESrP09k9JDMDuG1rxOFvdjSC7NiIuFH5G/GbF5Bk0l4pKN5K4Q9R9QQyG8ukUpm6LghxJ6Ku4vf1fPnMepX0RJ7CELR2EVo6SKh2ghbRI1ptNBHL5/YuiR3ltGsIWUTcYN5AhySiTH8lSdUxUgfv1uZMIL6NLokljRJwi2gpUoEmzcwnBhbom7OTmIB3HlLOOkxPOGodDpYxTJ+aKjXXupXRn6UuLGK5q8TiYNWbQMk1jeEHntKcRdFcjkWL0wDSyCAAqLpbBAJfFHYLnEWLVvCEO1ie5Ew8tC664oHolsj6KFA7Sw8XRRcG0RhWyleleu3dwItEp5Ck0C6glEaMzWMK5FKAQrK0EzUo2Io8NYI9X6M+iXCdAK03dCQgWwNCgdUGksi1JJIUQRlSaHI8MQWnY5HXJvH6j2O35pWUTdS27F0R7ENDE+GFBp+LLrDGolsP1EYEDgWoWdguDOqfxf5Prb06vUuuttELx0lltqS00ss3A0ZFHlzGPmDRLmD+LIN0ooqXRI21xTnQ1RDslYXyI4maQj5vrV6MZvz+N0FSAyhKbuAhylJtdggsEYIG+cxzAS6DBSSQkmW7yWJ8I0QrF3B06QqZ2Ike/Bjk5QtMCodQ7do1OrksgabGy6Dt+zjW3/xeT7254/zn945zvxsl1y2Qynr8MCLm2w04dI/lZDk4exGi2K/1KU8+keLipbdrVQ5fEsfH/+rea6tBbztWC/ffWKGYtLmyESJr55Z5VY95Ps/+xS1qy02z56ieOIgacdk4v1f48OHk+zZsZ3Tk0u8emOD992yk9/+9C/ReOLfwJ5gbfIshYkD2H2SXljFt+TZpBG0Oxii3O1NsPTKBXq2j5HcdYzO9SuE3TpxwyN/7/sJly/QvXYB5/g9hHOLOD0amYJL8c7vECQtPnzrCGdmVujL5bg+V2FipIBhxJy+usEtB4Y4UDD5yVSVM5M14vvfS7RNo3PNYWPuGvl8L76pYfT1QN0jjH3ai/Mke0QLm8CYvYzZO4B1+z3E168SLFzC2HGc5tnHKZ94G/OdRR7/rHQwj/OVxy+S6ckSaDFu02Mz6mJENr1Ji9OVNpf/9m0k9u9m48wlhsbSsGs3NMUhXsVbW8UYGsGsrrJej8gVI7z1Dulbb4XGBhefu8pvfPoRnl306HF0xicyvG7vKKdeuU4il6LRqRLXIvbuGVNR6dgyeeFClakv/BzpZIJ6I0AvilptnWhB4v0bmLtuQWssQWUFZ2QH7UyWdByy9sopspaDc/xOtGKBK3/1F4wf3oNx0z3kpFIm32PFHu7+wPc4vd7hpmOjOGEbNwxwG13aXVdtbQWq5DshCdPhzKU2f/qWDL/5hd+l+rNnMMRGMzRC++o5gqVFElLl6N+l7Cr+lVfQh/poX7tKKt+LNb5DVV/8WWGfjBFJ4mplBj0/gD9zUfVs494UejdQBoHs+G6VFtIWZ2n7Xez8IEYkl4ABll54TnWUi9t3KGhuNDtHc2kR02grw0l+bESlVz0jyc5f/yEj6Yhdu/o4VExT8WJemFxg50CJn5xbpHL/J/CSeaZ+8hNS2TyFO+4kbrfpnH0Ue2Ac+nfQvXaO5MgY7Usv48j3yeB29LUp9f6Qv4skzeQ1sBIWRqqPVDJJrRti2wGuqLW9Bq3ZFof+5BG2jyc4VkizRpO+RI7T03VaUcQ/fXwv/f0NktttLj3kMXHco7dU4M5fnGRge543HezlzLllwkTM/rLNj15qsX8k5u9+71ZyR08SSFJ6rU3r+jOEXYfU299D+9TTasFkF7fRXVggdfgQnbMP4Msm/ujriSSdslzBKPUQ132aiy+SFi340F42LjxPucck/7q38fBXHuNX/vez/O4btvOd12bQG2kO7rNpdkIeP1flnkMa3/jcXVy9uMz0axWOv2E/c5PX2aw3SScz6nxnZ+SZaRK0PToCdAtd2o2AQjnL5JV5bjm5Czul8Y9fu8zXLmTZN6IxX3FxbJuTI2lqgcv9jze4+PSvM37bL7P++DfUd6xM/iRN7CS30Vx+Bl0YMQNvJJZnWrcOUR0ne4iwM6OWblquiN6RRKbobGXgbygtnwDbTKNHJQi1tpxbxS/aIHJ6oDhBvPgMmjGK07uN7uppdQcxSjtxAwfdX8VKD+PX5zDMUNlDLLEGdBbURVe4MmH7KrYktUO5LgYwcAtaexY2ZnBb1xTkVs/2YHRb4AdEAo+zy8QyTBA2jx8R+DUFio7iBXDlWevitVaw7F0YqRi3MkVqYD9YCdzVSxh6BmRjLOm0nIDpxCrvqUGaRUKlB4JYfhc96FpDpQdMI0m3Polu5tTSwOhOgV/F70iD7oCqLPjVRWU3EYtA0Jblskkoaev2PGZPmaDRxhIVsNElIk24dhqjIANSAUA76KHYfULIDQiOHX95UulCIyuj7Dl66Qh2Mo/W2VRshFg4bVJzkpppfZpWd5Ns/2FVa4jIYGWH8ZtzBM0KdiqrhhOGcKbsHL6VVZVNgQvKMkUqHYH8UxK36UHwGnQrZ7Hze1SdAuG5pXuINBdDEvCJPJbeB9VLBDIoye+Q/jG4i6oSKywmM9VDIp3Ekwh9e56upJeG9qKLpr16RUEipe5uCPXIr+FLlUFzsIINwpVzWKUxosx24mZDVWgNLUuYKxM0b5DIDKkEhCbqw/a6qpPahT7aK5fQqmf+ITYiuUjmlDM6WHkUPQqIRWFXuYCVGSCWqIjfQK8vE5f2YegR3anvo/fsRTN6MfyO+nDoxYOEjTVMGVvLoEAgDq0l5Qcm20fcFQK0hi0dmuyQmqJJRJSouVUDECK1u4QuU57CbvzGPJErCosJjLSpaPVJK8RN9KOJX9Jfw95+H9r8k7hhSEq0d/OPKodtYsd9eHoHf+FlDOlR2ik001Ex1CBokjKzePkBwrUZ1YcQf2ckG0bRXoleoykdS19NosJAx+zMEVjyho8J2ssYySGly/OS/crTHCpoh0Qu8oTFYTWocKIFQieNtXlBbU9ZeY365Pcx84NkBvdTOf80vaN71CW3VVlTLlXdzlIa3kVHVFNNmQxKUniAVmWK3MQB5GMXrk6rraXEeu1ahSgdY8llYPYSzsh+4n2/TLRyEatQJPZcAls0iwFafnTLr9k6j9a4gZbdpyZocXsBzROK5wG8ykvqv62XxzG0BI3KGgO3vY2F5z/H+D3f5Z4dMfsm8vSWh6i15vn8A1Ue+KNR3vanf8jav32VnoJHkNvLxuwpyod+nu7mNMHcT7CS41jDewmCpIIRWrkhQt8jkR6mdv7rJHp6FL20JdyAPfcqr2dz8gH1cOwsXCRdFq2aACqP0lx6RcVxczveR3vh3JbGpLtM6MUk+w+ow0NcmVL6FC0nQJKrxFEPZrBBYFhQX4We7ZjiYNUz1KcfIm5cIXfsD3Avfh02XkM/+BFsLUV9+kck7RTWnnfRnX5EpUys9Akis4U1exbfkAhvn0q06LpHYPUqfkSifglPT2PoDnE0TxwNY4/fBk2Z3iVwc0cIJ/8de9vddC4+QEK4CBPvpD79A/Qwi7P7DqKasC5y6O4GoXzZVabU4ajbqJAq7yTWBwkqp9DtDGbpGEHlAoE0FBvLmLangCa2PCidPEG0iW3ohHGauD6lBh/68EnCxfPqvSuJi6j3ON3FZ0gXJ/D0lFJmxa0NZaDIiLKuFePmk3jTC2RG8iT3HOV/feaHPHE+puO1ue/WcS7MrJLOD/Ht+6/wB79zB7/92c9Sf/TfVRcyClMYuUH8lnjj60SZLFprErdTJjN0kGa8SdrKEaxMKjcuMi11hrDoKDtEmM5gSeepcwOfgoyEwe/Fap+ns34Ku3ASrf8YYUN4H6Givepk0O0BFdkypd60eRrD2UtodBUDRPcCdD2JHlTQDOFJ9BE0Lqn+VqjFdOvnSScnkM5NJAo8Zw9xWzrpSdXpEqK7mRBH99bnK954kZA0RnE70cYsphwmkiXFjLD1kI4pD0gwrT4ib1N12drdLMloCl8TON4YmreOb2tbCYFAkgJJ9K4wVaoE9TWSMhRIl6G9QSTfaX4VM7WNKAqJm1exCgeIE0PoCz+lK1pHmRKLkk5894XDsHaaUKB/UoOybAUVlQdNJB11GVx4WyDWWHSCmR4MGZq6XczIpNOZIuEUiOw8OhGeOIVzYwqqJdpEefj5WoST3UXgXsMyxvFCn6j5CuS2kTDk0lnBkA1eIkHcjhXoT5NIHMKi2YvuXcRtz6vXINY20KwRSMhQ5/oWNT8QRGekwIVu3MAIDQU28gWYKWaRtAWNNWUoMHUwDJ2ovYDX9RQtObJMDLeuovSa3r/1XoxqCgziusEW0d9rK94N6RE0SZWIE1mTPmekLnOxaHMlpaZbOJZO0JpVVF3536VSpMl7KmzgtzcIpb9IWUERjait4o0CL9QlQSTDlDDG68qzroo29DbM1jVIZQnk7xXU0BMD6sGvXhPNJGhs4q2dwZl4E36rjh5O4qT2kz3+br7/5x/go//tPL/6gZ0sTc7QihKKut9uh0w2dC7/7x1MTQrwNEGxnKGyuI6TcVhadSmlI/ZN6Hzib+s8vdTkzfvTNLsOBelYBy0eudhgVynL4194C+2rTerdBv07d6APFtl369/w5pMj7NqR45mzoktscGI4yR/91w8w/fhF+m85webUOezeMby1BSxh/t5ylzqwrD78Rcpv+iChDD1fehDnwK0EYoq4+jzuwBjJtRtohW00l6bVllDffxtm1iB3dD9/99lv8Gdfusgdt/QwM9cgV0gylM6QToqoooep6SWanQ7FrMX1+RojYyaPvxbwwUM5vvl7t7JWtwnXbpAqT7DWrhNcuUhxZBxjbLuKqDqRht8zhDv/murSupZs7sSyYSqbiFkoYIQZsidvZu7F57jzkz9i5+Fe9mUcglREp+2R1aHShSsrPqtrDWa/eR/2XT9P++I1qo88RjNXxnI36b39BM1Xz7N6+hVGP/Yh6tUuqUsXsMbH8bQmiTAgefNd2BmXzoUZ/vPvfZN/OR9w67E8h0cGeOyFK2wfGsDqdMiUUjhRSDMKefbSJuf+7l6ySZP2Up3YdPClXjK4TxlIooXLpA/czeZzD1PcfxxP1MB2Aa8/Q2p+nlo3pnTgCF23iVZfpJMYon/HGN75F7jvr17l6ctN9o5FiiR+Yvsoy+0N8sJ6MGG10qWvJ8nFyQ2stE7/QC8PPzuD+9BHqddcVq5O0n/rW/HXr+LPL5Ia7qe7tEB6fDfdpJhGAmpnf4Y5uJf87kM0XngQ89AbMf0WcRzjXnoJ8d9pe46RLw7SvfIy/vwsxtgEbq2BnclQv3CK7KE7iOT0aSYwTY/2QpXMG+6m/dyDUDqAY4SsPvo9Sne9Ecc0WHnsNDvfMMBCNcmB/+tZ3ndTifM3agTtBj3lPNgaYymDb59aZ+oL99K7cxtrp88ThA2K47cQFXKEZx6j6Qckb30j1pVX8fQQ8+A9Kq7emTqLNXEUc+oU86FOL2ka8+dIl7epvnM4OIZ77VXMTkuZOEp7dpPfv5dP/MpnWVhPM1zqsH18jFdeu8L42ACTMy7PTDa5+uNbiNfXuTGzyNEPvZ6P3fcDamaOQ9s0Hnymw9juFAeTBq/cCJlcrfL8Z15H8QPvZ/nBh2lPX8EpD1LccVgl/qJuk86VSTK33KOqsvXJC6REszgwSmf+Bma+uFX5XangTIzQiCwS65sYfptOGJLdto2wERFMXyT9zjfzR7/1d3z7RZ/33lsg6th0BAir6SRtg8nFFf7H+4Y5fKSP1bYQ9H1eOXOVO+89qYDHLzz7MrlilpGxYZZWFhkcHGVteRXXjdi5dweLi4sKWD06ojF9pcVtn17i9btM0uk0iZRNxoC5Gw1+fKnBw3/7Vt7ya39E8/yDKt2l+QFBo4KWKUJKQOA+cXqcWJhZ7ipedVYZbmJTnslJZQryNhfRLYdQKhpOClvLE3SvQ3obgVDzBfraddUAKk4kFVRPbEdUF4ntmMgaIpTKm9QNu656X+oCm/UNtISNH7Wwo0gl6KJUkji9EzOSC7y44E2l4BRjWywKczFB+drW0D2OFJ8gdnJYYuVZOYMZbaCl96l6dGvlHEmtH3NgnKA2iyWmL1MwOSFOwiLK71R3IH/1DInyTrwo9R9QdpElr2PZQ3juKk5YIwxT6pwonDJJD8p/x4oSSv0s1U7T1YnitjprBogWd1nR8I1AqPeOAhD7y2cxeg+j26JkDondhoJcyzFdzghhKKrBUbyGGIpMNN3ETPcQS3p8fQrLELvUCJHXwQpqBNm9UDsNK1fRho8SbqwSJg2c3Hb1nA9jmzhZIKrOYYm8LtNP0FjEzB9Smli9cYU4zpJMF+go6GBKDSaEz6bLAEBS8L4ACUO0nkEMqS7KcyLRTyCEf8si8FZVPTPsuwuWXiKyDTQ9qyqHMlCQoazWmMG1iiRyRwiCebTOMpEMasw8kSdDmgyaaJaR2uqs0jfqCQdfGFDdOkbYwhS+QZxS71OlJ8/I0vEKUcdDT0lloEsoCXFTFpeS9Ixxsr249Xm12IkbTbTWmX+K3fo5kSaiGQlsRRE3VfdMpgrt2acwcjnMxqaijJM9pA65Zsahm9yLKfFGiROsv4TXmsRJlLGEUlxfI+49rPpVuit6gpOqNsDmZfR0ETO/C7fy2laEJJHd8mym0upD46+cVz1+Kykb6yqelSAtnS2vizvzAPbEB9VUr9WcwwGac4+TGb6TsHSz6oHoEu+Q7fH6MgnTU50d3Sqh6Rbh8pNKbRcNHsNYuUbceAkjvZOouB+ndoNuKL8wecDrqqOsCRCidYGIgnIWx44MNpqKkKll9+B3bmDnx4kioawvK0VfJLA4y8QunyRuVwnjDk7ffnS7hD/1EMb47Wq61Hjt70lJHULXiTeu4RtlHLuLtzlPnBshXL6O50ckS0VCM49TW6bTrZIq72Bz9TqRa5DfXiaW1IB9N+nkhlIPtrMnSUY1Re+PN1eIHF0dWpuzjytVijlyN5FEdXK7sfJ9yp8dNRYVUd1KlfHqN7CtfrzN06QNG+54F4/85Wf4+288zdtvzfPT06uIkXVoLM+XfrLJ1z6R4u2fvIeV81MUBh2qS22KVlMBKTqisXJMCCMVGZW+s3jpjaCuXp8wP4gjvZjmJlZRIsxJZQJQrvfGGlFzdas6sesdW8qLVILmqmhVkhiDuwkWnle6LSGUm5ZFe+F50rnxLfLzonSO7sB319Fbi9B3EDoL+OkdxJubEF4j7nRJ6hFGcURVB6xWA0aEjBphyZ2mdRUjMYw+8BbixisYrQpeY1r1t02hh27OoA0cJxZdTO2qIuha7RWM8uuoX7ifZE8v1rYP0bn0RfTB/ZijHyS+8WMCq0CCKq3KJfRYx7QnsHcep339B9iGid7/ZrzlB3HMIVzRVLbraqATNjbRRm5DX7yA61ZI5scUKMXtGceSSopj4FPEcG/QcVs4VogxcA/BxjxG7QJB/0lYeBItu404lYduByc3pAj3Rv0K7doa+vb3oS//FLe1Rrp8jCibpb1+mWJxgur8BaXtckbKJO95D1e++BU++bkKfUMddk+U+P6T8xzf38MjL2/wluMlvvnkt2k98zBuVyeTTuCL6UEULvLz8n1ERoy5eBmvIBda2XKbxOmTBGun8Ddewew5jtW7j8Bbw944g+/liMduQW8s4q89hj5wJ4ZdUhBOM/LxQ1fF7u0woB25JMIWob+GYe0gkIeAewPdraM7A8pvL8Ah3V8DW5R3NYIgTUJ89sF1NC+jpudhIodhhGib1wj0nOr/x5mD6DIMrL6IJmkgL8aIK2pTLYAe2eBH3QZx2JFSkfoyl0SPpBksd1Upu5ADdbqkvuSN7C7i7iLB3DMk0r34hf2Y3RmlnNKs7QR2U/mtQ4FXylZdnpCdKoYtm3CDMNIxQgeqp1W0P9F7VPWWzcjC1W3iwMMUQGRmD4F01SyBW+YVfNCXWlPcwCkeI6hf36rl2FksXLoCHutuEAnMrne/Ai1KhUH++KFZhvo5NDFsJIt0Ok2s0CXUJAUxBOKsTRVJ5kcJWnUMf0NZYkLp8LeXEX2AHL6kF+oEvrJuREagNvPKb1yUVFOAu/IKyfIBRa8W7ZIlFN9um9ib3HI1t9sKcqoVd2DrNq5sQDQX2+/Qleu2NYrmzxFIZ1iAhZsXtoaeBamPdNXGQvQ/sbdCrJuQHoP57xIIByI7rr7PE8lhumZGsQe81jzJwhAxOeJCGb8yqepGdnI/rD2tKMhRfht6/TpRY0Z5nduVy2TH76VbPY8mqqbiDmKJuXVXCdNJbFH6BIJi82ivvkCq/xgkBwkbS8Si/RMlYjKFoejqF+i250gWDmPmR1lfeAlH76F85/v55p/9Ir//N2d4w+172FiZYrBQZq1Wp5gv8ZNTc7z01V309g7z8k+vk81L/i2JkQxU+qqyXlMpns999Qb//cGYj92ZZbXaptuKWOs0sZ0eGhstXvjLI2i927aguO0qzq4Sd775i1TjLkd29NFebVKnSz6CH3zx/VTCXpLlQbqnz8p8nDiVo9F0KSYtmnPT+EGMpYVYJ99IfOMsbq2LNb4Lc30eBvey+tL3ybQ0en7+EzSf/xHtdIrhkq0Au/Zbv8U9B/tIyGdM1yiXJOHlUWm5hKFDrd2gv5SiJ51jZm2V4d4cG22fHzy3wsLf3sfQ6w6zeXWOYP4KgR+S27eX1vI6cWkEfekyXhyS23mYVrWlannu9UkSx24iXxhkcfIFrJ6dWJ1FEiND5Hbv45Of+gKz6x6djU22jQ0wtVTn9gN9vHJlljDby5NTa8x+9jbyJ26h+8TLaIMlAi/AW1kh05Om1hSopkUUWWjVTUx5JtoG2WI/8xfFId1kIOsoq4/99tfxD//ln/nUP5+nbMLxfSX6y2muTVeo+z4HRtK8Ml2lWofls5+j88okG2szOJFHONCHFes4nTbt+gYIWHizgtXTi3fhJXRbI3389bhuG903ceeEBJ8lPTiIs7FJZqzAl770Y37t/nVet8NmJG8ztekzOFCm1Wph6zr1VlOd07o6DGRLzFYqHJjo46svzvCZdxzmd//b+2k+/jBh1adZ6iVbKtNcXMDMyNkvAxurBPUq2E0CSdR5FubsNeJb3qKGIY1zDxNFNvk734538SxsLqAffz2m6ym9V3t+lvSbP44/+TxWXy9xy8e79hKJ4/cSL09SuzxLqlQk6kkT1XwS8u9UFun0jhIbGfoOTPDwl77Nh75wgT/+yFG+99gV9m0rETS7rNWq7NtW5suPrfDMZ9/E0fe9g9qpc1Qvvkj60O0EbZcEy8SpXnVx8EjTvfEq9ugezFw/4cUzhJZA2wYwe0uY+Szu9BKpvQfpzJxn7dJLFLM7SfU5hM00jXKRscw6S7Ob3PX/vMC+QYueTJrenEZHXPJ2zFOX67zv1j5+7/cPMHejytM/vMznn03xC8eTrLTaXFuNSIV1CsUCZ86u8+X/fgt7dhTZ3MiQ2n074ewpOnOXSR46hGaVqP30e2SOncBzLcK4hV1ZpLm0Tu49H8edv4xjRfhS0RnfhlUPlNHASRk0rBT59VW6g+OErQRxc5LBoRSGaTD+4e8xks9x026LRy/XOFhyGN9T4hvfm+dPfmWAX/n1/bz65AXCdszYtkGunL9OrpAin8uRLBaprK6xubLGwNDg1pnFsFidE81hRNWLOXJiiGJPjrFffonRrElfj0mzpcumkTfcepL/9a2n+R+/807+81/9BdWn/53IFzaZQyKzmzheUwMFXbbmcv6oXiBx7DcwjKIaUBnU1PNLhgByd0loDkFWQHSb4BSUOUbMHDK4D5vXVAUgMXAPcbCO2blOx96P0bkEvkUsUPLiOGYc4soQ2SwR1CbBLuI4GSKpwbgVzCiJWRwk9EVN18WwU2rY3l4+g+WEaKUjIENgM0UkZ4Glxwg0A6O4E786Q0IGBaLIk89T2MUq3UJceU5VCQR81202SW67g87F/6Ogx8mhO9i89hTJ7a9Hb8wTh1tnFCPOoOldYlfHS2Zx0v20rn4Ho7tCYt+vQqeiBnLiOwx96eoHRO05/NjClnOyZuE3KljdeSgIs6eNEfp0N84qo4Gk48LGLGZhp1p6uCtPoIt6fs+H0JTt6QhO5RE6wiobuB3NWyZan8PKJfDsMpqRVZVCy/cV+FcMWU7PAQK3RiRQlKiJLa9xsh9v/QWS6TI+MmA36ITrW5YxPcAXAHhTzoe2WgB2OxVljhLIsJEZAVn2bcyjicnYSCvjk1d5hVjeF/kR9OYGfmcGLTmMGYtCeXoL5ixDIcm2F7YTNSQ5GRJtXsLo20NkltEkfa/AizFmchtxUxbidbp+m0SiSOD5yhQlimotqhIL48kZIQjWSA8cpnXlUWKpjKTHsIOQ0IxUrUjzNvBlkOXswkzVlB1ICwI0ZwxDwRaf/UysOzIuH1LES99J4FhpQukc6ClozWAUjiK8sVh8i9IHlo2U+g3k8ZvTJMo70NKHiSReYMwTNASat0iQH1ZuyM7iwxhujNW3Vx36pB5g5gcIajeIhdDoSETO/NpmAAAgAElEQVQ1xusIXCKPu3kaU3yPo+/EkhfazCiwUpgewDHyeCuPYPTehpbI4dancSpTUD6gaImiSAmdInbvIMHKDeK0TF7mMXr20lkSv7lBZvwOOtPPYuV7FDzNbdTUgbjr1nCSAyoi69dfI05sQxcVht6LlxOC9iyWLuqmHKG7hCbxUnFHChm6fkUBt6zihHJByibKcGxFF7fNHN3aDLbTTyCDjqyA4hJk0yli2SLaDm57BTs/ouLA9YtfwyweJlk+BDe+Q2fySRIH30t76jukB+8gHn076F2QWK4+it5awOndi+cu4W6skpBJkdfBjzMks3nC7jymANNSO3AXnsIeuoMg3CCQi5CVxdBN5ROXn+3XV4iWnsYafgNGT4loYYnMHe/kF0/exqnJLl/47Nv5yrefYXGlzvaRDIvrbf7w5xLc8Usn8K+1iSy5iK/jr20QkcPuLykYm9Ht4AtPIjKxCgVFsYydQbTGVYzksFKIkeuH+VcIvWmcgZu2wB3yRk8U1MDIW3wUR+j80oVvV0Q3oGL1RjqHu3Iep3yzUopFQgCfOIFXXYe1syRHbqNz7SFSu96Nb41hhPNo7ev4tSXcuEkqewJKe/HXTinfutgndJE+BU3M8t3E7VlElWkWxogS+9BqTyseg1G8Ezus0alcVNt/MzVCrPfjLdxP8vCn8JMD+Bf/X7I7P0Zr5tuqR6ZVrhGZPSTH9hIuT2GMiWomxD3zXezRwwQyvJh7DCsjsL46cf8OlYjx1q5gj92Lf+FbmAO7sTPb8MUBm98jng1Fqg59Vw17bKNXbZf18hHYWMJ3PCzdp3P9OZL7Pkqw/CTJ3G787ATRyqOYoY7fM05n+jlySdkuy6Z+OxopvMay+tzWLz6gOlK+HaiHQe3CaYY/9hHOPvRT3vjLV3jTzWnKxV6qzSrFtMPiSoXA9fjec/fjL63jdRtKcRlL5SUREWsJdZmLJQKN+Ejr4K8SbF7cqtrs+wUSnSbt+W+jD78DXe9FW3kELddHKIkHCujpUcLVJyG3Ey0xTrD8EPLGivruRF95WQ3WxLdrhqu44sFN5vHWV9DyRZxEls7qWRJ+hbD3hOIISHwtEh+7bPfFcxsJbbsfTwj46T7VAZXDrIaF3ppR3X1LN9Eyw8Suq6bctkTpZYAl8bHUdnRvHtfTsIIFvCDEyB5A7ywReksYdhld3lM3HiIeuA9T2CSVlwntIoaTwtu4qojkplPEl+mzHxDLpj3fp2J+3c0F7KET6PVLRK3rCkakFY4T1i+hu/PQc6eCwkSteQwrgR93sUMpoAoAMk0gsD6Jtpu20s6YcZ5A6yguxlbXbx29eIB47QxBGGJoBolMCS9KEHamFFwpzI2qib5omoLmLJHmqEFMaBpoyUESWhffDdXgQ6++QpDKY5h9EOqKwG34ixJFIHBG0LxJoo1raLmj2E6OoHVdfgRWq4ovl3SJPqb7VU0MAgVqk+RXQveJ5GHXXSEScr6ex914GTs3QSDbm9IIWm6bYln4lLC7C/iaj13crX6G8G20zFatxzBjvDANa6dUR1/LS63NJLQMRYj3BCHkFDC6M7SrGxR6R+hsLmFM3IwpNO2lRzHyR1UyQ55hwqGxC0P4XeGF9EAnIkqW0aOKSlhEyT5VxTD0TYJmFVNqGvkJIkmmSDcyaKuanZ0dw48T/zFQ6MWUyGR7hW6rSmbHMZpXztL3+vdw8akv8uZ3/Rsfft9ulueWlL6q29a53opZnOny/D/tItdboL4WMz07RY9sl8IUse1z+fQi7/3QHr7wr5P81r92eOexLPkMnLqwwU27e2nEaWZnl3jys+8kSmZoX58mIfLC2/bwu7/9DbLlAZ56bZHbD8tQOuC1i0s88D/fwuayqxgW0oluez754YOQlGSOodzf7opHZqAPb/0G7dVl7OE9pA+fpHvuSSQmKAkdO2NglraxcWOSTLqf4rF+/u3z3+aDX17kN+8uc/pGnSByySQyBL5PuS/DUqWm0ltpI1I09e0jZaprHXKpNN86c4OffPIAb/71O1m85JJcnWdzY5P8rTehT02hj4/QvnRBxUr1TApf0/CqC+R7ttGozpEuliFbwuqGeJZBNpGiXV/gVz/9M1Y1g3bLYG8fOIk8K+0aQa3Kzm0TfPEnV3n5b25m/4ljXH/oecpHD6hUSVDZpCOVvDhF8p630370O6RLZQXGanZ6FCc0VCAqFHl+eX2doTvvpnDgEKHV5iM//1ecudpiaFtKoPPsmhhkYb7FublVpdl69bu/wObZS+r7wo3rBN2QZNSlPnOZodffR/Xln5Ic20Y8sIdIIqanTpEa2U0rXSSBS2f6CoIuTfYMoCUTZPM2t//mQ7xcafKmHRmKxQy6bjK/uEo3CBkdH2JjYZl2J2BsrEAr8tiYa4CZ5NxaAyuGjclPEz78Q2YudyjfehKnOKD4Ictza6RLCSzNUYkXzBDTLBFnDLy1FVrnnybdu5vkyRPE8j2Q7GX5/i+THZ0gMb6L+uacAm8Zl16gmyiR7EsQN3y8doCpDFbg6y30toeeGcca68Grueiba4r9YW7fje23yPTafO/B1/jo377A+24d5alXF7jjQB/bRlJ89/Fptg+neHze46vvLPGu//KL1B4/j9VTpJ3rJ75xhWR/mq6Rwb56nujEvYSLV0h3qtTbAXpZkho1Yt2CsI2TKxBGJs3pa6RL/dA3hpbN0J6+jreyjG2ksAstiuP7+YM//QFmf4HehM7Ls8uMFBKU0kUqRJx9ZpFv/c0+ikd6uPdNL3KZLreVHfIJi5u2ZekpDfP9p8/xnjtKfOhT76P9/Hk2U0kKA0PU5qdI5AoYKxu0a8vEPWkKxTFa7ZaKKEtE3L++hF7KEGfzxJsNFXE3c1n8OFYKWS/RRz6Tx7vyAp0goaqXxfIQ9bkFht5xB//42e/wz9+b5l03p5lsGgyXUnTqHivVgKkbNX7y98eorolOu8T6RpWkrVOrbyI4GLEXGKHGysISXT+gf6iMIVwizaS6Ok+y1Eda74Be58AfbnKwnFEWi6ahkYoTDOUNHnlhg/fcd5B/fOgrBOceo7Y6i1HaTdhtYEj9K3QIMr3q/iIphCgnhPg0gSk6veZWbD8xoBLRkZ1UtUCjUSUSELTuoHs1ouSoSkUH6+fRSjtAlM71Bnp7ldiyVR3AaG8SuGsYqSFiu0dtczubl9DqAvBbQc/sQlOg9Sr+pmjVl0E0flFNLdIU7b2xhKlpaHofelInEGOSmHsyY1h6Q7GhyAyhBQ0CYb2kxtBqUzTnTpHZdR9mGKkofDLbo+4nUuE2ls8Qy7OxtIs4vQ2/eh5k8JAqKXCgcB8s+U4OlpQBTSvsUOrf7uoMWnkPZmo/ceuKAgAaclZbfRlDBiKyhhUAYXuTELEdSKlfwOaH8dwVDFvOFKKk7kNr13E7a9h9R9GEo/Ta/6TjejgDR9BSY5i6g9uZU3XZMDtM3K1gxXU0PY+3eZGILKmhk7jCTaqdxkrvINAjZeYyyrthc404XEUTLlAoulif0GuhmzFx4Qia393SjRf2EgmsXdIYVh9dWeZUX8XJDkFmF+7s0+jDh9Gb17FUp15czBLN1xUA36jPExa2o2spgvYsugDwU8OQTBElxrbOZXqIbmSI3AqarCuE+RQb6rOkYaoKgQwPI7+r1JRaIg2iSbSy0L1B2BX2QgILAzd0SRgJojjAb81iijJREjaFXXRbM5iSvM/tIxbum5hmpPpSPfXXsek4dLvrGEIYT8pGeJXI+Q+YQFIOra8jFBBG82Xs7BBx8gj++nPqwCUdRiEpRtLBTu/CN0J08Rp2l7co0BkhG7aJjVh9iMxI4qVzhGGGhLypFOzvCoYzhilvuGANM5L4fREqV3G1GlboEaf3oZkudm473upZBfSzkjsIM0OESw9CViiWPaCJL7NGrJWwwipeZpuaUgXtKRLlN9ANRP90iaixjNF3EiTy75iKeql1G+rAjF2G5jJ6ooiv4h51FcG2RXOoiWJnCivuJWpcouvFFDMDdDITxJUzGPL7iW30SIPuIqFlk86P0q6voEmn2BrCFgCW1iasXIa+k2pCGGtiTIgU6V10YNriGcxdb6e78hrUT2Ht/OgWwb+7gBZuohWOoEsXmjZx8gDa5nP42d0kQuGZ1uiaOez6FHpyUE2d2s1Z0oVxgsoUvjuFmdhGLL5su41dX1eRIytOETo+ZpSis3lNOZsNL0nqTW/ho0fu4tnzOqWBmON7yxyYyPLc5QqL11t89dP9jL/xMLWHTpHbtV1N6sUEoK+8Qjx8D059lq7ZVV8Kqd4Jtf0VmJWZ6cGrrqLZFuHSa0qJpjuDSPJWqLhmyiYQMJ7Ti5bfSxisEq6ex8wV0MwezPxxgtorxLI9FLoXCaJggbgZYJUGsQbfSPPi17fAiXFMJARbifCKUiq1HTNVViqMQA6j6eNoay8SB0tq8BU7ZToLZ0gP7CcgRRBVMGWzmNuB0byKWT6hGApim7DsLM1MH5nCDvzphwmbcxhOH/bEuxTzIOy+gpnsx7J7aG+cJjX2y8ThtCKIBpUrWCf+E/VLXyQVZdFKtxPWzhGXD6PVrkPvCQWE8a58XX025QGiufUtXUl+N9HqOXTdIHK26jNG4Qj+1acwqOMc/S26okdbfQLDGcbsvw068vq3iFqLONlx2psVoupFZWiQg7O3+BxmFKL3H1Cx50DIxp0KVmaYMOpCqoRtW1SuXmDgLW+ievkq23/uKT5y1wBWT4jjJskOONz/wGXu2jXI53/4l0TNNHFtnY7054RiHG3iV+XLsEikeZgCDnJKaFYfFha+u4zW6aL17CSQfrVAwLxN4vqCMjqEWlpB5OSzHMycwhk+gCYgG0mLFPZgJESV0yKhpYnlAdGZptvtxdHnVZzPHjxGqGdUV10upuIClpqD5ggca4XIDZSjVkB0JLKE8lnQO2qgJZ9VI7dDVWcCuTAmdyjgit+4giExrIQFG1eU8lJqJmEQYxsyGe9VaSjTkii/LNmL2DIgSg5gVn6mAJeSRJIDqlw2NC2NlcwRCZV+XUjER4mCCE/SRaLONFpbD0fRwdUlYbVf6XNI9hPXZtFa88SScmrK9+E0seh4kntxN8+j/X8svXe0pudZn3u9/etlf7vX2dP7jKRRGUmWZFu2kGxjbONADE7CCcHmEAIE8KGcsAhZyTIkgCErmGCMcSHgGFdsJFlY3WozGmn6zJ49u/dv76+3t59zPzv/ec3SksZfe5/nvn+/63J0dC2LYTv0asuYfYdkBkUsfbJIkgEGeuASSAIn2Y9uShzNwnK3d2sP1gDUrqrLiW6PEPiSENAxXakMyGRZNIwbqm8Xuj1luDAEZlOX5EyImTupIF6G5hFLbF9qMs2yqiToWoC3dVV9vnWB88jn3DeIWzeJxcAw9ABx7TrtjXOkxt5JbKYV60UqTq4pnmSXaFtqDJto0x9Ualkz6KgtgSlshNoMXiyBep9s31FCuWC0bhNm96P3KsSSac0PqOqL8AVM0Q41llXP0cxPI4N1LTWK11tQDuZYT6C3qjj9UzQWnsHMn0G3XUVOxh7F0Bq4QRM7/w6izhyGtwLOFFGqD9pzmJL+ihOKCC3PFqtygSh3iFgqElETPTmF2ZUUlIWGSxDUMZLSo/QgXKVnjFPqm2Ll3GeZfuSnlNe+dNev89F7B5kcLfL2zDIj+TxNt8PzN7rM/Y9RfDNNtWngtdqkEw7lShMrqZNOZzl8rMgXvniJn/+Cy3vP2EwWS8xv7FDMJvnBxS0yccytV/89XF1icfYSiUKJ0oED/MrvfZf5mnRgTR49NsCNus+TT5W5/cxP0d5YonFrGWviELnpSVqzt1R30k90ieoVnI5H5ugxqkszROUOhQP72Z65RCaycc0WqYkTWFaJ5StPkR0cIu2lyD16Dyd+9H+yXa3x0TOjLLQ9apU2w7kE6WSW7VZPaTo7bZfJsSJz82VCKyKbydOf1vjm8xv8h395J7/+a2e48aVXyQ2nyZ06S+3y28TNebID08rsYQ8PEVarBM0GqeECbtOnceUNBh79APULL+LrSVr1FkcfOk1jcYX7fvV19h4qkJbtrp2luiP1qSSllENc0Pn609u88t/Osu+JJ6h+51tsrsxS6BsiffyO3fjn7NsYhX7CoX60xTnaaw3MQ9NkU2nqq9eoLq4y9vFPYbrzNJ47z069yolf/VcsPX+ekz/xtxw7VCSqVcn196lDc19J55lXG5S/9kE1GFjY9inlpV4S063v4G6sUjxyGHP0KO3Lb2Dk+0mMTtNZu4jn22T27ydevIRZ79JMDdCuL3PgRx7nm3/+bX78s1d416lhBlIu1+drKp105+FJnEREvdal3vDwgphiIcfSZp2JfouREYuV7Ygn39xk4cs/w8B0P5XFGtr2HKGZxdI7dFdncewBkg8+QW99ne6FH5A/dZpQ4Mhb60S+h9co4/khRhCSzCTwD58ilR7Fu/ADes0tksNT+PUGFAfQuxVSY4doVuoUB/pZe/uHFI6cwcgkab75Cpl730+wc5P2jcvk73pCPX+6124wfvdhvvT3r/KJzy3w0Qcn2GzWWdqqkdINhuRSnSry9Ve3+Oq/GOZDv/gEM996jcxYmkxhlJ5UawYK+FGXTrNLoi2JQx3j5H1Eeox2+zpxug+9JPWzDP76nEp6RHVZvGk4R+/GvXVZmSkESCeRcqv/GHamg+E3+G9/+iJXyy4V3yfluWyHFpZmUqnHPHgyzX/87Ume+Ph5BvMltdAqlmxc11Dss9zmFn/25X9LTSLcN1/BERXZaD/dt86pZFXxwEnqt89j6jkC0beMjZDYaeDsP0BncQF2lik9+NDuZ7tvjMrF5xRXxRmaVhYp0T3qK+extZhOL6CXSTOwXcU4cwZrfgXtY1/lwyf6yTguPbUQhGy6zQ8um3zx10ocOZBhda5HcbgkMgpu3rjOYGmS+aVZ+oo5Re4Po4CBIYFmC0RWqo0um6sdiumAo/fv5a6fu0S97vPQ6UFuXCtjpRIcm0hy4doWk1NDfP215/EuPk27sorVv08q8wikP1g+h5Xei7XnrLIoydJPyxRUXDySZ13YVOm0OMqgDRxUbDBDoVs1lUaIQg8/jNUlzJYLYTKJqTl45bfRJbIv0WrZJg8dJt65plhGuqeDFaIL80xG27GBGdbVWUdFziVlKkeG0Xvp3f4KPT9NYfo9aigtPKBQ7F5xAsObAWMvYW6MSJ6/qtowhyF12xboem0XZF44Ad4yQa+nVOfsXMAcOA7OhAIIRpKW7koNcgrfHkOzYmK3jJnZhYbHrkOodZS1QCtMqWdlz1slOSiq6FXM9i3oP6sWolG3SiDLkt4mtlTGE3miXkDSMumqdJEMwTq7G3MtS0fi9L1FInMYhJURVLHCNu1Gi2TfKczerKpHWwMniJpSyYsxHAejuUqULinLkBXH6qzSkiS5sNT6ThFRJuGn6QmPJSNp0y1I5Ik7W+p+4cr9VhIS2WO7nLfmLHp+r6olGn6ZXmYavbeO3tzB6DukUsp+YxV74Bj+yrPKBED/GXW3UABny0KPKiphKjpiGVIKeJ10Fq/eIPbWcIoThAJrdIagt4pu9u2eKcOmuqfEiXHFVOlJYrojOuWi+mcisRKJmlU4ETn5TEpfooOlJdVQKmy3FOFfT4zQ23yZ7Ng76Gy+oao02sAxaC4RSt0yuQet/sPfjQWiRP8hYq9LJJ5VieLLX6LbwmvdIjd5D0HlOoF9ELLH0covoAl13B7Bzg/gNVfV5k0+ZVq3jl08pujAYWAQqg1/jqi7gZx8TRwFbYm9GrHEvWVzaqaJohitMwPmgLo8ycFXqNt6nCSmgSnbU2uEVmcRMzmGlTHpVmewNBunMIXfahPEgSJ3J0t76ey8qnQSmtBVpesqh9lUVr2QLkJ7HieSS4cAteSL63cwusJCiIhKB3DaS3TbdRVdjJod4kyGoGvit26QFtuAJl0NnWj7bfSJYxi6QShKC9FeCThC1Bu6SdJ31IRLi+voVj+aZeHbaUyJe+oBkVnADMpYyBTVo9NYVB8cU/48M4jnBsrfHrtL6F1TbbiM8Cbd7L0qmpJITtDbeBnLbhMYI8RxFx1b6XmMZJqgvYOeH1GTLq+5jJk8gN24qQ66vUSS5MhZ5fPu3PoKidIR1WUW7kGq7xDt9VvkBzT8oSRnDvwiP/buYbY265y72iGTDfBF6d0IeenFj6PtrNG2J0nXLrKxMEvpkd/CX/iO6lYlRo+r97538wdoqRGSI/uIAh9/Z0b51EUBqM8/S3L6XXihTm97lmTaJfRt4vIlzMEztJsLpJJpjOF34ldmiGlDp4Nu+miFUTxxl9tFwtQYVtCgPvck2eIhyI+r+Be5Y+jVS3jNOQULFF8qvW0FWfEba2RH76FLirg2hyMkVTcitpvKVx5sXCd1+qfRmj7dla+oGkOc2YelG+gC0UtNYvSEDroG0qXPSk98jbC5gbP//fhXv4gjakmnRJQcIY46RJ0IY+QY3Zl/xOw/RGbqLN2FFxESj50eVu+J56dIWrGKRgWGqx7UUeG4muK6y28oh6iw7+PccXXR8Dcv4YyfQRfScWuRiA6mkVN6NTNzB77dRV98jmjoHuJuB5smbnsbPS1mim1SY4+ht1YJRJdSOkEgRpCh++huzeJkJ7GyMY25K2SGJwiTkyQH+6g2l9hzz/f40KMppRKtblQZ7k9zc6mqIs1PPvnnRLUr1KsRqbGTeJ0mlulCs4efEPDoNmHPwMnvEb8gnbW3FUtEN3sY9TqMCQzsB5iprIrmRWkZ9AXE9etoiQMKRCefGcsZRPPkwmQRdKQ3ViJYuSi7NSxbpsfvpr11XQ3hnKF34Dduqwd3mO7HCFuEsUns1/4Pj6SJNXQKrbupLt2acD5kSBF28drrpIr3Ejau4ssD1EyjGU318yffWdX/92KCYAsN0UJNY9gxfreDZubQdA9dovDOHgK3gu1uKftAKNu/1BhhnMXoLhJnR9DiDEFvGb+yRmpgQPX6Y+ncaz6xIVqcTfXfdayAMHmv0ulovTJGVibtW2raa5gpgvLz0G3C5LuxI4/IFQWddAXL6BINNCR5cE4ZTWJjkLg+o9y0mlakt/okqb7DCr7YbXcxgzriD3Blwj90nHD7bbWtiZMjaqId6Bkct0IgWqTOmvKRy4NR795AN6bVZhgBCKX6cL2y6vRJisKt3lBJDqExW/LDEtXwIwtDKlKOHMB0Qi8iMj1VCzMLh9S2zpYIp2gkRdsmdYmEbNRbxO0tpd6JEwkS2SP0BLSX3YsmrA7RSEq30m/hZAUwWt3t+kUFzFCG2lnC9gLJhFgckgThNlFlHbNvjG5zDVsGhGYaOyO8iHlCLNXfT2bGCeQ7Xr+CJYcpv6PgsHZxiF5rQ4EJI2sEX6CLMvxwfQLDxpCepNye8vsxRAEpcNJQXMcpAvXb30GPQ2JhRGg53N5NlWTDb+ObGTIH7qd56RWG73iQW+f/njsf/0s++s5xmpUq/WN51peaJFImT1/rsP53Z9haXOLZZ9Y4elc/qVSWnXqNqeEJbKdHcSTP1rLH2d+4yuN3Fon9kKobsr3VJJ3vY2Fhkx/+2cOURg6z9PYsAxN92EOT/Mqn/pKbS11OHhoiY+ncWqvw1u0mV5/6BbxWhfW3bpA//jBxXMW9cYPUqXtAoImJfro3ztFaW2b48Z+ldeH7uDurFN7/k3jLMhyOMNoVtmpNRk+foV3xGNDrNN0WhX/+FO8/2U9bDqCWyZ7hErpm0qrv0PM17jw8xvXZTVbrDYbzaQwjQa3RZqSgs1iGuY06y196jNWZFexMkXT/lLJcBHFMx7TQt+dxby+QOX0nvdo2mTveRf2pb5MeKpA8/iCbL3yb/uFJmkNjDA1mWTx/hTt+8yUG0hbvOpbnxP4RvvD9qxwbySoTxkazyZOX6nzvk6d512/8HN7r5xSoKyg36G6v0v/I+3HrZbq33iQ9cJRe0sAWvanwILIFOpdeIzlxhGigiP/ma9hTE2zfXuLAO4/wZ595kV/8fpkP7k+TzSSZbzXR2y6dOGSzq7P4tV+inirQevpZYq+Oc/dpjI1Ngtq2Iqknj55RGrDQydP6wT+gTZawyg2q6zsM3XeWZhCQCzzI5cgfKPG+j/09zy42efxohoTl40dZEtmI2fkytpWh2m5zcCLPdqOHwACSsvBLOvSZDukUfPn5Jf7dTx7g05/5Beo/eJny0//A8APvJBoexFjbFj0J9a0dEkEXPe/gd32MgQnFdnHdGGfvEbKdDTpbDXq3L+Dc9QhBY1vFsB0nhVHfoutVyBb2UfF3VI3M9LZxvYhU4BNWt3Cyeeq1GvnpSarzt8jsO6aSUHG1RXnmFoc+/lHOPXees7/2PHdOJjh9YIR8JubaTJlQfj9Dk+eut3jjjx7k+KEhqv+/ai81PKWWYXHkkdQ7NMU8XBigcv4FMkMTUBjBrldxRXEa9tB3GtjHz6qtq7fVxJEeuAW1Vp1ML0ZPhbRIKvBaf6/KUi3m6Ic/xPf+9Ev8P387x9hkhpLQ560cdx4scXtthZuVpIJnvud4ibmVGl1H53CuAKkCf/Pd67z4+Ufpf+LHqX3j61jjBbpXb+BkB3H2H6IxN0v6xDHcK2/Rnl2k//3/jFjr0rv5BmFplFwrpVJ+ZlonrNaxijllkRg6+wH8EFoX/gFXIsvVNUp7DlMvbzO8d5rVl8/TaFc48cs/x59++iv8yXc3ONCvc3TK4upswNREltuNgJ+7Y5B/9rEkW9sGV6+uMj6YJScDzGaTQiFHtVYjk8lSr1bpNV2VTugfHGfPkUFeePpt8kmTsx86zs986hJPXdzmoeMClItELksuYXPhZp2JbMhzS68SXP8hja1NjHSJWIjsqQzttX8kkTxCIPyhS/8Te/rDmP1HiGoXMHL7CVwHmm8Qi8I120/Q1SSY9OcAACAASURBVDDkIu5WiXKjWO06Wm9enXPD9CHo7ajNdpwoYGlFovaN3YunPYIlFTkZMAdygY8xBTqeKOJJDH79HJrXRcsPKDuJLF57oYbld3bj9XqdSJ7PUlNIDhEKu6C9rqDTslShVyWQ5UNmHM3y6N16DqO2hnbnTxNIyoUmfnkFM2HuKuf8lko/queQVGbtUTo7L1NM76Nr5Qi7W5iFabTmBrGYgPpP0TMgWj9Havg+YsdA67ZUnVCWMaJz1+SZJZfo2FKsI3/zJYziMbS06OA3iT1PJfSkHi33gUi3ccS0I4shOdNt31AAPlvuJWIW8RqK3eOGFsniXtzrX0RPDmCNP4wnwxZ/E9sW5tdt4kSELlVu2dbLQK+6ijmwH8lvitbVTOn0fF8t08SJbkqyLzOI5QlMu0LU9dGklhmuEbtpAm+DpB0SmFJR2CbYeH03pZztI9iQBHACK7eXXuPK7rM9c4KgsY6T68eXoYMmqKbrmOlD6h5glN/AT/eREKtDd0cB52OzQCQgWqmfi9ErPaqGI+qZ3ykjyHqxPAk3A72trAqhAIMHj6D15O8ZQLKkGFMKSKk0xoNoRlItovBq6s5l9R1G/iGvW0OrvfbpWNzUTvYIUe8mXn0TIzOB7olqrE0o/u24hd9ZRi8cI6FJnP3CrgKoeFptH4OgAs01rOw+vE4ZTeBOonjbvoopF/rsBL3lfyAlbk0RiRspNEtD1wQOJZ7ucbVBUxjS9B7CWIYCebTiAaKdy+oirIAa9FQSQfQe2shZWHiJOCVv3H4yAlbZuY7pbREV7yOUS7eAKOw01G4oQiKtGTwtj1U8SOhWiDoVTOmWCZ5SIq6SxpJipl7AsqWDIwTiTSgdxBB+gWjZvDXI3wv1q+pNwyoQC+VRUgJymZUEgXyYZFKoCbVUoydEaHFHWwOKZKl3N3YPgWaJMBSJlK++fLar4ydy6NESUejg71xUHc/AS6AHm5hGmmj4FEZlnlAgbd4WfrOi3KHZo79Ar3ob350hvefHQDQbbkt1h3QzxIhLhIkMCIQsDvGbG4RhC7t6m6h/HDs7JWYgLE1TB9coPUW08wwJ6ckmcuw5+W/5yYfSvOOek/z1dy8xlumSH58iWFnhM9/6dzSe/ga6Yav4lONJSsHCz+zBTnUJlmYV1ElPiQM+QpfYqcRo/R1BT6hLd3jg/ZjNNfR4mZ6bw5JIcaes6JyGHNi9MnH9lupaESWJS4eIa9fQqk3sA3fgbcxipMXFfhR/c4W4dQV77AyuxJO7mxjJDIGbVGqUYHsWzXLRJz4G3i0ERtprL2KJj9y1iNJ54uYM+sgHYe0plVAw/YCO38VKD2MkHTqVKon0EGF3A4Mu9B3H276Cmb0PMyEXhgXlM3fSBjBC0LcXLZXArqzRszz8uX/CNosY/XcTta+ozo82fAqzkKdZ8UlIPMcxibcvEkUd9IFHsCwN9/ZzOP19eMY4evM8YUKULmAIHLPXw84J8C4Fy2/gjJ8m7GyomkioC1W1oCjukRmjp4XSrqOJKaO+BFMPoNVn8VobJEbepV5veZ2Eqm8kx7FTuoobJfJJauvLuBWX4fvP4jk9xg9/i5/96f1U18pstjwFLxObxvpcmx/e/Dui1ib1+RnSaaGkiiu3h9auY46eQOt2iNwqYSYP0nv11hVMU8vcRa+1oDrRlkTG84PokpwRrZ7UjyTulhxFitRavazqNlHQU9162UDHZhHdbhNWV5Q/VRu8B0P66fLvlJ53a40ov08NiwQEFBgeCbMP3zOIxISSO4Id9ei0b2G2aujFfViJAoG7QpycJmrNkLIG6NFFb25jZI4RxgLlE2heQqlmpPYSJwfUMCncehIjO0wUFvElnZEawm1sobmbJEZ+hNhdxKvewhKQoC4d+QaBLVtfW9WTvKWXsfe/S3X241jgdZZSzYkqTn5fRRcjEDrD2yRK7hORHZaexdNMdcnrdupYnau7SYvARLNs3PYaqdIJuvVb6J0yicIeXAFtYuLlDqlBk+4k8OT5UF8lFACaGGIkFSH1KGpE0u0nUrBNBUrcWVb1oqjvASzp2VdfBHt6N4qYFhvMLYz6HMbQPURaS8UmDYlRi3ZTTA6iWtx+izA9gV86jS1qVfndkCFE0ECrb4BQjJ0EbL1NlB2E5F4cr4rr1TGsDP7WVXRF2pWBtoWWLO1GOnN7iK0U1ObQ3U08q6SATnGmgN1xCeIGkTxo+84QGqb635bwIHptQqlNpAbRvabiCcilX1Q1khqRCpMcZsRyowtYNdrBk7RHWMcTR7R8P8N1kANHKDrRA3Sqt7CTBQI7T1K0uu4GHinEAMrAXWgt6VRuoZmDaHaeqLOGIS5mYShE0gfMKmZFr1vB8nq0ggIjD/0UKz/8n5x435/w7hMZOn7IUCGHZWj4YcAXX9pm8QtH6c/FvP5smSjns29yHDcKSNkZVubXGRs0+c6LG/zO0yaPHs8omvRaucfAYJZ8Ksf3XrrFy3/4IPvf+RBrL71OVKkx9ZH38Buf/Ati22azG1Nt13jg2Bh/8M05bv7BO7GOHKRx/k2c/Dguy9jdgDAziF7r4hw7QW/lBtHWBpoRkTxwF/7wHjVw89++TCKlo+WSrDx7jpH7jxN2I/o/9CjP/+FXeOfvv8l7TwuE16MV+BTtBA03pFJrcGByEL/TZancxrLTpLOaOlAbmTROZBD5Aa9crVD7p0/gz1ynLs+T9Rn8wCOTKdHtH8PqVWHxNtaJe+k26mhyKDv9DoJLz+Du+BTGBtnZrpHwOww9coYL332Jn/qz27zngf1cvHyVqQGH7a4YKFJqyDOQz/O113Z47vfu5p79abZWPHInThM5SfzXn6S5s4k5MEJi/AixfJd6EZ2Z80q5Zg8M0pu7BtkEacU8kWdRkm4jZPCdI/yrD3yO79RTfPzBQTbW5eyTZXm5gaEH3FzyWP7eT9KYW6e72cYquZiZUbx6DE5Mrn+MXrmMFtYwD98HN14m2nuEYLNJtD1DafQ0O0EFfW6dzOgIyZMWY+/5Bwb7LY6MZZlZrrNvIkerY7K2s0khaTI9NUGrUyEO/w90rx6w1WqzUuvx3vsO8cXv3+R3P3oH/+8vn2TjjXmS+4+g11ya3R6pvZO0Zy5i9ORSksQsDWF0XEwnwc6VH5LJpIkHpxTzxDBdAjckMbGP7s666vkLtT05fpTezDn8eoX8Ez9NuHWb3vwyTjqrdKVeJouuhSScfnpzN7DknDR9ArdSJ3P4NNXXX2bisZO8/ORr/NinL/KOk0U2d7ocHilS7XlcW6jx4OF+vnS+zNzvnWHi3Xey9FoZy2iqgWZ7cxVdj7FNRwG5tDBGL2RVpcFfvUXi9FnoeCQ0n+r6MmlZulW32V7fIn/qbpWMIW/TvXaN4qmH6KQSdJ79Dv3j48RTR8jfewe/9J7f5LmNLiePTVOrb3F8OM96vcd2L0m3tcOjp0ssb3pstNp0ehaNRo+f2Av/128+Qa6SZfXy6+QOnSQeytN56zL6nnGcvEPv+m3MkQmVgjWHDhE2Nuh1u3iby9iJBM6995NoNbGcHO5ggWxjDReL3kaTdi9DKlqnvrmEnTtIaTqLL3HpzRX08g1yDz3G+hvPcPz/fo6fe8c0UGNoMM/8asDfPbfCz7ynyH/6f4+wM+vxyksX2Xeon17bUxvR0bFJ1lZXOXbiMNuVCrWNKpNH9lLdElBxpJgEUcUjO+rysf9aYdt32DuSYrqos77t4fox17ditEqVm+VXCGdfptsRCPYmXalZyRIn04flJOm2W+hGAn34IPHaK6peaQ4/jNl6gyjswy+cJPa3cOTSENcx2j5Bchi3/hZOqp/AkypZS5mHNE303/1Ehk8UdTG1aXy5ZG7fxJGUoMBghXgfuQS6ryrHEhK0nTZRN1bDg1g69t1VzOkPES69SFB5E2vvPyeuzytej6T55DwhxgZDhu5KK5mjJ5pgpajeJupUId2P1tuG4hnMzhpmbwnPGCasL5KYPK1MNgK0lhSsaHW9jiRVnyXScoodJs+0SPg76WEkayypPjkjgFSN64pvEXsVglBevz5Vh5SFlpzNFMvLy6j0ot+tK/ChlsrjxgMY5WdUOiB29mC4a8RyJytNY/fdgb/yPLrYm9IHCdPTmOEGfkIGHnPKWCd3YuEZWMkSoR/Sq7yGM3AWLTIJ3TmJTmAaOr3aPGZCkuqHCLubyjggAwm/eh4nc4yu1DIledl/Eq+9jOPXiQQAKBy0yroCust7KBygKDGOZupYcq8rTOPLuWLnIlFlhih/FCeVI2wJ2C+lVN2mLX7rmkqORqmR3W2/DDcF/uhuELe7SNxFTAVYGWIZxkgi3asrRaMuCyH57wYNTFla7KyjGR5YSQUrNgVM7GQI2mWM/mns1g6d+lWswXvQt14nlrTw4GkcsdGFCXwbjNoGWuXcH8dR7RZWZgo9OUQkW+mdWdDFMz4i13xikvgSlQmrUBhTneNI1E1yeROHsiiwGreJBx7E8lYJgzYJp0hPtrTiwrT6d53porfaOocvGyDpIphdLLtEKJcSP1JU9rhdRhMloO4Q+B30oI2VSuH3xNUslOU0TqJfwR0EJmbkppRuSyayvoJQxWq6EWtJrFSe0OuBDAWscdWHlH9O660Thmk0czfW7/eqamOkFQ8puqK4wmN7EMO9vduLkc2c72PUb+FLh1XrU19kO5tTGkPNCwjDmHj7LYLkIKnB00S163gNUdQcRM/sUbEtf/sKRqakNIeaJro3jaDZVR5Kibgiyjl8LNE9pYcUhCtUvdFFQqsPU35s5HX3dGLDIO6uKeUUrnRXDoCeIF5/GS3XR2hPKNps4HeJW+vEpoXW2aFn5ElkUmipIdVTFoWV53dw8kd39Wf4KoYrSQk/DMnf+RjzL53nF3/ud9h3fBSv2yY7nlKHh5VyyP5om9//4j245zfxpHMzNUiv6qD1FklFBv7APmLZlDo9dHsS3Z/D68WYGXGG3sayXCLxne95AHfhBdU7N/bdTXDjKSgKuCJHKBEYO0Pv2vcwhk4qx7f0qM38KH4g07UcbuUGQdAjNSEAuZtY0pFvb2HaSQK3iaGl0HyJRZ9Vkeq0E+Mn+onmnoexU6pjSGdWKVZEX6L1H6OzegFr8ARkDxIvfRUnM4lfXkATmJ9mENavoRdOETQWsGXzHBTRjBpefUNp+7j1v3bJ9ckD9Co3SBoRYe6wpLXQxTPak02urTrXZmNGbdqtwT2CJsUSvY6b3o0RdeskCuP4UQjlK+gD92GkTHzfU5cDOvPoXgk7YeIrzYlMPN/GHr6bKNZkaYJuNdC1At2GdJ5uYZlDqoYdWpMqHqf7MV71gmJ72KkS7dVLJCZOEJh5wsolZWNoz14nNXKcIKGjr1yFYpH0ow/z+z/9Bf7ynyqcPVhiz3Se1Y0W3VDjuy9u8Mo//heOveN9bLzy38lN3YcnusTuNn6UJFmaUj/0flDDFEBnp4M1sB9XaKwtgUeKWreCXdiL59bRti6CM0qcH1B0dCmI+2EVWwZpuQOY9StqwBRmxpQqRRNPaoiKo8uUV/q4YeygSZ1ABnjDwl8Q/ZpN2HgL3RhQm+BYqPBqI70XPbEHI16jt3kDe/heBfmTC7omdQhvhyAxjKXJNqiO19jEtDJoyYzqbHa3F4j0DkbuFBpNkO+y3sPothX7w5TQlPK39qk4ntZdJZJOvTBPduYwkxl1cVPJgbBH7PfwvS0FoxHnrRN3wcgoB7DhVdHkECHDjmBHbqboMiyRzmFgosulR/gFmqhHy6orJp5yO7uHUNSgiZJiuoir1m3dUmYJIztOTApdNmbC28ieVK9rKAmlwYcU0FTBY3NTGMmiqjkY4bYCEkpKQfSwAX3ohQlo3CDUfazsXWro4WsWpinJq7aaXke9ClrpHWogG269svubmh0SphC+JsqcbbS2xIST6H13quGf/I5KNNxvrWIUppUDOJIBr18hyA4Stbuk8gN066u4oUbKcTDtIm5UUZcLTYwSdAkkqeZVVTVJt0xMO8L3JXEin7+W+v9kSLLAcIn1YTS3qQZGdmoIrxdB94YCPiYS/XiaEJ+F7j+Jr6dJJTK4K88RZo8qJZ2/dY7U6IP4Tr/aioRxjF9dVhpS6ffpwojJH8TTesTtFlpSaljbeJ0aRnEMQ3RGnokm3Xm3sQvKbZdxG7cZPvYorfosfcd/j9/4qZO03YDzF68wNlCi2+7w1NttfvCfxzl9Yoyrb25w8K59zF+dI5FKsrMp2yOdA5PjrG1Vue/XVzk9leX04QyLK02ijktX07hZ9fnBL5/m8F3TXL+wyP4jB9HiDv/st75BStsF7D1yZ45G1+Sb57d49b++j+SdR1j48pcZffSD+GtSz0iiZ0O81RXi4hD++hqle++lubxNYIdYLemE5tEPnaR14Rnloh45eJJOdZnqnMeBn7mbT/3s/+YbsxU+cs8UswtlbpUb3HfsgGAruT27weBgiarXU+wbvxOSSOgYwsZpNym3QkpOyPlFjWt/9igj4yU2bm+TG5ugO39FnRkSe48SuAFO3wjVubfI6haNlSXyR++kV21hWG2Mk49hz75FY/UWAz/+ET73a5/ht54u84n3HubbL8zw0KkxBosG3zq/znTB4tT+An/zwhbf+PWHOfnwIdZeuoiTMdFGB7E9A78q2rEm3T0nMWdfw86N4NU2SEyfUL1VgVu5ZoFiMqabyOLXd6C2RfFHH+fZzz7HE7//HB96dC/11XV83aRac7nnaB9/8cwG0fO/QLA1R7nXRz4rkKyA+lYNc2eV/MEpfC1N+8ZbZKYOq35oqEVYCZPu5jb5Qo563zj+lRfoHywSFPeR++iXuf9QlqLkgI0csR9R3tnm7ntOcOXKTTVgGZocJa23qbU0eg2Xg8dGuXFjlamRPr78/Ao///A4n/nPp1h+oYyVS5IRKKsRYxUGaN68ROHeH6G7PEvU3CLqttXvefrI3bi338KIusR7DqNFFuH1C+g5i+jQQ+ir83hXn8c6/SimaVJ+6lsYk9MY2QR2sUC0takUa/bAJImEiZkvEBoOvYUlLLNLFGqYQ8NsXrrO4Y/9GN/6q6/x838xzyfet4/vvb7MSFISCL6qHQxkknz1h2t87xcP8Y67Jqj5FvWlNVJ7x/E7lqruWOPTuJurOPuPE++UlZVHzgSdtQX8mYsk7nuU8NZVosAk+9C7MZtN6rOXoVfDzpZwbY1EYZCgvI5z4F6s3gbLT71A8fgog499lA8+/jvU2yG/9Nge/un2Nm/f6rB3X4KhlMWlZZ/pkRSj2TSXVuZZuRnzw3/8N5hHT/LmH/wp4c4OU2dOYg8PE8qSquGT6U/RXdjC3LOHTtCke/4Fxt/xYRqbNdJ5j8QjH8K4eRHa16jnT/Lm575AamSa2q2bnH3PGVIPvJ+Vcy9RNB2Spx+iPHsZ49p1EkNZjLFjWAWXRKPLB3/9a0pJefLIAAurVSYyKd643eDeu2x+/1dOc+HVJUb25Ek5KdYX1hgYGqJc3mRkbJzZWzfJp1NsrW2x7/BBtrYaNLotTh/br/gTk1MOv/2XS/zZN5uMDnQo5S36Uw7FlM7biwGVnQZzGy/hz5+n2QoxwwZaKk0YehhaQRH7Y+nAoxM254m8UIH4HLF+1a4Ta7KEyKNtv4Y+/KBKDYteV+4XUXeZOHUAVp9SvB6teK9AO/C2Z8kMH1eU++7mG2j9J3eH6bb0v1008cn7EjiziRubuJGtfnui9gboWfTaLVzHwZHzXdDCa/cwh46jN2bV51eWPwnqKsYvnXjMUbRETFRfQy+UVD3a7WwT1m9gJ6cJTdl61Ymz06SzRVxS+AsvYyYtjNJJ3Oufxx4+TTh4J/rOOgraIQyz6k3FRZNnva6JSjmHmRzE8ysqASDaHZX2Tp9C1+uEq8+hDT6InRjA7yyo+6AhF325h4U6kdfBkGp0YpBEYkRtpZFhoxgP7F2Ys+IaJPpUSkAsTXI+sPMniDIFou3LaKLd1YaIpf5r9GFGXSI7S9haVGD7wCphOaIl19SyQjTroWGQksi8DAm0JmbpCHEjIJr5AtbBx+k6Izjz34TMftxoByO/h4QkOGyDID2KvnaOqL1DaAQYhRFi31ZqQqOwRw1nYxkYSaKqOQOD96qkh1GdIU70obU2VDpYz/QRq61+h6gnFZ9p4lDD0yMsTQYADXVHi6kSp8bQA1Fu7N5zjYQk44H2ljIJyRZTdN+yzDdjndDOE8vyyEjhSaW2voqeH1IQyVA4eer9aqBV3vxcrHWXFBE87rSIbQuHrJq4mXRwG2vo+cNgOEQCftJK6NEWenpSkQnjoKFUUtLD1PQMsfidxXkuugu5wGb7sITkpCXw4jJGbZOodAzN99ULn84corP+qjIDyEW5tfUmuVQW15zEitsqDSB+bzJFjCiJX1+GsK7il664oWW7Wzql3LNW/U1CvYAhEWrpRwicItmHLX3MZkX5J+M4Qh98kDjjEG5cxGqvYu75CN3rnycxdpao7y7CFaHLmjiDh3DXL+IMn1YAO9meyoYxSo+SkDe3J0A0jygpuq5QxZBbs1/FyQ1h5E+pP7eaVwjqNwgSIyRSg4r4aQr0SdQYfhm/Oo+dP4znaJjSdRXISC5LUN/GFvVUuk/1sMLadezCfsLUCNr2JUWQtsbuUB0kr76ApScUvVpizhnpyEcuvjO2q32QdIbWIWhXcUbuo7J5mUyyqCLsgWwDEzZB+RJWRmiaBXWZITVGVF8kd9djvPg3f8gTP/stfvbRMfr7Q87PtOh1Q2a2Ix4d1vjsH08R2sfprN5S3e7kRIlkmFCKsKiQp13ZwHG7JA6/i87tHyridJCexumt0W6ukJh8ALe1SVKSCVqAM/wuvPkfEBQHMVoNjHSasHCAYO01UoP3EEgCpH4eL8wrmEcyO4w9eJLWbYlmScT7LsKeTbD1TczJd6v+envhVTLj99NuLikFZGBZWDuzuDIoGhggEPfz3PfRxg+gF+8nrl5S77NmTmF0Z3Ynt3JJ8peJ9SKB/LjvzGEUJPWyQEJ0g1LrcNfVZdXJHSZMZbC6N3GdE8SL31Qxrih/J1HlBfTBh1V83KvOYpo9NHF1lm/hbl5HTxZIjt5F2+/ieE2QyV4cYKUm0Hdm6DVvYY08jO4tCT9I1QMsv0ZkTmAWJ4gqrxDoI2gJAWDeRh9/lKgjjIcNuiuvqiiyMXgWt3IRu0/6xhnCzpJKy4Q711TPWxNgXWaUaPgodnWWnlDbXZdeZFCYuINw5VW6vkHfxz7GF//Dt/j0H1/k/e/dz/bWJq1Ao78vy4uXV/nbP/okx3/0oyw+/XWG9u7Hb1fwtAxJiY8JvFAGox0XTY8xEgkiRc13MGyDOAqVGhNrEEfIpyoBYEiWlNCvqc0eVgmvfFH17Q0xPeSO7ILoOvP4ko+30tB10aXq46TUb0zUXlJaPF0uzJaxm3qJQtVjj2SLHkaE3Vn03Ak1YIxbq3iVa6T6T+JLTUR0NqF0tIognIGuwHyykOonateJNl7CThQI7dxu/cntKrBgRB92dkBVdkxbx0jdoXremqSK5MITSTNd+lyWUreov4eoUsUd25CkgqdIs2Fnm7i5TijJDFkZy/BETAIk1dYidMu7doVAXmMDXWwC6Sk17JB6UtCeU+RZgfZiZndZLdEaWl1gS1V0c4BkbpKesgPIkEkGC010qUOYlooDYhQQlIYcXvRkltDIYgWx+j5iZpSj1pDhldQ2enUVvZfXxxBIkhwc5D/tG3haQELCbSmDqHwFU5JjAqhsLoIwLeSBaaQJZADSbWMWRlSE0vA9ItmqRT217XLEHjBwN1pjAS2sYGVOErZnCYRbYJcI7BESzTUaC18ne/rfqB5kuPgt9dlK2Dq95hpG3wGiykUC18eQjbAkxJxhyI2CfLZ6ZRi8a7cmU74OxTF1CPJ9B1u+g6kx2pKaiF00iXZKOsfr4InGp7APx7Bx195Az4rqa4CgcgEntV9ta7tS2dE0UqlhfD+CcI2w11UKRnndZLtiOWmIHKU51eKAwG2RErxSUqddaTJw5kEun7vMne/6TX71wwd469Ii+/aNUGvUSSSTfP2VKt/9VJYzR0e4vtZlJJtic6dBs95hbKzE2u11xTV48JM/wqH3PauYA3syBg0twd68jq2n+cJrq1z5vTMce/Q+1p6/QF+fg3/4KJ/9j3/HU7M1Tk4PcGJviZfOz/PWTItv/e67GJ7QufbyEsd/6sdY+9IXCAyfscf/FV7aUbHX7ef/jtTUXSQnRuiJws10CLbWsIYGqdy6yfCRu4j784Rr0oO0yHVrpH7m25yYGGC82GZrO83gsMP8ygZ7J0pohsHSrQ2m9w8zNdrP4tom6ztd0iaUuy7JdJpHDw3yJ9+Z4anfuJd7Hj7E/PlNcsMSAZ6BtoddGKDVbFM8fZrYle+Sj9fYUAP79P6DKtGnBbIVHMW9uUzpsTv41Mf+kD+/2OaTT0xz7toi/aksS1KdyKU4uS+H7Vl85aVFPv2xKf75Jz/I0j88TyafRh8Ywu6WaS9tESYccofO0Fy9Sf99D9O4fVkpbEVxZRf68MorREaEu7VFYXyanUuXmXz8Mb727bf46c+e46GjGe4+MsbsQh233uDkkX7+6NuLrH/+CQoHBtm4sold6sdb2yB//7vZfOU5ShND9Oauq98W58SddC48oyj2pIbp+j79WQO/1aPec9n3/rN8/3Pf4LHPzPOT7znA1uo6zZ5GxjIZHpFUkUs6k2dpcwNHhozdHulUAsfWuL1WJVcocnrC4q+eqfLhe3J8+e9/h5Uvfw47lcYqDmHHOq6ewgtdem//kL73fwTv0nUFjC498gE6zSadt57H2XMYI0zgLt8gOnY/7FwjbkNqfBJ34SrW6GGMgUHcC88Qn3yCuNdFv/YMvpEi99FfIHrpB/TCGn55Qym6jL5+TNMlzuSUd37u7PiSMwAAIABJREFU6Wc59Csf52/+4Bv88heuMV2KKWQyZGwdz9CpVnukbJfnb+uUv/sT5PyQ8mpDnFQU9x0RuQ52r0r12kWyY9NE4wckA4nbldj8MPH2LeovvoB16CjpsSm8josz0E/ohrg762Sn7yQU57gkIW9dVMpJ5/ADiJoo3ZeifnsFq5jgwtee4b+/UeMTHxjn6WsN1jd7KrF1575x/vcri3zy/QfZur3KN682eGQww3/7Hx/Hk0D8zAJa/0HiwRLelcuKhaInDAwngz2YpX19iYzTYb2ZpH+P8IOyZPx5bn5/iT9/dpFLbYOtxU0yuRxnjxTp3ljmd3/rMYbOvpONH34Hx5lAzwsoPCSurOHJFlOeHzmd0t4jfONL3+G3vzpHsWCx3vK5f08KjZiFVZ2/+eOD1C4tYI3lCYQl0e1Rr7Q5emo/I8NDzFybZ3L/JOtLi/iBRraQo1Fr4TddgnSSs/f38dVvzvOpv25ydI9Fs61xa73NsQmbzECSN17ssFz9BuHqqzQrgdId2+MPE2tLBAtvEWem/w/r6Tqa8GwCSQ9tKV5LKCR46dGn9oG7TG9rkaBvmLyZUOeQuHCQdPGQStxppk1v63VSffcS+JtErR2VxpPzYZQ5oC6lHalMSwxWYNxuFV8gAbbUESUKHhEK/E2StYRqMWVZCfACXBluWj5evUwiM6k06wIWtqTai43lN1QVlFwJYoOwfB1LFH/9x+lVLhF1Opj9xwi238IY3EsiTuFuv66e3VHmKHYgMPc5tL4H0J2cslwFm2+o9KXuiHEpQdx3GiOsKQCy2GrssXsIum2lnDaTknYUsLBGEGrYCQu/Wid017DHj+F7MaYM3b0KmrkHL1zECFJKRRzLcjW5n3j7DSIZAmhZ2gIPD7YJzX6cVBpf7HL+jlo8RK6nqr7h9jJ6IqWevX4oGsVda4Kr9ymmkUoNbl/eBQgPn0VvrUC3Qyjvp9VHJEu2c3+Cnj+Ac/InCLo7yijjLX2fqCT8gTK6lkEb3KM4Wb5AmcOQSLTOiUG0rqSoWriVeTQ7iSUGstaS+vNQGyEZLaON3K3uReguZtdTQw23epPk2AnQ+1Q9WIw/YbCD5raI08IRsombC6oGYRliqApVqjFyK9LkJ0ocwOjNQhBC/gBh64bkRwgF0euuqiGNnR2n164qK0Qo3KQ4RI+lAnDuv8ZWZlTB4eLukvKze1GgXpwwM6ycjLJtkC6ppqfV9ov2vCJdRqGLmciqDSutFXRPI0pGGIVjhKKa2XmLhDmIPziONneTUGKQex5VqgQVZxw+QdDbwBHyZt9+tLVXd2nTsi0jIpk9SkegRzKOcEYIvQ1s6cvkDhO5TaLWqoIv+FoLO/RwU0PKC2l1lxWR15ToduYkcdQidK/gZO+n0VkkIZO+zCQ6iV0YgreMnppG33mbTjJFkjyBQKSKU0QrF1UFQcAahufiax56a5vQ6VPbWdvpp9ON0IRzrLVxRQeYK6qpdSxbrtId0FjHd4UUOU7QXUBPDKkvDZ03wTOg/070WOB0OeXSlMljUL2KKZ7R5CEE0hiWL6Cn+tC1Ilpvi0jrYGhFAkdO4QL4iIhkm9zcQsvvVRdGo3kZLXd8lwDfNTFkg+YUSaT68OX9kY6q46AJAV22pKLh8jpocivL7yOsXqB0z0d4/q/+gJ//1acZG44ppRN0bIOM6fLcVZ1HD8NXPv9uWp081MqQSaJVZvBcXcXfzNF9aG2X7vZV7IHDBJ5MWX2CbgNKezCCLn5PJ5VJqqlZb/siicQwweBJ4o3XdzetY/cSlmcV/TMuHkYrP4UuE7+hfXRnvotR3KfsCI3b38NJTagfSTesYk28l3D+afT8fvz6hqKkZkbHceM+NKF0ahXijoAXBUCyQVQ+h6UPE6cyBJ1baMkpjMIEodC/N66rWFVy/CHFeTBas3hODlumiKFOIFRRbwfL7CdOaATtDmbuKEH5bYzRo7uftY3nMfoewF95kri1gnPwXxCZWTpbz+AUzhLZAh0bgK3zeJUV0vsfx187r3gbAgcJetsY6QG0yjbIZ6w9o2jhydR+fPHNazpWMknPHsc2NKLKDfVDIbTxIDKx8xPqwoIMjdwudm5MJRpCf05t2XVjEFdAe2P3qKlsvHGFqCreWg99z7vQpcPcWyVu63S3Z9XWpvCeu/nyf3mVT3z6Jh97og+/qdP2E2Rsl2+8XeZvf+9DvO8X/xPNS9+k17FIySapW1Uxr6BZQ8+W1PsXuR1CMVdsvb37d0kPqlSOaBv1gZPEgUGsp5X+Raa6kWggW/NQPIa78SyWNUgobnZ3g6gyjzF6Sm21ZdAoUCWpoEhkWhPFT7uBb9gqwmc2FtEGTxCZY1jNeVXNMZx+VTXRRZ3q7+DXZtGF6p+dIhC4iqGr6oo8luPIJjS7xKKFNEcgaEIyq1Q24n33GjsYZlrRXgk0TFPHb8xA31kCv6riegL/EmpsLPoceaCmhhR7Qnp6uJ5y3VuWKGxMRRmOxQiQk4dQC6/TQ09kifVYdcN22S01zOw0mhbQK8+SHj2J36ihC4hVaPmNtzHNPUR9Mo1eIa5W0DM5Ik3iZHWM7BH8YEcdIGInRbR+BXvoLJ4obaQtlz2qJtcy4BUvNobUFHy8zdfQBGyVPqmGlnpQwxA9j7eEbpQIY5+ocpPE5HuJ2qsEcVu9b5Fs7mMxq/QwEoHSkeqe9BhdEGeyG2Mk88RBVzEDMEWBuI2vS6rDIWqXCcTfaw7gFE/Ta11B62xiFu/CFI1fuEq4+paqX8WNecK0bDml0bUF2YfQe9cVk0bLnMKd+Sus3D70PT+KVzunoJRRe464cBSttqwYB4lEgkDowVoer7OK7qSxkwaRMaCMNXI4CKRmIPBHgc5mj+G1alhmG0NLEogKM6rjNKu4pqG2+FHUVtFKQ/cIdPE+71XaRM21iVM6dmsNNyyj+RlIWWroEwUhthWjpbI0ltcZuP9D3Hzurzn+gc/y2//iENfeXKFrBvSlUtT9gBdu+1z7zHFSeoXX36iy99AwyWQaT1SoWZvtcgPHCzh8/wCHPnyJFj7/+tF9zCw3uD1XYf9kH09f3uH53zzByfe9j6XXXyabyuIM9vHlL7zJk5dXOLMvxUuX6rIs4txNj7/48Qke/3eP05rdRN9zhGizgu43KL/+LEZumtKpo+jVJSrSwR45TJyX6P66GpaI2zoOysQtjVrdY+SRBxRtvNDXoXjX5zlZijByDnU/QTLjMT0xyK3rO8q0M7FvkGRsU8hmmVvbUNuYYjLHylZdxYWHiwm+daHGtT96jH1n97H95ttYqZyiLm9en6H/3gdITh+h+eqTxD2H1P49xN0GnchEE7DqxhpkB0iXpnFvv0T+6Gl+4t//LzYygxzrTzKzUOWeeya5vLLJ5lKVsYKtFIV/88omf/sLU3zkl/8ls995lYGMhXninWy//SJpsXQMTlKZv0wqkyK19y5am7NkzTRt2UpGOnqvS2LfGWrnnsO2QlLZCVIPHuYTH/8D/rHs8BNHxji/sMqNzYBTgwn27Onn888vcuNPHmD/vfcx93dfVaDeVrtD8fRZwrdeRevvJyj2Eyws4cjwamISU0vQKm+RmjqM3ljGaIqyrkDqkTv59x/4D3z+SpdHjuVIOFmlswu6OuV6i2bP5eShcWVVKTfbLCxWKBXTDJfyxFJh67ZoN3zObQX867vyfOavf4nNJ8/RP9JHfVuGkP8fTe8dbul51ufeX1+97L1279N7VdfIli33iq3gQieAcY6B4BBycjjBOYRQL8AxTrgIYFPdsAOxLcndQl0zaqPpfWb3unr7+neu593n/KtLZWnNWt963+f5/e57CyT5kyvgV0bR1yX2ukpU7eOMTVF77nEKd58iabaJTE0tHHI79hNcOE1q70niYgmvte0Mt0sCpNtBNH8Ot7qMNbaP4IffwL7n7bjCmFq5Tvr+R4muPq/SP8nYDGYU0b6zRqkUUjx6iJ//2c/yklfm+KQcvDuU8+PcXFmm0U148OAQf/S9eWp/+yFKjsF6PyZdrbG8vERl115lURAJde2Lf0b5oUdwBgbwVm6SOEUF3M3vOkhvbQH9wDHMcy8SrN9WZ0fXcNCHx7DtDHqng99o0Q67ZHy5XLQwJ3ZR3DlF9/QPqTz8MH/3V9/jK0/c5oEHd/DUyzd4692zrK2FLKxXOVZKsEdG+MvHFjnz5ffjzO3EuHyNtTDP/JkfsmvXHLmdJwiWX1I2q3BrjcRtkZoRHktIdnw/xkCbcNPlfT/7j5xeiWhnNKbimD1jUHctpibTjHsdfvbUDk58/F9z/qt/z877D9G6tIJdkN/gBr5RVipG/eoliu94iBe//hg/8TtXefSdo1y702YkU2BgGJ54oc9jvyVmLZeNOwn5IRuvHzE+WuH24gJJGCqw2tDEhDyZSXwZMriKBTA1N8KVl5e46y1T/MvTq3z0M1u870ge1wnZEtNINsGxcrzw8gZXF74BW6sEtaskA/vVedRwNwmkWqUn6P0qUXYnutQKqpe3f8vsnST5CklWOvFd9G4DbWwco29D+xZB0Nm++OkBoemgCdB6+VtYqX34FjiSDjMs/LCr7EQyIJBqiOjYBEbed9vYo0cV/M4MuridTczIV0wyo19F83WilKn0w4kmuuMCdKUq1sW3ymSiEFcG0IUZrFRGLVISSWvLwCHZJOj7CmCJVAZ1n2T5ZeyBOVzRGfd0jIFJVfswyqOYgU67eYd0oYwuFT9ZmslGWSray99HK80RuR1Vy42tDOnSQfza66qKqTkD0Ksr8LCeEd7OZWUOiCuzdLptUp0NTKdAlBb95i0MI4dZGCZorKqzl0D3eqLikzTQ4H0E7mUcsYhJ7cDfUnH5QADEpkM8fjeOVYLVyyR2qIw6SFI9NaZSdX53GeSsKEYFd4mwu0VcOKwSttrtx/En7sWO03ibr+CM3wVSFVi5gZHPKHgmRgVToITObmKpPwh7KjOH4QwI2kRx7jTHIXE38LbOqUSiNXGKkDZx8w6mQBTbFwhkiS7p0J4MHNNovqTRZfu/SUofpiNKZwLswgx+LGefLYzibpDkvLAmop5iRRgCVo4LYPZIOg2VtremTqE1LhBLSjA1qmwAUvFKelukNZ8wM64q+n7YQk8NYhsl+t0lTAGKt576T0mcGVYHClGa9botzEwRzZ7cPkwaAZp03b2+uijb9oj6D0VWSjkiSVfQAvnH5VCsEQrooHKAyBPImEScLfpRRDrwCQt5RXDVawsYEnsv70T36/RWzyj9XpIpkU5X6PVkuiMQu8K29kj0dKkcSXUB3eyjV04RRCukvZB+ZGAb0uOcU13meO05kpHdOMVTRM2rxP5N9IG7FfxBtiZJZGE0zuLL4Tp/DKu0E7oX6Ps++XSBzuYN7IHDxJkU5uYVdTlXpgBTJ+pskU7k0F0nrhxTLvog6GIPjuCtvoYZ19EqDxL1uorkTuxhjtynLh3a6pP4cYCZhMS5OTQBmUllYeA4od8n6S6QeOIRb6KXTmJIXFz6yULbpISmFfDbFxRNkux+BZwzfBuD7rabtF8l9FvEkQDGhhW0LZQpoLu17Rw3LbLODG5/UfVQpeNjSofEC/AFZmcPYsUdAhkumFmcXAazA/Y97+e5L/wWH/qZL/HTj+5hWbqaWoEPPTTK7/z1ZT56X4pf/tov0fzC3yrQReyIJG0IUjF+vYez7z1E89/AamwR7HkTllfDXXoda/aNaN06XtDEks+Qt0qklSBo043WqQzcS19i330hghbVVNAZuJ/YX1ARGMmHp/Mp0Ebx+8tKH0SxhDX6I0RXP0/UXcPc+QEIRBe4gTF6nN6lr0tCCX3yHvSa1DsKeKIMOvBOBQXScjMqMq67C3jGIImAy/oJ1vh+0AfB8IjXLxLJcEUuqd0OCPhLYkBBT/15x+Jaz8yq2kh//kksBZBz0aUqoy5LCZGzi1iMFrJhWX5GVViMyiGS9TM4qpO9QLzxKsaej2D0rhK1qgoyEpSP4KQtktQE2uoTGMUDKtbtL/4Qe+gurFyZ9tJlrMEZzNolPIkVF+9GW/4G5vQpTKukHoghklTYxJl6EPfWdzFFKTJ4grixThSsYtSv4FllcnMPEixcQB87CAvPYu55B57fg5XnSXK70XvzZB/Zy5f+dJ3f/+x5Hj5VwOvrbDU3CTopXl+O+KNPfZAPfPL/pPPKk1g0iRVBNiTSpZ6zRCo7TawJ5FMgyRXonFd1FXG2tlvzmLUbyhufG34AL+UQyhTdTOP1NtDjntLCiZ5G9CqRXGZbl9Fkg2o7UDqkunSmVyOQhI7c6CN5Doj3ept8z8Z54myJRL2eFZLcxDbp3UqDbpJItckYUboyXY+wNZNYSyn6bBIJ2C+jfPJUL6ouVqxbhKkCtiHSwCy95iuKWhxL71mo/WZA7G6QzszRCwNMuXiKYlU2MIWKegZoEkWXC5D0uoTF4jVwJGZnlFSKyZA//8QDGYR4y+j9dbBHwJB6ktgKMopXkiQCm6yiDR4jcaX60VBaPUem2FobL9GJG4voQvDP7SM0DAk9Kp5ALCYYP8ESgKgMYmSaXBhA6za2dUPaBnhZrFwJ1LTfU88F0RfK/0sUVzE7y8RJQhJryles9Rp4jaukh2YIGjdJcvu3p+bu/HZSY/gBwm6AHW8qmjL01bBH2C+YFcJYOner6hUmzWUyQ3O4ka0sIGZhQB3U4qE3oMl7IIpEo6pSWlr5AHok8KIihi2VIovgzucxht6AM3aC3uYZTISQe5/aSERVUSra2NkJIkksuHUs4dC0VmXkgZMRT3MeW6paSocrobR1wuXnMCs7VJrEzI+CRPa6C5CbUIoggRzhbWJl9+J7m9ixmDD24idNFeM3hL4sWlnDUaDLsC/PWh+/11PpOsOQH1qBNjoKdCkVkdTgIfzeFu3r32fo5AOQSpMZ+RnumoOBbJp6T2fQhpPHx/nLby3x97+c5/7deS4sRcyMD7C4vM7k1BxuZ4NOp0dtpcsDb9vJWz5xnldWY/7NW6ZY3digJ8M/I+Glyy3+8xuG+flff5T57z5LbmAQIxvwqf/xKt+62eKn75phvlfjkR1j/Pt/usan3zfIj37sQ1RXV/FX1kmMFOXjx2k980PM8QGSwMDYNUvrxVdIGiukj96FI1DgXoPOeofiI+/Gu/YieLB0+SZ7Dw6TPXacmYc/TXnM4tTBORZvbdAOesqcMTmdQ1p/PdelV2/TcyNSYqQxLJY3mgwPGeyaHOTqrQ7P3eyx9dWPUdg/zdqZVxkoD+F3VmBuN+65a9gTeaIXX6SLzsCDb8K7ch4vlcVuV/GMLCkrVNFR058ns3OW4z/5FdIy89F7ZOwK+2dspffq1Bq4Xg/TyfCtlzb5l99+GwfffJzg9hrdpUv0XruI89Z3U5rYSZzR2Xz8i2TnDmBl83iGQfeF50gfuAdbtsFBG+foEcLrt4lrayRTO6jsHOZ//s6X+bWvr3JsFCaGswrumU87lM2Izz12ixe/9j52zx1n64XThGFIqlShH7bRBAKbymAYJYLaPGZxmNDI4iQ9/JVbdPoeVrnM2Ft+kujqa6T2DfObn/ws//V5n596ZA53y2e+3iSbssmkIgU5rtc6ijZ/aPcQ1Z7IrCLWGz0cE8akTtBscG69x0Rs8S9f/jD9qkl7TaL+NfIj0/jdPlEUY5cL1M69Qn5sikSI4ngqBZQdm8XMDdJauLQN7wpc/JtnGfyRf61gjd7Nm6RyohDUSNJ5+jfP4ehgvPEjpEYr1P7+M6SLZSwnhy8Xk2yKdMrC3axhWh2CsEj+yEnMA5P8xsf/J3/9w6u8a0+ahpZiY7XFwX2jbLUTckbEy7ernP3DNxH1IpKJwyT+PGGQItq4ge+myB49Sv/aebIjk/Q2lrA96U+PYA5PE1t9/EvnyB47Se/yBazcAAxO0zn7DJlMQhRpBOpiPEPo+tSbS5QGR+k2ayrFhw1De/awdOkOP/Jvv8tm1uTgkMGvvesAj792lZAsrY7LWDnhp999F/sfvp/OpSWqV56i8s6fJrhzlY1nv07lTe/BbVsMTg9x8ZUzTOUthh68H/QM/cXX+eT/9TW+eAlGynnu2pvCkGHccJHFbof7Rkv8wysL/Mx9s3zkbUMY6Qzm4EH8bBE2tsgXNS4+8RhTD76VUibhxrcfZ99HfpSlS/Mc/sXH+MV37cR2ejx9tsZ4SefpCwZ/8wsOb/rIYVYuCc28zfz8GpPjo0S6ji3JwESjudVg94FdVKstVu+sYesxnh6wtuxz3z1j9EKP47+yompMl1cavPnkAK1en3avx9nLFtULn8LYdzetf3kcpzKB7zXwtlZIjRwm7Fynf+sl8iM7SCoPYvghccomTgKMqArmMLGckyRVPHaXAtpptqQWB5R2za/dUNFrYbzE8tucHSRaWcDc80a0zZvbuvLSOJrYmAb2YbWW6Ac19OJ+TKuM13gWXYaOlT34nSoxNQVGF66YdOnNUAO5ROZHCdvr6ElXLSsiU6wNHXWWiiUpII1y4dqYk6R1k0DBbG9jDR9XZyp/ax1jYAJ9/ttoot9LzxIZLrR7asiSKQ0pOGUU9iWGCORVPdK0MsTZPJGnYZmRuu/IxVmSyGlRMqdlQNJBS2wS+RzUXlXMNSu/F8PWCL2u5BlItBhNS4j7TXnCotuuMgzpW1fw0gZm7GOPvxVfKPv5SUzhe22+jrf6HMbOf0U2bxIuvYLfrpPZ9S5CSkSt65C0lTZaLiS2meB1qur5L7yhEA9TOv1aDl+qBq6cHXJozQ30JEMgSXSnrCxK/carpEbeTEh/uzIoel6plrq+euY4+RKBnIsUy06qHwdIu1cIxHCU2YffPEO6uI+uGHzu/BC7PIueGcL1qtiZGUKBNfryuzBMYOk4gby6Okanuw2JDJfw3SahOYg9sBO9IxXtSJ0V7MoevCSrjE32+lNq0BiYU1iZEpHUooVVJEv84hzJwGFStQt0NsWuVEITpYVoD4fvQWu+8LtJYuYJZMNqdzCKewhai2j9NvrgbvzaAqnxh4iCBfzN61hyMM6UVQVAj3WivmiNilheFc+awDSlDyuX13UMcoriaBliyBZPpVC2NczsCP36RfyN1ykf/SX6GxcxWxcIKgfQWl2ichlLoum5DFF1SW3cjPKO7U6klRCKc7t+Gmv0TRjBBl6UwR7chX/xH9SBShfXY1pH728RhT5m5NBv3cQSAvTAHHF2L17tSSxnUB3c7JHDWLGH15jHGHmIaP1ZTIlri/8z6WBJ5FK+YJ7ErBN0PYcpk5jWMpRH0fubJGGJHhZO8yLm0H7FUhDOgBFcxKtVsQcP4BSnCWoXiLNjJK01jNyY2uh6G+ew7UHcSBSIeSxxsver2OKgFO2WdHdt+YOtY8m0JT2uKNByEA/DVdXvUf7rOFA1hFjiRnKwKuTxxKvtDKnXq0uMNl3G3bikCOjW4F689VexpB+ZOwGd1wkzO7FMC697GyPJk7nvEb71B7/Nz/zG43zsPRPsmMrx1NkqjtPjn57z+Nhxgz/88nvZePyHmCO7cBxfXUZiWuoBk1aU0XHYuowXGGTyeXxJdY8dIL7zIlppB7i+2rRKXD8RzeH6q8qf6wyeIkw5pDafoV9dwrn31whufwezMK4YFJr4yGWq1rysYs9G5S4sq0IQLKNl9qF5N9DtCmFnFc2soI3cjXnzC0Tlme0No2bh1S9gH/o4YfU6Rm8dPSUP1mmCII3WvwDtKlrlGGRnMNZfJeydw0+NYA/cTdJZhHgTr7OBUz6BHloYaV9BEyX6Y7QXiewJ1eeRuG889HaS1gVMPQO5omIuiLPUTJeVcrHfuoLV8QiHTijSerD8FFSOqktZ2LiIJkpAmR6HTeWG1QsH0fLD2Lk8bi/E3XqGdKIrvYi3chFDHr6ZQfmnlbZG+AFmZZ8CshkrjxFU7sbsdegnG9j2LInEvaVLrhu4gUfKmSbxNjCKU3TO/TO54+8nNsoYy98nSk1j5AvYJx2e/+xL/N4XmlRKGhsrLfbtL1MZKvH/fOEqf/Krp/jEH/4u9TNnMYW2H/YV1VqgNwLHTOQWLh130ySR1IYxSigX+XALY2DP9g+edOTyO7Yv6AIMTHJY4hDXh7YjYnWJ+3ehvAvbmSDo1Yibr2Dkp9Fs+exdJPYWiIXxoYt6tI4Zu3ihg5OWvqtABWVqXATXhXAD3c6rQZihFwnlWSbpA3HTS1pGUggCo3TyhEL3765iZXNK8aK1faWu8YMm6XyR0DmowC20LoBM5K1hTFvSNyFWaoh+ZxMUzKWAZY+g9ZaJ5TkpF05kulxG85qE7Us4Q8fwOj2cSECONuhFAieP7vbUM8oXmq3bQHMMEreNGxk4hQn0oI0W9/AjH80SAOAkfndN6Ug1t6meiTIgkUk/iY6eyHvjkxboqpB0c3lC6axJtN9rqMO5cA+wRggltdL3VD/Rksv16m1irU96aC9enMaIt4jtcSyrRxh4aiAgtwPbLqn4naRlDLNIr30bO/HQnant77JbJxrYo5y61K4rsJDEMa3KIULRgnrLqsum3q/yDEmvji2R40BeZxozf4yk/po6xKpngClVTPn89PGESizbmpH90GupAXMkcc7Iw0rtUp8xy71OVDlK5KewxamsF9BScmFtE9RXwegoYKHoRs1oGrf2faVl1I0C8a3H0He8H7M8TNhaVwYIWz5npk3U9VTurN85jzl4Fyk7TXf9grqwGZI8c1dJlXfS37y0nR7QxHwimkvpsq+q5IuAyyKJP+pZup066YFhuouvM3biAfygT2nn/8EH755SKZyVesBcJeHZWz4Xboac/qNZ9sw6/O8f3OKRe4+wcPU6W35EseCQM9Ocv7HIRz90gF/9/Vt89gWX6VTMnsGYkcESlzYCrq51+OyHD/Kzv/8zbPzNVyA7DtmAHzx/Gy9X5M/+/gxjQyZvOzrJnz9Aa67IAAAgAElEQVS1ymd+Yj+P/Pjb2LhwntTmOuw6AIVRrPlLtDJFbD8g6LSxV9fp7d2DZVlkh4fonH+VqL6Os+c4qaExlVJpL1/GsSzKDx7m+Hv/AtHK765onDp+mHq7wZ3FTfrSAR7JUiyXuTFfpeIYElBhYHCYja0W6+sNRoZK5CyPzz+3wct/8EZOvu1BNl59DXtkF63rF8gdOUb3yadUIid34IAy1UTz17Em9ysYn3JDW2m6V69jl3LkD+7FblYZfv8/8ODJAbSWhmuLPDahVvcpFQXyreGkbL5yps75v3gX+++/h8XHv4kV6Qremd17VB3gTWHvbG7CkHyvhficEFU3iaePYXQX6c0vk9oxpw7hutan1+kwcfIEj/3Nt/jw317n0fsmKQddlpsGLb/PrpkB/uHZdc7+wUPMDjks1QxKmTSe11Wsi0T0Vf0m7tYK9tgcmfIUzc2L0I8wBwZx+hH91hZWWTSzDoNvPMDnf/dr/NzfXeWDJ8tkikXOX7zDyOgQB3bO8Mr5y+iaRj7lkMmEdEMxmTRIyWAwCHjxVp333reD87drVJsdbjz/e2x87R+VBcoYq6jhQyY9oKC2veU1simTaNcxwvmraMMWSS0gsVIEG/MUUmV67Sb6oAyhSrRlUKTn0EoDZBxDpXW0sEHcahFLDFbYL+UZvNXrWDO7CNaXCRtN0iOTBLZF+sj9eOeeIuMMUr18jbn3HeL3/suL/OmzN5gqmphpg7yTohOFpETfFmm8ttZi/nM/hpHS2by9hZ3TMCf2Yy7coNdexxydVtWdsLqGNjxJuLqFvWuasN7AbkuSq0D/3DO4mkV2Zg/20Aja4DD92ibxzatYlUmSfl0t6ASGJ3uE/NwO3I0V3NoGKTfDwHvvp7Gwwb0f/AtVpfrofXPyJOfO8gJ3VlM8PBvzO7/5VuorbbI7DtG8eppep08un8NLcmRnhtGLE7TPnYbaFiPvfDdGocR/+LH/wufPepw6Ocxyp82YFzFVsWkIV0NdEEvsHSvxp9+4xOd+6QRvf/sJWtdukk1naFbkItuilC+z+eIZimPDZOfmqM6vMvrgvVw5e4n3ffKf+dUP7+NL375CKZPhncdtfvNLdf76k5P8yI8c4MxTt9G8OmZWY2J2moWrC2SKebX9X7x9g8D1GB4bY2F+nZRjUchmGZmdpN2qMVJOGPrwJYYHIg7PpCkUMrzycpU9O0p859Uap7/9yxx+68eon/4qhgypS/swfVlcbKjKmSj4ks5NyEyj9W8DAnsdV1wzW76zsnhrLWKnR+j5LVLZQyTRlnLbCxRPGGXI73eugtGJ1PZYkhCdW0/iHPsQRDZ67SyUjmE5Bt3VZzEEqu7V0OS82K9jik1NVLD42/fv2MQQrllbgIBL6GNHlCbbTAz00g6i1iX0yEQ31C6ZxAhI2m2ckSmSKCM+JLSgTpyIlj2PI3cLMyLwbSzhHuEpCF5MZ9tA09lQFQvhZcReBzZOq7pfMvSA2ijLeUn3W0TVKySiHsztlKyAYvXYoVSjxUYRQ2GKuLMAnTsY+jDajjegt+fVUFyqcEH7Ju7iJVJDR9V7LBdzpzSH21tV8N7YyWM6A/S7WzipMXRZqOgCIFzEVsnYphqyENRUFVsWXWog0ZPnzgxhLsDo9vEXnkLL5jGyFbWAQhtQhiaBt+vdBbzqBWzp2jsDRHmp/jboxy3ykuTwlogTE00MYH5t2yImCTU5T0lSUpaVw/tINq7LigBncJTAHMMSfbTch1afI2nPow0cV4tu4ZNEtVtYZgrX7eCkTQJ7DEThLFag4i5lf5DX6tcvYlkF1enX2guKt+CUDytFt2a4aG6CVt5H0l1Ht8S6IrXUmgKtB+6qqlXJuUEqxJYR0Y8jouYmCL+uceHzCaIZkktFZxU9NY3pZIkaF1VvX4/bJDLZwsVIT6sPp0Ao4to5LFFBiEpA3gArryabti797KtEmSm0RK6Z67h+Ft/Q1FRMlw+fD87gNF0BvVUGsFIVEjeDVZgmNnuYmy/jt5awJt6oqNRCs08NzJKs3SIpj5Nooeq6iDc63ryEJn1bQ4jag+pQHvRuYmuSri+TmClS8iMqUCi3BfPPoo3dhSYfAHFzDu/DazdJ5bMqBiQ6J+niamNHCMTnTgZbcwm7bYLSFFbzDpE1iJmdIFQwijn8+irGzvfSv/VP0K+Rn70PWdAl6SJB45qCgCW9awSdBsbEXTjCNmjU0cpj0O/iNm6qnrouHeV0Ca92FlNI90L91xLMwCVMGepym3SaqmerqR9UHT07pDq8hoARG1fQUwUiX5R065j64LaZIG4TCjBOQIZZ+RD01Psr/XXJscStNTUc8MyUcnmH2QGymSE02brP7OeJv/wt/uRPT3PfXZNcWVglZ2ZpRF2eOevx0ZMO//2xT9D87neVCzv2u/Tbd9CTFLnRgzRWL2F161iTx9HdJRJHiJi76K18Bzoxmbt/hHDxPEa5QuJ3SIIEMz9Fe+Us6UyGZPQIrL6gpmDmwADJygaBfAGFKi4Vlf4Wju7jj4i39Rm04CZ2djdmapZEYk7DD5DMf5nundNk9v8kZm4v8co3CK0REjsiWrlCZu5NuI2zxGsrRBlb/cimJt+nYuKabGi9JQLRlsjWrXwYq7yfvrcMWxfITLxbmRaEmq+JgjEyth+21dOYA7PEvaYaqmnFMfBXCLInMBb/kX6rRW723bgrz6j+o1k+hNtawXLKhK2Fbe1dYQCvu64eVJnUIL07P9iO/9bWlW83kd7Tynky02/Ej+sY7R5uq4ozPoaR30ew9DJJfoTU2El69cuk+7fpVOexM/tw27fJzj1EIpErd4X+4kWcsb14m1dJz7yVaOlJRcQW97lwNoR835X3tjAFbU9ZNvTcIIXdg3zv86/yG3+7we6d4nYvooUhh2cK/PcnbvPffuU9fOA3f4P22RcV8d8PbpJYOxACnlxsZY3hVA4ofWXSmlcGjaQ4pjqfSWMBa/xuIqOC7S/hSoc98kAuwNLBE19u0CQMNhQAxSkdUGq3KJRqTplIFHdeA7cbqK0tksTp3VKTZ9PM4clwQfSMcZo4kS1hB632Mkn6bkyZ3neuoUeSLmD72ZCZ3R6IxLFKQElXORad041v4sx9lKR0lKB3TqncEtmKt1YwhP4qkW9R6MXidw1BhoPyXZYfV6G9ZjNqy57o0pHfwOstY2cn0TIVBTr0tBQpucD3F9D0zPYPhABbRfknzAB7lNhfVX/Wov+UjbWe6ArIEyZyWbeJ/SqJOY7ZX4ZgTWl8+mEKPa0TB2mscFP1DMPGdczyURVXs4VR4d9G7wvB1yQOZSu1oWKAimsgMBxhhWw8TdLtoQ1WlA85zlTQ169hlseJrXF1aRbycGiJik1HE+ChdOQ1V/FjonZdwe78zgZ6Sod2F6QqNPMmcDdIoj6YGQUgDKXiZRrEjasKUkjYJLbShLVlzMIuSfsRtXrEzgBW/zqBNaWAYTLFF5KuITWPIMC2pBuZEErawSliiAM4XSHwIoz2DcVXkGdpEnvovSVCK6dgT6IjlANGFOkEfhMtIyksi2jltBr8mSNvJW5fJZZhrOJKROj5fcRRB795GVMfQRfit9sndkzi9hpmdlINPfTclAI4Cl8jGTlGZvgEbvUaAunVB+/Hlk1D2MNPusrkIq/f626Qt0fZavWZesuj9C49Tvb4f+bRe4bI4LPlwZ6xLOdubPHkvMfFT+/jwP4Sp5++RXnnJJuXFhkaH2B5tcqph++i1m+Sbqzzras+P//pdf7V8RzDZZuFdqi26t+74vHxY1n+5M9+jca3n8DeOUNmYpZf/aX/xrVFj8zYIFNjeXYWPZ54qsFH3jLMRx49zo0nXyI9NMzIXfdQP3eW0O9SmN6PHiXUqxtY3SqpHUcJlm6hjU1i2w7+hdOkH/ogtWeewJypUNr9AJnaAvrOcR54+2dY0EMOD+S4vNxktJTCyZp0ezGlnM7MxDCvX7jDvj3TLK/UmJsbw8TlxbMLzIyVmB52+PPvrvPKH93PsYcf5tpXvkphtIImqklJtbR6FI8cpN3xiM5+H8b2YZdSuOvzDB57mN56nX53jfjaLSY/9lNc+vtvcu9/fYWPvXtWbUq/dfqa4J0YyMs2PSGMu2z5GRZu15j/8qPUl5boBCaF8Wn0QgnPKOK+9A10NyLzpvehd/pYhugIHZKNFZxckWDhHK5mUpzazdrFV8nmLayBcQZPHuPrf/sVfurTNzk2YjE7M8hL1zbQI49jO8f5wrkVXv/1oxx5x4MsXe3g5AIiL6Z2+SLjO3eTTIyoZ0145zz24AyeVLSuvEYwc1ANJlMFi9q502Rck+Effwf/6zNf40f/xxX+zXumuHJ9nVK5pAwrW72AIVG1NTvkckXavRYp0SnSJ50ucGepQUqDobLBc9cDco7L9dOfZvN731AMqvTYPjz5bb96nSAl6jBRVTVxJmfw5Hm7vkp44yrW7BzIc2N8Fn1rXimYk8Ep4qUrZHYco9+uYwjUebNKeODNsPaS4qPg2Hg3L5Dsv4fC+H56d04Trizj7L+P3usvkHEKbC4vUpipkB/dS26uxMn3/Blrbsx77x9T9YaoF/D6QofjO0tUuwmvXnfZfOwXcEWn+fQPyE5MEtU26deWcY68heDc09iTU6TNNM32BnqzTfb4g3QuniHZapN7wzuJZeu6dYdgsUlUzGDrBsbMDuJGEz3nEBcnMN0WvReeIs5loNvGntqPG9YoGJpKhuXveSPmzUv8xZ//E3/31CbrbYt37Yj5qfcOcfdP/6yycLiLy6SPH0Abvp/Gy19RF7zhnQeYP32R6aFh7jRjZg5Y5Pbdwx/+p6/w5y/XmR01SRsdZstDLHYiyo5NedDm8vUa7b7HYi9Ea8L3f/sUk2+8l41XXkWv3yEqjeAtVhk7fBxjYA5n5QVWkyzuxio7h7Ms9yze8lvPsGvYZt0LOTCR5RPvnuOR//Iqn3p/nn//ieNceX6dRqNJeUxUkzZXLt5gdGKQRIwsScL4zBitpkunXmd4ZoT6egu322Hu4BimGTD30atMjOYYL2usrnocOzTAnVsbPHcr4W9++xA/8R++TPPp/wbjxwn6HnbnMr4zSqJlsFMxmjC4ZJ0ukNjGDaXcTeV34falW95WNiojmyOOsiTNM+i9GvrYm0n6a/ibZ9Am34ydH8Vdfp0wEGD3qGJyiRXHX3lGVYzVc1xSpJ0mTlglCLegdBiNFLrEVvoeviTQUiVVWZPaiyU1JCz8ZFv1phmyWChD0Cf2m+gCyotcVXX2Yvl/cLB1SdPJQjNRsD75LRODRlRdJ7EN9IFJNG2UqLeErgdoqQmoXSIqDKlqsBDj0TUFOwxkGSV8MzGJbJ2FdAkrs2ebRbT2tDKkSTLOmvkAycYZLEnSaYmKn5OeU3wfp3kWf/B+xVATHlMcN9UCSu5rhi0VuTZhvYaTLaCXZ4nkriYpzYLcTdfUsEY3SoSiVyzvI2pcl3mL4hpJNcEZOKgAfLHfRy+NKZ2zXr2JPnhM1WmRFEavjjW0k0i4do1rRIN7FJPGrZ/DlGWMMASkeiB6ZD1RZycBLsqCM/FWIGhhBhqBrqEX9uJEHbq9Jqn2LeLMBIzsIZx/liSVwRp/M9Has+o90mWZvb5A6N5WrLXU4Azxxk3C5kVl4IsqOzE7W6rSb9hZtQQWU4UmvyhBl1iq4KlxAuEdrT2JP/4wqVQJw9tOqYapacLqJezRk+jdZWUzEiirNjSNf/t57ME9pAYO4MvdpvXKZyXNSpgqqu2R6Pjs4owQ5pQrWy8JhCDG7UakxCsofZ6gC+GmimTYUURf6M6ZHQra5NfWVEzz/68VaJaBJrGnwRPbwLz2PJHEOi0LR6JbmqNiINJW6cvhe/b9pNwObuMaZmmX6rkSZRT4xg9X0fUZdNEhSA3SrxNJ/zQzSSQRDi1UHR16AiuUjo2jYIYSsTbjgEi2Tp151WU25fIY14jLx0mql+l3NkgN7SVaew1j7BRGc15p2NwkhxFXlTZNyKxK+1bco6IYcmiz3A6RUNhn34iz/Co9fRSzsAdv5Ws45SPbMdq8qS728eYivoIzBNhp0X01CTYvoWeLWPnj6qAbtKV/Moud20EQb5FI/04XD2VXAVVEbyXbICkhJ32XxJUtdKIO0rF0Sc0CdtBRmxkB0oVBrL5UiVdTgEFJbahIqu+iZ/PoYR9PvgzmEHb+ELp/Da8tW0SZFtbIHX0vT/zZ7/PLv/UdThwqEXQ9JsoGo0Nlnr7Y4J07PP7dP/4q8bPP4zVrRK6JNjVKZmuFZkv85YfRMh5adj9RaOJVL6H3BdYxBdKDLY4QBULhrmKIzUFdjLawRKM2uJtQto6bon4MtzszAwcxFl8gzE+ipU2VBjElolw8gV57GXN4N5EuffvnMSffQbB8Bj8KSM0che4SmlFE60do0m3y27itNazCBJqTUofv2JpW76cnlZf666TL0/huGyN/ENxbmIWDuO0lEu8K6eJ+ut0WlmljZIfFn4At0LreVUJnDtMwSTaeJs6Mq4650bwJ+TRG/jAkroJZiss87ktcu0VqcC+97hYZUfCp7rKOI500rUU/kAdkGdORCXMGf+F1BX8JtGU0e1BdTLXCvcRrjxEHRazpN6N3XyJIDDQhwkYNZTZgUR50M8QCnwwWCAsTJF4XXRQqcUIq6Ch4JI0LJAXxzm+QjNyL2akSbj6Hvf/H8S5/D2twFK/fpTg6yIVXL/KOTyzwwTcV6LkBV5Zdju0b5JmL6/zYW+/lP37uL+iffYxwYxk3rZEv7lLRbZlYC4UeXybnGfzsMLZy26dVrFxr3iZKZRUILmndIray6LKJFwBat6p63Il0rvP78cUHX38NPT2KnmSJE0kyiFYmhxm28MJwm7orrIwkhaHLlNci7m9htRaUg16TGk13HqM0Qyz6tf4SkTA/incR9xaxw7aSfKqNsuZid2rE2TkMfU2B42RYEGcSjI5oamYwZGjqSJVK+BMtjNBHy+8n6V1H1/N4crnMDGPEGkEoWiWBIo4R9++oC7udls+ii9+r4VgDhBI7tFPEdkUNB3V3U6QH6GL0CDokrauQmkMrjqvnhlRCvNY8TnYXckqT77VROUK09SyGNasqXjI/0IxhCFaJyWIJPVdcu41rpMujxK5LUjyAFdbVhTexpRMoQ8MlddDR8mV0M0Nk5rBTe4ldURpZJLpDZ+scGVm/FgZIDGGX9BRUMIrEDhMrfVEYdFSPWGpQ0g2PJbljuSTVKwpWo1y22QlsRxSmKeJen0Sei0L79dYJM5MYbpPIXyDJ7kXDRRPNpFCDY4mF25hxc3tTKGTq9AyhGeNXz+Fk5EAi1g3x7s6TSNphcAatdpVIGCDZAyRSx5AnbmqKuP6KAvxFpb2Y7TuK9itxR7uyH29riaj6Q7SJ92E5Qyrm6davKOgipd3EkmqRi1VuGk0m4GENzcriBwnW6BGS9bPqeREnaWIZVLQuoKVmIFzDXb6IOXYCvS39zHESSXzZxnYqrXVbgYna64tMPPQW1i6e4cAjf8S7Hp6mLh3BbprxissDh3fxib88x7d/fZJ7TuZ48ck1KiM5xqcGaDR6rK1vMTlQ5sZinYMzGt+9muLf/NUC//Ujx/jB2Tt0vIiTewb4wvfv8H+/bRf/9o9+jLUvfZ94bJzxkzP8xEf+mDYmf/xzb+QPv3ia4lCGb7+0wRvHdT79qbdR7WjqspU/+gaarz9F/vAx/MWLSieVP3wE7/Y8WrNLNLeX5Pbr6E6expWXKR49iV6TwSFo7aqCYo1//MP8wS9+nt9/+hYfOjnMnbrMuiIGizYpO0u901MX71zRodNuceVmk1rNJZ02mKgUeHmhwbGRFE9caHLzbx5l5NS9tL77JKlSgUa1Rn50iDg/jXHtDEY5hxfppPafwH39BayMhTu/jDYyhqF3qS422fXIfdx49Rb7Pvkd3nPMIW8UaXY8tXVstpsUcgNkK1luXLvKwmrCrTOfZOO7ZzHmDmFZPtWvf4nSG96hUkFmNq3MJ8GVizj3PECip/AuvkR6dFbCk4SdFqm5Y7iNTezlS8RajspYgYV2l7l/9zRv2zlErbnJkQPTvOH4Dp567jKfO93g4u/t5cDDb2fzehNt8RXMQwfoLsggvUBq6XX80RlypTH6/XW6r90iMz2FMzFF4/UnyT/003h3nqN6bZ4DH36U57/+bR763Vc5dbiM1wkYGUxTrfaVw7qYSjE0kGVpaws71uh4ciLXKA7aLCx1eODoHhy7xTdeWGNvzuA73/sFNp5ZIio5DEwfoPbcD7DjNt2uweChI7Qvn0dfvIz9wLvwhWNSzpMKRWwiFyexwfh0BRxZKKr6Qby+Bt0WoR5h7jhItCEXGg1n5gDdap/Sjgm8zU3CW2cJrCLByjVKO3cQDY4Rux69c0+jO5MMnTyMs6fCG979V+yYEQgZrM9X1QW02/MopAyutl2WF7ps/NO76XXT1LYCnKhO3k2xbtbJnvwA2rUXVdrTmThK0O/Tu/wcmendaJUZrMYiPTG4jO4guPQClijDRnfhri9gNmqY07MYnSb9dgdzqIi7WiO7ew/+4uukZ+9G6/bpr1xHCxxahsXokRkylTIv/vUXea3m8Yuf+ChGocJmK6a/cYd8e4v+4iqdepORe06hZXX8+ibZmVlWLlxn55FJgvUuv/p/P87pVZfhXSaVoQLFOMf66jpbfkLFyTA9Y/O5b6/SjuCLP3WYmdGYE29/A81mk0y9Rq+0B616Q527RX1YO/8qTm6YzIFj+GuL5EaHyNouj37ycTTNZHIuz4UbW8xO2jxxJuDjd2X51O8d4tJzS1RrNUZHK3h+SLPeZGJ6gnqtwfryClPT40SWQWVYhuE+67UVel2TkazG5L5Rxn/0Zd51X5nVFY+Nrsu+KdHixXz7tRZ//p/28Auf+luqz38RqzhNsj5PWBknld1FvHqOSO4X2REQzlBWFH7jJN1r6EFPJeCS7ir2zvfiy3lWIOhyNom2k53x6mm1RDRHDkNrmX7zPNnhd6nlZKc7jyPqt7hDaFYw1p8BUUsPHUcWsb5wYMIGWrZA0LyKbU8qyw0pB+IY05omTDvK7W60VolzFYL+6rZS1hpRFWM9CPBl8Rh2CWxZABqYTo4ojrEyk2hJXenmYklo11/BlH/v4AG0qITbewkzPbe9VPBuYTpjJLpLEku6tUgo9c/8DLrlQGNJQWp1tQS9hl6QGqWDLhrgzBhOoG/rzoMeYVHMbYZiKtiNFXq1q2gTD6PHDYxuj0Q2tqJwtscJvVXs3BQELlF7mcQWJfgWprDTUhVo3lZVQ7O0j171ZWyrgh82sK0JkvwgkbB9lIkoUc/x1NYVAuEl5LLIAU60i4JNRirm0p3oN7crjNm9hJauNuaJZRAFLTWUsJS6fIrA38LULML2Krot9aIZDFkoJRMYAzmC6k1MMVYtPEuSzePYA/ixhiGLrfKkSr7Lvctr3CHlFFV6VQDcsvAUCHrUlurSlOK0af01VesIwyZm6TD+hgwPMtiVI8RbF0gyshCdAYFBiyEljIgFjhz30ayyWkxJgi3OTqCLelAWY7Js8lzSxWFcL5a8OlrrxT9IZJsnlGatuJu4IRfkhGRgH3Tqqo+beEs4QUJoG/Rri6TKc8ph34362KkcsWxaXE11Zx2J6KemCES55FaJokD+M8RBmyQ7R+AuYltpgtjAEoCTPYPh1dTFWgAfmcpeFUeL4lskmXFFE+1WL2LRQR+6h0wgU5YFjNSsUpwJtEri9jJpU5cV8V8KY6C4F9KmIqkKQCPsuVi5QUIBybWE0lgkKYhTsocn/m1HNu5Dqsfv5yYxBK/eamGK9qW2iFaaVX9PUL+JYZUI0xky+hD99m00IXcWZCqdxhIdYXtRQTOEcq4REGxcIKUupkUFvLJ1R21Xo+YS6cpxBRYLZYoU91WXP4hTOOmM6hcL7FC2paIZlIO1bPZiS7pF0g3S0B1JZGj4tVcVhVqXw75Ef+QyLb3SdIYkN44l0+skIOjdVloRSW3YTol+ZJJNi2FxRflCo1YTPyUR6wGBZVI8cYLTf/dZ3vWJb/KxD09x9rUt9s8WyBcs/vyrS/z6+2z+/R//KJ3zV9GNrAI1moW96KKQ2TqPTgF9YAI7M4638TKW14DRY+jDd9HfPIvVqhJGLayxQ2jNBbXxlgufbo0pYGJq1weJl0/jbp3HnnwEPblFwiiRX8NOBI6XJmwt40zfBY2rBEInp0RsraretbV1QanV4uE3K0hfUntJPQxEdycXF8vw6PgZMkN70YQ031xS9PZ4+RVVU/ALE6TinNpaJnGbQFE622DvU9PQZPF/YQ0IkTgkWPoOzP4rRbP3BAiU3yaQsvo9jCBUUUizNEmcmiZYfxJj6B6c9CTu6jPgpHBCX0V4jcHDCsipRzGh9MykXJKdQRs+irbyvW2IXuUhfL2BHaeIHR3THyC26sTuTbQ4TaiPo7degfRO4tZLmJkpuhu3Kc08iFfejbbystqYhhK7blwnqRzGaNwgtLMqEp6sXVa6JKu3hV0U/+ngtlJv5ijJypMq/kiUkN2/m2/+/TP83B9u8b63DuC3fIYG8urycWU+Yf9YzOeeeoHG018mlbbwB+9CE5977TWiwEYT8KT0+UujJEJrzaRJls8QGD5OcR+x8DcER9atYWp5tPyEUp7o9SuEub1qIxvI9jBXUHRbK30QbWCKsHULX1HV5wibt0gkmaQHxJGp+m5y2US0l76BPindTRd95RXCyiEsLYO/8gMMMZoYRaW9s8bfAF6LuHMVLX9iuyagaK2y4eoROTbR+is4A/eoeLpcvM3C3DbEUi7sQs8POxihuF4lHqSriLfYJay4TlQ4Dv0bahAnAz8BZsm03uo3t1Mgek09/P2Oqz6zqocYi5onr2L1YijRozqxVGIk8RSayo/uaBFudiO1O68AACAASURBVAdxZwU7cEky8jpCNbztrT8HnoOT9zCc/WjZIr4MODvSlzfQB/fjrr9AJr+fUHRfMhgUMFVaqgAJgbuAI509v00/7GMOzkJnWSnF7Mwekt5lDKmJZWQtn6jnpFz6hXxrCVMF0Yc10R1r+zBTqGxXxPQCobtMHHWV1lAOd+IxtuWQ5N4hMCcwi7NE6y9hDIkxYAsj7imgYBg0CbwVHKHhRoaqU0TuOmnhPFBU27bIFgioDLw3pdeFp/uY4vONNhULJjvyEGGyiRaaJOlhZY4x3JYC47qFHWRyZboLL2GkMlCcVVBNPZdFq9fRi0PKv6zFAX79DqnyNK4+BPVnSadHCcSeU3sJXW60+cPEektV0+LMNNHy95TdQpv8gBqWmOaG0gtJPUbUtpFc6G2dtNfFTzysgbvRYp1QqxM1lihOTCv10+6DH+OhI6MsrG3RT2xmCym0fJov/bDGd/7DMKdOlXj2W0tM7h8icNvoVoYw0WjXqkpL9YZ3T/HsD7Z45Peu8qF9QyzWqrSbEeXyMDc7Xd43YfGZr36SrcfP4hgB+mSRv/qPj7H/Qw9xZ2Odz//Ty3zyHfv5l9fXODqg8a8/+U4aS03sjCgcJ+ncvo2hhcp6kE6XSLIOQatJ1GtSmJzCHB2hv1Gnd/UctumhT+zbTjwtX2NhaYujP/5+/uRXPstvv9Tmx+6usFoP2Gx0SVsGefkNi0NlKDItjZ6cWwKfoVKZrWqHHTMCL24xU8rxn//5Bld+5yC77z7F7e9+j9G75fMVUr85T2FuksbibbK75BAvfu0s+uQs/s1bdG6fpXjq3VBdxzIdcjvLXD1zh32//E3eeXhYHbKmh2wWOpKHibD8mNVqi/HpEbqdiG/+zY9vD8NXOypxpY3PqMrC5ne+ibP3OOlui9qly1g7Z7FEs5lK4VarlA6foHpebDaHMYZG8W7dQMtqGJkM7ZVlDvzGaR4+Pk5JqAVxgfW60Nctnrrlc+NTd6kL3u21JoOmwcZai+Hj9+F1FwhvLJJ+y49ivPq/6fge2T0P4soGHZ2iGANqm/g35kmO7aGQm2Tpyuvs//nHePBkiYx08P0ObV/jgRP7OX/9OpsbPSr5LBPjFZbXqtuKM80hdDtkrTyN5hovb5i8Z8LiK1/8OKvffwUrb+D1W2QGZ7FmKri31hWZ3hws4l4/i52XmucsrCzQbFYpPvgBgpe+T+D7OIcPKs1v/Yf/jFHIkj18Ci1XxLt6HrOQ3wZazz2A3lmFZh/NSROmIV5aJz02TpzPEF6/TPKOn0U7/RTNq5cY219WRPzcT3yLR+8rsbjexxLTVDZNwRHuQJfv3+oxl+hcfOInZeZAc3mFpL2JM3oIrZTGW71FqjBMvHQLBkdh5wnsK89I41ElM2XYk56aoXv9NSypddIh2diAnbvoXbiAvWcPupUnCD1VpfS7kXq99e9/FWvvA9haSLvVoej00d0MbnuNwtGdRBNHyKxdI9JtmusrBIubFCaGlALXa2+ROXpKkciDOzdJF0fZuHiOHQ9P0q0lPPBj/wtzxOCugTy90FJVWsPqsVr12T0+wWPP3OLAhMkH7prk5x69G/3+Q0R3Fok2t4h6Jarnn8J5+J2qjhoFWdJb86xeeJHySbng2qRFbTZVJjs8ws53/hlvOzmBE0pFY5B2s8PpWy4P3m3xmZ8f586thOEdJVbnl8FPyOa22VQbawJDDWk2a+w4uI/1xU2VCBmeqVDf2CLlxew+WuL4r9yQBTqHZiwFQt1Y7DA1neLpixu87UiZP/7mD/BuXKSnpXHWnyVIC+tHqp8rJOWT6iIdL38dPbcPU3TQkjwUXffQW4nrrxM361iKB2NhFAvQ3iDK74KNV1VlVE9lobGINTCJ24sI1p4mNXpqewHakjSYRSRDKN8niZZxchMqdaDuSrlR9G6VuJDBMWbpLz1NZvJelSryNl/Acir4SUTKGiaxPBJtF7E3j2HF6i4X6v8fP83MqUUgqRHilKQnErUMTOkpXEnBRQlpvU2omyppqeldwvoaKQO8jCSiJOEtTKWMSqLJssmuHKNfv4TVX4WBE6ralshGXs72MtywhhVTzF1/kVQqT5Qrk/T7xLJ8zA9iyt8XCocsJpG7p54iDg30lGj2Cvjrz2MWJiA7B+2rZPUEN7WLYPMMqbScAffQX3kBZ+phQknk1W8QifEqlE59W92DAjuD0d3chk92XlPDAxnchKIMtEz0vqTzxLs4jO4tKKWqnc0rRo3oeCNhNukOjruk6pgK/B0l9DrXsDOzWPkRfKmD5gtqwGfajuItCeMunn4HdtAiWvkexsgxDLuk/noo1TEB+cmgp1jGluqpEaE60UakqgxWYY/6/bKjKi5ZddeT9KcMKjTSyuwVbF0m6jaxhqcwjKKUAwkSU0Gj40CqnBmS3pKC5yeyDGpvKlViFFjYoqks7iCWRZLURf9fkt47yrKzvNN9dj751DmVc1XnVkeplQOSEFEShsGYCzbGJtgXBhvueNYY28x4hvHYMxdz4d4BG4wNHgdsgskGgUAIkBDqVqtzjtXdlevktM/Od96vFv/AQrAqnNr7+97393uexuGPJWHzMppVxE7LQ9pEFxDd2E782gqJ38axbBWNMegpMjj5ITRHdA062IPqAasmLxuXMIb24PsemcIMSFej36AncJn1n2DtfofSGYjvUjYhosDSK6eVrsuYuIuM11T+8FgOmXqfuLmEUZoibgo4aSv9ytFN+uLE3SAqiwCSXJlUIJTUENsZVP2z2K+h6zaRgBXSE8qlHXevq9iEwL30oEGUKqI1V9XlQ5E4SzsIjC5GMkzoX8f0XXwhekoCwJItQAUnM0dQOaZIzrFMqAwNXTrn7asq3ivxQYlwhJp4PXOKsm8FG4SBQSBbVvF4DohCqCUVFfT2In1rANOJMSKHKCW92JZKK/i2tLjSpIUK2d0Ar04inZsoUTAUrX0dPVvejKM0LxClt2DJhKt+WcE3IqNA6DexcjNqEtj11nEkFSAPOFs85IPQXiPpXCIu7yOsX1YOdNMaQjPrKqYtB+fi3D6e+8bneefvfoX/+IHb+MZTi+ois2fPBMeudHjzrMvvfPbX6b74U2J56LUlwiyQi0lS22+nv3CKcOMcqfk9ROEQYeWkiuoICNGWztLMY0TNG0Tr19Am7yfVv0TPmiJT3IJ//SllRBCohzn7CKEwKCSSNLCDuLVGVHuZ7PhOgsI9hJUTaIFQwjUFRZMDhy8chZknVN/GX3oKrfQIiUSmUhpxt0a8+jzWtidJ1s+onpFWnkXzDezGcfqdOs7YAXyxJxQswvWniCffL60uFVV3vdPkcsLLuEEyeA+GDGqiRbTiQcLqJfT6z7GHX0FQ2IXdEc1OQQ1f0qlJIulWy2cgUyJcP6X8854VYXnrWPNvUjyHoHEcO7WLfuscmUKRUOisMkQo3oYmBNjWLUWT1XsNpb0y0jliW363E9gSY+ouk0rlCM2SMjvEQrENNKUm1LxVbGED2DP0Nk5SHLsTT4CXURVfj8hkthB0Foi9PvHELvyTz2JlC+Rm7qNTP4cTZdUAq9ddYew1j/Ddv3qKD/7PPr/19lkVwxsoj3Lh2iInLnU5OOHwd0e+w/qp66S1OoY9ird+Ab+/SGb4LhIrQuvVSESDJ9R0PyLWOmipKWXGCMVI0pUoZEalBAJ5BVoGencZ34vRSttxKj8mHHkEU/5Oe0tovaZikZDYqoMnn0fTTBHVV9EFUjQwR9RbJxaNl9shkg5+CJFTwMJVSRpNLrJDdyk9V9w6r9R48nOO5PcsNYhgA9McJJSEU30RMz+3afjQ7E2uhTZMXP0hkSS15YUhl1kZsgqERZfebwWyssHS8DtXMXPb0bq38KMauj2AId3cMJRHuOJEWHaXUMwa+a0QLOIJlEZIuDLYk418ysLK7UDvXMOvLZCdehCveUZF8+OReYzKAlp5HH/xMIZmbA7pylsIpJd/66cEkpIZmFdTZE2i7U4WY/AeouZZ/G6TTGGUcPVFovwWLEcI9KFKW8SGqQaNOgaRu6a4CZnIpevdwshvw8ptUwDCyN/AFIWpDFq7KwS9NQx5EUktSuB2kgiipgA7KqklUKSU/PMC0vPRzK7adsYbx9DsISjNkAi/QH5Wcawi9wrL69YIBSAo7BlL+oEdQlcm9z2MofuJOucVkNM0pnHrJzbtJ5Ovw0pSxEmNqLWxmZIqlESqgJZYakgh1G5L1yDwCUT/6G9gpGQ4UCRpH0cr7UR8QIb8PMIGZpQlloGMu45W2ruZcolqhFoBU3PRfZ1QYJ0dSXldRCvuBrHtZA7gVn6EmQox7N3EAmeTAUWrQlIsYch0320QB33MuKXqZVq8gNvtUJx/JVF4hvzk+3n7A5PYhZiUnWf51gpnb7gshibP/YdR5nanZUZOL4ipra4wODGGlXHIWQartTqDdp8Og+z9dxfYN+Xw2N4SFxYCCpbLqY0u29M2//LVf0/38AmifoXMHffx1S98lU8/tYovQ+o45i13lLje0rg91eYDn/gw3tVbSgvVW19Hn7mDUGoujSbNVgV6PTJT2wirSyTLNwly8o6fI9upYQ0N0+qHhHGRkd0zrLz4EtPbQo6eNfmVP/0Zo1ty3Lt1jLWWR7W+QTpfoLpSY3C0TL/nEVu6emdmLIOlapOJsVHCVpOZuTyf+/4qZ//u9dw2sZ0j3/0u03kDa3wCfWInLJ3FGJzcBIRuLEI3ot+vkPQDnP176B49imMZdAvb2PK21/Lp3/wof/rMOg/fOUm90yVrBaxXQ4YHRgj8BsMDaS5VPHLpkKc/+0auffcFhnbtxr0lvJMs5t69GBeP0h0YVfRpW7gouom7cIHM1lm8bog5MrT5efGk345KI1hOmdT8IP2bq+z/wDfZuSVHPvRZ60QMSm84k+dfX17i0++e57f/6N/RfP45jLxOuLSOOTLGxpEXyM7OYOZKuItX0IbmSZVzdF/+OfrMPNmpHdQrNVJ+jfqVdWZesZvcyC7sR/+M2/eXKMjZLTGUiivjwEYzIp3SSDspMhkL3/PYsWWSy+eXqbY6RFrMwZ2TfOG5JV4/n+Nrn30LK784SXpiJ2uXzzI4XiSa2kWm36Jf3SDsdFQtLjU+hBsFWEGX1oVTlF/5ZvoXjqC3KvRSQ+QmtxMsn0ErijY0T3fhBIX8GNojT1D9u0+SyuZJT03hegK0bivbhTM2TN9yaLVixmTBOpynfb1KygwpHZzl8ulFHvzQM9y/a4TCAKSyWX58+BoTIwW2jWf47rkVHslYfOlL78FdqdPq+RjLVWr1JUbve5x4Y1nVMETb5SV9MqmC2nJ6dg598bRKRgUbdXy/RvmBt9GrXsGQd6EA3twuLC8QJia5V7+J9jM/wJibwhmcJNy4Kr9YgrDLyINvpHXluLpcOAKBjRM6vtDALdyqR6/fY6KUZX15idTQJPmd83SvLZOyPTorl9AKE0y85lVoGxX2vfqvafzvY+d/ecsuLq6uE0mvPp1wfSNkea3CmRV46H/Xe/7hI/sJX/UmjM4SG5/8B9Kze6iXLEayGdqi25yeonXzFqOTE7Q1g0zYp7J0i/G57SycPM3ASMzw7Xez9eG/ZnZLnnt2WFxa6DM5XeT5sx22Fz0+9+f7aF2W936WqxevKcPR1t3bWFxcpjw0iBYmapDcach70CSddRQrrFFv0fb7PHp3kV//RIVv/Nzk/W+w+PnRHp2kxeT0GAvXVxnV4SdXnyU+9x0a7oC6rMfr17Hk3R6L3vw6en4HndUTpMu7VaRe66+oi70py1G5dAkrQwbYUn82JpXlzLBtLG0IX6ovlk4s+mZhFTWPEnZukR48QF/MRHIX6CwTmBNY5UmSVhWEnh+tKIc7MiyXgb0zita4gBFVCMsPQOuaqtJaQwJtvgW5PLqRw/eb+PWrih+TSOrT62EVRol6wqvJk6QnNhPPHdn+i6BoBT0JsIf2bir1fEknjqh3fbpUUJYoGWRHrk/a6sv8RS0kpJolMNzYkfdYpC7MsuCIay8L2At9YJC4uoJeHCH2WorAL257018gkd75yCESAdD5ywpOmMQNAiNLLjtM319WlWu5IMTNFbTReQhUDp446mH7TZD02+BOoitf3qyGjt2Gv3wB0jb24D6iboMkWFOpBzESCc8n8Vpo6UmSxjpGxkYr7YP+TZWo8CMXRy7rmcnNpWlriXRplsgQ29OM0u967TMYmlShtuIvH8EY26vuRmFkYA3ehu6tE+kWViqPf+V7mGLRslMEq8c2YdlyTxRtYK+tKluSjHHlzmmnQXSRYQXdHFUMLBkO6ZIyTfoqDaoLq8jwiVKTxDJwEbuJDHwMi0DqaWGIlQREuUGlGQ3lDKJYw2cx89sxswXCisBdpwmFO7Z+miTJYpS3EAnQsP7cnyVaJoOBQ6x7myT/1lXSToGeF2I6NqZTwpUv3vSU19j1Y0XjRC7BsUwbLqNNPoAR6BCtESy8hD5yG5pZJXETpTyQmEsgB3csbNoqjmrKNqgwjrZ2Vp6u6BLFCQV24RJVz6iIhtChjaQMyYb6I4yjtJrgyIcv1CwcwyEiTeTeIOy5ODIRz+7Dl/6yVsXTB8lYlorTyAfRSk0SakIX1dDtFE5uC/3GLTTDRYsj9NpZKMwRyyE0tNGCBRX/0fNjxN1j0HWJR1+FrrexGw3iuKoSD6Iu1HsrhMXtJKLS2TiLMXaXip0nAwdVx8fovAjlg4Q96eIn2N0mvmyjhFYbuurSKltKQyZiEtkIuuh2AaN5CV2gD7XTyI9YYFy6RFbHXoEpE6BwDU1p0kRxWVcDhowMYpqLSklmJBFu4zppO0ck/VVnBK15FuwRnOFD+O2raPiYwQaeXsLQRO24jGWF5Pc/yc+++DFe897v82fv30+zusyZS238fqLi6A/N+PzeX7yT+rHrWGaDeKmFdfu9aDefpxdkSM3uU4c6v7tAtjhMNLAFMz2JF2jEK9/HLowT+xax08ceexX9lz+uukqylY2XL5J4Psn4Xaon76+cQdcN7PIg3voi1tzdRCsnMbOzil4fa0MYw7vV9yHKPPlLCFfPYU+/nqR1mjDuqa6OrkXESR9/fQFzdBcM3IYuXu/mL9Dn3wKi3mkew5l+A0m/jnftGTJTWxXkxJHEgbuI2xVrhE1P7Gv9FGGyRrxxCTs3iiGHSM+gf/Ml4uwI+aFpXOlWM0Jl6QgjU/cRCW326rdh8kFM+by7VZK8kOk38GvXMWWQITFG08Sz8sqFKhBOXbppwm7ou9hiuRg+pOLQ3voxtGiZ1Nw78Td+ghE7GNkpgltPEz74KVIr3yFceJ6kPINh6YRdC7IetjND2L6CX7tKeuqBzRiTbRFl5mD1ZQU2EUifUE5jo0A2lcGzsljmGt0rVxl48nX8y8e/xPv++zqvvDunfO07S8NEeshnfrTG+5/Ywse+9gWqP/25isyaOUkHhZjVW5jFLZukY1dSRwVCw8L0VjE0nyi9V3XE9SQi6izhZIZw3VUc+eyaRfzuBfW3K9EpTYiqKhWUUhd5UR3qaam5bBCmi+jdWyTuEsbwI6o/T3sRBOYiXUvdVJtaozAH2QE1sJQ0h4KspYaIoxya3sQwhvBFL9OuqYe7RHO1dAqCkFh4CKZAgmaVPlR0QhJBtXRx2kvkWyLMohYQ9aSBHlTo+zJQ3K5AlL6oIkWnlp/Bq1+BVAlNtuNJROKYmGFfddhtieqLSksGi3p6s98WtImMjIKFCaAnXLmOJfrPbb+EF7Yx+iFWbpyut4SdTpM0Kgog1mvexBqYJUmVobFGLMkdzUSbfYxU/5aCC/n5LRiJi+SvjfIcWntFDd5iy1SJBoG/KmOB5xJL2kGcs/LSFyx+3EcPIzVtjgwNS4YDYaCe2aKfESeyWR5TnX7cTbCgEXZA2DF+VW3/xUuuaWVC6cdrVRx9nDCsEnpVEmNabT6T5nUS8Xhn8wStm1i5IaUIjX3x31ogIFZ7cwssv2tD19Wk3q1dIjN9v+oMxtKh9DtQO48+dB+hv47j3aBfvpOkfR3D1NC1IQXflMoI2RGQ53bYVPH7fneJFBskMpgwx6SEqCjH8jX5S+cwJQGR34Jum+iJg9+9iS6DhrS8F8cRNI3WukZ6TMA/FqFjYUWiSpXnv3zeQ1Xfkr8pQ6wHfaktzRD215U213EcWh0Yn95Gn6sMzv0nXndnmpsVn10zWZXWiPMOX/vpBv/yoQFefbDIiWWNHZMSnexy5PlLJFHI1t1bGB8fxBcOga/zxEevifKaKfFnZ22ytsmZGw0aFY/zn/llnGyKyz86wsRvvYen/scn+eC3KhyateiGWUqOT6Xts8WJ+OwfP0lbkmvNHhoNrG2SoDFIbp2k126RKxWIxm5Dtx3a3/8muTv2KAVxKp/HW7tA7doqQzNzRCmP+vo62w5tI+yUGHzd3zI/a3HbiM2Jm22mRwuMlFKsVnoMlWwq1T6DpQLNeoNqEDCSy9HvJyzWmmyfKvH8uTqLL/4nckN5bn3zuwyWp3CFPTQ3QffFk6QO3km4tLSZ2NEHsQsGuuYT1JpoQs4fGiG8XmXoriF+/8Pf4C9OtHjvozP88MhNZodyWFlDRS3nByy82ObbJ+q8bbfOX37xI7R+8lMYH6d39SpmsUQkMC3dIXfb/fg//yZBOqMUg+bQMEmU0Dz1Y7SJXXJKo3v8JYz7HyWVhIrlM7jlDiztOmOPfIMdB8psyxqcubnB/HCZoeEs335+hfc9lOcjH/8Q/ksnWK8K/+EuVbPoSl3J66EJ4f+x38Io5nGPfAWaEfYdryZZeBmzHxEUB7DLw9RXbzK9t8Tr3/JVrukwXxJPugxlC0SJz8xwics31hgtFvB8n/Vmm9umJ1htttEyGknPVxvTw2fqvOsVw/x///eTVC5cw5zYh3/iMOb4HJpc6hsu6X23K/OBqFBFjWW2u0SL59F3HkAf2wZrS0SJp1S+gRXD0mWS0jRmZ33TxLH9PjUg7515gdw9ryMSAktvjXj5FlEnxJiZIbpyAX1+G3Z5ktrX/pHhd/9bPDek2F/l3JEz3P5np3n7o0Ncvt6i00vYs71E0o/x4z7PXW7xvbdt5Z63PkDtWlVVhTqVRQoHHlQMleTyC+iiOpu/DU78gnhokPZajdLQMFEpp+w7QbuhkpzJlZPKU67nhxWDSIYzvSuijLbJDE/Sq6+iNWv42QHMoIpmFkg6HYIoJr1lB2FFkpQCXx2AmzdI9t5Lqtuhu15RZpM4lSE3tUP8P9R+/i9Ydz2OcesK2Z3bMHbv5Nfe9N9Z3fB5w8N7OHrqKmvNNvfumRaZEyf7HY78vM6HXp3lw7/9EGGxTBiPEywt4ElvfWONnJgKBobxq+vYgxMYpUGqt5Yxbh2jMLiVuGSTK+RoaTlycm53rvPGX/sOY7dNUUTnykqFzECai+vwkSctnvzNuzj8xaOYaR3LkeGuw+T4EFfP3+C2Q3vptNpUV9YpDpcJdYP66goDJelG2+jtHrMPzvGr73iGp9cs3v1gmdM3Wzxyzzzf/fl1zl9x2T+l8ZOrPyE4+zNqN66Qmn8E271OHKToJw10T1N1jKi5jC1nE+SyVcfyugSBhjM8J5Avkkh+7gKy1RQ/TN4zdlogcxk0WdoYPXVu1AJfmtaKF6VLVF/YQzJAGNwJ8nttn8UZvZs4jgkNj1QYo2VH6K+cQ3Nvkhrehx800HO3oyHLhI6yCGDm0a0sQeWESkILSFie5YZUAoQ+LzXU7hpmYQuh6IxFzZ3bRij3IbH6SBWy/hI40zjFOfqXvoa27bUqXRu1NqHLib8KA3fg5ATQfB2E12TKshWQVE3xAN76T9RZKDV2D7EsCAQa2F6CbEnVFW0tQ1A9opI6nq6TH9tDW86AGRkgzEPzhNCgiJzBTatWXCSWzn3lFM7UvSoBFwQi2gow2ic3BwlxiCbfYz/E1KUquYgpqYGhXdj14+rdIkassLWi6gRaYRtB4xxpxyZI7YHgBnpmCEPgfnaWQOxevTUSa4Lwyt/C3FtxUgX82iXCzABODIHE7KM6SXNFaaHF1hT6wlI4iTF6J2bYUeYDGbQIuNsafoikkEfrNtVZJY77aOkpgqBHxkoTGVmQ+6hw+KQSmt2mquxSRxIzgCm1SIHXW1JTbGEObaZE5GuWAYuf9FXy2sxl8bvh5u/GbWAbNl5xdjMdoVkqGSJV0bh2GeQcVppEcz205ot/mghoSotFOWer3ovWOIenouEW/X6giN2abOTlICEAqi1PYi7/gqRyGG36dYobELRc7Pm7oXET5H8jm/sr3yIZ2qM8hcHyYTRxaZMiKQyLBIJw9egm2XD8LnXZkUuv3hVtRUzsXifSR0gP3a1+sVrnKknxAFpH3IomaAO4vVViISIW57Esh9iT6YGrfOBygYq0CIOsIlXKg1K8X7p0gPsuiTOmtlF6WMUMArxYyJttnHyaJLOPKGpihg2StVOE/Tqp7U/it65he00iOTivnSbMDGI4Y5imRhjJoTiNJb88I4PpLtPv17DTw2r6awuMQ8i0SQondggEWNG8unnx8Ov4mq7AZEbiEXQ7atgicArp7+u08LoVUqX9Km5jJqYwuVRsEtbIpMfoR5HSYdmGid84TawXsaSPJD7x0u0EvQUFWhOvu1UaI+xViarnSe18K37nPIa5hd7575CZ2bd5wK2cVr+PwhP/Fy99/jO85r1f5BufeA1f+tZhnEKWvtfhuaNdPvjwAB/49IPUnr+AI8T7goYrEV/NIPEGSPwrpArDeP0uUaVCan4r7vIlsCL1sPDWT5LK71CAM6fv4W95LbZWIrr5XSjOEqYHMeVw3awSiMKjW1dqDHGoyveVtK+ph4O17bX0Dn8By0wwS1uI3ApaegB94lWE1aNEsaWmxk4mReJX8STOlxtWmjXT2qOUdGZpP32/i1M/pgZSstGU7bwkWYwD4ETa4wAAIABJREFUjxNdfplQwCi+QW7XK+lXjmP5KRKJfw/epTr+yUCBQLyip75F4i8TujGZmVny258gaF4maLSwskW81gpmmCY1MUn9wtPkSztIZh6id/kb5GXYNLJVdZODay/htXpk5nZQP3NYvYB8r8/Ava8gqW1gFIWiWsc2TQUT64pvvHuJoLwDW8BtPR+KCXF1GSQCLTGz9im1hRZnfcQQRnsJa/5xpWOLrTzu6gkMqdLkHKL6IoX516utsopk2rKYdrFCMWvcZODxV/LiPx/nHf/5FG96YJxnDl9n39YJ9m4v8pdPX+fdr9zLH//Vf8G9chVdy+P6NSxNp3X9WYYnb6Of3oq3fmQz8mXNobkLygIgSQFteCvUpZaQxjbLRF2JkyYEUQHbcVQaILzydbITD+G557CLD2DoCWF/Qz3sE/ca2voK+s63KPCMMB60zE7wLhGIJcOylf4q7F1SF7okP4/VukzgVtAl+VMYIPDqEEeqOydEekP0f0FPHTARZU8Skk4XifvtTYVhWkCmo+jijs/PqrRC4lVlPw6axAzEp4syOySRjy7QIZokQVexGKzBbYQCeUzWMXK78BtLmzFAJoiNFlq/obbCov/0u7ewCzP45JTaxXJFT1Mn1gKM3A7F8IjFzVsU60WXqHAXScrDaHXpN49iegba2E4FbfRTGbLmKF7tJFHzKo5s/xsvYgy+Ql0eo+WX0LPzJLqHLiAaLaVSPl0vwGkfIxrcqdgLkbtCIgaP3HbC3nkcUrhRH7wuidbBIoWRnsQPJS01qrSGSeMSlp7Ct7JovTUY2o8uL+zaEXUgMLNbCdsX1f+/lhsBZWNoYwlPwBpWF3FNF7yioeL0ER202EaPXHyvrqo2emuJoLsMlpCHt5CEsrl/Dqt0O5GRELod9bwX+J+dTRNI7auwA03eRV1XpR7C2nmM7AShWcAQW0niyD0WMzNKULuGVhhTcCb57SZ+U72DEmuYsH5EJQmkriHDF1GPWVZe2WREyykue0Mv4Hl9tLhCauBuvFvfJ0kPYsjQtruEKX1FTapLMV79BknvBundj2O0Mvjtk3Qjk5GxUSK9TmHXf+Udj42x1k3QvJiNWg/D7PPC1YSn/2Q/D9+e8IOvXmR+xyi+EeB2hW4uBkGHSwur7N41xexWh12/epnpWZtx6T+7HuVUBt+IeOFCg8W/fgfx7hlaz3yf0hvfwD/94d/z/EqXB3cP8YOXl7hzW5FjV9u0Nvp84SN7cRKbmkAvRQ0sKIjGEs7UGL6WxSmNqWesUy7RXTgPMiyXIWKzT6pYwuxt0LVzFDIl6p7GoLaINT/O3OP/RKaQZmpEOrUJth7SCwJ2zExyY2WNwZEi7bpHuZDiVr1NRjqVScK11T65nMnSWo+zn3mMcm6KlXOnYaJIkhrDuH6GbqNBcctu4k5ffRbN2Z1EeZ3ejVUcPUSTy//6GuWhDOahA9z3qv/GSiXLmx8sc/ZaDUPXlBrv1lIXO2UyN63x9V+EPPfRPRy6cyetZAQ9qlD/2Quk73+AqCWgUo1geZ2e36Cw7y6MtSo9IdZPz6KtVZU32yqmcBs13G6fbDql6pieYzKSrDH320/T8Qzu2xozPTzCj0+v8cQD43zl5xscGIj41y+9j/DcOdqlnbjL12HtAqkRAS6Oo2+fo/HDb8L8PLZwByrnKR76N/jXTtCp9cjmTIweaDsmKN53Lx/7tx/nP363yu+9cY4Lp1boi95U10nZKW4urjI7Nqr4IpVqG9vRqdUCylmdJ1+xlx+fuMIPjrb4jQdSfO6PnsC/eAUvPaGGx87cLnoXnttMO6aFRyLv8xxmo4s9kKa/tIqWK9FYOEdmsKwizdbwPEl7Bcy0GmpEcYfMzFZCVyNYX8JfuqBi73G7QthoqAtbdm4bmUyJ9VMvki4WyQwN0FlbxoyF6aGR3bOT//hbf8H/+7LL6w4OMJHJUYtCWh0ZcBpkHZNnTq7zvQ/s4dCj22hHM7gXDiuekzxPg5x473N45y+Snt6Gu3AVe3KEzNAQvXPHNi9kEhku5XBG9hJdPQNjY5h2Cq21hu/KpTfAHBqjcuRFBvfuVqpa03Ppr9zE2raNqOdjjk2g1yv0qnWi9Vtkdx7C9erKOiJ2oNqxE1hj45iSBCMhW8ygbd1H8/iLlOcnCffM83e/80n+57MNfu3ROS7eWGepEpDNBtxx2wzfPrxCrRPwnY88xO2P3ku4vMrK9UtYDKGNOGRGp2kff4mwWKD8yl/Fe+6fab/wU9Jbd5B/8p10fvEj6mfPkxvIg9Eg89pfIT56isH5NI/96r9yi0RBSvftKBIGLn/z/SYffvMQv//B/Xzni8fYvWdEcWNSuQGctEar5tLuyLkXLMOmWanSjxP2HjhITvc4v3iDpQWfN71rL5//wgU++OUm77o3z9GrPmMlIXflqHS6VK93udD8Edw8Q2PDU2fGYOn7WNog5rD04ZsEqQkVUY+lHpYZh/4aUexA67SyA0n6GDPCCATCZymGl57ZSlJ5WZHb02N78TohZmlKfvLoehM9igiUUr1ClJ7GyNoklUvEqVkyuijyFoliXX32/ShLnghveBtxKyCsfIdCYRstK03GzBN2pf7cQ8/fjeavEEtdu30TzS6ppV9kCvssQ9+r4JhlQvnPjWW6SZ3i2MNEEu2XrXOUJhQvfGly09ZWXyNOCasqRdRoq3OoXdqpUqV2EhKYObTOsqrE6pkJxSswkgxJZwFfEn3DB0kqL6j3s1RvpWrpNRdJFScJ6BK0+hiZQWxZ4iYxZr9CJMDdTge7NKOS23po4AkMW7brVhFDFsSycO6v4nltMtkt6nkRuS0MSYfGafzOJUXh12degZUuYHYW8XtdtPQwfu0M2S1vJGpdUHpdY/BOguYCqewUoZyDW2uKIWKKZUEGNs0jaPqossy1Qou8UkVbchREi4WnNkDYv6Z4bYkoxzXREccEUiUtldCtCfTaYTy3gz11L7E5hLfyE5zS9s0EycY5/PoVNYDQCxNEa+fQrAzW1F7CZhvbStRAIly5qKpIYX5ic+EgtiZ7czmkm1IHH1ZcIoGvJ65w+XYS2qJLbuPLeV0SpK0qUecSWulOrNGdBFIBaV0jDAXYf/QziSdxxiAgVZze3Cb5a4TNdSzRtwUtmU+qTmogkVtvEXv6UaVWk0OSKE4kfuLooo/oEuuD6p9FNiWeR2bmLjyh5arJSgZDoG5xBy0tB1Qf+udISvcQy0FNNGw5KWel8VfPo43tUXEc6fIl9WuQE9VGXfmvk/YFDDnQmuJKyKiDfxQEhKaOUbui4hhxelzR3e3SboJOh5Tm0fdC7PIoUaeNpvtqK2XEQm5vEkh0ffQeQstGX3wGc3AfXmpA1R6M8m50rYTWOqV6FYbUHmTXlZ9SG0BxX2upcehcI/AtrOIQhJ4iYEdaCrPfxM4NExp5vP5lDHteEb91a5Ket4pjFzHMjAKGYU0pVZnUE6Q7H9sjxM3zIMRQzSQszmIFfYJY0hU9TMMiSiQuJQfqNFrUIup2cLJF+mIoGBrH7iyjDd5DTy4Z1edIBh/e1HB0ToAxRjx+P8nFvyAq3YulN9DkAuFr5PbuYPn8s+zd9xHe+MAwviG09phMOsXRlSZv3lvmjz91J50XTiiIiFAro7LQ1mtogac2a0HYIXX7+wjXfgjyM5TLZXsBU6B+fky7tkRiRgxIFF06u46ot3IESQ89EM+obL4n0GJxgzvE5R1YEgeypYMtXR4fLXLJDt9O9fhnSY08hJ4poEtsRkAiN79Kavpe4toSkXxNI3di1M6SlMok0rduvASVNvHgbpyhPcRRlaR4D1bzZ/gyjcVg6ac/olvroKfFz+5TGJ9l/LF34q7eQGtfI0zPk57cQ9K4yrUf/rVKdTi5CbW9CVsbpEYHGXvl+/E32tjRGZqrS9jbX4W9dpx4YJo4mYXFz2HZw3jb3kqucozaxiX8imyR5NCpU1+rk5mZx3Jd9bkqi6t45A4FFglvPE2cGiCTGcRNDOiuYwp9XSLjmlQjZFK6RGKMoElXSFHYJ4iaR4nNcRIzVjHJWHzMcskc3YGTHyGqVVT/XIjF4dBOks5JYl+DzCgpTSd93yz/+rcX+L0/Oce//z/38uzRNfq9Hju3FfnyU0u875cP8gdf+DuWf/R5Mvlx1W0zpWDWWCEQy0gkn5NYabUMCTFlSsSNKwSCy0yNEzp5FZvUkgQ9lpeHj2b0sK0+sS+AOPHX7sHsnKavD6kXt6ZHGLmdm8Mat4o5Oo/RTaBzgaC8E80N0a0EPTeMHm1SX2kuYA3th1A6+wNqMy0dPV3vEbaX0LKTxPKgDQ00iQHnIkI9TyxJn4EJ4vQccW0BLeOgC6W3OEG8dgYzI0O8Er2Nn5IWGr8AXrLCGkmIektEg7uwdYHTdPDWz6CJts+ZUmBRSQNJTyx0CiR9D2RbXz9FKMOyscdVVSLpd4Tihy5QGdkYE6IZEZ54iGW67K0SCKm/cop0fg5fK5P457Bz24k1S0GOZEgp3W+318WUeklHDicCAHSx0z46aWJdah+eggkFfhUtdBWvQKpSpGToEqDLxSg7oWoSYe2CUrNaZol+d1X9/ZLNoUk/bVUSKib+6F7M5nk1OCUQQKNJZLUxtGGinqhoXfRSEcwB9R6QZx9mES1oYVQu0I99nPI2Il3UNyNEsh0wDfV50ZMOsedtDl90B8/JkDFKREmfyChiWxHe6lG0rb+CIQR/o0My9mr09iUiX8OIa5uHJ0OIyzni3kWMzOxm9y9pw8pZzLSFF/RJlQ8RS61HXMOqkuODqJrMAbTi7KY/OvbVOy7prqNnx9BM2b70CftdYgHipieUvSVovoQ5+gg0TkIifcQc+K5KQlGYxJBee+MSGX0MbULSZGuEa6foJh4TB9+AVz3J7K4P8ZHffQ3f+8nPSUc2c9MDpHIhn/zyMp969yjve8c05881qK5sUCjn2LPnIKdeOo7M1dODA+qwM1zsMfu2Y8SFHI/NpTlXazOfL5DKRjx1qsWPfv8RbntoPyvfe5bxhw/xg+8d5b/+4zEeODDDC+cXue+2IUTysbFe4a8/9R5SuRSNk1fQh7OEVy6jjY1iZYdJ5XP0NzbQhfUxPEQyWMZaXyKsbNAPfYoHHqBz/iTu5XOMvObN6BO7qB79NlNbZ3nbH32dr5/p8luvmKYvzwg/5oUTCzhpi8nhAQbSNpdW1ik4WdKlIoNWQqvToeL26bohMo549nNPkM6OsH74GEa2TGZmC/1bC2iGhWF36XkG5WwO128RugGalSeVTmiu17AIGNk3TzI8wtQ9n+Q1+7dT1RuYpk1tqc787ABrlSrNrsb+g0N88euLnPn4PczctUuRmtdefoF0HOGuXqN492uUoqlx/DCytkiPzxBKbWlpSaWAUqUhjOk5guvXMFNZtfkR+Kx/4QV8c5Dp97yJdzz2p7xUidi3a4SrV9f5jcf38Y3nz7PWs5gq5fnRp99E5/wpvNJ99E49RbfVZPSRh2jfXCG/9yE6//o5Uve+FntuC1w+i7HzEOtf+Bjl++6EbJnuheuEscfkW97K1z7zL7zt08d5/+M7OHFxDc3wmB0d5vLNdcbKGdpdXw1g8DVqnSaWbRFEGjOlFMeur6hN8Pfefz+73vGruJcWaJ38FgEaA4Pz+PkiWquN1aui54r47TV84YDM78cRN/nKNXoXT5KZmIBWA21ihlBYAKnsZgQ2ncarVwmXLpN/9XvxX/oWQeIrUK8jTIDiILWzz+MwgD5SJlqpqdj85L0PsvziYUqjObJ3Pcz9j/xn3ILNnskivRBa7b5SeAoYr9+OOHZpg9N/9hCp26bwgwm0nnCuAsLFCv1r10jdfQC31sNMOdi+i1tbE44zdsEhSOWxSuNYoier30Kb2A7pjFJMhvU6RqJhFYXJFCieUpKTvnZMVLRwogzVhasMzG5BN2LqZ3/KwMNvx2xU8au30Ce2458/j9urM7DzEPpATr1jW+ck/ltn4I4nqL/0YyZfew8v/eNzPPyJM7zloSzXLrW599Ac7b6r2AKrzT5LXfh/HhviyT/4dfzlLm7TxaLLrZ/+gOHdu1V8vd/tEawvUpiYIhLga26E/ktPYRTLZG5/JdHVc3TaVaxY6lQJbrzC7Kt+iff8xid4cSXmzhmTkWKJM6vrLCxb3D0b8qk/LFOrTdHpLBP1DJX0kOh8OpcnYxvUWz1mp8ep3FolcjQm5+c49sxhJmdGafV73P/kvfz6B7/PV87ZvOf+HM2+wfFT69xxYI5mu8tzx9apBU/DrZdZv1zHKQ2r5Jb00CVy77VXSQ0dII4MIklW5rbQ7ayrjrYVrtGPRF3dJZOdxxMYeXcZJzWKb2o44rm3TUXmlxqPKYUBV6puEVF6FGR73L1KPP0qtMYtTGcMJzdK372qDFCYMyotGTTOoNllzPJBtfig3VIGhLhfxRjeo7hUnr+shsOiKIgC4bCFJE56kwPgd1RyUiwCxKuQOYBpGoSVU5jWKFH3kkj7FJDS1G1oVOnlCxjLJxQoPFWexQ80LN3AFwB5Y5EoU0ALeqpmoEudWnB68m7rCf9mCD2IiSMB0TmKY6OlbYLqMSjuwcrvUyR83S4S6LpizZmmqAK7GMIIkaSKyI9TJlr+EHH1NJHVU/czyxzB1wKloTescTy3Cr0XVUJTaujyfgmyO0HO9etHCPPbsSdfBfUTGCN7CZZfIsmMYAaxOp/IuUy4EXHcwa+eV/DuqLhVLReEg5YayBBvXEPLDhDpZbTmJWIclfSMg3Ws0dsxqtfxskMK5ouVwW6dJXBmFMNBkp6id9ZE66oq46NY/RqWKEzle3U3SKVkcVRDH7wTr3kDw9xA14dpX/kO+dH9yrCUGBnCqI0xsIc4kbvtYfpeglEcwfR8VfsVgKIuSY7FY9ilHFFqB0HtMqaZKFOaAIfd5VNkxu/EXz+LXt6FadvQXEVrv/A/kkCI1kKY1WVSchzTkVhGDt2ZJ+ldx0gP43Y3sFMpTGMIr7tA4jYxp+4j7iypzXUiqpvqFczydjSvojoRSSqFEaXxWufJjTxAFGska98lks7bttcqancik5ylX6jYr1E+CJZJGDtYAmxLFYi7bTQBIPk+odUnRxrXKZF0byjlmiYbf+nSekJUbKo/GNFvSfRlk1MQqjiWdKP81kV01aHtYsbSo9CJhg9hVE+icNrFoc1Oqlw2cjn8zC6M3gJ6eg7NTgiWj2JFHeLCLkXxDtNZtGaF2BeKvoVuThDTIqotqpisOKvxIqzEJdI66vCt92ugNZQvWi/MELWkFy3dDR/dk+2U8AYSdVi0BNqxfhbGdmIENqG7DEaCLVAvf0PB6gyjjO4uY5gmbl9c2Qma9ELd6woYYVji8L5CUL2lnOJGZoSwfg7dsdEH71cJCZDezCphZjd694pSgdhjjxBHFbLTB7l5+mne8Po/4dDuEi03xgtkmprCE3WaV+Ef/vwO1i5dJr//dVC/hrt4WcFASqUhuppPIt/j/GNo67eIC0Cvr8AZ2tT9aPEyYW0dZ/YhotUzJOsXMXe8ZnPzevMFksFtmFKp6PVh8g5Sg9upv/Q36OUdZLY8RHTzR2iSiCjMYzkSbV5TPnZuyVY5T2Tk1EXNyM6gCTG+9hL9/FZMgTBoliLKJ/Urys0pQ6akfCdR5QV0u4Sz/XX4F39Mb2MNt9Gha7iMipPatWmtnGH60ceJxh4iaCxgNDZgyy78U9+idvQS2sAY6YkButUVFV3ubJxk5p67SO18EPfCEaKUxMHLxNKjKm8lt3aCvr+BtePfoJtZVr7+RzRFtTqeIjFsUobYMlCGA79XpZDSGL3/N+knseqg+8ay2vbhlMiIQ7VVJWmfVVo9PT9PJMT1xkkyAweJMrO4Z/8XubGtCv4o0flIgHP5SeJOBaM8g64gkjV1WdJNjc6158hM7YbJ+3AkIl7rEqycJPOKA3z2o6f5q+/VeN1jZQ6fXiNnWty9f5Rv/uQ6/8ebH+LDn/obKt//BHq/ijN9r4InqkuSdLv6K0T6LGb3InFwlTizX0FYdCNDsH6R9MgUXq2CqilJ7N2TgZqHFpgkxTl0iUEHfTWdd7JjREYeo38NPb+TKPQ2+3jBopp0J1LVkciWxPDEmWrIBtLFMIQwb2DIJVOO9RL11uTnuo4+dQi9X0fzpCeWUf8ecxjfTJMW20TvBklqFKN7g750jQuzxJ2rhOlhdGF3CDwsNUvibUg/Rz3bxCHsCAgmV1bgHE2fJrH7BM1rGDLAzOxXzwT1s1F9vprqkobpMqY9SbB+lHigjCOd/16dULbIpWmE66pOmJ0+SSqrQJ+RQEenHsaTIWb7OPrAATyJAbaWsGWjm5lRFYCIphoUWc7tGE6iYvZ6WgYOCySmTqIX1As/jr1NL6/oLltX0LNZ1csLV6+gj+wgTAxSZh+vfk05c7XBccx2Q10cRNVoFGcgErexTE8NiGTg6xILIDEzqjw+kdRfGksk6QicHSRJAyTW3zuuQH+mJD+SIlFxiGjxGZXusQrjOImurBFxp6ZenMJI0fwNxZzQJ+4Ae1INHm2nSBRVle8XY5zw1rcxvCbd2CM1fD+aOH69ZRL5m5MOXm4OVp5FK4kWLU8URMoQQWErSVsOYCm8viiZ0kpZFIfLRM2qOKMwElslTdBtPAHi2jm69XPYXgNj5F503SX0NfX9q+pSu4Y1ckDF/ZMojSEsmCRNIMyXTBEjPU7QOK04NJR3EbdWKA44VBerjOy9kyi8xfD4+7jv0CCOHlHOFViq1ig6KX58zudT783zxD1ZKi0ZfPlkRoa5cP4CtqExPi3cCQctrbHjjjIf+A+n+NLRLrdNO4zkCjQ7a4yWinz1hSpf+dCDvOl3HqL27Rco/tIr+MsPf5k//fYlHtglfmkNP3RIp3SStXW+8L/eQfXEAla1gj+iYRfuwxgV0G0Jd/kizbPHGDqwn+7l82gTO7GL0zjb53Gf/zHVk8eYfOOv0e2u0D11jNzkNOHQPBOzWdauLDH7rq/ym/ePc/RylanZPFE/Qg8t7LRJvpjh+rUV7JSB/Gul1aNsODxwT5Fnn9tgYd3l+j+8HVeMmbGJK1aR1WWwU0RDRWwxGzUvUz/8MrlDDxKnc6TWruEHoYL/Na+fY+jVj3Hh9AJv+L2neeev7OS5E0sEjYDymEbfE4Wwx549w7xwusrxyy6973+AaHKW6rf/Cd93GXvgUTbOnSI7OYN79RKZiTmiao1ur0r+4IMklSX8y+ew9h7AEJBYvYI+uxU7P4i7cYvs8BTJmUvk33oPf/+xb/FH/3SaV20Z5xcXrvLLD+3nav0WhfQwzzx/idNfeTtaKk2y2sCr19DueYRI0iGnniEenCIayIHr06+vUjATQmF2xF31XDGm5rGCBmsvXGTba7fjrSak3v5VHtudJ58KqdVDCmVTcTCGSiWq7TqOxFC9iELGJjQSzt5cYz5dYD0JOXGxSedv7iMam6ax3CFlGQTyzL+1Sm7LqKLjK+ioaRLW29hejUDTsEd2YkxPYHtQPf4Lcvc+RrBwWl1sguwg3V98g+H7X0s4PEH4428pzoaVyWIPl3CXFpRaSxfOj8CTR4cJPBurNIB37mdKLSycgLxfoas5HPrt75EZ6LO1UMQLfRZrDcqDZSZzWY5cW1T+9Ev//Fbcap2bh69QmJnCmRBjjSjievj1JlFrndztDylDUs4uEVgWjevHyU3chjM1TdIREGxfcSp6SxdIDY5jmHnFH+nX1nCDgKHJcRobVcx+G0tqlKPDWI0WfrejEkGJU8QR9kjKpnvlBLm9D2CmTILL5/CChKiQJpcp0F8VAHeOSO8xVM7jT+/gzW/5DBd7HZ64a45zx5s88ZoJ2q0qTx2psGM0zSt3pPn1j/4h7Rd+Rqdbg9DCCPtY5RSkJujdPIvdizDvuIPKsWcpze4id9shqsefwZallp2mc/ksY3c/SK+Yxz98nIEHHsEsmvzxuz7Gtzc0fmlHllM3ejiSIrEyXL7R5OQPHuPaxRr9tTWKI2NqkVOpNkjChPGJUZau31BQuX6/x/DwIE4xR21ljZnJea7fus7B/ZP8yd9c5+9PJOwfCigOZVlrGbheU23l3Q6cu/JldW7YOL9IZnKLYm4Fa4eJAoGmzqO3L0JuXLHONK2DLrF8TfHjN1Wh7R56cZqkeRo9nULXRojXT8PAqFq86HJXaC+AOURoGFiSHtZttLQsB3uqC27nhnA7N/Dbi6QH9mBIKjBcxzUmcAZmiQTIWz2mYvRkp9TwGPeaqrGJnUfzayTS17dLJOEyaTNLt7aIWRigt3GZVHkv5vDthI1Tm4sUs4RlOMTuKpEsZJ0htK6kBxylORT+gB0GBG4bM5tRMEcZgvhSixPLmFzcA48Q4fIMqaWkKHSVYIlBtVDFu6qqe5IElG5+7HrocZ9QhhCmaJV3qsq1vXoWPz1CXBxR8G0zO0aSmcZoLxL0OxjNl9CGHkATCJ6cbcI29G4p1phUKIJE8oRC3z9GmElh5+cJZAkQ9Ai8jurGi4FLqP597yZx3FULVeQd6q6qd17crWDm9xE6DnFdtvAOplcnSs2iaS5oKVVvinvL6KL3K+whsR2CdBazuYEhNqrhWfqSKG7Kgi0LwnToeYoTIfdqTwDQXouUJTwzQyUF4tyI+u9oXMGNNbT8NrTOeUxJDMY+ycCk4kNF3pJiPRjpUbSUAIeX1eJaFkVJc0FxQIwggXyJSOH2ZWnqqEWB6mhLpaSxgGlmMKceonP8U9gCqB+/A9PvotVe/G+JLTTpTAa/WyeoX8aZekB5qZVrVS64zQukZx5RX0DgLaptfrx6EWdiD2EgwcsYP4lJ5UfQzTH1gzaiFv0orWLuSRo1tbGKO+gtPkuCR7awle7aZdLzjyhQRSKHwO4yRnE/FAqYrRXVNzGG7ydZ+glJbhRSouZqEyU3MQfuVRfZIoZ0AAAgAElEQVQvXdIB2e1ozVPYpYME/Spa9wyBLaaCjKT+lT9Tl82N9E5lWCCbx1j6+76KW5jlrIqS6olFJOR6EX8PbieS3s76i9ijdxFoMtDZQMvO46/9XE1U9bG7MSQxIT3ZoKIgVdLJtKKaitr4Q3sxZJjSuqh6XnGSh7QwCg6hNU+TSGwkClUdgoyQ1m20toC0xPWdwhDrQOsKSXoSW+jReqy0IbFsi2QbJ4YdSzZUDqaQyLUUYX8NKxSV26gCp6iOrmzaS/didBdwJfprT2IKYTKo4JemYfFF1fN19v4GQXsZvXVZPWyi2hHKj7yL01/9PO/40Jd442PbOHt+gXypiN5vcfxqjJPXef5n7yY++UNWbqUo7RzAFOf50IOExSJBfw07zKJXzxI1zuELNCg7iyNbYKFayxRx9CCJ8B0aVzDF6blyBL+/rg6CkT1K1DpFavxxooFJwotfRi/sQpMITO88QWjiYKgtqVaUi/4DxO4FnNoKHbuIFa2gD95O5Hsq2YI1SrJ+AqtoKeq0qFOs0TvQ9AS9v4xePIh/4yXMvEn15HfZuOHiFFIKhiSKMenZRH2XTNamt7HE5J0HiXY8TubGz2jPvY72tz6u+orZ4Wm69Q3IWGQR0FCAXl2jdOcsuT3vwr/4Q/T2GlF+CEMutOkS/e1vIR/eYuk7f07Yd8nOHMRwW3QkyFNvkh/I06nVyRTz9GpLTDz5u/grL+IIe6JwO3p2O6F0uetnCGVTqnAv3mbX3Q1VrNKni1k7gZbeTlgaxxbAmSuP1wzJgI3Xc0gXcyruHIQR6cEdJIVx/HNPk+QMtF5C5FforC4z9tp3Y95m8Ojk59Xke25WNuchkeSkQodjp6r8we+8mvd+9E8ILx+lsXZeQUUHJ3fSFUt5kCbXv4QrVopsiZQ4jb0ecWpC/d1SP4qWmwB3iTAzj6mnMERvkttCGHdIpGMnf6vy/BAPrmVi+BVFu9XMLLGQjt1FHHmmSFdUQGyeh5EfIXCy2LFss2UQkCVJGySNFcxYtg1S17HRw77S2SS145t6zYEDRO6GsqIksY9mDavYeJCbVv07TT2PRrGEc4BLuPS0ipTnJFUSRyQyldc0LM3f7N7FLsHysxgD0vtKYfdbhEaM9/+z9N7Rdp3nfeaz++nt9gpc9EYAJEBQYBcpirRlybJM1YwdW3HiHmccx05sK/GyJ9HEjp1JnHEmtjxyUaTIWbJHlkVZpBolkSABggDR68Xt7Zx7etl9z3o/5F+uRRK495y9v+99f7/ncXKkzRFCr0mSskm2b6NXjqkhgCQkQoE99YVpYuGtvo2RSmNNv5tQommhreL+WrSpFIRBIhCtMQXDM1M6kUDrvFVFHs5kh/DEvjLYJjPxMINuHVMuvFqHML0DWTr4fQEnjhDK96O5AHYWC+k0+yTZSUwrS9yfV/AcY+QRrO4GnkiG8nNoUR9NurCdm0SRj5lk0FOJ2ipomoE1vI+os40mDIVshaAjwBuLWAYdZhozaNBtr5DWLRUN9PoxfiDxQRlA3FODDi0zhO7sIjFqhEmJWDbwwW2M9H4IGkTpsoK1Ov2OSheZaYc4yRIEDWUbiE3p2XUJcrvQWhcU7DHJ74X+DaVNSqekItKB3E5iwyf2OxhCx/bE4TuNbTpEURa/f0MZX8z8EQXzkyGz2FYk756Igzfl3AcyygEwFl9vrHgxWnMV3c4Sh+IcvkmSOYwh0ef2Kki6zO+oAVwiHcFMCTuJ8HouUWRipvoMWi3sid3YXkimaCgLhLXj4zw07rBvT5GrC3XGskUGeJyfD/nTny/x4nt38d03FtTlb2x8iOxIkajdJbRNcmHMlVvbnH60wEvf6fHPv7DNI/tSZKwsWcdjvFjhM9+4y796foxf+o+/xvbn/ieV9z3Ht77w9/zo75/lN148wvzCBu1OQLmcRtts8od/9mEu/o9vM/7Uk3gLK5See5HBxS/Tv/AWuQMnVcfb3LUfv7aOIcm8bPG+LLdo4926g336OfKayfo3voARxOSOPYHhNShMDLP/H3yR4liWjPRPK2k62x6ZYlYxKCxJZIQ6qYyjBlCdXshQJqZd9Xh52eejj43zhf/wLAvfmae8aw+uu46tjWCkcvTPvKSWILmHjtJfWiMl8fNWF2PvfqLNKnJDMy2TobkhLp99h5O/+jYHhwxGCxZDlTQTY3m+c26FkVKO2Qp8846HHbnc+Nav0buzztrbZ6g8+ijexUtoTp70rhlCiY8uLuI7MVpxiqzr4mqSIgRrZifdy2+R372PQadzX0+5ugKzexncu8jO9/4wl189w9HfOscPHR7Cl82WgC2rIUP78vzdxTbn/9W72P38UbbfeIeMzDpzGYJuA3NijGhlE8uxcTubWMI4Ef91GJI7dJrWtTcwxP8+soPO+Cy5jIFZfYeT/+IM3SjiwYlpQg22/T5lXSe0LMaKGVYXaiQFk5Fyjq3tDtVmn3E7xEuKDNo+/9+n30XR7VNdXsDZc5y88DAkfddx0bQAZ/dRWpfeojC1kyDrqF501K3RXVojtB0co4+z6yEGl79NdnIXXpLBu3tdgYKT7QX0x55D364rxWhhZlapWkPZiL75EqYekxrZRf3WFYqnn2b72qt41QFDJ54gVTFYv73G8799joceGAK3x+ToBH7SZqs2wLFS3FnvYPQi3nzpZ1VFr3lngfT4LEFVEhsF8nNHaFx7nbyRwpWe8+oNYrlcTc0QZ8pYcZ/+nRsqopvYWczhSdy7l9GKwxiz+3CiFm6jS7ixhFYsqeeoIVWUfIXITIi3VghNE60XkC6WGeRM9W7ORB6N6iaZvXsJV5aU9i5jBWij0+gbi0SpUUbe+zBv/I+/5ud++wZaOc1HHh9jpdmnE0S8c6+F7xcYMbv8nz91gEefmKPecelXoTS3jzCfwdyq0liYx9ixk/TqsjIcxDMl9MUq3toymUoWc+9xalcvY3e3SVUmifcdJ752RsFvnQd+iEJlm0984o95pRrx/P4Rlag4tq/IK1e3MNwe3/qrp1m42KS+vUoca2SzBSpDJXrtBj3Xw9QdKkNFBUMUXow07GUgsrXVplQuMz1rcn0h5H2/t8ajkzHlfJq1ep8do2nFCPnm5ZDV136e4Yd+hNprX8YZ3qe25EZ3wMCy1aY57lYxSkeU7jaUZ3oUY+dnCFsrJLakdbvoqSKpXg/fyhNnJ6D5NklqCk025EhiNVG989TwCbz0DGZvgdDqoesTJBsXCTIGTjtEHx4miCwSv0/KLjDIFTG6fSxTSOdpfMNCd2ThUFMXUsOT7ncHt1Ula5ZoJy1sMhgCmrQzEHUx/Y4CIVOsgC/GgSyaK+/wGSL1nm+qOpwxqNGPumponooTxWJKemJKG1bnHkPq1QNJ/UXEmQKW2L6khiv3vc4mXjJQiWvh3igOVnZEge3TmkaYGyaJYjSh03trKuUXiNZZIMLct6Soe9/Yaby11zD9BtbME4rtZNmyDCihCxhOrGSYhNs3sXJj6LkJ4pVXidNy/3Iwi4dxl19GT5eVHUDvr9C6Lb/Xd6nnnLV6hmjsMcjNobXeUYsVSWqF7gqxvRMzO4rhbhHrpmLDBWGidNR+/y4Zq0yUlr/rLcz0DD4GulfFdkaIwg1llpLEsScJn6SDU9qvuE+BLD3Wr2EL78sSlX2WpHoWx6koZlJUPQejp3C6m/LphVaVeGiUJHsIpK4obLBAKsPThOtvEhQkwTRD2K0pzoQY0IzmkmIQaHk5M8kiXiD4ssCSwYWhBkphHKjnjV/cr1gCbFxEF5iwJAwb534/iWtXlT4gPXtaTdUkTq05BdXbRnrwEidOxcTpXcTtm5j6KKSKamMk0Q3puDsyKUrAFW+9PYQpURdDAiYmiVCPFTxpp+rKmjKhsUOs1F7c3lUMbRw7WyRs31TxN9mMC13T7bRJFSfRm3eVf9scP0UUJGjbr2NmZnFbmzhygXUMgo1z6EOHITsDG29gpGeIizswwgZR/350xsxMo/evKa+0AA5tmXIVdEIvRySRiGCgDuexbINrd1VvN5Rof5Sg99eIiwfRUxWMwSquncHu/q8DpgwVhIwpXmpxqY8cJRn0SZDDdZekdEQpr8z2q4p2LRGdRNyNhqMUdkYgMeWnFOlSvJOEXfTcDjTqBBKfKx4ikV56pkIYOThhV/VBI8vCyowTVi/i1d4ms/9F1Q3x77yOPXMYHY+wFxAaLRVjFehiEPUw7QkVm/e3b5ItHiGwfEVuFouDM3acIByomEy6s4J94CRx1uexmV9k55ECQxWLYnqSK9dvM3ekwLdf2uTyGy+gBT3W7uWYLFs0wzaZKI27/RZaZhK9NIERdYmad0nNfBhXcwk2L2ErANkdtdEx6m8QV565D8nYOosz9TSJMwKiv9m+QbJxjlRpL+6gilXZhZM/jLd2k8C9hTX5CFoojuB9yn8u9Ho9N6QiP0njBobrKWK6bFyM0dNoVopo64aaxtppHW/1DlouwR5+lnjtPPpEGXvkJNf+6DcoH96HEUQEUgXITTFYnVc9MGfEpr28xfBImfwDz4BWRevl2Lh6AT3r02+HqmNl2iEjU1N0pbfZ6JAzdcpHD5Ia3a8inr7fJaOZDIyE/p1l2tdelXsNo7uP4Gt9vOoGqXQBPwoJE598roDXi4gHLWaeeQ6/0cXRYnpeF90J0NYvYGQOYO2XGHFbJVv8ZJnY7WKP7MW7/X31cxGAordyC6uwE8O7grd2R11U7PI0emWPopcH4nmVbltmF5ZsirU1wnYDOZGG2TnyY1N4032e2/uX7N6XYm7XJPNLS1h6lqdOzvIrf/AWn/vtH+b5f/lL1M99F2voCJq7gduQuP1ebC1Nd+lVLK2HPvluBSeJuvcUzT4Ua4HhK9ieDORc6Q8nPei10Cr7COsXVRTOnj6tvrexXLJsOSC6ZPIjBBLLC9uElpgzpFttY/c3ibLjeGYJmzpxnMK0dfzm9n0dXXYaqzCKG/g4/WXFHjDj1P1UgJCV9R6J6xOLJjNdUvUTAePplkGcn1Fsg8DvEEW2AtKLLlRAOVIdwO8SShUoaCkDCZlxdH8Lb3uV9PAeks4GftgnZWn0WjWcwiiJ75E4OczcfgLaSi9mSBe8dpOgW8Uaf4A4aeOkJhUAz7QqBKJIrF0kKT2sGCW6u46RSG1C3LA1LHHd1r6rXoCpidMErVtEwg+RLn/lAdz+PWyZXXuLEJTQbOnYHVD9da3TUGyMwN/A8NroziR6uoDXaaNLXSGVIQp0Yn+ZyC6juxvoxQOq3hCLSrF0Ek9sMovfQpOBnxB5/VD14X1Ja/UWlMNWunuDxjzOrLjRN3GcKbxEJxX1CJyYuLtJ6Osk1ddJ73wffiKe2zZm4QCWDKDkgiQgS7+hFEZaJIeMOlZRvNHD2Kn76R9fqM7y+cqMqs8KUQZda6jnZDQQ4niHIF1UCkoHnyA9ixXOEyeyyRvGwcMTKrOkR4gxUxUG8h2S2Gguhy6a2ug+wEptEwYBsfwds7sVnd0UFWxw/0CWyDtKT6NLYmIgkNUNBca0jbQaiiUyQJAOu9vBMWPM7BRuEJKxbHr+InGjyvCRF/D7t3nisV/m4x85yVe/fhXNgSBIcLQU35lv8+c/s5MPnLC4tuwynEtTa9fJ5SpsbzXwO22OnzjMhZtLHJ4bYXWwxWP/ss2JcQ3Nsmk3fI7tLbHZ8nG7Lt/53u/T/tqXMEeGWFnv8g9+62ucPJin241pDBJ6PZ/TIyH/7u9/l9rfv4XWkTTGPKmxGQayrdhuUnz0Mbyb58EZxszliDs9PL9PcPM85un34czspfe3f45v6ZSeeJqUnaH32mv4KZuJ5x/n5/7RZ/iTizU+enqUO3frTO4cZ/nuGqVCRV2ox8Yy9NwBV263eOzoOLGe8NrtGi+MZvmT3/4gpPusvTOvaMx+t4MzthN7bj9mv6PUe8bsbvrrS8hToLN4menHPkp/9S6DqEq+PEH+2AH+zT/+L/zXOxEvPjrJ9VtNao0mI5UMU2MFWk2XqWLI5XqG/dY2f/rpH6ZecwmbogBsU3ngQbx+A/fuLSoPP0OvVcVduouzew/B/CXlrxe2S0d4HlfOg+YRVrsUTj7GwKuhLazRFxjfY6epbdzm8f/9dQ4d3q3c1tVqmyceGGWh3edrr9X505/Yy0d+5X2sv3yD1K7dxEs3GMgG9V3P07v6pqqBRfYQ2bEKzd4WKbNIKTvExvmLRJ1lCo+/l6SxRWCajO4u8r0vXuDpT7/JE8cM3D74bsBwOksvkmh0lkLOZnvbo9N3qeQzjA/LoEvj82dX+Jt/+jDv/5Ufx1vs0r74CvkHn8Nbuo0hLCrfJGnXMY+cxjv7Etb4NEG/T3bHQXpL7whYgNzxJxSDob96B2NmN/rkIfwLX8F59CPEYjD5xp+jywBtYoygu0KwWaOQKxM8+1H0S6/SuXSdzPED6jNfHBqjuVgjd2IP/ktfYvhDP8Dn/tvr/Nxfvs37T+6k02mw3RmQTmUZl1i+FnL2SoP3Hhjijz79I7SvrJDePYMXm/QTB2PjAlamiG9b5IZ24CYera/+dzKHTyrulFGtE45PwI2raNOTKmlnyyJn4iB66BOs3iAc34HR7mBI9efBh4lv38S98iop0f8VRA92f8gl9SL/3l2yuw/gdpqKqyIQ3/6Vc4pFVXnsObpvfIP8iWdx3RaDN7/G+M/9Eh994dd5+Wabj71rimqnSVrL8OD+At95Z416S+fDO2z+t08+Tv7EMap/9mUK0tHvazQDl5wQ3gsFUgNJ+QYqEWq26hgTO2jffB3LGCa1eyeJdMl725hzh4lnDhJ+66voOyYx4hRls8pnXr7O73xhnaeODWNEHs1unfXNCu96SOe3X6zwV69scuKBPBM7drC9tc762haTE0P0BArp9nGcnOKWLN5eZnrHFOMTZTrtOrVWzGg+Yqnh89ynXX7yMY22a7JQdZkZGubeyjrX10JWz/wypf0n2Th/jkyxpIC5fnEHyfZ1Qlyl606iiKh5HWf8pKok2QKZ683fVyj3G8gDVjM66kKsV45AZ0OZqBIzIYltVQEQaKtU6GToi/Tn3RBN0g6xpG8FbO5jiFnNzhG7Lajdwxjbo5R2fuMmemkKMzEwwpgwsXETgZ3vxvIWCbo9jN1P467fRO/ewCw/QBD5OEmXQBJv+RxWp4PXuKBg2dLXZ/Md9LGH1RItEPaQLBb0CE0TTkOgkrJSpbEiHb+/gJ0eUl1/t7+okmuhGJHMPEH1DOmR43hBkyS2cLJpvO3bmNkJkiSlvic2PTyxMknib/JdaI1F9FjOcEdVqls0SZovIOdh/OVX0Z29JIbA5zMk5ihJsKI4a5HhYkqlOvHp1m7j7PkwyMBAlNKS/AxaGIyiDU1B8yyhvVNdgsUKZGUrRJpUC8YIWpcVg03MM57fw5g8qCDTsqjVey6B0cdKzZI4sUo0hP0VaNyF4T0YzhSB3AMF7hcm0uXBkPou/wt66EhCL68u7mrgEqwp7bEMRMLqHRKvBsO70EXBI0mF4dn79XAtxo0gFW6RCCtAwZ03ieSsZJZIMkOYnduqdpJKciROm8jeoTgYUiO1hFUR6QperKXTmP0+emoUd/syRmkXqZIoY7+pOAGpA+/Br21hpYRZEQln6fcSS76ojkRMd5Oysni176JlDkAqpbz0SWoOw11WcUdPVEWFB8mWK3Sqt9WWMSkfUsb7fu0KemEMo3ZXUNxo40cwhBYtl2GBVgTb0F4EoWunhrCks7VyhlBzyQ4dR9Tica+ppj0yjRYyooAeJDkQtt5WHXD5gIdtD6MA7tplbIFHRDbmxA78+UtK5WaGW4Seh5UfItDLRGEHW7yk2V3Qv4cpvQrpsCYtjOIx/OpZTKuE5ThE5tD97n4qRSyXyUCm8TPoibAwBpihRIl3ELl1otpFDAE2de+S9tqEow8ShfJBrZPIxUEP1EXaEWKtMYu7/n3ljRaQhlJOiINdviwCEBvUCBrzpHY+SST0TIm6Jj0CAWAENQabF8mPP0bkZNVmKhYSuCmGvEVCUzbfEkddUZ7uQGoCQrYmT9K5qz6oSfcmZvE4ZKV/f1NVHbTcBEF3A2foMFF7UanptPIOTKdClBoh03+LSJsldXiOf3z0YywmAYU05MoZ2u021XbM+XsaF/5wlgNP7qF5swmbyxjDRZlro8XSXdUUtKjw8AcIt9dIlIYiwp7cR9Sok4zsICOH3E6fWFHVV9HCHNrEg+jzXyOQKsWBf0Lv3O9hhgPsE7+Ed+cLaOWHMMp7ida/QyozRpL01YRdKbUkolQ5Srx9TlkqzGyZSE1MDczh4ySiiitPkZhjaLVLaO1raijiO7NgL6NbB2m98dc03QZZp0wcWeipCM0sEYgWztFJyX9XEzKpy/CxhzBnj3Hz//03WHaeVLmAbWkMOnJ31NByGTRPNjJ5vPY2qaRD8eBjkNIo7zpB/9rLNFcWGIhruJjByIpKK42diui0pIcu0BPpHSbqkt9vNsiPZxl+4qcJFl5Xl1fD0DFye1Rvqhcb2EXRk1TVxcTtb4BhqGGadI/0ysPEvavY7Rq+Nk4S1jBH95FsbxOHN9GGj6oLRvfGV7AzCcbo8yThNrrvkmh1gkFAaurDaNX/inXiXTx18qs8dGqS1bUWjW7EwfEKWrrLX/x9g++/9CkOPrCH7RtnsYuz6rLUF6hUoXBf8Rgm6JmUMoV4/SWl1UwQqmtALERbcbsKkFK85+OPEHldNYDTyo8QalLfuKi2/wKISzJpEvluiHovaII1SbYwgze4jSX/PCValQ6eJ1A0oaWukTgSJythiAomkER6Hq01r+wjssUO5RlgRtj2KJHfUluxtBWTdKuE3L88JqJ9k5qPvDjEdBKsYTgTREmZ0L2nInK6VsJb+TpmXqjuOeJUGTM/TtKpEYwcxO5uQV86cCiAYTxYJBGadbpESlIInQXCMIWWy9JffBU7N0pm8knVcw+FdyIb656HLdUtw1QRs9itYsUmoQwgdEcZQhIZFAnkU66v7XlSeYm0pQk3vkV6aJzQN9GsCq6oc+JNjNJpBTRLeg31UjQGW4TOXrUl9LtLqpphCbAn7KgkhZUqKuVfJNsqt04idgCZpscdYmEpxIHSNXmO0K7LJFaFOFjCkP7s8EPqxRfLdau/TlwcQ2tVCZM6evlB9KWXFKHXzA9hFXcQaVm1FeutnlGbMSu1QyWgdMskDlsksfR9i9DdRvBPRmoWrXFewQKFsCyRT02m56kMeriEP5DB61FsO8bzRNVaEJ8OgWx7ZQRtjqM1Lqhns14YUnpB0R6aEr+r3sPI7SBJOmrYLJBay/AJkgBdhiICZzQdtTXo9RdJBfKZMEiE4bFxnqB7HXvPz2J0XicUloUREEuUrzCsKlm6wMcyBciUlerI8RsE5eM4uoPfeIXets7EI5+E4E2ciZ/hgydKjA9XuLLWJAw1Dk5n+fPvLPFf/9l+PnpE49K9DlPjo2xurJEt5MmWirQaLYbHh7hzYZ4De8tERY0nfvome/aMYIl/OupRjCyoFPne64ss/u2PY7cbtEKbN96c51N/eolHHy2xfK9NZSTHdtXF6gz44hu/R/itt9kMt7FabezZWWXZkYqav3ETahsk/Y5yafuDHkNH303j+pvQ2yZ34BjmxB7ay9fRGy7G7EHs6i26vZjxp57Fv/d9Zj/+dbIjOZ6cSkiNjXLvZhWnYNLtx4pzMzRZUd3lXsullDHZTiw+vCPDP/6dT5B2+6y8eQm332TumX9IZ+O24sSEy4ukJsoklZ10L72JMTxJynGk2UbYWKStzZBrLTH0zHs49fwfYFY05jIm+bROX0+zsLKNZjvsHJKai8FfX6ny/d96nKPveYSNax0KO2fpnf1rUkPTqq4lG/TcxH66a/NYlWGcVBm/XUd3XSiKLiok3riLVhkhGt+FXigRXf8uLiVKubSKuKfH0ux76A+Ze2SOdFhjyM7QavepdnWCqM1EJceX/uoXuPvnXyE7mcZ2RvETH2dsBv+tM1izuxSPo7l8g8KBB7DMLJ0rZyk9/yG1leXSGXrhgO6dDcrveRel0jB7f+i/sXP/KHY6oJBI7a/E7YV1ttodpsrF+wnFRGd6LK3eyxcWQ25utbn6G4eYPXGS2tULChRZ2j1LaGeIlpYVJ0IOx0KsD6+dRzv+JPrGAv69q+RPvkBH0kRL1zErZbzVuxSe+FHq189i3r6CPjmNNbVf9YqjVv3+RUJsCY6DtrGkLhxRYZjKEx8iUO/cVcz6Kl7gMXF0D23PJnf3bT78x3c568F7dpS5u9kh74jSzWRxq8W+2SLnrzf55z8yyy//5ousfeUV/J6HVhxi5OGn6Xz78zgj+xkIT6dcpPjoB9n+xhfJ6QbZUx+gfuaLWHsPEUdZtQHNlCfoXDtPks9gD1rqOWFN71YA20G/pZSQ9o5pOqu3Meouca6oTAHpnftoXnuHlB7j6xlyu6epX7lIrjyJMz6Du3FH2ZpKs+M0r18jMIbY8cR+Vr/8Ff7gK21aGZ3moKe2vJ2NLZoYTORsntqZ4UdOVZj5wReonb2KUc6jFzJ4ywv0rl0lteMQ5aNHWHvlbxl97L0kWh+n0aftd0iNTBAs3cMY3o0xM01w8XVcOYmWp4jTMQNnjKHaGtaYx+/+yTn+8kKdR2cm2WzWObhnnL8/t8UPHrP5zX8yycKSj0gg0rkit65dYmxqinJpWNU3ZUm1sb5JLlNks7rN4SMzVKsefrvJ4mKbH/jESUJvi+l/uMqxcamYBQRalj1TJVbu1bl0t8+X/+qTPP6DP8TyS19n+NBR/NYSXmuVrBi0ZJjeuYuTHVZpGGPoEEl/gbC9gZOfg1jSipLwrJDIUiKVRpP3nV3EkeWp2ImcMjRu4FROKMiuvn0WnFFl+3I7t0hPPaP4Dr7bQSuOkK7eYaAlipsV2yNY6RzIexENXVJ9FB0AACAASURBVLS0nVWlEtSLYqe5iq47ROmCApdKEtFrLpEa3kvvyhdJzb2PSH54tQUM3QOBsnueutfpdg+9t4ofRFhDD6DJBtqvY5b34bVE0Ryhl6ex5PLZXScJ1yE9hqHn7qdmhRUj5xtZwqQnSeUyDPRhbLH3hG0F7hRzg6Q9RcFuSU026KMJiFk0hDLoSJWVXlCA53Z6lP5gC91MsCeewWutYXWWCWU5XDp2X9EoVcHBhuro07xIJIOU6fdjext4g3VSiYXnTEPtZQVat8dOqOSOJYsgTZYvQzh2hc7yn5Pa+XOErgwzasQjp0jiPqYw1QQ+rdsKtpkES0RhGjufIhZws7eCLpUJWcbUzqhqi5Y5rOqcmtyz3MsSqVJngKh1CfQcxshRon4VrXaOqHgKI2lilI8QidK3fZMkP0ZcO0u6uB9f7sRmEaO3ii56Z6ui7Ha6WSVsS2JyAzO7i0jqzgIM3jyH1llG2/VunMgn6VdxRWE48wjuoI1jpxRPIkrPqtR7LH+O1rJKUagKp0DO5XfSePPTiRyEhMoY1y9iOiU8iSUWD6ooe5wTV+3nscpHcYYfUiAtP1Wh++bnVDwlf+iDqrvl15dIZfLo5HCjLTR7HFsz8VrzaHEVU1RsnWXorKGNHofBJmFnBaNwgKhzBynWWGWhTGuqFysdE7QipgD/gwGRLltzH11voBX3E4R1HL9HUH5AxfSt1DhxNgfbS0SidnBKBEtvYE4cxnIKxPUrYEwRF4r41Ss4VpZIKxNrIVa+SNKvqw9Oysrg9uYxUkMqTRDWrqIHfZzhOaJenzDYIMruJhW6DAbLZCYeJGrMK8VhWmKkiUm3sUhaIHXDewmkh7ElwEKJK2WJ6pdVpMkZPyW/C6LOCmbpKPjb+Mk2etUlKRaJNfd+HFLUXYa42+vEAs+TAYp0nwd1XNF76AlJfgY9lcJS1QYLL+ljp8p4/XUJx0PuGEbUVNEQiRhJES4yU9h2hkHQxcmPqA2leK1dr4pZXyFMVVR3MszvJ7d7Jx+YeYDMVAFLejepHpFX4EatQ7Mx4N//7A5+5EcfZjD/Dv2BTv74D+C1N9WXUjag3u2vkBRPYuYMwqiJPRjgzvww8eLnMQuHiLpr5MYfoN+5h9XYxpd+q3RZCgaaNqriljJYsaTDhKmgkzJhdAoFfIFE5g+RbL2DPbWDuJ0wWDmHM7nn/kbb8uj2M2RyaRIV4zJUBE9fnceXg/ihZ0mmT9G+/DKp+mWcJ36S/vwCtVc+Q2nuASInxK3f7+lJZ9WQA96WkLqLtDebqoKSKg+RGiqyfe0mKYnpCJCk36ZZazG1by9Lly4zLK5txyR0+4RhrECYpqnTb0ksWyNTki+kQbZkKnrxwG0qGnlOHToLbK7dIVsZxhXISreFHUdMvueTBJK1GogNYx2zdJiwdgvT3ySZepT+zb/BKe3ELhzC760TNefVw1QfPkrcX8Xo1QhsG8eRyFaCLheuxgZRa175XmV77ncSnHKZweZ5shMHVY0g7swjM6tMOoN9aJjTp77Fk+9ySKdL1P2IoZzG5YUWXzvfY/PmX5MN7tFavASlA9h01aBJOk2iP4nlkmabeEGAGdSwCnMMBi0MEV3bmqq5SGzeNItEZpakcwtNNDfF/URxE6JEwsJYpkV47xsYk6JgckBI6eWD9y+9UpHJCDdkTR1GE8Q0InWlkuJqCORGSMN+v4NZHFYOXVHXGdYUUfsCRu4Ium3jb9/DLIypHpawRfTiA8TuojibiIOqolBHvS01qHQqh3C3L2GlRwnS06QyKYLtKxjmGHEsNP8eSeUQWu8OYVwiESXm+IMEkQxqKgTmOKakqiSO11lRfBAcEQnIdqFIPLIL1s6qiLhZPqSgfFF/Hq10hDg1grZ9UcFozNQIkVmA9kX0yrvUS04TOIxzAL1znkCeG4GttnqighXtjwwhnJHD6JtX1AFn4FTQepcVIVuqQaLQZOtNtbG2hw7iyTZXtImiOhw5TrT4dRJnCCd/nwTueRqWERNvvIOeLxNkd6nUSiiVLtEZrV5CK04TypAi6WGWD+IuvYreWsKcexHDX0EnT2hLIk0nNjQ1pHT70sFbwU4N41s5wu13sIv7iNMzUHtTxaSdkWP4woSJetj5aQUfCroCbJJLtkMc3iP0LZzSAypppOdGlWNX1IZiC9H0Abob4TsyfJlDEnQCWo2231SAymzhEN6gTiyD5coBBQJDTDOxi/wgLblk6ZKwaGPZwlHI48oBwZU5+B7c5jqJL0rGo1ilnTTf+S9kx19Qg0OdhgIcRQIzlM+4PYwnyYRSFpZfwZPPN5JE2SLnFEkP2ww0h8LMz/LufSlGKml8x+Lu/CYfenaG//g/lviV94/xLz45ztV3eoRuSK5oMzQ6xPmz59Eii+Mn97Mtz/Vak4mdNh/8VI29e8bxvR5TJYMoMGkNIr59e4O3/tOHmB0bo+XWufTty/yjz17jhSf3snZzjbHJAo2mj93p8Ee/f5rm2w3SDz2M47tsXL9IYW6O7NhuWlfPkHnwSdWFlp91uNlBmx0jXlxQz3rMHv1GwtCxh/EXztFthGSLQ3imh337JpWPP8Pnf+d7/IMv3eLUnEVRN6mMpUlHMdWBDJ4MGt0+Dx+e4cxbS1iOxs3FPn/6Cw/xwodOEi4sYRTGaLe20AKd4M5FSj/6C3hXXqM9f53MaJnUyD6C4QnSpkbn+hUyaYswO4H97qdZ/+5LPPzjn2PPxNB904Ye8+DuMepdj2anRy6xuNXs0dwIWPu7j9Az07SuzJOpFDHm9tC9dkGpKQvv+TGa194k+u7fUDx8iu2lBQoPPclg6Zrq1afCLl0/Jr/nGFKtjVZqeNXbjD/+AW58+yV2Z2yij36MT33id3jtFhRGQ2oNj/3y50o55FIR//OVdWrnf1El14QYb5pZWqtr5B/7ALVX/4LCxF6VgAoGfcwwRPObkEsTOKMUJvbQ27pG0PHJugL1PQaVChf+8nOc+ndrzJZjHjmYptkOmZvIoWsJrZ7w8n022h79niwlfM7Pe/zbF2b4mX/7IepffwerpBG7orj0sIpzhBu3MCRSPnAxZBicNxSXwZ6Zw711Tm2Zk+Hd+G//HfmnPkrn9hUc3SYKmgqY6aAjjyGnPMkgGWBuLNIfhJRPPkGnvoklaZPhWayxYQaL82pL7lSK9Bdv0a+2GP3YRzHPfY9P/sk13KxFOu5TryUKTvbA3ARvXltmerrAq69X+eyvHefZh+fotQIGnU2yzpA6e0Wr98g992NYQQ/vzlUCqZ3tO4KTStO8eRZNllPFKWXYcUxJ2g4wsw7psVk6tTVKp16geesSue4G/tCUYtNEcUL32kUKxRxRpagsAoNej3j+AtkDhxnUO6T6LYypnYpR0Vu+RmV6P16+jHfzumJ2OTv3kttzgPUzX+M/f2WRMzcbpLMGTx49yMuXbrFrJMPD5YTjU3l2P/IIw5kGK2ffQdv5EEPDFay8qFYbavDpZiqk1m6Q2vsI/dvvEJTHKOw+QrB+DyPlEKbTOO0myfQ+uvduYdy+RvHkaQa9LQZX7zH6/qf58E/+dy7XOxybyBF4Bo8fL/Kl7yzzwskC//RDWVZqDq36OvmMjW3k6Ho9jj74EOcvnGNuxxz9nsfm6ga79s5Q3xbzBvQ6LbyowN4DU6TiBWZ/tkHF0XnhIQdXz7G0WKNSyfPdK1V+6sWD/M5nvsDqN/8blpWjNLaHUBhWgRiqDhO2pCc/TsrpELY7JL4wKQyC9Bh2v0mcGVGReuGcSXfeb50hWziOHwsLo4pZeQS3uYij94jkHiPvec3FjAZEXQG4uSSeB2K2cXtoSazSK6prny2hV+8QOmliImxnL37rvDIMGDt+mKB+lczwwwRhG3/zCk6+SGr8YTyBJnY2SE+foHXrJTRSZGYeUSloW9PwjAAjKRCkS2hrZ9Byw2iFMVV3kDONLbXh/pYyPmlDR5SBJpZqgVtVhjiB6krF20xPKF6DwH8draOWq0H1Nla0TZCdwJHOv2FAq4XpWGgjh4iWv3WfpyBGtbV3MKSil58mZaUIe22s/A4Cs48R+IpJFfU3lII+ccroUUjcvnU/jWgkaOuiUX2aqLug4vFa/gB6aSemv8Ugv4ucXcCVJLUAjKW7393EGTtJ0p/HjV0M8hiaReCuKvh1ZOxDy5rQuIkbm2SkLttbwSnvJDKGVH0ZPYOdKRJ6YjUS28FR/LCtjGdad5nAN6Ag8OezaJqDWZ4h2L5JprILf+gIYfc2KddjsPKa0phKvcT0uuq8pacKBN2OOhPriYHfWr4PttdLWMU0mrOPuHmDsHVXJZ7lHhj1qmjTT2D3V3HNojIkWPLzMiWFIKa4GGuwhueH+FJr6W+oZb6DDGZitWjR2uf+fSL0fM1vgBVj+AGhdNJrS1ijh5R2Lva7qnNuT54gUOCDZeit4mUE0FZHK8ypw68Rx2rz3DcSNVHxazcwpn4A3dxWsRZr6BHCeJtg47vYmWl8cxIzl1HewuDelzAmnkCPR4lH5AD39v3DrT1NXJlFG1TVP7Mmn70P4QluoVtzdBa/SW7yGIGdV1MQ6VPaZo5I8pJuh9hIKXCTpm0SdwPIzxLHm5ihrf7MMh2WqI04HSNvg0iiRUO7lBZCFCBmklIquqh1C7O0A7PfIqmMkohiSW+RyBSu7xNFPRyBUonvmBhDerqxj9epYaTLmHpE6G6oX47EYRLfwE+a2FaBxIhUtNjrbeJMn8LUiwzWvoklsDR54CQNDF+0WXuJ20toKdmalgkaK1ilB3GbV5T3XMj8EidMojpGRiIwEUl/HawhEG7A1hmS4hxp2XbXz6CV9qIlGfWiT9J5kq1lrPKs8pDqtSt45iRp2yB7/An+5Ys/zlbX5dGj+3nzxibz66t8/Ok5fvH/uctnf30fH/uxvdSuLVMsjageXOyUFA8hyQzjxD3VDxKbQ9hroEnnZ/Y0pl5WFPfBO3+GNXIA30yR9pZIJt+Ldu/bSmOSTD6uHmpOZhc6fZLuFZKgSNS4jqb5WEMH7pMwvRBT7BCRXORuYQ2/R2k4KE0TjZwmvvuSUo1YRob6nTMk7aba1vd7IbmxPP7mOumJ3YpAunH1OvnpnYqfIJ81uz8gSGqUH38ew41Y+/7rpKdGFTBet+VnLOaqFrmCjS5OZ3dAu7rBzmOPknnw/Sx8/lcJfIeh3QdVJUClIno1jFyJQX0bw3DU1lZP4vtAomaNbFmigU30cJXSiR9k/e3zhN1tjPyEejAWCmVyJ58l6g+gLZPXDkZ5H7FloNXuKpuHEdaIpLbSeJOEMYxItqxHMKUOsbmGu3EFzQrRpx8n1bhEUp7Eze0hKwc/Q4P6PfrNphowid3AGZul3x2QGzqF17lOaaJDrT7K1PvOcGKf+H3b+H7A3MQwjU6dy7cjbrbeIbz0CtWNq1R2Pk0k37nWDRD/u7+GNxBQ30Ap+OyUTdhpQqwTFyto9VskzgRGZhr0EAbrKsZkGgUiSYqkZ4kQaI7ErLPQvI0xspekvoqWHyIUhVz1vDrA2pXDBMGm8q9b2V34/tJ9mwgJZkpUQzZR9zKmPawI3dTOgC3xvhF0zVM9r1jaX0Jq7vXUM0+80mbjMlEsW+Sd2JkCobuKp42QJiR2iujJgG7jHun8KKaYLdxVdFP4Gm8rCnQixgHXJQj72AaQGkLvr2Pl9jAYrKGlJ9H0DEYkKpcalmjhCnMkspGTDYT07LqLmLaoAIdI9EDBsxLR4EjyRZ4X0k10ptEGtzCNIYLBXZLmGtrY0ypaZ/gd4o0LJJk8zo6niFyHxJf//oLadMR2Rv3ZJRYpsFEVcyQNEp03DXRxQ/aXCTobmEOHCDfPK52pMXRKDS8j6apGTfBbCrSlLC/9ZazEU8NavR8RDe5gRgGBqFVjXWnhsIbVvxPmdmC0rt+PB08+A706RvM8sa9jFMfRrZxirMhzLBAnroAKNUkBuMqTLHR9MUgIINN0TOLOBrqZIpbBj6hwpMuZmSUyRBUbKvNI3LqDUZhWn7FksESsaiQC5Ewg7sqERIH7BIgkYKRAt8mlx3D7kn4rY9oFYql2xTFekkKXRJbuE7UWSafHFbAnSmqK3xD1EzSxLwgIzdNIZSsqueN5IbElYkGZOvhKQ5k0hGkyTdxdg+JuVWOxzC6N5TozO/IkY6Okhz7O+06NkHIyeKKmCuWQlnC1mubFByJ+4oNpttahL+mHIGBiZoww0VVP00mnaNWrqnY0PWvwkV+/xUJL0ngD5mYKdBsqvM/Lix4v//xRnvuxJ+lvLVBbqfL0z59hp1SBhiyKVpailWGr0+L//tfvYdCMqFPAjpuYbsygP0DvbBNZPk5eKP4JjjxzhitEZ9/A2X8As1jGX9/AlQvg3ByacCx0iYbGZCen2F7YZiQjDviA9/7yK5xbD3ji9Dh5WY82GzQlYVF3mdg3QaPVZrsecmkj4JOzA/7o73+H7uvfpn1zFSeVISgNY88dIJy/ij2yE625QePCGUqPPIU7GOBXN7Ckk28YlIoZ9MY2uQ98gF//tS/yu9/e4hMPD5EbSfHWlRrTBYcNH05N2Axl4GsLXQaLPpc++wT91AyeYdB99WX0o4dJF3bhb97C1LNkDJte0CF36BF6V89hDToMhH4/OkJm/0nchato21u0t1fITs5hChPCSrH+zhnGHn2S3PAwtRsXOPjTr/HgXIqHj4xRb9Z451abJx/Zx//15Zv8xx/dxU/81KM0vneHwpE9WLuPoS3ewA26sLyCpzVwdh6jf+cWuviti2M4VobWtVcZPngcc+qgqly1ly5T2HcS+8QhPvPJf82vvNRg52yKqbxFZbhErdpnakeOm/c20AcCZI7YWyrh32vy2b/9OM7lm3TqOs7Rg7QaDSIh7JeL1N/+JqPP/TzR8luY47vpz59V32+jMEkoimkjJj20G9fvoOVKmP0uvdUFooXrjHziFwkaW7jtHmyIEqyOs+egghUnwla5/Ab50+/FGtrJ4Mb3sZIEV+LAZNDqd3DtEjve926qr77Ms7/5OuXRHJHwKQQJlS2zur3NTK7AxVYbr54w/59+gMgcsOxlKdoCx4sw98yRvPU23foKlZOPE2oJgztX6KyuM3HiCbz2BtEDzygrlL5ym47yg2+T23NKgY9jRxRvKZrXvo81NKsSAs7cQaJItrnz6GFCsLFKKM7yyVkS0qRSNtrkHvrz59G7TeyxffRWblOZmCSOHHqtFbRChnDTozzSIR4+wOlPfIlkOKYc26oXLzrTvdk0q+1N3n96Px/86WdYeuXbjO56iL6f0F2Yx5odVWnN/vWLmKVhnOMnCPsO4fVXlE43e+IxOue+QVyvkWgR5ugOqC0T7TxBvHQPc3KCyGuQd1tkH32YD33kj6hrDu/eP8P351d5eleWz57r87F3FfitfzLG229sc+TRg6zcW6RdrUlqmmI+i68lSgPsNjuMjI+RKZbZ2l7H70dkbRnwJ1AoMza4w8Hf7PDCqQkKWsRSM6LjNdkxPsKffX2Vf/XRB/g/Pv8XrH3zs+RlG4uLN/CxM5LOm1QLSqk7GuawWhZZTh6/cAy7+hqhLFAm3wfugkodalGHyNYxjUn86ltK+ZvKzhFI0ix00QRyK+aXRJhLbWXTEYWbfDbNYElVjLX8PhK9jO0JLHsvSW9esYOk8y/V6DhoKVaXSQvbGqaXn8bord/v2DvyzhwjFm5Q9W3Iz5AaOUUsS4lwG6l5J26oLF1xcRLHLN6vCPe3SPQxoK3ekXFuH4Z3m8iXekkFUpa6U4XdTfWuigdVtNSYgjQn7jaJgPTQFYvJEN6NW1ea3yCVUXwLb/F1Ykl+TT2PYRh4q+exx4/j9zcx0zm03DRJ9Q214DPSuwhd0ecaqgooqTlJDgq0L7FtBdqOLA1z0LhvhCgNE8h5MDaJ5QyZ2o0d1PD0vMjvoH4eTQb9Q6fRghVMzSIWi4KkSFMZYfQRytBsfIc6R8f1y5hyZph4HEuL8KRWmkmp/29Qv449fETxJmKtSCxO1G4NXfTVYn3Yvo09sp8knVHnDSt9P6kXtu6QFHdhey5RJsQJi7TX3sZyBjjjT0FiKp2zMKvs0oSq3/f7XZzcLhJ3+T7sN4jwMgmmLMsME7d+GztbwhQWU0cMajp2fh/eyrfQR+eU/czbvIJdmiUerKPJXbS8Uw0t/O462vZd9NHHVMVca73xbxOjKAfSGoHhoqnoudAPu4SekO/A0m2l/TNyZTXV6K0tqSmfM/IQUeO2gnQhZPr+ljqY2KVxdfkzQvnFdMAeRU8axPUlktFDyncoF2TNW8P35CK2iyilqViDWTyIU39D+bSD3BGC6jdxrBmoiPquTuhtkOQPqA+fuL1TuRmM3Ah+Yx1EJSg9m/JevNYCdqyh54bxBcMmwD9cNKFui7ZCIiSaTpydJL73MnpxL0a+QjiQKV+GRDcxjJCYHFZ2B72NC9jRAoy9H617m7A7T2b8cRVX0Yuj6IMBoZ3D6d9VZEs5+NrJgMHWBcz8HhInqwBQMsli/QzBxMMKTCUcBan9S1pACxroooMoz+ELhCMZI9FjNCOnNreh30ZL7v89bEcAWldUp1GuJoYxorQkis0QeGpbGkdbOPYkfvcOTuUIUeMuYVBV/nljcj++pylGQjzYRJMKRveeugzFcUgcVhUF2ZK6wCMv8vof/BY/9qmv8sSxIfygz5G9uxgr6/zaX9ziN95X5Nf++AUaf30Nq5DByCfKt25qkpjYJli7Rmb3e1UfLOivkLQlaltEM7Zg7EVY/wpBo4oz9iCxtw67XiCuXkarr2PMPk1096tgddDTDypFoOUJ9KWOPvWsSjzoMrTaehM9VyAuPQBbohsU9sQsev8sobUPPT+FUxkj3LhG7ep3SMkmLuXQWd3EIINZKhHJhSpJk7NyaGWNrnRAB10V5a0884vYE0dx732b7tm/uh+tKabp1Xo4OUOlL2QTLbaJjkB4Kg4TH/nPDATi036Hxmsv44oHXlIamGTGSgRNuezGDKKYglROZBIqUMh+F00cWukcw6c/RLd6m8aF17HLo5iGrS7luZEc5d3HwB6mv3BGXZ717Cy+wNUEeiXDN91QhGBdagw96ZDfVQ5kU/SI3roC6VizT9BbfV11Ri17CM8NMHPiF50jEZhgv0dqx1OYuSyxV8ef/wbpA8/jtQbkUnd47S2bD//6dT701DCB67PlGoT9JtUQHts3w+/91V/g332VXssjFXdVhEki+qnCCIFZwN98ndTYCyTZDNHaq0TuOubouzGEltp5G80avj/1NE2iyim0lBhBhDcSqjinGUrcPIVZ3k3krjKo3iZbOaq2ZL2qkO6LWEZCIJWcYIuoeQ9r+gn85hKJDFxKOzFkc3Pva0pl5Yy+l6B/U11Atdwe5ZL3Vr9LZvxh/EDirF0FvAkkiicNhtwB7PodomiDKHccW5NLZ0jUWicZOkBUF5p8og7q0hf0tB62OYSmCSxRlD5tNIkNGlLxuKESA1KdiQZN/LClXNW+VVCfZ7EgaKLhu/k5nNFHSXK7CfpibRhD69RxLZ3sQBI0NmZuJ+H2PRLp/MVdjCQmMiMs+xRR6xzRYBlj/LTq5FEevq+YajXv9xRzGfzF1xWNWp88pV72sbtK1F3HGX8PXhKg9a5iedH9AcbgHlGYx64MY5gThFpAKEkIORTLJkESDOmUenGKGSGMWhi2DEUtNfhxqaF1PPX5C+SF211TPuWoe5ts2MMrzio3suG2QXp1Eqern8G3S+ilk/cTFQIpEs5Bso5WX0AfPoCv5zB7otfJqQNR5G6hux6hEciRBd121DNJqmieL6TaEFMGFKI0GswTStSyfgmtMISWSI9fI9JidF9cXg5x+4Y6UNijz6JFVeLGHQKziCWQI1kCbd4kEluNRHLzBwiEQ9O+iE8BKz1MIAfV7C4V++1tfIP0yOMKKuXWr2BPPITfXiXp1UgNHybsS3zPu19pMg003SHuLKnqg+aU1CBAt9qkNJPJwz/DB57fxVZ1k+p2pA5DD+4c4zOvr/Fb7xnmVz45xMWrdZzUOGNjWTY2ayRxRDojYDVNASI9O8O+kYAPfGqJS5sxzxzMsrDu0dEGHB5NceZewJOTNr/7c6cY2jPM1e9u8OSnvscHjmW5s9njB0/M0HCbLG30+MIf/yTzX/sO5cPHsWpNBvky+VKZ6MZrtLsDig89qg591TOvYT30EEa/Rerww3S/9Q3ijdtYx05iTuxFqy4SCBG+kCPed4pMJiaRYVzYxL53lhf+wxW+cUV+pgGPTDkUU2ncnEaha3B5ucNiw+ODJZu/+d4/o9dM2HztPGWrR7znMFp9jVArEG6ukhoboSdZ/+o6TmkSa2YErSHqqDyeFhHUWhR6d8k8+G52vvvT5HYUqUQRD+wcpdHpsVBt4vs6R2czVAo2f/i1Df7uVx/guY+9m/qtDrrXpZX0iD0YPvUc8cJFut/6MsbcbgqHH6d+6S1SI2WCzTWSUpGslSbKlgmrS1iWRf/qDZzjR1QiRAZF7eo9BgObnc/+INz9BuWffJUjB1M8Mpnh0p0O1b7LQ7un+Or/z9J7h8t5nveZ99e/6TOn9wrgoBcS7KREkVShZBVbie21UmRvNrG0m3jjeBPHUhzb66ydddyU2HEsy5bLJdmyJZmSqEJJIEWKJEiARO/Awel1ep+vZp8X+xd5XQSBgzlz5nvf5/n97vu1FU7OGnzzhd8iXFqisrVNvLpMbBiE05MErS5OTUjvbeJOjCkgtHYF++TTGF6N8hsvos0eJJ/NU71zm2QyzcDCHEzN8I3f/Tz/4q8XKUcWadMnl9R46sgsp5eXOT41x3NvLynWyMu/9G4OP/MgjXPn1WG945kkDz6omCZsbhElNczsFJ2750jO30e4epluZhpnfpbud/6U5Pg+ooVH4dIpvN0K+iNPkRzbh3/xRaWvJWAUbgAAIABJREFUbW9XSd7/DuJWA//mOQLTJv/Yewnv3qJ6+ntYh46THuqnsyoX0mmsgTlay9fROhVCc4SxZ5/gD3/+F/m553v8owcm2W6W0EJHLWh2ei0+8tj9fOXNS/SKMZcu/BK8+BIVM0tq/jDta9eh0sbPatijwwTFCsbAAmxdJ5KKogy9Nu+gTR1Fly1mIYtfFI5WAzID8rKTmJqk/sPnSB1/h0ph9Co7xPVtgsIMtpNAn53D9Lp4uzt4MsSt7pB84Fk6d66oYa1l6LR218g99jTBlfPUt7eJLIESHyed1klmPX7zP7/A31z0GBkLVbJ2IGuxVgoUpHHPcI7Kdo3nfu1pBv7hh6n+7XfxdI9CYYRucw1GD0PBpfrSC9JgxNz7IO3rr+AOTUJ/QWlrWxL9sGPcdpdWZZXcgQ8SbZxHN0MazZBMziHz1Dt46t3/D/2FNPXtEhMjaQ5OWnzhbMCUs8vf/dm7Wb64iGnk2FndJJl1SaZT7GwVGRkfYWv9nunLdU2qWxWctEMhP0wq57B2e10lwh5/KsNH/s0Nbq5pzA1FFBsR430p9k3l+ez3VvjXH9nHp/78OUpnniOhB/TELFRZxsz34/smZsJUiS2pIXq1Tdx0ViXqemKRqVzEsLJo7qwyJsVeTSnipH4rgHAznce79deYA6LbNYlTM4rz40dNdVYUVoOkfiOBfhf2Y2Xm8atvKc6LUP9NP4E28bjioSRsm7izoxYNcrkWIC3ls8RyWTXE4NTFtAUu6UJ1ESOM8IwIyxU1boneyhncmWfQsyOYep2g0cRbfVlxJKzh4xiNLZzhg7RF3d1cxhCkuDVLylgjNAZUjUrrNdBGHyTefh1fN3ClIi7qdGGZxUXiwYcxAk/F/CM5U8kzZOVFtUcSW45hesQCRJcOeyg7b+GdBWhS6RNgUreo6nKWDPoEQK8n1VKDQCoqruIzhb2iSjCbkvpMFdRnFJ01jKFDqspsWxFeaxfT62EX5mlLndxbxcksqJ5+SJ1Y+vWqCr6Gpgm0rqwYU1FvS5kffMNRwxUxp8kCR75+PejR61QwMoO4pkZrd4vE2AG14BYwvdwd/c3v4Dr9BPYwtt1H0K0Ts4thTuJJDZsu5uBBgsXTRIVp3FSeXukiup4GUXx25IdfuHoaUUeSsFPE7QqaGRL4Mv4Rk0AJu3+eQO6unV380jL6+KPozR21VPYEbOz38KQSLKDRvgV6ldsYyUmVyPLXzpKYeADiXYKuDJSaaPXXPh0LHdLyBRyQVVAI6lvEcllJTKMnRqB5Q10cwvQATvFN9WLGzgiaEPdHH1GbMOTQ2bhIEFlo7hwxNaWb8OvLakOkqSnSJrYupHAXtyBTym9iDch08BTs+VF0kgTyg7T+KtHko1h6oFIF3dqS0vjINtffOYcrLm9RM3Q1pT6Rb2K48g2cyQ+qi4Fm2HidXQw505kDKgYoE+CYNHq0C6I2k0enALvctFK+IUwAzUfvNPEk3is7JfFiiBKqvQwUsN1Bun4bQ74uuSRaKYLyORXhxu+qaRZJ2RgaaktryZTa6xCIoqtbwgogyEgPuaW6PI7Ww0sewLWlv5IlrpaJwy0MTTzmE3Q7ZXSBoUUF9L5+okYZwxT9RQS+hT3QT7D0KnFmSuk2hFNgxNJ10tCFJRg2sANPucclHyXpAT0/pwYR4BLRxND70RoSVZ5WXVe/tYrhTghYE6O0RKsbMvzkP+LM3/wlT3789/n4s/1cu1QiO5RiLGvwjYt1BmOXc299gOh2kU5xCz0v06z78Xdu4bOO2e7iuwXwPay+acLsAVh5RcWEWnYbZ/InVTTZkgRGlITuMk42T+xH+NtX0PMHiLNTaNsvwdR7CaIIPTeBvvEa3doyqdQYLQG3yQ/riMS+M7Q3v05i/88qjZ1z/ffpdR3c4++neeFL1HbrOOk+NNkcC0OiWiE1Pkxrp4KRsGiHDUx56PcM8hkb574P4cv09/TnSBx8L+1Wi5Xv/y158flqGq5rKeWXqL7iVk9BBac/8A+JC0fw1i5j0MYZ28fOue9QuXWNvuEhDGOCbmtTEa916a77bRq7S3TqHfIDSbLDe8ic/DCM7IOz32Tlja+RmZymHeh0bi+T3+MwfPDHaUvFtFGHzh0Vqw6FkOsYeC2POOlgBDHm0CPE3XUsrUxXYtzCQIg1RZrWEnmixav0gju4+/852tZbeNXrykNMYYp2vUEqmcYQj7M0nmo1cjMnqF75NoP/8Cf4/K99k3/7X2/xf350D23bpb3ZoNjc5YVzbZ45VOCLr7+Md/t1vFaNztY1tRWQdJDoY6LMLEaziGd52JnDeBJTc2ToZoK8VwXq2BLATFlCcFBfRW+1YeYoQauGWd2BgUk0p59YOtaVEpGlkxZegjWmNuOWgrLYRPWLhKYYFwwFh5KpqXTvDL+KYRZw7ARdGT4l5tVkVO/8fwLkzAxxRxIrNwnFb9/dQYsHsPIDdCs3cSONII6I02PKWZ9IJZWSsCtJjfwwpm8S9paUnUQ2Qbr8Hfw1dN+kK8PLwgG8qILWFu+zgHhEPTqqEld4ZZzEALHUGSTG1rqlNJBa/gmi2lsKrBcmRtTvafTNE5SvYthJ9HpZ0YjF9mDL1l0Gs/XL6L5LnBDIUAcrnaErnevECIYnujrRBwpNXw4aVUJRqho19UwIdalCDaruox0X1WGgJ51U1SsTvaKp+Axm4TCaRN2jNIa3hSecDydNbPTjbZ1SlF3TGFIH3TBsYwgTob2KY+l4XnxPJxjn0KsXiWQTnxftmUQRe0TVJfWcEaVjd+dr2JkFguwUwcbrmLSIupLMSGGmjxFpHqZsGspbxIl7Q4U4tlRtRL722HZVyi0W7oMMRbwtQnsSS9Iy7dK9JEmooWUHJetP2F4lkR+j2+lBKDDFPJGpKYuMFqdVtSrMTeHXNtFqSyTGHlTOZ98v4whxuNfE766gBwm0wQMQiQoyQutu/P/MmUn01i3QBIp4BFo3QHmULQWJ8ioXVHVBy+5VpoiwuoTfvkJq6EF6kbh76xj2oKqGMJIlZfc4tPDP2GwY/Mz7hhWk97vnlpgc6OPlm0U+8d4cv/HvTvD2i+fVMGFocpzFizcUsLAt3fduj2R/jszwBAfmDK5c1HjPr1/nAw8USFsdWh2LxaJPq1fnzkbIq7/0OAd//ic482uf4+e+coVPPLuX7768RCXwWNoOSHoab3z9YwQVjY1yFWt7ncK+I3Q1C7u0SpiXDZlUgRyi8hqx75EYG6Z4+TqFJ57CaMf0Vs+jDY6Q2v8w9QunCZbfxpw4infjAtm9+9DSWfztRdIPPMnqqTP8iy+e5/vLsrjoyrJaLSsOOT0+9wuPc+I988SbLerrFdJWht7UOHG+n8aZV+ncusTg4++iVavj1LqYJ+6j+sMXycyKfcjCM3UssTdsV8n/yON87fPf5R9/5i2eOlhAi312K13chMtgLkmp1iKTdqnu+JxZrVH96o9j9S9w9+1vYi6t4Y6MYfdnicR0c+UtnCffR+/WMrEYlPxQQa2CyCZZSOMHOpYoim+8gT99CP/2NdwD95EoDBHJkLyxSb3tkzl2lLRb4Ymf+nuu+fDu6QE2ymX6U0mafpejs4N86TsrfOXXH+fkyf0sX30bW2oSQg3v6bh9OeKZYbQ7u1BIYWcL1JplnO0dglw/uijJ2pAcm6e2/jauWQAnSTB9kJH7BgjfOssX/+o0v3N6l8vrGq7aIppKaflPTk7xyWdmmD9g4+bm6dhJ6pW7dM6eZvDkE8SFfqL1VSksEvVC7LRF1JXPE9EIl0mefJLWnYvow3MqrRVcfpXEsUcIzrykQH/a4BRaq03v8uskjz1MYuoI9dXLGCkTNzNNu7iM3m7heDH1pInWNTGK6xh9g7TLRZzJEQanDxBnmvzMP/g9XjOGeChrqddNAGJdzydhZ6g2K7x8y+M/P5Pnk596D9XL2yTwaLZisgfm0YtFcYFAp4vebeKZ0C7tMPyBf0Ighoe8ibleJCjdQdv/DGb1Jv7uDvaBk3hX3pJjGb2KT+rkY+ibGwTCDsonyY7uo/r8H2NOHcWdPaho5eHGNnHtFvbkMXrrNzHleT84R/X8K6Tmj2HJwqNVx5GUARrWkIM7c4Cn3/frDA1n1dl6YCTDKxe2SWQTzOcddkVBGesc0CL+6H/8HPXKJv6dt/EmDuItrWMlLBKpAp2Va7iPfYDw9gXiZp3uynXMqb1og3M4XhXrwP3UL50lNVigtXaTQt80W5VdEkmDVDpFemaO+ac/x/EjCVrNtlpsHBy1+NY5eORojz/59DHWbleptyLKu9sMTY2RSBS4fu4i6YzDsYfu5/adO1S3SoxMjOAkJI4esVNax9ITpBN5JqcbvP/f7bDlaSyMQFLLU2yW1Pn5xmbEj58c5ve++cc0Tp9SaTOtMIrVWKFR3sQe2ItpxIS9mnrWCKTQL25itW4R56fwE0dJ2x16QsOX5aJEwt1RlWoUunyYOoZefB2t/xhme4N24BM3zpMYepZYD9XlW6Bwvd0zpGShmZ1SqlfLHSao3MZr3sU99s8JaksK2mdlptDirgL8EUoMvw9HhtBOntAX61oVzR4V8jChZimTib/7FpEYuTKjGLkx5IIgkF4jaBClBlWSR5Jw3s5bWH33qYScFnWJgwaxWSDubWLoGcLGHYK4hh4Y2Ml+QneYuLup6gXClgrL13HTc/Tk3mEKzGQWvXqTUCqIks7VMgTBNpo7huUW6AjYMOph91r4Wgtz7uOEouALikRGH6GwApJZTGtILSdV/L9vL2F3FTs5iS+GnOYydt8+BQqP2svKxhZFFmFUQg8qaLI01jIq/WAIuC8zp+wK3dpdtYyVxYRUC6SqZ3ZKivpvZeTeWscMm3itLcJAV0MTWaSJCUmqeALelHtGr7oIUs81IrpiYUwOYgdVWolJXL+D175N1C6TGLpfGQD81VfRMkeJkyGJRI5ATxEHBrreJfLKCsKvaxLbd2TXg99tqdprZ/OHmJlZEoUFpYpUKniph+bzapAUBDVC38bM5O/VaE2XsLWG2V4mzB5UP1dy5uhVb+JKtX7snRBVccKQoNNFq73+q7Fc3uXgqstGxbQwohZBbCpnqVlZQktPohWvkegbpWVNoNfWiYam0HeF4B8TdCsqbuq3W0QCL0iN49p1fPnwyczS0fO4crhyIqU3C/0dDIFrbC7iDB8iKp0lGDxMJIftrnQguoQCZPM20fILGGIi6EaKphx2Sph9C8SyZevWFdTLSQ/REZiE20fUXsFLTpCIJDVZQotj/Fj+bgkcO6sUDsH2JdVnClML2PLNd0UvViHouqrLaWX3EnXFJ98P62cJZt6Ja6fo7twiIX0eI4OWHKFXv6v8rZrpYuVn8UoXiDsh5sCoevBFQomUDq/Etfw2YBNtnkebegStV6FLAke0VxK/EXiVM0zsTBCULyuKvaWLKq2E6Qwp/7lccmRpZPcv0JM+SK+DPXBIOTfDzefURUab+jGCynmC3Uukx+9TOqA4lA+JIrqdVpsepWLp24vfKxO3q9wjG7UVwEMGJnq6oIj5ttFTB6j+YwdZ/8Hz7P+Rv+TH3jGKadXIWWnKrQ49P8GZyztc+vYDWD2fzq6LO5JU09Rw47bSkpiTh2HnCr5M0xMWztDDdIWUm+3HL28o16/mGGq6KRR/UQCa0+9HT47ir34LyyhgLPwYrQtfwJSY955HiLoOQfMMqekPEu9eIJIIb/GNe+rD8Q8TrHwJMzdEkDyKXr5EkBkh1T/Dzve+oOJpdt+EihtJD6bX2yWdGiQUmqcWkAgNpUURZVxicIzcIz+Ov7qBtvxNnPF5vOx9bLzw/6L1zZMb72N3rYIdhvjSXa831Paq7753oW/dQM/uoV0ropkt7NijtXKJRqPKzuI2hYKL6SbQu206nR6ZkRFGn/wZfLmkaQ2i/vuJgzql53+TZmjiyCZIB29nh8GT95OeuB9/9ya6lrhXPQm30XThJ/QRuwPYnVVaG6+SHDpCz+7D1HtE+fvQd28QereJzXFoLStPbNxYJ2xcVVNI25yjuPgS/VP7cfa+j82X/4D8+GESKYt6K0Svb5EZdmH2KI/8yN8xmLYJpOu6WuLhPS5HZvby3OvXeP/JOT79pa+x++JnsfoHMKK0It1S2iWKd6HvAHF7Fd2wsNLzdDa+iWcksYffiV66hu5I9K2LKRc2a5SwdQMnnbgHXNI6aJn7VaTesBKqzy0fbAID7MjPZXoYwxCVphgUPPX+E7q7gpImB++951tVFUV3JCrlLhBWfgD6AFYc0Cm/hSWT40gecwEtdxilS02ESvtmiUNeQH07bxL3PQLDD8HutwgkopeeIZQkhvy5kU4n8rGdDE7Uo1m6gJFfUPwH6ZvpY+9UiZugsY1hGoTdqko9CKRFwH2+Gn2WoVUh0AbBqmG7+9RFF4nEWjaBlcJo3iRMn0CXeH/UQneHMeWC22mp97sMe+Juk6B0CWfgAbz0MFZ9UQ0L9K3TtBOjuFmJnW0Qy+G1f0aR+o16mZ7r4rh5JA4Wbb9E1A5xxo8qGrAXtXEjg15cxKyW0Ar78LxFEs5e2q01XEdHkAGBVBsEtRC11WeypCHiuI5h9aOLtrTbVLDSKIqIe2XcZBrPLKgalSfDQaFeGxaBllFebwJPxfcC6iSMPKGi+fcpt63SECpLQUgYZEF99gqxWewNgwRiJOnsYAgrIbbAlsvGFnpPww8lth8r6FMYSZVsm6jjYXbX1HMnkj/LL6qfM3E4B7UdolC4DFX1PTclUizPMWFlyCBXEllxAl8SCuJvtgdx+o4TdtaJS+fRjCRhekIlL4woowbgliVdEOmaptDk8GKPqERMKCYFraDASrbeU1rbpOhqLZ1uaZVcX159li48+C948rF9WF6VhmehRfLJ1uGLP/D5w09m+emfWOC115cZcrLkhrNcPneOY48+RBTrtMu7WHHEeqlLMi4xPp7hR3+joTRhj84UWJOkRqwzP6zxB6eKPP8Lx3j3L/40/+l9v8wXFpscmM3R2O2yb0YI2hHVosfffOVf0nz7mmIH6VuLhFqGeO8E0aVbGMN57FSBxp0LGL02iUMPIezoaPsOmvzTtlSs0bZtGjdfVZqjwvwRWiu36KzIdvEI7eQwSa1HqrqGfmACPb+Hc3/5eQ69432svnGe2UP70U+MQ9ilcuFNYm0OJyxSXL6DKR1UPVKb126lh17dJhAt4pnT6LOHSeQsgq0yFTfF0GSS6ss3Gf2xd9JeXmH/x77N4UMZau0OEymHzOAAV+9ssjBpYfYM7tQ7pJs9OobL9//uZ6iePa/ODaYRsnr9KkMD4/hGhNdtkZkcJTN5P5unv4eblN5nGs2xaV69iHvyKLUz58nqOt7xk6S2N2i2Oqqu1t4uKRp64vghtNUt8gsDnPrL7/LsZ1f54CMuRiygy4hzt6o8dCjP82+Vefa+An/1qQ9SPHOexNPPEpQWwR6nvbGEkUmRyCepvfJ99HSa7J7DtBevweAk5sA43qVXsI49hL9TwfZFo1yh7753sPXmW4zsBXPPIUiMEKyeprzaYGu1y+x+l8zMJK0XX0ff8xD+9jV2724x9vh7KG+s4dRKGHN7MYIenXoVbXIv2sp1rEyCaPAA3p03CW5dw5mYw5zZqyK39cU79O87QmNjEaPbxBmduVfnKozRko59eZPG8hWy7/040dkXad++gXHsBKaqRqUJVm7hTB2hU98i2e7iTU4wMDdF94evsPCvv8dj75ilU6nR6/XI96XY2mjQl8+jN7r8cKXBW7+4j+HZATYaWVKzU7BTwRenuMSaM4O03v4BccrAHpzE2S5S8mtkjz9O3PYJls6SnDpCvO8o+tYWYbuqUlXh4jW1SZfBS0eWJWJ0EbloJcQYzRCWG3iX30AbmxAwFtb4rDIiBdfO0+pskd57H252gOLLf09q7wLJqWO0r56mSxIrm2JgekAN+jJP/gkfe3qIYn2bcs2hkHbJ2QbbnZBWtcvsQJ6xnMcD00k+/PF3sfnWIraTJX14L8FOmeprp7CnhjH75/HTBZyBLHQ8BSz1Fq8QSUW10UO3XNL7TnL79z7NwDueIZqaw7p+huT0LPbYAH3v/G88Op1j/4TF6kaHQ4f6+eKpJT725Bi//PMznP7+DbxmxOT0IOvbFfYszON3uiwu3mL//n0UKxWCVszw3DDV3Tr1Ug3d8BkemKASBByYr/O//EqP3U5Awo4IOj1mJ3PU6jqnLq7z4IzD8xdfovH2KTXsjaKqSqnYyRlCGV5HBtrmK2jJPJHuYqcm1SXL8XcJvKZ6ngWtElpmGqO3RJw5gGVP4G88p2LfkmKOujtQvYE1/jRxu6jOc3ZymLYfK6hobI/jt5YwzCYOaZobb5CcfS9+eZEwN4ktz0ZPQL+DWL2KSgfq9gChEWBJglBqI5JYlnRbcpgoMY5WvXHPvpCdxrNMbNHO7f5Q9fp1bVA9JyNZGHbb9Ho7SvHqhz1iufNYQ6rWbCcFHDqI3lzCFHC4M4FXekvZwuQQKp9bkkKUZ6nevku3cgczOY/dP4m28Ra+bWHlnyTwrtHzfFKpeaJ4Sw3jEc5X+TWsg/8cKjcJdalESA0hgW17dDwLUzcJmjeIU9MgemWxiflFzGy/gitTvYsfe1j5MbyVH2INP3hPp24LP8nB8FYwnRE6YigobeH2jaJpwmm4hpEYUAkDpdiVc5nm0xRYYVL4TjWioIdjQbfXwJKzolQCvYpKmrdra2oA5tUbmOksQUuGFl303GGcuI5f3UaXVF5aeGS7yDwkzAzd4zUJry3UFZdIXi/iIu7QkwrA2BVFcbpfmR6M5i6eKOEliR9oaP17iASo3qkoRh+RsNwCtESWoC5w3EXCqX+KJoyIzBiJKMSXqnXuIN3WLdxMTg0ZTTkDynu22VALj1i30GqvfirGHkPvLRO0ymqKJDHEQLqD6X60rbP0crPocYjra7RNH1PLYziisrKJG2V6pUskc9MEokkyOvjFa8T2kIrtEpTvTXU7HdVJAI1Oe4dk3CRyZlQqQC9MYXiylXpNAcskFutkxpRrWgBxVvYwQel1Ij3CtscUMMaUw6D0Y6U7EsWqWx+2bqPLwdJNoTVq2Jm0gnl5jRA9CgnsCNOUropsx0NczccPZNMnwI8bGFqA5vSpw2avW5agNh09xNZ8IjOPLpfC7g5+lMRJFYhkqKFrqq9jCf2ychXMgvqhkPiKk5nDE0u9vw1mDj8sK9VecuJhpQuTjqrpTqjDaRjKd0aiRD3IjqA37xIn+lUET/6Opp4n6hsnKJ5TsCYtPaziVn5zmbC5jedVSQwdJZCLigIntumJ+irbh04eL+ypIYYnTs/yBVURsJ05jLip/KC2X6artmd9RNIp1sSNPkqjvUlfIsAYHeTR+/4V9brHh58ZZ7nUpLHd49CYzZcuRHz1PyU58b6nqJ1dx4jLtNodshPTWIkRGmtvkpw5TBgfJlp7Dq2xoyj8YXYSW8jnqVF67Rs4fY9gVC7hy6Y3s4fAymNoTSgtEwzsU1GXIBYg43GleDI7W2hDh9S2ODZc2vW72LGG5QSE1gniyqt4rRKJ4afRUg72WB9bLz1PZ2cDR2LPAg+q99QHuRdWcDLjhOVdNemTiXhqVr7+lDJRuBNP0M4eIrr6AoXDD9DavcLSl79AYaCfcsdXVHuJqrtzCww/9XNw6xW6nSJmfkJ9nx0hHBvDkLKxnIMEd75Ec/ll9PQCml8mNbEfbeZxfH0UY/M5gpahVJzOUJKtr/13WqGDme0jJXmCVp3hhx9Hr4mG0kX3YjwtwpWkhF/Da7ew/BViPaUiXJat46/9ALtwQIEWbYlAp0St1FWua4OO2nhGnQahNYE7eJDerb+ElocxMa02E9bR9xKt3yVKSEomwF44iFNfwnnPWX76qE1XL7DVLjM/28fwyBi/9SfneO6z/4ynfvKDlN94Dis5qj4ko85NIgFRmsMKihhLZy1/krhzA79RwkqOKYWoV36DuNlBy0liZgu0JKFMaHUNI5TprQ21m2idDaW06VUlvt5R1QmpGMjhVWtV0QZOYjavKShpoNt4YVNFF2Wja/R2IDOCHsiAMKajDeOKaq13VwH+SPQRb51TvbOUABHNQcKm+N4dFduPhM2RO6q2vOHu8+jOfQTST+7V6NgGcW6KqLSIXn4bc1Q+6GXa24DCJLHej7nxFaLcPgwtQySJlCitNKuaXSCWDHk6CZ5NVBNex1E0M4vevEyYnMUKeoT1RWKJKEoaSXOU7qZTu4TujKNbg0qBqSUcDIEUNu+g9z2kakFhexPXTOMJ0McZg9YWtuPjZR9G332dyO9h5vcRhrtosiFMhoqFIGVYubuLoaEXymCijRZmBKVCW9gK0oOU2kBs4mRn8epXVIfVyNyvfLlaZw0rOUunu4xeuoyWP0GUn1NKwVhrokXSMayoPmWcXUBrCdtiEcwJhAarSzXJHkDX60TrZ7CtHFFmGN+dQ2uuQyGPThZdDAAS6RUXs3AcrDyx2DjKN9Hl81mYAaWbGFIbcTIY7SKRv4Eu9H3ZlnjSI17F6j92zwss4MVghdgRO8MdrN238YefVV1RAZQKCFIGULqRJehIes7BMiRhVlcKPuHAxtqg8kZH1ZuYbhpNYIWieRRVz/S7iPyiUn6FwniQoY/8uZLmakm8dYiAhqqZCYdCS+9FD8GvX8BOjRAEEOsB+ZFxvF6dA/d9ko+8Y5aX3lxhrRiyMK3zU++d5te+uM6v/OgQ/+QDOV46vULGTJIrOKrD2RMAVS8inUkoEr/0ag2/xfSDk/zc/3WBvzgf8/SRBKV6iQNDA6xv17laDPnQgsdnvvqb/P4//S3+6JUyT5yY4NUrLd51UCPsdLm5FfP97/9rNr75GtkjD9K58HW2Lq6w9yc+RmN1iebWulJiFR59lvjaZWWIYXI/nc0lXBkZBdZbAAAgAElEQVRcDU3T3lwikUkRtjp0y3XcMdEM94Fj0qnsotWbWMceJG6VaFw8x+ShI6p6ph9+F8Hia6Rii2a1S9vLEu9ukhhyaGx36W4ukjl4BL21TW/5BpmTT4vsUWn23KE+fCuB2fNoL18lt/c+AvnO1NbJ7J3lZ//tX/DlK/D++wdY2y3Tn09Sace4Xpt2BDOTwyrp961XSvzVvz/Kkz/1k6ydeR2tE5A99G68uIaTGyM+81U6hT46l9/EnZ9VbCKvvE2vvk6qsEBcKJA8/DCVL/we6aNPok1OEN0Ujdco3eXbpAb3EQ3l0K6fpts1yD74AD2twfQHvsBUwWY6E7Pd8Dm4b4xOp8H1lS4b23W23v4FjM0Gu3cXyeYKrO9uke4ZuBPjtPyIRKum+vS9ZAK3fwh9bQM/odEpyYX/XfeMLaKp62iYwxMUd+6QTPWhFWu42QTpowtKsal5G8QNg+JGlW7cIjN+UL1GtRsX0Q7cRyzwLyPGy4+QbFXxJdm171G809+kVS8y8JGfJti4SbtYJu1m6P7wG+iHj6EffCdce0NBRRkcIhBw2K1LuOlBuvkkRqOKm85Qv3obMxvhzB8n6kQYgwMEp7+nVHKF9/80Gy98ltGpvfS8ECdo88Olbf7Bb1zjw/dlWWqEZFyNqCcgyS77p4bYbuxydanJ+uu/QrcVsfhnf0By9hiFyQE65XWsoXGinbLazjtHjtLduIMhCduxKRovvkD2iccVAKzzyjdwjz5OlB8kXDwD7S76wChS2EGYCHL+jkPC3S3onyCz9xBBehB/9Qq2ZG77J9GLApBO0SrWMWpF7JE5uq4B185jje2ltb1MaLik5PdtlelLhtze2uLH/8MlnnhkkFwywX9/ZZUfPSFngQ5rOw3ecWKU1y7v8r27PX7zHSn+3R//PFvXyqRqm3Qru2RmpvHtPN3iEv5GkcJj76F25uuQn8EKa/cc9MLTaiziJvtp7OyQlOHnocdUv7q1tUxuMINZ7TH8ya9yfDTDgck0aVkM2RFfPV3n8YE6/+W3D7FzV6fTaRMK38lNYJsmxZ0S/UNZlRqQSoTY2Ko7O6RTSVKFvIKGd8pVqoHFiUcG+Ve/eoXn39I5OG+QdSxGchbrvYClWy2iuMOlnUt03vqGMnl5tR72xMOKrh80b2KY/QTdXTTdwmyvgzsMAkJu7UKzpbz2+tBhosSCMk5pppDhR4lr1/Az+zH9kmKJiFrOHnoXvthshMnV2iay+9E7NUX3F2V45ObVqD8sraAPTtFtrpDOPYAnv1Zbx8meIGzfVWc0M7Og7jqGpJ/J4ctFUcamiRFigTTKs0T+PahguH0ErbaqgtqJDL3VHyirTNx/ALuwRwHBraBLO5bUq40mwL6erjTGocBWV06TTI4RCB/OGlS1O612A9fN40k60LvHOPM338DoO4Gh1elKjdR1CFslbF3WJ2LQSWBLWiApdfPb6O11wgM/hd2p49/+AtrYI8TCEZBEYnpOpSAlnSmvbyiX50YFffB+gtp1YsPGkkuODAU0i87mBZIC3ha7j7AN5PJsJNGkY9XawhdWUfE65uQJgXWBt07kTmOYwm4QFkCZKOgosLDnldATcv4K0UTznBzDV8uBCpEMb2X5HesgiWaji53aqzTx3eolzIEj+NtnMQvT6n6l7ZwhjgYxpucJS0WlU4zat1R92PA7apsvamhHQMH16yQGDhPKvXb3IkZqDi3dpy7+eCGmt6sG2JExROivKgi2GkoMPE737reVecpM9t0zQfXP4schli7LFp1ubKsamS/nwPoZpXvUrX71/2vlV34lNhL9xKZsCmKicA2ttIjjzqlLY9cvkkxMEA/sJ9p5W13gJcLZXfwa7uTjOFMfQaNBrGcJZZKxdR3HsBWoRxOgVhDhRqt0gwA9vw9T9FIpibnIpn0MT96clIjjDLboPawJNLOttGBGfQXywypCYoRFFfXtdetEhqnUUrYRghcTyKE5Pwc5iYHV7nW5pTcvX6tMsxIWUX0bze5TG5IwmVWbewFvdL06tsRfROHRXSEU6Jg45a0hPJkoJ3L39BX1CpH0U9J5FeXXTDngSFclQktO4VfvYloFNKGNN9fREIJjUsWGHZnkJvcrej3eruo1RVoKs3aBOJknTu9XsIaofkf1TeLph5W7Xm+LczdD1FtFF8VFaKlDd6hGj1WM1IwCDsozQzP7iSWOWnsFK/OQuhSo6Eqs0e3cJC4tY008jheb2KIA6RZJZobohTaR5qBrbXU473UrWMEWsURdbdlyrpKanMeaOMQ/PvQgt+oxTxwfY2mrxcFJU9UGfuMru3z1EwU+8guP0ruyQaeXJJ3KE+eSdNp19I0b+GMHSbbKBOkcXnlDWvdqeqzpHpqzgNE4R1Bdpe32kc7sw+gsEYVFevI6De1R2yFJDTjHfwG9uXKPUbGzSRi1sUYfQd89TTzyMHq3QlBbxJz6EFp3l+7uacz5f0a09OcKUFm9eoYeCUwDeoHG0MAwdQFartRpOAE5cew2qoyeeIZo4VnlEe1t3cKuvo0/uAfL2Eu3VyQ/PUftzT/j9qvrDA4kSA4P4U5No+3/EIn6qpoUapGBni+g7V4kTAxh2HsJG7cUcMccfgJHgGT1m3jFLdyRASJ7Bq3VpHbu8zj7nyIxehSiHVa+/BncgWm6gY7dbNCubzD+vo+iC5xm8yLJyYfxa4uEnWXM7DGlwIvkA2/sfiJdWNoRXqWIm3PxqrKxNDEcDb++S9xrEYU+6cIEXemmJ/rprooSbj+mpdPcWiLVv5dooEB3+QZmX4ZEahCtT/g3Gwx94AK/9PFpdSi5s1Yh5+aJMxbfev4al299HTpLbJ3/Dsmp96s0iVZ/jTg9AuY4bnaSdvUOun8HO3+fqhEJMEceUMJKkMi6rfURBGvEiWEF99OdnqLytzYvKLqumV4glJiZt6P0nQK81GuXISPGgmGM1g06va7q5Omepkjt/s4rigXi9R8kkZwiqt0l8qrYA8fwZStevY05+CN49bNYuSF1EdCFbWJnCQLp9y9jDD+gPpxVakrzCa/9FfHkRxQzxaaGL8h+z8Q2tvFJoYu9Qf7efg2zeZso9RBeUsesLSsVXZieQhMKoDABYo/YSipPK9s/wBh5ANPdi7/+dVUNit09+K2bqg8sHU6aa8S6izH8DmguqaGkkc7SWzuPOXIQmh6+fxsjc4iofEMNCqSCEUqsPTeoInahGEXSc/h+gKG1iIX7EvskRCQfNPHkszPU0aIdwk4NM9FPEGtE7W2MZA47v4+odEsBgjS/Ri/YxRp8AL/VwmrfUMPMsFNES+xBy4yhr75A7ObV5dnMPYhmuXidolISytRcDANSq4qD1r0ElEB8UiPqwR6tXcUYOUBLjzE6FTX01VafJ+o/hm4UiP0tgtT0PSWhQIt0gUaN05Xfy2+oPqUwGPTcISKlJ5Q+qQtCOZZ6lDw7Fp9DH1jAt8UUI8+wBoGWU5AeAcyakU4o8NR0AfGx6gzc+29igxAdkDz/ZIMdSiVN7CUdMLNKFeXVNxXAzOgFklPHTx7C6V0l6EREiT7FyJFOpNRw/NwkRnNbvebu0ALNnfNKI6sNPYLVLhKGvtrmVLfvMn38AbCyDA5/kNEhOLJnjlqtyla3zUOzQ/zdq7t87H6T3/nUfTT8FJfPXMZv19i3Z4H19XV569I/N8rtc9fJDRYYGx5k6PgI//U3v88vfyvioydGWCuX2C6LnitmqNDH2p0K57//cX7w3Fn+/f+4wgPzGiNjU6rXeX11i5wV8Pt//h8pvvEmWtjDzIwTJfuJl85iHNhPuL6p3OeRkcAan6B1/TTuxEGiwKSzdJPBBx+m8vop9NIW1jMfhtXrdG/fJPHI47QvL5Gem8XrFWm+eY3CoTnI5ImKJTxbp1tv0p9NUien+qPO4DR6p0fc2lbWk8y++4UBSbR+mSiwcIbHqJeWCddKpOfmlQY5nSnQbVawUymq1y/S9/AxOldWmP7kS7xnP5R6IQf3TLG6ssxyucuHHzvM359exAt9FvIGp29HrP3tjxIZjiK1d7Y30WXY195WW8vCxBid9RLJoQG6bobM4CDGvoO0XvwumqNhZxyqyytkZo4rvpLEXFWSx7Bw2h3agUd2eIzw+hvU+g4y/s4n1PD32Y9/nqvtFE8vJFjZaDKzL8u8lWGDgL87tc5f/OwDPP0jJ6h8/cuE970XW/guXherXcY8+CSGbRA0avhXXqUTOySn9ypavrezjRYniM6fgiPH0Ox+NNcklc7RqBWJtteoLO0ydPw4ja5H+PbrZB89STQ8iLl8g9JSl9yTT5M0PCqvnCIxNk9i7xQ9MW0sX8eoljAXTqBHPo3LZ8nO7KNV3MYcHkcfHcWIEnRW72A0imogk/ACmo2qsgTI2TQzfZDq3au48jkyNk3z8utqc+qnB8kYKTqDg5jdAL1Vo1q+jTUwiu3b0D/MwPERPvGxP+brN0PeeTxHu9tF9jG1mg8Jn+n+HF9+c4dn9+h89a//Jf6dNSISVDdX0Ds+muuqJGxza4PEIycxqy16d+5gzsxjDaRonX8Te2SIuG+a6OYVHK1DJ7bx2xp9734Prdd/iJMdotfeVUkXe3garSa9cfk4WCKT7scTzXOjiJ3OEhblmdWPObWH3toi3c2bZBYeprt4FfYcRnfSWKVtSqUSo6OiXktx/nuv8W++uMH7n56gXQ54c7XH7LDO2kbIZD4i36cpFeyfn95l/3CCl3/nGQUqbq8GZE/MUb15hZQkRN0UVv8kzfOnlBKc8b10zp7C3nuUVG6CxvLbhAKCM2PyEwuUjQK5W+doRz6phQmufP11PvDZO3zgaF6Y5NTLHZ45McJ/OdXk04/Dz/6rwyxdKyptmVhVm406jXKd4bERdaZZurlIPpfDzVlqSC28pETCVowAw9ZIZQvMTLf5yjd0PvHnS7z3/j5cx2Brt0IissgN5Tn16i7LnXMYS69R37x7j4AvFozKLbyaaLPnlMUl0DMEzRUyuTGavo2unkV7CKKa0uKG7qi6aGlGDV3LqWdywgpo11cxUguYvS2i9DiB18FyRghKbyt4rRE7tIVxZs4QxSUMbYI4m7mn3HX7xDtOvH0WuZ9FQ4+gdyr41TsKRCzovV5jA6f/IXUWNgTiafapxLD01uPEEDQuoLt7FANIkmp+FOLmZtAkOp7IYCQH1LNQr17Dt0dI5PcS+G2i1iqRkUUT9bLeUWpDz/MwHanHGaD3CGWxIeaovgPqDN9uNcgmB/Fbt+jpfSTzC8Sta0SSiCxMEVaFRt8ikupz/z5ITUG3pAwsngyvhE0g6bq100RxTPLoR+ndeRWtMIZl99G5+23cmceIxUHotei0N7GleikKPBWbd1X90Yi2aAZtkn0PEoj6LpHAcvMETdEf5wl8UUe/hZkSfookTOUtpqkLf9iVCn4NQ75HkgQROLtwubptdFuSh1m1uJU0puiUTUmORk0621dI5+cItIQCN+qZg/Q2zxC0t3Fz4zD5BLbfIOg2MWSJ1biGFqcI5Fl493niscdwjTJ+zyeSamZhhiDokUjm6TQ2sTtN/GQemruYYksKKljmpKpg6jKocVJYsgS352nsvk5ChiPCpogrqkLbC2s4+f3qrqTV1hS82JBhSndbzuO/Gnutiop8WJljtGu3FC4hyB/F3HhLTYqkY6H76yriIi902NxBd+TimUNv3qCrJXHU1mgKr35Lxcgjd4IoLW7MGmZ6HAKLsHEBggZY4+qwFXjbOBKvTKTw5OLmWNhRB7+XIsqbqhsrPQi/uIIxdkz5D4OtlzGH70OvbdPZfAk7L/3HPMbAAdV96EofZeLpe19LawNLnJrSg1DRh1004U9IQkDUVtJx9RtY7hRB+yqamVE6ibB2A8cw8RX4yUezBbIkUyCHYOMUUd8+jOQhwp4oqJJEjRpoHqHTd6+TKhEbYxiTEkFJop43sA58CM2eRt/9Hr7QKUffT9QqYjsuUXIGf+Vb6H37IbcXs1dTzlxfurm+Qdgo4mallJ8k2LlBmJ7ETZj0mluqFxrlptFkwEJbEbpjZy+G2aW7+gJG7gSat00gwxfRluy+TeBFasvb0UxsSVC4Jt2NH+KOnqTXahE6WRICyNAMesUVlcjo/+An+cP/9Rme+1aNZ963wPPfv4PhRhyfyfO1Nzt88H6b3/2TY7TObivNjijD2js7ZK0adenp7/8xupunSAyfIDRGCa58Hm3kUcLWEpFXJDHyIJ3aCpmRhwlkILR7izh7FI06nWYVR5yoQRsze4De3eeI+/bi2AZaL6Tp90iEbazhh/ASIXrFI976IUF2Brt/HK2ygTl5H1F7k52Xv4QzOEur56PHMX2z09gz92MlEnjbl/ALC9heBkPAZnYfzaUXcZLzaH37CNe/rw7ubtSjl55RgLnu5lm0/EGs0T14i6dw+k4QNBbvda2k1lJfR+tUldJODi965wx+pwiZEyrJ4JVukUha+I7QY8+jeXWM7AiBwHbEw7p0iqUXXmD46D66uw1FCh45/jR6wcaNpdO0RZAcxtTdez2q3B6Eu0L5JpGss+s9Amq440/hh7v4i2dITu5XwD5HYlPtRZptT+lIPIkYt0V95qAN7lcbIE03SWYMOr6FaXo0lm5gGRkKz5zks7/2bT75pz7/9ifnadZKXFxskMqmuHGlxPwQfPvmRRrnvkYsE8x8jq5McXUbTSbdeJhugSjsYETSORf6exn87XsckfQkQSiX6FXsxDBmp4MvXWGjrXpeljNHLHkmYWcIuCYpk9gqfhQQWwJvcYlbl4mlX+5klH8+cpPEvo4uH4TZGTzx0ov7vdCPGYRqM2yI1aN8BT3lYO4u0nMKOCPvIm5sqEtF3N5CCw209CCa1lQEd7FJ9CTxU7tN4Ap0cZKo9qpKDLjy56VkmDENAkJtldFlSt26RZCYVpN5GtuYAjc0YqxQlFY99ftHvZbaGkstQQaKhtXGq22g5WcFCo/Vu46up4jcecL6JcJkP64zSRzWFVNCakPkZjHrN1XHze4/qLSZrp6h27uNJgdhvUGkiY1jEKtVIfLW8Z0prKSAWxsKOIPfUkkLDBs9kodmDU2XHp2NL8SG9BSxdNN3XkUfe1zFJY3iG9iFR4n8Vdrla7jTH8Zs3KHTvIU1+QECv4WpJdTwMQiLuKHUOnR86etrLnjLBFg4qSnlM9abi/i+i2bEGEI2lgdzYgSbFmZ9Wb1npF6meYtoqXmszChBmCEOd6GzgiWvk7iMbeE0+MR1UWJm8WoV3Hwfod1PtPEydm4PvfQ8Rv0qkZ7GdrOEYaQOfVE8imF4tASw09hWBwpRLAdhXf271evgeW3FyNEVQyCFru8Q+XligXvWbyBvaWPgEYkE4LfvYHbqBIlJEnZIr3QdK3cII5GmV71FJKaE9CG0RFLV6YxsAdPTFQxKaTwFTljbVc8z/D7Se2yilkd2/mc5MqZx9NAMH33mKJ/76kvsbDS4VjT56ScT/OLHBlheNUjrOlafy/nTF5g/OIdlu+QGssqCcOfWEp1mlwOzCe7shnzij7pMTaTUdqfV6vHAnn68IOSrL67z+5++n5/43z7K/Mx/4NDBJPdPJnnrVoXbOx4PH3T40z/439n+7jeIrWEGHnyY7cuvUb92jf73/R+E175N3/heSuUNEq6DZxoEZ9/GGU4Tis4xoWONzpPM2NQvnMctZAglmSi/7u2XsGcPo0UBndFZom4Pa22RHh520CI5dj87YjSIOjjzU3RuL5LKZzBFabe6SdhaRGt4RHNH6T/yKNuf+4/qci7DWGtglkbQxuqEavNipZM4iSypPUP8o0/8AX9/tsljR8eJyiVBM7J/PEcrMLi2us2DewZoNrucWvH53Q/t5Sf+5UdpvvWiYvFooyN07m6rw7NttIkG5xWwjr4E+sY6frNHnB9QkLBg84oi8HdjQx3wa7evkJrdR1gso2XSJA4chOU7+G6K1MA4G2+/QsLJMfHYEU79+ff40S8v897ZHOv1uiJlP3Zshu9cvE29EdHZCXn5tz/C1NEknZvLGCefofitr2PKZWLuAK3VVTJTs0SlXbRMDttJ4dWLOP19hBKJXrurtk3m4eO0X/kaUX6IvgffQ3jzEsHmCr28Rd/kYWprV7GnTuBdvSDcTMzxvUThveEMlavERlJtje2ZGbzbV7D1DFHWRY97aIVJwrU1EtOz+IFPe/0ubv8Awe6qgrQZmX6c2VkaL3+HTH8f3a07pE48RJSZJrj2KmGzTuKBdxNoNvrWJqHdVJUJTTPJDE8TTc7R50VsXjnFyNQw/vgkQw//IScOppnM2nS6OinXZqXWphPFPLIwwYUzd/nc//0upmbz1JZlqWQrgrjE9ttdn6hWxAlc6E9j2QadqkeQS2ELirMhcWFX1ceCwSzxZkUNzmU82BNL1LIMsU7SWL6BVtzEOfIgoShbby/R7Z8kPTJM68bbhJkkqdyo8IPpXXyV5KET6Ik8JF1a3QCzXCRK2QSbW6T6B2iHEWatxdBTj/OZX/5v/Ievl/nQ4/1kog7ZRD83yxXohTxydJoLi5tUy7B/zOG1xRoPzSX43b/4edovvUFVS6CHNYKdLdr1HmP3P0JbosYCPZVk68xjhAND9M6fUgNlfeoxCvk069//slKApg2b8pXXGP/Yx/jTT/0Nf/zNm3zqZ0/wF39/k1YQsW/e5XMv1Dj7mYPs2a+zdtfn1rVbJF2L/YcPsbW+jpB0hPzfKFXU9r/VrjM5OcvO5haYIf1DQ/heQLXsc/x9Y/zqp8/y2y/V+QePjbJ5d5tWBFk7zaEDGf7071a4ce4z9GV7lFZF6bSDIwye9Cz0IjSB0Zk9BSonskgIxK12m9bu22QG90Gf6PU20dpFpdTumnkcJ4Uv5PWgQxDniKKySgpYA0cJy4sE7TLOyMOEkjauXFOaQSMzTSQpzCjCFGifFmCEBaBKNHQMvXQdov/J03tHW3aWd5rPzvvkcHOuW7dyUkmlLCQEErRAwoCNGdIYG+y2jQe33ba7e2yP7W43016G5Z62px1waAxtggHbIiOQQDlUlapUOdyqm/M99+Sw86z3q16jf9ASS6obzjn7+97393ueDolcMLM5kto6Tm4XcXONxAwIpXpaOkQsJgEx5AjMXGpjgS8NRIzUAEH1ovqcJJ1Gy4i9zcdrCXvIx7AknRqCmGUkpeiWcXKTKjWSmPKcF76kSdKtgNT28kfo+CsKrmu1d4gSuVwPkYgNLeVgVW4QpcdIpOIgMtewRZTJ4LQDVZt2Ru5XYDxdKrjpNKYlVTyNIJb6+SLe9jaZiXvoSq0giknysqAuYgvnyZCaoKRyVpQiWZflTXEXjjWC5m2owUfQqRDQIZUeIKysqfSC3X+vSplqAo11CkotLYkD3fHRhaHjyyR4S1ngJP3uGLJsnsc1TYKOjyOVxKiHM3g3/sbraMUycZBRZwszM0AiFoGuqLtLdPREqUm1ToVYbABmSt3vDHcYUxZrzqh6XYSteaz++0HMQUlOLas1vY0h5rmdS5ilA2i+QABXVaomDneQa1liCqh4lqDbJFMeIiBHXJHUwITSWUtSPcwfVouPUHfV0iNcO4nuDODkx/BDX1m+5LWiNU/+WRLLFjZoE/VWIXsCJ50m2DxJXNyjYCaqtylKKemp6jm1fbZGjirFSLD5Bqn+aRpLT+PYM2hjRwgu/A9FdA+z42g75yB/QH3x4rVk/E4icUAOnVAWANVzDTvouNjyapUpi6gprBEcJ1LqgkCP8bsR2dIEfmdL3uf//xY/8X3iVKzeiGnKtzbGeotQkxJHHSs7QJiZQA9qBH4HQ2B/vkRO0xhiAAjlze2im4GKaovmwTIE3hUQZ4awCPFWXkLLj5Pqux1v+bvE5RMkkgQIljF6unxWKCKmkdsHjWW0VE7ZBYyds1DaR1SdRe+/l3DnNEkvwcwOqL5Jp/oGVt+d6JK6UI7QmEB6Os05KcsS5wfUZDmRYcmWQDIamBIb9ASgJorAmFje2DJ9dAfUL9iuz9JNEtW5dYMavc4KadH9SaymevkWtC47reJPSSAKxDra4EGoruGLSz4IMGSalUgzYU5B8UKzn+Lhx2he/Cem7/o9PvATU2wut2gGbfbmbEYPj/OZLyyw9MNHMGs7+G0BY4neRFNGhSg1itOtUWktUs6M4aUs2LhGImqR7DT23kfQKst0tW1sLYenZ7FWnlH/njnzKMn2HJH4TwfvUIeF8OaTOPkjBCP7MSQN0tvGr25CcB1TH8WUy+vyG4SWibP3Pfgn/1Q5Sd0j72fnzLP41RXsYj+drXWKdkj24Y+jJzVoJsqhbnSukRREG1dVaZI0Bp69D601i5nJE6WHsLQerXqVbP+U2lLqfg2v3iaUTnQ2T893SMcdPLEojL9XHRCSnUt4jTUy5d14Dfn/XictgLjIQx+4F23zFfTeZRJ5I+cPYlpF2qf+hGbDVmYNU+uytXiVfe/5LYLWNeKNNQXmtA2TWNz1ch2rXcDe/QSGuEs3n1OwR1EniV8+WT1J1H8HmUxCc/USmm+S2fcmgpWztzywQ0cV38Pa8wB+ZR43O6ziTkHtKp2GTnnfAXUIk8lh+c5J3vvhM+x4FsenQ24sROyeLmJrFv/wvRv83oen+Lm//gGNb/9PsiceonP921jlh7ByebTt1+j68gLzcIpT6sHoeUtk+x+kW72OVTxAaFvYvSpsvqbqD1ZpGKcwgsewSnnocZ1IhiWiSBO9SyKfIbaC6/gS5wqr6KkyhjVKYPjQrqgYmnTL9O4anjkorFsF1QzF20sTTR42ukUk6aPcgNLWhBtXoW+GqHoa3d2NlRJtaVNFtjU9i5HOq4dGbDlYwuAIl+nGLqmwRShRfL1G1PYxC4fwq6dUrcjsP0hHKhmah1G8i1DAO/Lf7ayiW0WlOtTTBfXwC6UDH4WYzavYpbsJRTjHoacAACAASURBVBkiYJyCUGJrhGETXQwenRZm44x6YMcCZM0MKWhgKFG2ylVV+UjyEwoGSaeBmT+gXPNRc01pfoQNIh9j8rAIZDqemIo5IkA7UQ/ZY4dUF96SrmAS4MnzwrQUmMnfnlfvnyg1rSjUphYROzkSLatSVrGZJ3JstO1z6uuQKGUin3mBo8jdcSS1p4OkTJ/Wxhn1ILNTBQI9gyYblrCOntlPVHsRLQhJ7XqE9twrSptnp4pEfhMjfxjTDQhkuy5R/aSH0zhJ4O4ncQ3FLZADeVi9hjFyN1ro3TJmeHW82gpmfhRDhgV+QuC4Cvojeq4oJ0NdB1pX0Iu34S9+Dyc/gV46oCLeXnsOqyAJri49bx63eAxdRLq+VFEiDNmQalt4jW0FvzSKYj0oK72nlUjf0cTwFjCkcmFN4IZN2t5N0tooScokrC2oSpiZHsJbO31rm6IXYecCZrZMqJUwRKfpZek/cozO5iXGD/0mn/zQAZ57fVGl34qFgFHb4vMv1PnEo0P8u/dbnL2mMTiYpdvooJk2pb4cW2sVchlXXbb6R/pYuLJMdTvksY/cwSf+04/526dC3nZ7H1rUptLVcR2NlZ2IXdmY73zxFxh54M95bL9D1egynB3izJU19qQdvvTD36fx/Ou0u23Wz77A9H0PYWoJjZtzZAS81tqGmX14166RGR3Cy4wQr1zE9htE/TPqeRynLPz1GyROEWffA/gXX1DqK9PN0bp5ntLdP0Ew+wqhbNjveaf690NDU9Hg4MpFwswoztQUnlD+S0PoqYT2jQUMVyMZGCTpxtjlvLoItV99iiibp/+RD7L91Ldxgg3ivnFGfuIJvvln/8BH/2aOD98/yPnLc0xMTymCc2J4tGKL2bUu7z06Qn/R5Ne+dJXe138GJnJsffl7aDN7ySYyPkvQMlnMboxbElBynbBWJz21B62vn+DUs4RuDntygtaly+QPH8XbqZEppDH6pmleelUBvKzBCXwvwrAMjJFpqj98Uh0QB9/2GKneMpM/9TXywyYP7t/DxcvLtM0Wu1JFbDvhn662+I0HR/mjv/73VL74l9i795MI0HPtCrVuRL5vnObaHOldt2MOZOmeeg53913E3Qp6LoPWN0bt5WcZePAxNq+ep1Qo4uRTbF94BWd0D7nUCA0rRV5Av/VZ3LCLl9ur7EKGFuD5LrlcRtU1G5fP4o5OYUcdIjFGuTadCycxxybxN+ZIj05ipOVAvo0hdR5hTQmI09CxhwYJ5i4pD7ZsmrsXn4PpgwRLm0ify0pl6WzLVtjA7h8gt/8hGs99hebGAkM/9cssfvVz5B2bsZ9/P5/7P7/GL375Ou+9K4/W8Vlq+IwN5JSOM4gNluubaM2Qs1//P0gaPXY2W3i1dWKxReyewB4RblWM3P9b89fIZoboXb+IOTlDZvyQUtdG8jyencPTPOxeneTgPRgCPF64RtRuoA/PKAuJ141wpgRwmyV5/VniTBomD+OKx72n429vYNx+J7Vnf4jrr+JM30+vW6E3e578kfthcBzv9LcUQDTqS5FKZ8m4Bo/+3OdZcQbZFVaYGM5yc62OIbyJTqJqRDu+Tsny+Og77mbnZpXPvbrMy899ktY3nyEu5MnmMjQ7OmF/gexGi9b6OaIwJnvsXoz6Ot1WXfXnrZaok0PyBx+ks/KGGvY3A590b5n+j3yCf/v4b/Ol81u8bX+KdN8gfq+rKqvfu5Two0/tp9/tcP5ml30z8nvvKr5KLpVlZWGRnuepJcLxe47TaPWYO3eFJKWxa0Y+K2BjZZNLl9d5/IlR/vKLO/y/L8Pdew0cMirhVpVOOgk/Pldj7cxvkRZee62ME93E83M4o9MqWq6MVX4XVwbTYYwu9YbisPK0x9tzhMVpksaqSvgGsY4uzBc9RSAJSXmfNG8QZcbRrQJWZpxQWFXbr2PsefyWgnzjDJrA7SLz1rlR7iVO9hacOgkIO9tKWdye+zZOYYpk5B5V8bQqZ/FyMxi5aeK26AW7SO/RtAvopkF354ra3pvpaRJJKYodR/MU8FlVx5o3odNR72MrNYnfWVZnGFMAuHYJSxZSPQEVGhhmgcSrYMjl2zLwahukLSHXj+ALjNxv4pQmSfyY3uYrmIMPA13i7QvosnDMjuKtvIE9sgsqq0TCQJh5CK+yhCUuel24VqEC4oqGVsDqiQAAO1UFwAyFxF+7hJbeRRi3FUPK6lbVn50qHaa9cxVb7nzFQbpVMaf5OFJdbtwklR1Gj3v0uutYVj+WnhBECYGhqQQjwnFoVkEG7D1ZRLXRxcbRa6s7kIACBeSnajmizxPzgDGAJhVGATQrWxzYoa7A4bYjCwZD1Q+FY6OLAa0lAzIbSy/QM2Oiq9/H2ft2NEkEV1cJ5Jwg4NfsKHp5F3F9kUSSFaGPURpUbChNGH3NqjLwGakC0dZlxUsSJbiRHiPqLBLUllXS15MKu1iRJFVq95EtTdPZvkBUXUEf2oud6SMSWLn8mZUVtNqp/5ZIHzKRjWj/LkU1TAQn7/tqyxPsnFOk/tC1cKXnrg/c6n/JBZoQXWjaSQq8bTSJIU+9Bau6RKJ5RNYUdjlHd/ECKVMm20dUR1K3HEI/xNCDWwq/+gaWqL3MLpo5pQ523fkfkxk6SqJZ6oMzoYg7PI22tUK3cwlz8gkVwwwSmbSsqgOdZyQkjUvkysdVbMqrX0LPHCPc+YE6QLrjbyVcfIEouIG2+2OY3jzR1hLWwC61EQq5BQkLN86omkPq6M8QS09HAHqp3fj1Cxi9bSLpwUh0X+LTZk6RO4VcH4cBRtIlSgkNVLqzGUxffJJtUlYfvr+KEe4QC2gPW8EJLblkkgFxP8vmTnztKR1/5xyOJj7MPrpelUzffrrbZ6B0DNsZoHPz67h9x9TPv7v0LObk2xV0SdyeinYt0yTpyyZ1At/F7s6hyQSztUYsvlr5Hryb9EJXvajM4i506T9Wlm454C1549eIJHZkQzZ3kNzhYd55x4eUB31k9wiOabHd6uK3Ap6/2OJHf9zHbT95DP90QKe7RbO9Qd/wGNrgncTz38Qdf1gNY6LTf0V4+IM4levqchCbEUmwgG3kiH0NI3+A0JOvcw0z1An77iC48aKaZvvuFJb0hAb3oNVWYOh2uosvYGbGMII1tOp1vFQGZ/QDUDtFouuEyy9j9E3i7n473bWzLD3zFCP7plld3SGXtciM30a63CbJ3ke4/RpWr4KfnYTqTVLjj+O5IwRVUbPU0AS+YQVE6UOQHkbb+JYCVhqaj+FIhH+OKG5gCtW+dU0NPoKBA2ie9IEDIumguyPqsqVLkmTlZcKZRwnnnyNZfxb7yCdU6kEGR3G1weZ3PoVeKCjoTGn3UWpnTzF44gCZsfvpNJuCLaQtkSAhoUsnW+CY1oz60BaFpFx4IxEZd9bURljPTqH5Mn3sYOcLmOUZ/MUfkxz615itRbrn/l518CN3AtvpEhoFkvoOteY8/dPHFA8kwxnsqs/en5rn0GGbO3YPcG1OeBg6d+4r8t+/uMTf/tm/4s0/83/RPPMF4ljAknk0XSPqBRBUoHQAw/SgE+L7axhaAawMJj01iAukG+UWibQsdGehvkQo7lN7TKV31BSwt0XiZ0gyKbTFbyjGAIXdxJunbw1wPNkSBBSdAbqtNSynh+bsvlVzkeK6t0YgihQZ8zXnlTFAN3Ik3Q11iBHnctxeRJ96B/HKMxhSb7AH0P11EP2d+Gbb6xiy3UmlIUlj1WZV3FfL9ZHIZFa2XOJ3lch4fYH06AP0wi3MukyHc+jRBnHSTyhxdlNXPlgBMkqx28oMqIqNJhlIXTrldeXmTroraEL610ZImTtE1rQyF0jZXKtuE/XmMIoHITeJXj+HF/gqhSUJKq96Dj2MMIZvU3UTGajFvTn0no9eGFYde7ymehApLoFUw+orJHa/ej0lRoQZpCFcI0kPYroThNVT6IEsvGcUkE62CmJpkUOQGhq7aQXhdIRGaznoEu/fuoogxf2dk5j9b8KSyGAkg6o5kkYH3Uqw5L1bPELcXMdIiVV4Aitex+9sY6bHlJtYdxIi+jD9NVUf0JwRZRwIqwsEqy9hDB3CyIyR1G+iC9ypPae4AKpS0q6i9x8kmfuWesg7Mx8l2vwBUdyDwt1K+xZtvSE1fyKzgC0eZAHuiA5XH1IDKPlzVW+/uYpd2Kc2C4i/2NfQwqp6Dlo4xHYKPT+thin+ygvquWHLNiezl6T+Oj2/TbrvXhI9IFg/jz5yAqMxTzeMcIq7VAwW8RdrNrKsIOli2mU1jDKcNN3qJqW9d5M4DUZH3s+R8SwnjpV5/XKTarvF9EiOH83FfPyeiE//1iFunt9kYX4DJ+Wwe99elheWkA+lvsE+atUafQODdFtNXrywyIfeezu9MGbPe17joROjDKQ6LIrqK8wyMWozt9aQ0gN92QzFDFxbrHH/kQm+c36Re0ezfPr3H2f5tXMYfTMUzA5B/wy1qy8qVVPqrhP0Tr+A4eQwHQu/skXQa5Ae34+/dAUrXcZvNbCm96i4JwJ923WcYOEioamR2nVcDVf8N36M6RYoHH9YAdW6Z54mf/ABeomvEjUCJAtXrxJtVTAmRgm7XVyp+5Xy6IMDBOsVnFwflYvPkRs/QHdngezGOs5bHscRz7pp86ef+SL/4clVPvzgiNI9bm+vkUKjPJhnodZmf5/N9dVNbLPAYhuG1nf49oVP433/OywtbNF/QODCvooo+5ZN9MY5jNFBUpOH6N04Sxz46HtO4DQ2COrbGLvvwr9yBuf+h+i++CJxc4G+R95LY3Ob+lP/wq4P/gIrb7yKtbVO//0P0FlaJp0pUQmqjN91B5/78+/x+39/iXc9tocXXl5k90CeiUmXs9crFFIuz1+qsvj0x9G1Is2nv0f6xEEsL2ZtvUa2P0P17CVKxw5jDx9Q2r1w9wkES9rpRRhRoLbzzsS44g/Zeoow7uKtrVI4dA9+cwtvcQ53ai+1y+fJ9g/i7j9Cc3kWfXWZ9K79+EGDYHtHnesYyCo2U+viWbRyH0YnwJiYUukso7pJ6/wZ3MFxVSHUqxuYw/vwL72Cte82EsuW9q9K4uz8+HuU7norxtghgqvP01xdZPzuN7O2eJNsvyhLXSJbcCFy7QO2q4SlHA4dRj/wFIOFkMfv20ev0+PCyiaJnG31mCOHB/ny92/wiZkU/+7vfwntldfoyvKhuoN2+8PoZ18mKgo/q0dS87DvegDv+e/jby2Q3nM7gWtj9g/Qk9i+mG16OlYmppcbxRct8ZEHiCo1bDkT3ibxZQ999gJxcYzO+hzFsUnF6DKKo3RaOyQXX0G/53GC2QvYU1M4GZewm+A3d8iaafxcjmDlGu7kHppnXmf4Te+g3X6Dt//89xnJplgPAm6fynNmweeVl/6QH/zJX/CbX7jGB996lLPzN9muJFhWl4Vlh7/9xWnuvX2cnU6CMTREOLdBND6C21whDlzYdwSt3cO/9BLO7Q8Tb81jprN02xUFV6Y0Rnv9hmLIOKaH3rjOz/3pDcjkWV9cUCyCYjahpyecPNXjzJPH0ZoR51/fYPf+Ybygh6k51KubSqe7vV4hWy6Qdkx0J8X1CzcoZlKURvJ0ex59o0VWr25z1ztu58v/8Bof+3yXdx3L4XciQt2g5TfwexFXlmMuv/S7DPftob14kzAfYhXuhLULhE6G0LBJi5ddYtNRm/TwW5RNSC7QRvY2EonQx02MdFnVZZLWdXRPQMQQFqcwuh3CVD9OflSx0oKUjROb6tJniBbSLqjUnt1YIJbLsFnC1CSRm6Ij0OJQzpkT2EkNzRkj1sXDlMJ2dcJQ0oxLogVStbWkc5HEPaBqoUH9ZSx9kNjNYgg4UBfdY1oBEpOMpAB7pHqLxPLPBLQrG36hn8jnpEDdIx29fZVYUtJC0vdXsJ1JorRLUl/GTDR0AQMaBbVgYOsKiZ1HM0K0XkwiF9ntc6p2ndr7bkLDJ5GhjZyL9FuQ+VgsUH6PRM43Et9vV0hMUw26A2G/1a4pJa0s5CK/jZ0bIZDhmaQRd04Ru3uJy7vQm5skhmzNbUIxrVlifTJJUmX1OzNTojH0lcZQNNtBksLy59TZTZSOcSi1ijnSg/sI/C5mlCLMjxNWLmLSUAwz0eUl6XGS5hJJp4klgwA5/xTvIpF0Q3NFLZplSCVLGaM4QdKqYFp5kvIewp0r0FggyYxgSn2j06a59iqZ6YdunZHMNHGo31IRCretvA/ddQmtgkrWt6Xe2mxh6x3FaxOwK7arkgVSlwxMF6PTwUin8asXFRPMHL8D/+o/Qm4Gc/RRdG+TXmcW2xpVd0ZVOfcTsQD85yQW4F1uj3IOCpFUl/iGt65ipAJlMSQOmhLdXkf9kOWvVH6KZtAkZRdJxI29MUvXCLFHH1N0Rl3o4gIxaGzSE+AeabRCRj1Y06UZNImUCQxCL5FIL6vVJTFdwrWXSfJlrNwRLN2nt3lJxUSNwrjaiHrzTyvXvTl8gEQo2E6BuHIRykdJIl9pJrxOBUsLMKXPWZZ+1BsYuQKGW1J9jnD7PG5+mlCo283rGJnDhJkBUt1N/OY1pcSyBvfiBy2sWISAPanMqmlSpJcx/AZaLo0vnY7MFEbUVRGbWCKVuTvUCzJaf5nELWEKbCKsEBuyqZQOraumRvIid7SQWC8QSf2heR1n9K1E9WvY/fvphhVSYvyw0sT1ZRKBwmT2QK6PqHMTWyZ5icTg9hF1rit3cpLOEhcOYdUXCETbkdsFtSW8+oJShtjFvXQbC9ilaWIpwTe2kQVqYBcw/K5SNRphDz+qoVNWADvTC+mF23Q3lxl5x4f4u0//Wz7zB8/yxBOHcTMGV1+5iZ6Hb59P+OQ7Ej71P95P+411qG8QhSG2UQIzg7cjarkmiSYataLq5pqaIXgQLGeabritAD5Wkqex/jzW4BRuaq8gr0g6iyQSnc4PkeBiWB6JMUjn+pOKf5DZ+7ByV0t8kDAmqJ5WJGJRHkb/S40hHwZ6cZT26X+mtd1T25bm5jqOFZIpF8jufohg7bIaOGniTO14hN511dkJFp7EHH+n6l2aVFVcvCvxzOlHiLavYQtgQ2tAWyMKV1TNoecME2++ht2YI5KUh9rUZwkWf0Sc61esCIlAJdvPw75PEs79M04qIRz8BYytbxOP9hHNPsPyqUUGj95NY6lCLJTR+gYjDzxMuryHoHYrBoXEl/GVozQODDXgCX2pnlzBHnuQWFSPep1g7ZKyJBiTdxBv3CQS6uv+nyY+8ycQ2rgTDxLmB2hf/hYZGbZFDr3t61gzDxO1tkklDarnFxn44JtZevE8d37gGu++z6UWdegvjFDdWKd/apCvfXOZuSv/N+nxh+guXsHblEuUiW7L1LWuLrd2aZSgsU7glpUCz0wV8TdmsftnSCS6FbZg+zqJfODlJY7WwNJCfImOJwE4o+hSD9l5g/Two0SJg+ndpHnzaayZd6j3pGy+jcIuvEwZ10jh1+egOKPo/4n4eq20qjslobhX62jSTY48lYQSyKl03A07i270ocvPUzMUxd1IQqLqBaWnjOpzGFMPKbBlZ+kZ9PIMTn4/QXNWdbgF7qn37SfZOqkIrfbOPPhVPPl8k75ymMbNWXhz30IrH8PU03SNLla7dSsKXxgkim1M6ftX5xWTwyjtoydmWMfGl8ui5aourp4eVNPkuLmlEgJWe5NQak3CK5GHo2IvyIahJztqEkkxyAhJT2OFTaL6mnpouqX9yiygIDpSpRANT2cFM/LVgUbTCwrEI9pAM5BpvKZYI7Flq2eGW7uGL+C6TgOywyrtJGBYIzuDHkvUsUsYSje/iJ4/hN85iyMVFr2Enu7HEKhiYx0vO0gq7KoDeNxYheoZtPxRIi3CzO+6ZS5xCopeLAcMz87hii6xdAexfNbKUNoW/gL4Too4aGJEHczERLMKt5IFhvR2+/AE+JY4RBvPKodvqnyMIKwRi5Gl/CBJWoYhiSJDy6AxFq1f3CByx3HaC7Rr57D778OSeHRriziVQRAOtNfALqjIurz23cwUrfYsjjNAkJnAiORwK+yLNmFQVayISA5gwrUQq0VvFa18N3516daASL7W6hlMe5p0Okc37OKYNq3tDUrH7mNr+Rq33fkbvOvREVzDpNNqcHHdY8g1+f6FDn/0wRF+9f0Zri8mWEFM/8Q4izfmSefTSp/YaDeVKrPT6VDMpsmOTtKqLjOzP83jPz/Lhm/yoQeyfOHHLbq02Deewwhdnj23yb95zxQThSx//OQ8P31vmdUbm1jYfPZLv0xvsUpXdH3XLlBfvMbA8SNoVg7dC/DFXbxZIVMw8aduJ7h2haiyQWashLe8hDG1BztdpnrlLPmhKXzTwy2PE6ytEe4soA9P4mgOHamKxT5tXyctZw0B/pVHcMcO0Vu7AO0u7D6ANbiH8MUniW+7h87JU+hFAydbpLs2R2bvW2FyHH1zlu6pl9HG++h7y0Os/uBV9nziKR47PsS+AY1Xr1TIOAa6Y+E4KTrVDrlcyEC2xGLL5qVrS5z89FvZ/863Mf+l75CacEm1AyJRd0UhvXaFzPB+vMsnsWeO0Ky1yI4OKfOMv3wVe/oA+uA4veV1TG+TULaCMgCVLuv4ITrPfQcvqzP0k5+k8+zX0AsDJI0W6eFxtuZnmRgdoK0FHPy575FNwWhRxy7YrK74HNwtOuSEb1yoMUjC/Au/SnJ+lZoM2kZ2YWom7STAka/FkKrKjkotti++irG5Re6Rf0V87hzJuGwPpXooXIUe+uETxOtLpEoDCobXXr6KLsqxVI5QUn25HEZlkyToEjebKmUZGjqp4Umlr9OvnaTlZkmN9ROeeo3ISYgbHcwHnsBp1vGqS2qQGlYqxBkTrxsz9KbHCBau4m1t4KZj2pLOq+8oY5QwkUSvnX7wCTIe9M4/TVzoI/E6tLZmyfXtoZlqsuvEm/jSp77Ax764yD13DCrOzsYOTI3banjX03329RX50x8ss/HZt9F/2yHWLy7TWZulML5XbUb9tTlStqE22frINHpVLvlVtNE9hOuLpAaGScZ20778OlnBomVzGJk+xSAQy0J2YprezStKTeuKjaNWQe8vkx6ZgkqTWrdNqpQDYWiFFoIpD32JK3sUhm6j01tXerFIgLaNbTqSaKlXblVZ77oHZ+IYX/zZ3+CSYfKed9/OV757hadeb/BIX4e/uPoZZv/L13n0P77KA3eVyDkGmubR6sHJuYDfeds4H/4vn2T5ya/SP7mX5tVLRNtzeHGW/N6DGONjxI0WcUWA3WUCgRR2G9h7jxNcn6OzPUtBllmTd6IXfdKVRR757ZdoJD73HdxFo9UmitqcvekzWtb44VcepPLqPGuezfbiPJO791LZ3sJ2bJysoyDHh+6+kyc/9w0Em3P/2+8jLQOtH75C/1ARr9djc7vNez7yAFdOb/Km/3CFA9PCWoiotyNu2zdE4LV5ca7NX/zKCd79e39O89Xv0Fk/S3rqbjR3F2Z3iWa7gZuVOkqKJGmDnsPvrWBXZ0kG71LWITLD6rkRik5Y0hqyYIvTxAJaNnOYzSWQJJc+QCDncKl3itddNtGpAcyd12HsQXRR3zYravGo67pK0BnF21VCzzDb+FsXiRvbpKefoLnyAim5F5SHSbklOsunMUfvVwNSo7dOiPAeVOuUzsY5rOxuzMJhuvNfxirNYJv9aisudbiotXwL0L77PbdYY2IhcvKqA+9FJmlbdMk7GEYWw4oRYLy8rsVWZBZmSGqzhNvPYow9hlaYIV56Hkq7SfVN0JXNfb2qmE+x11Luer3/AezWRfz6OmRHMUU9bxTRa+dV1S0RdV1nHV+GLDKw1zwF4UWI90pzLvC8CoY7ih51SQqD6O0qkdR8+2YILalzriuQoydg914LbfgIUTvC8C+SlI6jm33489/DGbhDnUOUOUAGA+0lxbMzUvsUcD7yKioRoW9fJpT7Z2pcVRO1XkJU3I0Z1fG3r2NIPz87ApUlpSOOLAvdzd263EtiMxa441WM8UeIQqm1XlHq7nRumE5skEmX6HTX1QbfcIQlkSExC0rTq8dNZcPTtTKeK0MWRbZDl5+7pCLF3Fa7jNt/Qg12iEJCUVijkXLreAKbNooE3VVsWULKua29Qzx8HCNoojVf/MMkkA6HM0zSvKlc1MbwMeL6TYKoo8AYoUCSKKKn0kRC8pKLVeVVnOFH1CY/jhew3Wl8UcwJGd9bQQ9jNfnqtRdxZSPvZAnXLim6pEQaNFMn8eSb3QFnUCmahKApOiZaQmueJDGlY9vGEBVGpqQozUY4R5w5itkTaEL1lhYitNHlDSqdaXwF54t6QsU0iGrrGFPvxog2aCw+g1M6gZvJkHS7RKKoEgI10S1lVu0icbNDcvRjuJpN3LyAZsjmKUMcB4oZIFPjWMCArkWyfJHEkTdsmUi2f8UptMaicnW6VpnAzSnSuKjbZOwsUX0MDyM9TCxVAbus4quRaaN3lkiEstmbw0mNoaf2KAierstk5widnZewBZRomrR6i7jpfUSxXKhNpRpzZOprCvSvC901TCNPVzpFhlxkTay+43jrP0T3EqyxtxC3rpD4DbDSGPl9GL0VQtEbxoIzWCUyyxi2jdcVn3UBv9KgfM/jvPi5z/ChT/wjb350gM3FNieOjlNvN/nxbJeeH3L9q4cJLFHTzEI+Rk8NoRse/sIKhtMgSI1gjz5EZ/lb6Gtr2AcfQTOlU/iM6seEsnlvL5Hqv4322vNERkpdot3pt6nefnDle2Smbwd3XMWF2LiElp0kCleJOhtQkGjuKlHcwsgeVXEaLW5BdxmztJ/t1/4ZPXSIpWdbbRPpEVbgMfjY+4i3rmHlZ5R/WVyrRv6Q6l72ts+gZyeJdUsZErS+e9HbN0mcNLaWApnearJD7KrttThIDRldxDU8BYQsYtgNonZPKSGd3W+ns/k6dpzGsF/ZPgAAIABJREFUGJzBX/guweo86bf/Lax8h8bsV+m/69fYOfOP9NYraAM5gq2aOuh3vDqTj/0icaujDgC2ZasKTezV0VPiFL+pKjN64RD6ziyJVyXpG1OTSfFsC7gsPfGQGqyEF75Ges8dxMYM4dYrkO0nPXqMTs/DuPoDjKk30d56Fbt4gOzug6y+9F36si7Owyc4fvBrUC7wjtvzkFhUWlW1qfvKyx3uHNF4bvmMgh557ask8rAQyMzgNK2dDSzXVQOgROo8mWF0swwpl6DXUfDLSCAmEvVOJcoRL5o8PZ8hCWxibwvHLN8ajEknrnMKLcyjZfeQyCi7Lh3wQWJxzZuGel83F5/HHTyKnj1I0l1AswZVhyqWWLw83NKjeN0mdm0ef2gPhnwAY2FGHfX+D3xJfsiVOyRONMjMoEXraoJqyiZPzxPXX8IqHsHI7iFe+77aGMtrRmtuKcd75Plo/ccIa9eIU3k1kRVWg9HZwPe66INvwrZNgpUX1TBTgKZJ/RSGMYamB+p7VarV9joxWSzDQnNEt7SthlyKkJ8fole5gZsroVv9hO0VdOmOtSoKSifb/STqQLepoqW66H+621jlaYKtSyTNLYziCJFhqx56JAmb1PAtr61UoyTGqGlquOqFMVpTNK0F1TsXdWKQ2aUGilHjdczCUaxYrAtNZD8XiKZIJZpuJQXkc9eU4Vj+AEniKVpxVF9SnT59aIIwEUhRWUHbdNcj9rJ4VgtdOm2kVRrLEkBeNyBoXVb6x7hvH+HGOVKDo/R2tjBtl8TqJ5Gqh6SLYnlN9ONJkkKL1fcvaQekahSuqrqLVp0jdgfRSpOElz6PWTyANvQAnfkvkxp5CE1ee711YsVIaClScNTcQXdLaKav3MGRcBa0HlrhMFGiHDjKOuA1V3CGH8DQe4SRjWGH6KLfNEVNJhaOKkG4RUrvo9deRSvtwbRG0KNVvOqCuvzrYq2I0kTtTXXx8nMF3CSkfe1FyvsfwhwdZnLiPczsy5HuRQyUcjRDn7FMmmdmd/jdJ/I8cUJjM9pLymxy7fI8pVJWUdHL5TLdVotMLs9mdY3R8hDYGa6/PsfRI3nCrMv9n1xiuhQyOZim0g3JuSZrzZBUTqpCPgP5NFdXarx9v9CKIxw35D9/9neof/kLUCzRaNZx5CA/sBtv5QJ6ysQ+/naSk8+i9Zdo9kL6Dxyns3hBkZRTE1M0XvgxbiGLF/rYxTGS1g5xXz+p0Fd1HYanlLbYzbsEz3+HaGw/mXSW6uoi5YkZKjcukC2kSKZm0Goa3txpjNIEzpETmHGLztXLuL2QaHQ3bneTNnWilqlUjv33H+Crf/DX/OE/rsBIjjvGXOYaTR4/Ns2L55dB1KxByEDR4dpqm9un85xc3CHY7HLqqV+FnU226qIEbRFI13r0EGZYVwkkfWuZXsqA4h605g2S1Xl619ew3/le4sWzaPUe3uQ0ucoyydGH6V07Q7Rwk/6feB87V66TIkDr20Xv5ixG2cFoyiLBIz04gVfKkCvl+PEzp/jQH7/BfcdLGK2AjtYhkIqQnpAv5vjh2U3+5ANjfPyPf5vqF74OloVjGWzFUEhp+DstFbv1aZEfO0LYXESvhySODkO7MDMO3uxF8LqQz6M1m3QIcWVbe+RBuufO4RyaoTe3iL8yS3pkErNcolcokZ+6g+D6s7TfuEz6XR9EP/Mj6kKNf/i92OJfX57Db2ypuLc1uJ/u1iVs3Sb75p8iXJ9j7fN/SfZt78Tqefjrs5hH76c4vot216Pzxkuks1ms/Yepfv1LJOODqi+bGj9K3KnRDtrk5HlRttRm8r7/7QsY2ZhjUwNcX66StXOMFhMOzQxw9doOX3tjh5miwekvv5utkzeInFFS02P0WnV1sJYtnpHJ0758mswD76P31F9hHDhO5rZHaT3/LaKd62TueBfe9hLRjauYuw7gDPXTXFshVR6jeeMMub5xrKKkl2TYnKD3zdC9eQ5zZw599+1olqXSSOJTFz6EPTAJrq5qRq1rr2DrOlGmgJdouDmNqLaj2Eeu9JG7q/zgG6/yt9+9gdNX5MpshaRo8+1fOsTQh38B/9IPeeyj/8ImCffsK7K1k1CyYzZ0kz1aj7/82u9Re+qfYeYB9No6kTyit5ukyhmSXhNqPfyMi5lNY4zfRff5/0l2cBctI0XrwqsMHtxHZ6fDyKMH2XltnuN/8Ar3DxgMDztcX+wwPZ7i6nxAyfT40p/fx81T8wyPTbBR28CRmki1gi06FeE+xSaZcoZLL59jcu8krV6buC0Qa5fJmUmq9Q5+tcPMcYunn1rjPf+1zQcfKDJf9djYbnJsuEgmq/GPL23zH38my6//xbeon7uAnS0Sb87Sql4iM3Ynoeeh5/sVSE2UuHFuGM1zwApIRMvtrSslG6ndMqNGxD3IwNocRkuaaHEPL0hjWCFWbhwUQX6LJNKUmUbUdvHqSYz8IHFmEL+1juUOEtUWsaTjnS1hZfaqob+4682ULO5K9LZO4eplwpEydrVGd/MypDLYVo4wWwahvIuRYPsUWqpMmB7B8DSSrVeIJh/E6KwTr54iGb5dsSn8ymXM3e+mu3bhFtBRFwCxgPW6BLGt6tlylkVg5laBoHoO0xzEyO8ibLeIxKTWk4Wxj5ZIqu6YAuqZVosw0BQ/JHJKCrZMdhKjIbW2EnFcUjVF4hvoHY1QwLxJSVHuJWEpHfioOqd+znZpF0HokoR1nNQAfnsFK6rgmxNoYUcxu+LCbpDnspicGiuYlobfaKDbHk75zQSdJQIh54s1yQDXytFYuUR6+KBi7phSDShMKxC0MXI/sRgCerNqoy6spCDKYOZFCWkRbS+gm5Hizui5AlZk4DcWMYXPJMNHqS/KUCM7RiymrYYMi7JEi98ndkdwjv8qzYvfIFNKqUSAL6yr/jcpy5Wc0XU7Rqt3icwehj1J1L2O0WsTksfO9RMsP48mFY3xh4iEa0AdZJ1avluZD5Kkg5Y+ihasEC4+hV6cUK9fohR6KAv//fjCqqi+9keJGUT48sPbfA1DgEJZ2a5fwZBJlECgWgvEmbFbVObGDeyDPw/NS4RLL+OLS1E3MCffiRlVCPx1HC1PmN+jPsT8zbMq3h+WJhRpNk71YyYGmt5TtEitKYT7fgxth/bVb2Ds+yhps0VQuY45+hDx+lminFyI+0lqN9HiDj0rf+vh5w4r8EIglzgvQEvnVSJAyI16zyNuzxNoHm5xD4HWhy4KBKOPJHdA9cZjAVulsuhan1JmmAKP6W4TNwQIOEHSPq3UTgzcr7Z2WtJQSoW06dJrb+OmBohVlLhB6M1j5t9EWD+ponxOcUJtyoiq4MilskpcO4duj6CZpVtxHq2NnuSRM6Jhy1asg5U9QSIqvLBCYqTQEgO7uEsNUizpwPSdUA8I2xVGXx6/W8OwLKWdEhJ4b/s8oRDgS8cxnA5m5ijdYJN0EOBrCZrbh2mJq3pHdWAi+b37PYLuHJY1RiwxYhFDGTWSZqTiNFbGwM8NY4k5YFeGQ3t+k+G+iCELjL4y5VSPWsXnCycjLv7ZDHvee4zK156mMLGHOGhgDI9CfZNeLC7wGqnxBxT4pnflBzj5PjwtUAOTsNNTRgdLQB6i3iuPqQ1l5Lfw6JJKjSmSply20Zu3DsFTT2DWLxKszWMMHcUIfeXy1v02yEE+dRgzrOHHVdzBXfjXnqEyXyPMZHCtWP08WjeuMPnx3yGaPUUz6FLIz+BvXJSKNN1EIz18G2FxF9Hlr6jOlkoF9JZwmqsEcQc9LWkSDSvWsPLjagtKlBCZDpFXxUratJubpPDpmFlSWaH7z6GlJ4hbTWwjjbf+Asbu9xL1zqnpa2Z4H1vf/qwij5tWiJHL4a9tkRR1BnY/TLhzEmv0CLEQods1LKuPMJBIfB29vAddOt6NK4SdJrR2MAt9GEJz3VnEEgpxdoakegk9aJD0TRKefwp97CDIf8+TQVUdXbZN5cPq740kJqh75App4mN7OPrIN8k7g9w24XPy0jZvOTHI3okBfvcvzvKbH5rht/7uH9h6/rMYnSaZ3e8jEOCLOwAso4kGod0jErClOOeDFkHjhqLSmpm9mI4AH2UzX1Gb/ySpo8nlUqJP7GAkkSJAS/zDyOwjEud7ME/kmegDEyDAtCAhFlKygErl59JbxyrfSSgXYKHkyqamMYsnsJjB2/Cle0UXK38vbL1KlHQw+g6qdEIk2+0kjWbJZiNS/lbdkoiZh6npJELZzU4Qb1zEQccfuAOjepEkNYYhcMnqG2jR/6Lq54dUDNU1e4rsai5+m1askzn6y0RXv6hSQsnMB2D+mxiyuRePd3YUUjmSXnRLfehmMQv7CKII3d9GePPSAQxK+3C3TxKldqHbAqUJ1LbdcGSg4RL1mmqzI5UjJ+0oDaQZePS8FcQeFWVGCFqiApVO/rTSh4btq1B5Eat4jCh/jKh+QVV/gpTwXS6AUIUTn3jrPObYW0gEiWb1kfTqKv6fzlt0AhPLHSbsraiBrMBODT0kbl6/VQdIuSTdHWU6SUSdFJhQHkLzYvygDkFLDSS0zhZxVjr2wqXpYsaSgmqTuBOYvZtEzpQajIRaEepnFNgyHD5GEmuqfx/2NlV9RyCNMogTcKpo/6LmEvHmRRg/jKOX6fld9N7WrSGKLp9UBv7cP5EauVNtFglFNRtg6FnVW/Q6C1ilvSSxsAKuE2f2EDcvYgp7xsjeGhqldAzZ2IUpjLBKJENwS4bMs+j2sBriCVHQLN2lEmI0b6jvD8vBr4uv/gRmxiSUlIZ04v0qSWseLT2N7Y7RbS/h7D9GPhszNfwBWp7O3XttRgdK5DIJ1260eH65xX/7wCD/+0/vYf5Gk4tvXGJ6zwSlUl7BaK9fvEIUxBy9+xiNnTZbmxVa3S6FlEnbj3no/Ud44mOv8sLNgPfeYXD+Danui2IW4jjm+o0mdbqcGCtx26DLG7PbZAdcvvi5f8/yK+co7u6ntySMmC3FLMmO71ExcU1qKGK/yWbpXHiZTH4M99AR9HK/ohV3vvUp9Im92H3D8sgiScdkcgM01+eImi2MfFYlUuzcGNrsGbxgh/S++wnWZEhrquGhv+6BE0DkYQ0M01udxU6yhIMHYGeWXMaimbLoc/rZunKKtOtQfPP9+Kev8KE/+TFjk2VF7a/7OiurdW4/PMDljSZFK0PTb1LOpGlXfbwg4dnFJht/9HYKD5Spvb5KPLKH1M463SCCzWW0wX7sO95G5Z//OyMP/yTdrQUVhc/e9jDVc0+TymTVNt8eGlBqscTJ4c++TqZ/N75j4VWWSY1OY3kdZZToNg1Su8uE68t4LZviwSM0Lr+kYJ+ZD7yLT33ks3zmzCJvPTJGzgxYWGxhFhLFC+jLFXjy1XVe+esPcNcH30zr2ddgfRPrwGF6Oy2qLzyjmCvFd7xPJRXJjRKtvU6w2kNPW/RWlsnddhu+PYm1fp4kVcDNFwmaLbqaT+/5b9L/6E/TtdNkpCedS1M5/TxOziVVmKQxfwn38BGSjo4TtYgSi26xSHrhKnXNJrPnEL1nvkL2nrfD0AE63/0rGN9Ldvqggvj6wgey84pjotUX8dc3FMQsnbHolaVqN4h+7it0igWG7vsoldf+hfT4JPbgXjqnn2PwZ9/Db77v0/zDj1Y5fucwWrdDtRsw3NePaQbK/rGyofHKXMDc3zzMwJ3HqX79q3jFHNm4hKf31PnJOH4fbqNOZ2cH8477SC6+gKGVCGRQUqsS9Y1g1W+A3od14s34N8+QLF4lVZ4k7DaorC/Tf+LNtMXGsr6ugH7WxCF6KwvE1U0yu3bjra7iHLhNQRTrJ79LfmwGw7BpbCxg7z5KZnIfrdNPE26skj/xEPIBEtsmi8//kKkjt5Pfs5fTf/d1bqxX8DoGd+7Ps+uTv0TlhZeZmBrmzOmrvP8//Yhfe3wvr81u88b1KvdMObw0G/H8N36V3MWXqI1M09pqkTcFmpvGGs3ReP11kpVN8u/+IMHiTXqLZ8mWhkhMDc9Nk0+N0ek1MW2T8tEBPv9fv8vPfv4Gv/62QU7P7jCRdbEKNqeuJnz8kQy/8pvHeOPJV8GxyecKbG5tMDoyyc52hVwuy8BwmR9850Xuue8g1VpLxfn3HtzH0sK8ggR6ntgbDO66d4Ras83Rf32Du3c7DObh+ooA3XSmJ7N8/rsb/JuHy/zxM0+z88q3btWpVNWqhjl4GL9VxxGyvSyQJGFolkh6c3jNTZxd9xJKGmNH7Dlyzsyqr4N4GaPbU4PzKJXB6K4TNJq3hgsCszX7iLyWou8nVojZaxKEPpYzgC41uMSCVAzrC8Ttm5h9+/CiJoY9hG1YNCvnyPbdpkC2kb9M0u6iTz6MtnWR7s7LpAbvQDcGSWyNsLEhngwsqdK6Mni/Ry086FwFq58oM32r5x6FJMk6euyTGBKhl4VoSp2/ktDHFC306kvEUuFIDaplgHB84tZNUm6GWIYReoQjcL5AFLwdPEfHqK6hpXNYpUOEjWWMWLhm/SQCxtazSrfn75zHzo4QOcPQWMXIlNCctEoCRtVFBTo3BXLek//dS9CqKB14VLwF9E1MG7O6QacjS+hRzHiDwJ1BMyyS5hrm5H2Eqz8irl7BnfyI0vDJGUPP7KKHhluYwJ9/Ck04UuW9mDKcaS3htZawhkQ7PUCMDX4XZOBjp9ELB9DEzlSWFFua3sZ5pU2+lequkTCiDGRRd44gN4gb2SS2SRKGir0USEVk4Z/I6VmCXY8StFcVKymxJwmjNo6hq/pGLMmObI5I9NCpIkZmGH/lOVKi8M6PE7c2lSLYl6RW9VUyE+8kqV3C91u3gM+NBZUitSwDXR8glERDKktYuYQlVVPJCbRe/dOk072O03+P0j/oQq/s1Ak1X1Hhg04bu7VClB1TnUZE7SIRVYFnVZcxJh7EtHL0tuXS7GI4DmGSJlp6VsGajKimYnqR1iUwM7hRTLe7jT14XA0bkuq82mjFuQGS1RfVL4LxBzD8KlgDeMvfJyUd3OZlou6tqgL1BWJLdBAhcTqLmRtWPmBXoFoSUZWov+gehOScm8S0B0jWXiUSUJ5tqN6SZUkM1iU2LVzTwmvOgjmKYabRGpeJB/diRyUVN42DkCipYGXyJB0bLPFFZNV2NcSQUDo9bxlL4CACApEXtCiiWnViR3QavtpyWaILMeSN1SFqbqLlxjEFDCO9jCQhEDJmpoSRniKKJQ4q0duaIl/L9s5oL2GUD6qunVx0dSOjJtAS6TWyRbTCLkVEF3NAb/t1MkMHIFXAk2hfpGOkXVWniGsbaJkiyEZQTAOVK2gCk0rLRcch3F7AsGOMwXtJp2K8rZtobp761ecZeuJn+MV3/ArPvF7h1z+wn2dPz+P2lXngUJ7f/dJVPnbvJH/0N3fhvfK6VGHRMjFxVCSsbZI++DDa4vcI8/uIRfll2ejlccLa/C3v+OYVQtOhuOdN9K79QMFlKO5Ht0OCnVXE3ecWR1U/UtUbtk4rZkMkB+2kAqJ08yTcHKu4kcBIXCdL153BQOjrOShMsfPDz9PqetilAVJGTL2xxfChOzGPfAT95f+HYLAPJ38vncosbun/Y+m9oy07zzrNZ+d98jn3nptzVd3KQbGUJUuyhXHGmMbGY4Zs8BpCe5phMfTQQLebpg3jadPTQ2gbWNiAjQc3OMlRsrJUJamqVPlW3bo5nxx3nvV+NX8qrFW37j137+9739/veebwKq+SuIM46TkioU/v3sAqHcTOGuhdIaWP4m19nXT2GJ45RhK8hSbb5W6TpHkDe+wxkjBQl1DpcmsCsbOHCAO5JF0jPvyvSddeIujXMOIN4vIHSeIaO1/6IxgexynI1Nmkfv0aIydPkJl/mN61Z7AGZ9GsFFbUIbJK+DIk8rok7j50Y4fu3lXyM4/htfokgmAu7kdb/hcC0SaVDqqtY1hbUNvgwNSxhx/Ge+vv0LMWRuEE+s4Zmn6G0r4xgk6sYtbpmUHOvHiG3/psSKfbZXZKprIGKTMhPZjiGz9c57l//ATTD/04rR/+M4Zs3nJHCSW+nZYLUxFD6PlmXsWlRX1iyOBQdHPVG9ilGcRbIL+HehQRSTVFnj0Sp4o3IXcSTTbm4SpR11NRLFdeYL0VxdYQqKgmHnhTIt9buLYMATJK89bZfhlr9B70QFIh22qYhDNIKjtJEEQkTh4nrtCtr5CEPSyJaLuTROEK9Hoq8k/YJAzE0YxKj5iZaYzuKpFVRAvW8JMMZix9VhnMbIElT9lRjLJsuNuEtovbX8fbfR1t3wfRxQXrR6TKJ/CW/1kNhUzl7t0mKtyH1ZI6ywiaWwZRzMnWU0uIuz3VUZOhStLYw2IVv/w4RhLgS0+tMI7Zk+6ibIiGCcM9tEwerHEVE1QGhFiUivMqsRV6LaURNGWT37oi2F/lrw5TYyT9RSwZeJjW7c1BHGCOPoFmySGjhZ3q0et1MGUYPDhH3Ojg927g5vZhZKbpS08ykJ/lproEy6Q9NMWusg8tifCFat9cIyMchfxRAkpo7Sv0154lPf64gi2ZEm2LamqwIEm1ZOCu2xrEymWM7MxthaSQjIWsnHIxU3fSby+ji9c3jEnKE9i6DF+2VDUssAUGKTT1UYx2FT9cQTP3o6dSSo3nWim8YBM9NY4uTt7WCmHjJrGe4Jb2E0uiI2wQSNUk6GIUT5FIysgpEqSmiWtvYbh5YjuHHjYIJcqZmlTbA022EE5OgSMjz8XRe4SNiyT5aZIkiykR2rCtEk6S0LCdSZVW01trin/R7zXJFodo7S2Sk21b9ZoCembn78aqn2P88G/z7ifGaPnSjYxY2OoxM1LmuVstPnGXzm98fI6FN6r0/BZHTh5ne3tHkY7l7Lu5ucnBo9KHDFi6tcTkyCijcyPsbTYYmrCorFT4n/+kRZSKGC5kubXbxLIC9pVLNBoWs/scnn5jg7tnirx/2lBmkD/+f36Z9g++RccdJXffE8TXX6V2Y5nBE3epDmZ38TqpfXcQCLyq0afV10jlLXwvYeihd7P7vb/DnDpKSr2n96A0hn/1ElpziWRwloHjB2l0NVKjE/Quv6nSVNn5w0q1FfRDvKBOduoA/cULKq0iA4Hs0XuI2w26m+tYnU0MZ4Ll2i5z44PkT52A7Ah//bt/ym/83TIDeZc7TwiQ0WdwpMycq/Hqao+bex77xjT2DQzw4sVNpiZKnFnf4h3lAn/z/d9n68vfUtA8c3QKww8xJ8bwr0jNaYL+8CDmWy/C/lPqfexqAT1JM55/nXh4mPzhu1UHtP/dr2I++ijeW2ewpg6ps5m+fJ3UwTtprN4gc9cjalMUnvkm3swRCgNl9GiXvThPsSq1igTvjoe4+4E/UO+rR+6eRAD8i2ub6lem24pZCUP6O/C133+SJz90iu2nf6iSAOHUAdJ+n/7uNrmTb2fvnz6DVjxAcf8Ave0+Sc7A0sWj3SaMDApDY3jS7e35tw/sd7wdrbFHv+fhtpsKDuwXR1TSKaztooeSqhaOxTr+yhLp+dM0Fy+QPn4fKUejtSPe9A7IZ2HjFtrwIYYGy9S2bxLUY8zBEUw3geomzpEH6a1cVwPsqLqLM3sA+9Bp6jdeJzU0hdvw6TSvkVRa9EODpFhg5tAY3/0fP+Cj/2WRDzx+gHqvSafRoJTN88Z6g+lymslhhxdudpkI4Pvf/lm64ST9C2cxBkZp760okJkhCr7REYxGG8vUFc/JFwn14jms8hRRFJEI0G9zA0M2rAdPEj3/LYLlFQY/+Es0N66qpFkklcSjp4mWLhMJiXx4QjEVEjPBGD5KsnkFozigQG/ywxPtaFgYpv/K10gfPI0myuX8ILVXnsPdP6P0va1bb1GcmiU0spDqYKVNUs4g7aCBUZUN9yRvfeeHHH3sIOnyIMc/+BfMlnP0klile8bT8OJija/8x3/F/iGLtcvn0IbuREtrmKvXcO/+UdzmEqurNxmQu7OXkB4aUWkFb3yajGcrjfb6axcZv3eezKmH+MPf+y98/ukt/td3TfOV19aZLqaoRz5vXmzwh780znveNsOFt1Yp5TSVnO20K9ii+cum2d3ew027zExPs7m1qzamacui1awr7oDmST1UXtcWU6OBOkMe/de7PHZU59RMgTdXpXPeYtDN8bfPbfPh02N88Qd/Se3sV7FErxuHGGEXL8xh6hUMywUnSyy+tc6e4ALR+zrh2EPoG+cwxw8pU5aZtknqq2ogGzsGhi7niiK9rUsY5YNE7RW0pE1gj6mYvSU/u3RZgUzphMTeCkb2EIQ1/Nay6m477jhe54YaZGsj95PsXULTYgwB2AZt9PH7MNpbhI3LmKl9RJkUBgVi0WTnMsSeofg7kaiWC7JMG0GLN6BwgDBIMNa/S+wOYmSHiTo19c7rI3asgDDOYeeGSZoL9Ds9bCmby7JT66taphmLWv0acWzgDByiqxu4eoeefYBUtE6sSTV7iaSzjrH/xwm7i7D3GkbpYZVc9PYuKXWwnHNcgauLWjGRs1p8e5svy769c6p2aU9/kPDm36OLYckeJS7mSXpNtemXZYJ3/s9wBqdJBu8nWH9ebeGFDREJpy6xFdMnaa+oIaEY2rRENvsVxcuSembvxg/JTj5AFDWIqwtAnrB5CbssJq4SYe0NEjNPKjWJF7fQ7QH0+gV8exRt8AR6T5YWAh0dQI+6KvWAL6y3DE5hEr++oM66UUsjMTuYZlbB2/uSWpu4F8MZI2hcB6mK23ni+iZuekT93aPCLEZdNMojxAKG725hpcbx25s4wh3oV9ANDSM3SyIV+fVniVPD2NkDsP0Mmvy/UrcujmBKSrayoKD+cqZUz+n6C/8hETKrqK1Ujyxx0aVzGdQJEap3m6DVwhy7h9iXTVqHoHqO3NhTKmocNy4q/6muDRFrfWEckdYSIn+VODUPQhuUXKiQmUVTZpuqSxl1BKyQxhJFS+ePm9OCAAAgAElEQVQG/tCTmKFE5xawpx8m2n1LpQlk0qQAUe2rynUfp/ehB4uYqUNEzXMKfoAzQK/6Bo5TJBQSv3itJXpqCvhjC3vwJFHzBgqBmZav08IOPDXBNISW6G2jaykM11J9Vi0lUf7L6KkCfqRhSjx69FE0IVZuvYCeHlXOcSHqSyTRl360gJ7Ea9+pEeh5HCE099bVRNsIqkr5pSKpXYEt+ZiRQSRfS79FYnWVk9uRmkTQxSxOSb0VC1EUOnQ6tymZcewpSFlYv6a6yaJS1OpLakhi738PRv4Ogu4ypq4TNLfRBo+oyZXh1Ulch54f4VppNF1HE9OCqGNkaOHvqQO+bE5M6c7XroGd4BtjSh+WyjhKvSVxn/y9T/LSFz/DR37uC3z8p+Z55ewyDSeHHfZYrRtU9nzW/uVe3FyfxqKJOzyAv3aGvjZMruDT6zvqMuZtLOCMlSiM3Et99xpJ0CRtDdGzGioG5aRm8YwMWlAl6VzG0adIMjFRnCHauIQ9dQde4JLUXyA1/RRhPElce5648Qzm3M+R+LKdlR5gBSM21d/NErfp7H20X/0ilWtXyM1P0N8TpUQLvd9j9P2/rn7Bou1bWPl9dNs3cIfuJexsolnSVyoRbX6VxNsjyT5C4qQg3sF08vh+FTdJ4Uv8Pm5hZvbd7mJbDj07h1ndxAjW0EfuVz8bPWOoi7pkpq1oE2/5RfSR+6DfISkeQ8uZrP3dv8MYHmcgl6IvpNhGheL8HJnph+isnsOWS2d2Aq97FdsqY+QO0Nt7HrPfV1oW36timQOEThfbmaO//YrqCnmdJQUtSxfKRM4gQb1BKj9NWHudfmsX99RHcWubdLbP4A4coddfo7vcozA/g3lyjF9637/wV282+b33H+elSwscOzhDO9jlO9+t04sMljf+ASudI1xckPCzitL1Ew/X8EgYwK++jFM8BaVxot1rGHEfbeA+vOqz2Ln9hL0uWmcBd/JH6Wy/SCo1TainCfBw3QxhWMXQxontDGbziqJ9B4aDk2hqmxJGAba4cyWGbycqoZOkxhQs1L/1PfTZp3CcEehcIcoeUmaQQDSBSQdLRuUC9WxXCDwB2A2gC9tES9OSjpdukWQzGM5+NOmPhRW1mQ4Ld6PLO7J9i663jlM+RaxnYPFpmHqXgv4khkMovfP0NN7lvyRTPk6cnsLwrtBvaZgDg+iyPfD3SIbuw0679FaeU/FyMrNEgSSFQhUvE2WbTNXjdFnF/53uEl7+fvT2RfUiiEUdGC6jZWfoL30Z05nFGjtNvPsm1Bfw0vvJjp8mCrbEnq2glEF/G9sdIxFa/s4FNCOtUkiRABlTGWQ9Etf3SPZ+iDZ+GiM/R1S5oSb+xvhxDOna1xcxBYQqgy6B5XTb6ElEkhpSuijNq6ufQ2jlMAqHMP0afrcPpQIRWbTGDUzpSWsOVntNUe4TvYIXd3Eyx1XsXi7soqcVKKFUJrT8fsxenb5dFPYuZlonMnJE1RX1szRSsep8WvYgiTWIJkyRXgPyEyCKSKmZWaaapJtWgt6N8STVsf0saeHhzNyPX1nG8G6h5e5UcCQZBAnLQtNDRcWPzENozRdup47EKLC3pIbPBDskYgCQDVF2P5qVYIYeUVccwwmWm8PbPq8OzFb+AGFjQbFLYqnFdDdJ9pYwy7PEWve2JrG5Q3pwmj5DitegUVC9RW/nArnpB9BLTcYnPsE77y5TGEgznnf4zpvLDGdzvHizxR//zABPHTO4cjXg8D2TVCsNUk5aObarlSr5fI5UKkVpfJjq1hZ+T8OzYG66yPkXrvKOHzvBb/3hBf78rMaT+xN0N0MqselKOKVe4bGTs/z5szfJWQaDjs6T95f5vU99kJ0vvUHLazB47JCCGFW2LzB6+Am60kfc3cEcKdFzxihnClRe+5aqB6VPPYJ/5RxJLkNm+CDerYv0wi6ZfYcJa1vE+ij2qJg+YnqvP0+QROTvf7fSinqdNXo319E90QFOqiSHJUPydIHGC18nNXlE8Q7SowPYfobWhTcZecdj2PunYW+dx/6nP+O5ZZ37ZzPkUhFDkiZKG7hBjZnSAC+tdwg6XWaKaTbbIbmcozY8l9c7fPOTb2PyR05Qe34Jp6RjjeTx11v01m6QOnQHQX0VM7HwpCri19RhuSOQZT0gNXuI9tUlxZgpDk/Rb/exx8ZJBssYq2v0/Sb2+CHhrdK5eZG8rdHqamSKKZIjd+MvXsOt1DDufRBPbCZal8zYBF/59Bf49S8sMjKV5+iwj25mOTwxwjNXV5kowKVlj6sbHv/9Fw/z0X//CRpf/gq9XoNcfp6u0UI3LGy/TfrwCeo3VnEyafSgQSeUSpBGXKnQ9dvkDxwjdLJ4F18hNTZHtL1OX76GqcP0dvew2jVSx+5j74f/SPbUAyo9akhHuF0jTsuCZQ+t2VYXYCtVIikNIrLrWJhC9V2c8SOKtRSsX4RmjdxjP05/ewl/dQ1raBy9XEaLQnoLl7CGx0gbidLkRtcuYRydpSvaaVyG8h7bZpYH3/f3WFmdfbMafltjIF9Ske1axWd2wsZ20vzX79zk5V87wX0ffpQrXzuDJqm2QgnLbuMcfwK9PIh/6zJeV6oDGXypWNUb6KfuQsvkSJauEb76CtZHfhltr0Jy5Q0i18I6+SC9rRX0tWU0IbL7bfqS1Ky0KJy4n/7CFcxgB+PkXQRXr2OeuJso8PHeeI7U4QfV4Cy3fxozXaC7tYg1dxwzV1afK0dL0bn6KvHOJnHWojh/L4HZw17doxV2VN/asQcJ6+sEXpdiSRKvy/z+F6/wpYsNfvndE6ytxGhOk61bMf/5448y9/hxdl94UcF8PdsmPzmDicHuS98ic/whdDETzBzC9+UdJlBkGVqGbK+fZXrmQayUh7F/iEef+isOHy6RTgWsNkXLF8mjFBONX/nYEOGNKum5HLMjk7x18Tpp1ySTy5DP5li8fg07W2L+6AFuXbqGncpRre9RUMmAMjvLGxSnx3EtHb/RYXw8ZuZn1tg/bqqq504v4uiwi6drnFsImHQjXtj+Es2Xz5ByD9ESGLVsTW2Hbu867AmweAI7O6cG9QKqlfebL7FzLSDw2qTH7sL3Y+Jrn8c5+LOEcZsgbGAIi6tyC700iyNJStkWt1YwpHYnFbSR+4hik6i1jGMEtH0NV+8qYHkYrYEv4ZIEx2iqeH87Nsnlhmisv0R67p1qcBZ0VrG6AQwfUXYrc+oB2H2F2NqPqVfVBlhzc4SJQbj5EmZhmKCn4UjHXZZSUi+IE7L73kVz51Wc3D1o4ZaqzfrF41iJ6Jezt89RzauqlqW3ZUGjY4wcRqvdJJYqQ2dRVeHigcPYou5d+w5xeRKjIXegHubok2i1dfqdq6RG7ieW9/bo3cTtNazMOJ4fYpsBeH16zW0MqZu3VrEKQ2jFu+htvEnK3MW35lQSXTg1uitJ1TJxU76GWSzhYnRrykSk7lGSVvJ2VYpaLvJyKbf0Hu0kj2FpWEFPVXXD/AllPBJeSaANYItyUYbzvZqqtOu5QczCFF6/g90VaLtB1NvCTpWIDQMtf5CguYSuGHRlPGEfRIl6rtnpMbqdLXVH1vpNrPYqQXYGu3ySxF9XoPGQlLKhGFoRzQpF00DgTmBpCYmkB6V6Kmao1hpxbk5ZUmQ4YEpd1msoBbQ5dj/e7hpmegwzV6K3+TLW4Als4ZVVL2DmJ9DSAiS8hJm2oHQKrb2L1n7l3yV9r682kpa3g+8Mq4m4pzs4ooBTbkJd9T3inbNKw5PEpnKFx92WAmL5SQfbyKtNh0SOQrtEyknRr+5gyzbLjtBt6e/Wcaw8rdoObqqgwHhaCGF7EdMdUQe5mBp2UqAfdhT4zepvo5uaom9L51qc9ALb0ISiL3NWeXII0CuJ1FBBk9iNIbH8Bl52XNkH4l5bOSYtBChVVJO4xC5C5NNvLuPIRGboThJRVHTX8GpVjNIMgeXihFV8iVqm5pQOKokbxLKVFDXXxAkILAKvohybWjotmU116BBYmZ7KqVqG1r+FpiK1g6oDG1SuKSVHkvSwJSruZBS53zaG6CQedmcLvTRP8/r/IDX0AJp8EPxbmGPvRAsr9G99A2vyfhLprvZi9HSKsHaVwG/iSP/XkI61+GlfU/F0XbC3SYIxNIrXkJ9Zm9gexDCT29ApNw+6hdm5Ac6c8mDKf/M8Uas56KZD3KmpB1v56EOKtDo++WN84OEcW42E8kCaqNFl4o45PvvXb/H5/2U/H/3VQ2ycbZHPJwp0k2glOis/JDt3H7qn4bOD7t5J7cynKe77EOmcyc5lgSXdr/p/XngdJ/eEopZr3U3MI+9FQyfak5iqjaa30QsHiFormALuMCeJq5fUYSGa/Unc9gK+QCCDupqIJoPzSnEoVG4Bj6yfOYvlRMQCIHETqtdvMH3PPWRP/Tzt5W9j+NsYYUTcqaCP3EOcctB9Ddsewes3cY0WXtQgiVIkWoidlPGjy+jOOGYkffZdYq2Gk7mDWGArkq5JFyARn+gGtpSQJE1TmiWljRE0zxCJdcEqkp9/J41Lf8v6t56hfPwAuuPQ2tvDq2wxduoYqcOPEy/8AD8rh9/9Km6c+Lu40+/EW3gaynNY+SPEG6/e3phKCmVwiv7OeTJC1hcSeeyTUf9uGXvkCNHOReUwzx75MP2b3yYuzZD4DlqyitMNadVqlI/LxNph5MGz3H2iRCbcJU5nmBqwFb3181+/wic/dIR/+4XP0XzreaL1GubIHFrnEklmH5HoWvBJ5CFo2qpHZ+TGifUSdn8PBiaIZePTWqcvEcjMPozGOTDz6kCBDGCEeNuRSJtEsYW/bxHJFDuWKkFF9OrgTmCGLbxWiyDexVFJFwc98xD6+t8Qhh3s8ffRFZtEcxErM4Iu/axOA90eRhMdTOQR2+OKliqbZUlaJK0mhlg1CBVYRUt6ytLh+8uYuSPEomEU0Ft6UpF+kXidKAPFaB96IDT8Vl0B+iS54gNOe5tEemJVuTDK5qRD2KpiiWYvNaYu2ZIiibQYx84pqKAQ5qNgAz07jC52B+kDpQ+rl7YpZhLHVPEvZ/AONWAMNp4jN/4O2tIjFNevJt8Lk642gOlvoYsW0EpB9YL6rPcDDb36PGb+gOr8yWWskyQ4g3di9SpqwKHL81B4E0IILj2seAPSN6Q4idbagNBUPBexY8jvqzU6KYEtDN8nqVyBvEBGTyj1oZns4YUGZvqIcgdH1Wvo0SZR+ghOJF7kErYMm8U53F1DG31MfU/17gpoQyrWpoV1FTmNA3lmaSRSIRGtoZsh8noYhovm7eLTU3FKuUD5ctCL+uj6baCWbKPN8XtJaotqu6YNPoi3+FWsTFldgITX4hQP0W2v4srWJNQUTE3SNZpE/Rf+hrAwr4YElhuppI2eyqghiiNb1qiJLUPf1oqKKWtJQty4ThLaMH6a5OY3MTMucfHt2Ml1fC0msscw2+sYQlqV+GjvLGROoIUJerKL1+2QHRnH265D3iU/mWff7K8wOmyTmDojeY19Y3neWujwvWsN/u4Xp/nIr97Bt//6JYaHbPKFgoKHLVx6i4nZCbKZPPV6g0a9zuTEBJEZk4ps1mt11q7ucfKBAfWu/7X/dImzTYcDJY1QD8jHNpF4z7sx7TBgslTi+9c2GXINLv/DxzFPHKP37PfYe/1N9EP3k3YrtK4skX/sKbS1VTr1PTJv/yjJ4gUCUZBGBr18nqDj4zgurbPPkH/4Eez5R+U8RPvqGWUYMuIecWZGDbSjtes4xVG6orSS+PG1q7gjk9hHj7Nz5lmKY/sJXRO90aG5coVsaZB0Zoxe2iE3KtdCh688/R3+j79YwbZtZmZMhkUVOTLI5ZurrO7CRNml3/VxDYPBvIVITY7MyHmly9+/VOHtUzm+8uVfYfXr/4xhTWKFTbSZGWXO8WtruNk03cvrlH78p4mWztFZkd9jm5TUMKMOxukPYFdX6J1/lrg8ijYxRjYzS+17f4M5cxT33qcwJA11/jU8gQDbCa5tU3dKFCePqvNF/c0XCUVDd/IEdmEIY3eJ9AfeyR//zpf4zBdv8FNPjbLeaLBSCbljcphLCxtKuyoH6lfO1fk3H7uTT/3u+wmrXbYvXIPNLSLDpDwzR1zM0m77OOUM/Vd/iDV1AGNMNlhNrI0lwnSW7OR+vN09GltL6I1NcodP097eoHDoAGZo0L1+nTiDqmt1r14g9+i70Gst4qVLhOkcvtQrC2UYnSDYrqkDa7o8Sbu2g3flTfL7D+NX9yBXEBE8/dYWxX2n0LNpKq+9QPbwg5iuTvPNl3BGBkgKZfqtHXL5SdpbTSY/9DbWX/oBRz76TQbSJo8cznOr0sbK58jr0nO2GS6Y9Dsdnj7T5+fvm+I/fvY9tJc2CS5fUPHywfd+mN7ZF4i9HbzpE8Q/+B7GwVns8hyN66/gBAnmvuPomqnU1cKFShcG8HY2yU7Mq98rb1PAqgFJukSgQ+7EQ7B0gX5fQGc9ks1lOHA37uQYveeeRj9wTNrYeGkXd+YY3e9+ScqapB/+EL2z3yTb7xHP7VNLOMspqRRG18lh1ZvE3T6Z+aN4S0vEwnGZLKLt7tILdFLlHO3NCqOHJvnMf/gXPn+xyo/cWcY0EjrdhO+crfKTDxt86g9+hp6Wo77Xo/Lsm4ycmKW3t6S0cM7oMO2oS/rQaVpf+zyGwM3ufkQ94/ydNdpWzPBYmZSc3X/0c7xrvkgYeoyMyru/xdOXfPaXQr7zt4+wemmZ2nYPLJtSOc/A0ABvvfo6dtrhjrtPs76xzMLlRQ7feYRMymF3eZONtR0yGZuxiVH22n1uXF3h1Ml9HL1jkHt+/irplMH7Tg9y5lKVjVqfpx6b5vvPLLLasLlZ+T69119Q5ofQkNB8SNceQuhfZtC7/XwXzpIBdixd9RJR/zp66QDB5ltKGWuKGlYsaUYOvbtALFF+MRgZnhrmarpB2N69rWUUja8AcP0VgljYOiPqfSnnItn0mlqW1vazZLL7CMbuQm8vEtXqWOEGQUbMTY+SNK9h2iWlHxQumC9Js+VvY84+oC70gWiW4xqYY+iy+Ax7ylomVQWtU1G6ZDFwmek83apwg4qYouBzBojqOxhItaKH5nVUBz/O5bGK9yoQcyzabS8mknthdwPLjUnSx9ElFtlZJ+jXsSVdmDuK5w6Q1DeIg0VSow8TayGB3yfefh7DnSaWemP9GvbQSZXOM5xhDJVMvUnUb2KPnCLsb6iqT3r0YbXs8Fa/RDz0IKYWoyVdrPLjeHvniLqXMK1DxK6jLESmJDOdcbVQkXNBZOUx+j18PFLF/fiNDZxwmWDkEWU90qOaGiwkAi0WbeDeGQUM1ebeg97Yxu9exh48QhxbJP62qoHKwFJV9nQbU5OFiTzYurftVUpzb2GKNrEj37MqsTuNNbyPcOn7ql4SxrqqCySDAt1GwTMF1hw2l9GTpmI/CZfMq9zEzuWl9423ewF74lFpyaLHXVWvdYtT9DZfwxV4cPYEUbB5e5gqbIqsKOMNtOay0kNH5In7cl4rolVf/k+JSYg2MEMkpGG3QLL7JoFsrkWhEIWSqlXRU7lIO1npoy8jlAe5UsfDR7GcMXoSvQxjSgOjdPWi0o+FlTNqoBDuLeLEXVLzP0EklP1uBW1wH1F9m1i+OaJtaLxJLH5j+dD68lIv4ubGlHaht3MVa3BOXdzi5hZa+RB2elSRLOntYMi2W7ZpiXReG0qHoVVeQzdtIm1EOTCNYFsBKKTzHdVu4MdpUuUpgtY6phDcJRor+rHAU5RLikNkMlN05QbvoQjOQs5X06We6NQmVaxW3zyPNv12RdW26wtqoySQCb+9ju1L9+tBIm+PlGHhC+9AYihBk8ga+P8BQg2s4jy05aIGdqdKffk5hu7/NZVe8FbOYAoJc+gIoVXGNkO8Zl1FgWQ7bqSG6PgeGen3S687WMbf3cXZ9xDxxvOE9gy60SSWg7eo3yYfIGiexyocwm/WiDoXMZwhrMwogSD5kz6m0L/1FLrRw7CGiIKERnsDJ4pwTMg99mP89MNv58LVLnccHMGjQz5T4uSMzXNXmly50uDCqw8R3qoRi1rEPELYfRVz7BGl4vBe/wf6RorM5N1ovS2SwUn6ezvI+CTIpnC1Au29V3EsAcSl6FUXscuzJOYY7L6pjA6RPaIgfeHuczi5ecKhaQUxM80uvigxvA66qDUm70fffhFfz2PJ9rizi7vvAba+/lk63ZjCxCyBrdG8ukxp1GL8R3+b6s3vqvGSOXCCsLKopmpygTRa1+jp01iRwEyk85tR0bRQy2CLN7Z9Fp8RTHGt50TdFRNXtzBcWRhexTUn8XUDK1NUcJUoXiXeXSGVnyB0J9D9XQxrAOPIu9j97v9O/fIeY8cP0ahvockFuKdRODGHnR/G66axRa0pEbHhxwikDiEDJ1ErTj6GpvnELYFxmlgDY/hbV9AL+/B2z6E3K7hHn6TdD7D3zuLOPkl35wzpsSfobr1Od+E1MuVhgkIZKzuNv/Qybtom/d6P8Y1PfY4f+3STf/ORY/zwhTe58/AojW5EIW/x99/Z4Ma3f5vcqfdTOf8Mw0WLpjtHsPwyev0c5uAU0fATGJ0dYm8PilOYWgb8LTxhKhSPEbS6WDkNf2sH0xbv66SCg/r1s1iBpiJXoUS36rskjihChYHZw9Tzqkss8EDpyoXBIv29KpmJu4kk32oIrM8iZWRpdm5iSxRPUuPy9Ot7aNI/tXOq44VUoMIKhmg2NQurtkg/PYotkfvOLnrxuIL/SMeMwnGCyMNpXFSRbumN9/ohmraClZWh4gp67hhm4uEtP4NWOAByiZWIlpNBr54lcCZJDRwjvPX/Eqen1UtY1H9SD+qZg6RTU3Rr5zEiH3vgiFLIed11rO4mYWCrbqVAhUJPDCZTalqd+MtEvqQFsripATwB13U3yQwfox/ZxI2buJlB+rGBqfUUOyUUkm5WVIdFlZqIWnuYI4egU1NDT+k6xq0lxWOJ5UPdW7vNMwkjdCfG6HbUiy+wxU08jBnphJkCjl+jv3kea+IEgTaM5W2SJAFxap9KH+mBwNxqWAQkhSnCOCaJDExbw/SbqjpGkCWSYRAN7MF7blsYhOA/eCf9zgJGmFIQSMstCskBc+tZQl2SGoMK/qdnypipYfS+qKASoqCFKeBO3VWx/ri2gm1KuuMoXv1FaU7iT74HNr6NGSWYM0/R2Tqn1HVJ1ESPmsoprHXW0IOIeOJetF4N0x4m2HkBXfgRMcojjGigOrXbW36tRJ9N9WwKlQEjJNp6Dbd0QmmyYschUO7fSA0XtKgBVgktOwv9DXV4NHJ3EAdrhPU1DGOMqH8RN30XztFpGsuvcOyeP+Un3neAiwvr+EnC7JCJo6X59lt1fvMJi49/ZD+3ViJ2txYZnRxnZ22Tlt/n5PHjrC2vkSmmifoxW1vbDA8XKY+P4fltXDPHjdVt7nv8NI2ryzz16Tex/RSuY7KvnKYTx7TaTfqhyXzZ4VLVoxsa7Nxs8rk/eID3PLKPaO4ejAsv0FxaQ5NayeQcfuUadieiXt+iKM+qRo1o6hjFmX34YmbpSOtvgcHRMrWGR+IEaoCqFUeIVhYxi6OYZamwDdC+cQ4jDunvbpE/di/xcBFjo4JfreLccSftM9/GTlwyj74HPWgRLb5K5kcfYe9slfd/5HOc6ehMzZoczToM5G1WO00O5KfpBlW8BPYaIQfHB/BD2djBG4sVjkwN0O5WuXrV49n/+1H2T0yR9AOinEOkF2g+/zXyB++EyRlqCwvYWp30xHE6yzcwdQfj4EGMXkwgG7ROQ23pLCenNrO97VtoloNlxphTx4gvvkpv5hDR4hsUhqcJRUe8cpVesUS6F+DX1+k1tyjc+y5SXR9vZwM7kyH98BMkKYOfePw3+ac1+OR7Znjj2h7tMFSgSElABrUNMuUBvvraLtOjDpf+6kNkj+6j8/zrJLTo1zWcnFDWA7x2F7/VojA6fLuqeOgoyeotkjhGF67GxlWS4gBGvUGQd1XVLhRydzFLsHhZUbrduTnaW8uYgYnf2aa7vkzhyF2Ybhpj5ABefRcuvYB76B46soqo1PCNPoWjd9FbEsCpRHl79KvSL9Zuc30qFXxXJn8DZPfPsvnqOSaOnmDt4ouE9RoHfvIX0PIa8w99igEz4fThUdZ7AYN2BpI6ZxabxP2Ae2bSnKtLKiDiyp89ROfB97H39R9QlLrVj32UYOEqteXLuEaaoFKhMDdJd3cJ3bNxp6cwxCe+tEBcW0U/ev/tM1uzQrCzSvHJj+EvPE8UW+giru+00NIm3U6AmR3BEBiaVIUOHMPavEzj2jK5+x7G315TDAl9Yh9Jp4GWiCGpRjh1mKzE4Bdv0F25RnZ8lsTfIc6OYBkFemmT4NplSqfvI7i5h+72sAeGWX/lBcxSkdHpWWwZhD72AJf+/lXe8Z+/zYPjNgdHS2yEBnsbHQ7lPD7zm0+wRZry1EGaa8s033oRS8CF07Ok8g6mXlSQcPGL721skzl0inzBovrCCyTtbcZ+9qf5+l+9yns//Qyf/4VDfPFba+JU4lfeN8g/fK/GuNvk//ytg2ogefPKDs2uLJBsCoUSK4u3mJ2fp9FuqERZ0Dep1ypMHpjB94Q4p5FLZWk0q4S+R9a2aLd8Tt01xt2/tEAl6fLAmE2lo7Fa6zA+mFHaxPO3+uze/BPoZdjr1EnFslXu0GvXKQqETguJjCzRxkuKOySQdEV4jwJ1B5BLaL+9gpk5gCEedlkydpo4RTmL7ypOgJmbVZVX6Q1KEizeukJcOo7Z38Y3NaXkDpxRtPYyhqQZ21Vcp0jfAldz8LZfQ7OmscrzeOEmhjGFv/MNMgKNM4UR+Ay2dP/lz6+sYo3fT+Rv4/gRcWEarVsjjncgzirtntLA2WLz6RNEDilZmgmTRwZVYgQojKhUpbVziwz35TIAACAASURBVMhxFTfFMLNEunvbhoCPmd9PsvMG3c4OmYGTUD5If+nrmDLsyMhycQjfW0fTApK9PaySJCi21HlSLqSWWcBf/76qO4i9yBk8pRTZcZLBTjw6tWdxh54idjNoOzcwLQ+/JInmBLNfIRKQn95S70aB0ESyQBKGmj2K31tX9S+jvUZgSkV8P5qro0mKSM4btiRDBwkaK0S9JpoYGzL70bMlYgHhS82gv46xcx5j5BGioXm8xW9gGmm1OE1oY+ijt8+A+YNoSQWjsoJenKOvuxhxk1jA7JpFGJsSC0XPzBHvXUbvbRLkBFzok9gBfrtDOj2sBggyLIA2tjWJL3Vw4SPmRoik1ty6SmKUb5v1ZMElddPaDrFfRRu+Ww2BhdOQzs8TSs1dUg+iXRRVqQiImlWstpwXQ/RcSZkEpNagNV/47SSKdUXjDgQQEcuHdERpOZL6MlZ+hlCrEHsaZvEAUSgHJ11tVPztNxVwL5FvsqiOnBS9egM73EYvjNFrXsesV9GGTimnvOVm8XfeUKA0o3SYsLcNxcPoQpCMxGM9qsjd/ep1UkLFzB9HX3tJEQ2T4iyWO04shoDYI5FNnSXEZYNYIE7y37vRbXhdGNCPYhzR3W2cU5WGRFz0jR0Ms6+i/FpxVm1urdpNutLJycg/y+h0EM1bVhvzwNMU2VXzqoporIkHWvzcXodAfrE6N9RBV9yZoqHDSkg8H13rk3JmqccdnEQnjrZv/8KEqPgrjpDTu3i7y5gjd2BIZSKxVCxPT3bQGstEbple8TD5sEPQrGIOjhHKpTZqqrqGfBi0RCoSMwS9GwSdkNTAfuJol2DnMubYg2r63L/1AyxLw5SOcWtNQbc0v4OZdojT88S6j+17+Ipan4CTxowjYt1V6YrI96BQRDdskuom7bjL+CMfYe+5z3PyRz7Lb/2rA/zT2Q2OzBep3tpmYLTMP7+4yz/93jx3/vp9tL76Im5iYOQyGKkS4fXzeAMlBo59kPbV7ykXu5bfRyiuVyetBjpWegrP38HKDKuIT7hzRnVY/PSc8pC6ohETQnhikkhc2slgG2X8/CxJ4zp64w20oceVn1zI/3rqCLF3mbAToFUXSd/xQZL1V1h67iUMRyBrKcy0S3N1iYm77yI/ez+96wuEw0PoQozf+R7a4DtU6kDgZZp42iWim58jEBBa1FEwOdc5pEBxmr9E6JzEkoORXMQzMuSy0KQrGYgzOU2kx2iZcYLdV3F9GVQ8gemv4LduYR74aTa+/HNEPUgNlfGF9xBqGHGLobd9QrnJQy0gVTxA+9IXsO/+HTQZT+98B6kfWZkD6O0lpXyU6LctaQVRyBUP46YHVOpFyPzWyBE006Rfvwmba1jWMPrMfqJskWj9IpYcCksZUuJnX7iB9e67eOypZ9C6Ee86PcBmzWe33VUO22a1x9pOxOXqGbyFV+j32+h+EbQWoXzeLAszJxCXy0SejpOfIt55kbAwg97aRpeHe/MyfbuEWzyC3m/hezWwc+p7aHarJGZO9cASqdLUlomcArq/g2aOqsio64pWr690pnLxFX2VlstjNGvEAg0UJUxpRpFn5dAqtPtY1JHJCkZoYjpl9WcqVV1qAH/rJvbwKYLeLuHm90hNv4dYPLP+kjqERMHtjTNZ0QQKGbuoOAmmvq2SHrqwFaTyI1Te1Bh0t9DkgisXj+YarpvHk02ukcVy0oopIvGvODsBUZukdpE4GlQue11STUFVHiD4Wh7LyuBVXlesBsevqvSG+H5V+kEu8zuvYMgLu3AQ09tSMbwo6BBLrcsU/VZBfa8MO4cWyos3UZf6lNhckk1IXKQYbBT2019+Gjt/J7Etipld7LRwEQSYNEyS1oi2zuAOP0RQu4LR36CfP07i7WDbBTAdwo6ohjrkZiQ9VFeaMbEumGKEyU6oibQlDnTRXPZ20YIAY3CexFslbssLe5w4XMK0JpUeKZKXoygJ3Qnl3NWqt9BSMbFnqWdYIjpbcQfrKfXclxqQ1tiFVJqgtqC0mbIhkxhdInpQyROILrG2jK63scr3E3bXFZuEdBE9CpQ5QgtqxCN3Em6/ies1Yf69hHuXCRtL6E4GSw4lTp5EOAnpHEFxH5boDKWyUTpAJBFNf5XIyGNa/duMk/w8jrzzWnU0SbX05RK4gynvF+EvhDXlkPYiDSebJalfx5PY6ci9kJoAGYTuPUevbzB44jRbl7/EgYf/gvffP0K7IWk5m9ixedvJCX7nC5f404+W+egHpUetK6ZKt9VXlYv1tRWKuRJDIyMsrSxSzBXo9vrYKYf6xi7pwRyFwQxnXr7C8UMFDt97gGeevsWv/bcOwWCOoN7mjmkYHRrnB1dXeGBygH4cU/MTdmoRW1s1ksjl3/1knvc+MsfYvaeJ6vIesvDOrxINjZLS29R3N6hvV0mnSuRHpthYuMLo7AQcfBCvskLrxe+iTeynWEzjNRvYloNRnGD30vMUhg9jTU2oS8Bgu0NP92h00gSbq+SOHKKzs8RAxsSdmscZL2CMz1B98bv81u/+kP9+tcvEIMxmdQ7OjdINY6qVrup0V7t9hnI2umEQJQYTAxnOX6vQDdsMpR30nMXzF7v81c8c4MPvP8HicwsMPv4IiRFj1upUly5Quvtx/NiCq68RuFmQymE6IXfibbSe+SpG1sXrdEl2dslOT6PnynQr29haQKPdJX/v4xiaRudbf4v73l/Ee/Gb5Cb3wb79bH3tr8keeQgraxPviTFiF2tkCvfgQ/RffprG+hLjh4+RmTkKA2n2v+OPKI+XuX/aYHm3ixGEHJ4d5uzKNr1GlyP7Z/nH19eo1UP+7Qdm+Pd/9DGi4Qniv/wc/tQ81/YqHJ6awU+kM9tTUeXW9irplEb66KOCQWX95W8xeOJ+WntrFPPDVG9dIMwNURidxVu9RlZsAOkUvVoHTwyHR47Ru/oq2eFRtPIkQbWCvb1Jrd4iPZimX+uri0cql6VbbZI7IQqvHmbYJxnaT+f575IqlOk2d9G9PfykSOGueYx+Cr+yiWN1ST/6Lgw74N0/8if8YLXFJ3/8OK+8foXp0THSEmVvynmqzPBgn267z/kLBn/xG/Pc+aEnaJ+/SXN3hdyBO9CSmPYz3yD70OOk3BFqy+exhGWSpCjMzVCvrt6OkYvh59KLmPP3EDV3CRfOYcweRy9mCPduL7KcsEPvrReI0g6Fow/T2b5Kd2mN9NAkzugcXmMVO1fET0z6L36D3KPvwO/0MJsV4tEDeJu31HnQnZsm2N7EHp8mKeYJLl0mMzWmUmTJboXu3kUK6RI1qaEcPKEqP2lPI+U0aGfnyERN0qbG65c2+Mh/PcdTxyaI9DY9+T40Ix4fH+GzX/hVFr/4Z+TzA/jWGKVD8zR3OsRrZ9UAOXXsKP3zr5L0YsxyjvSBE3Q2F8mYk4Q9H7uwyf6f+g7TIw4ffnyWq+tNnjm/xS88MMR/+36bTzzZ55MfP8W5M1JPtRgfmyDoNdnd3KXarHHg4GEMWyeQKmvW4sIrb5FOOwyPDpMblN8pk3a9TugHFIfL9OsV5o6U+MRvX+Dryyny6Zh7JtPsdTVyboibT/Pl727QOfcpkvw8u9tLDOSK9ETdKirs2MXrNnGyY4QpFzuy8RsXcOSdpcmgfJg43CYM+zjpYaKtC2jZYczcALT3COSdpkfEbl5B9eQyposCWLg8shgbP6XSbl7jCpmBO+jsnCNXGCfJHSLWQ4LGLTT3IFa4Tpj46s4UN24QbJ3FlLNw+SBJew8tkWqw3PfGCETtJmp0r6oqiaHUjewcgSMd9nFif4mk2yNKlUjlJ+k0rmLqQ0pnGGy9gjVwAsOJ0T1P1U36foSh+1i5MZWyU8mUsKnuPArM7G9ipvbj9fewoz3C3AEMObu0donz8wgSAysiDHTinZfRTKkm+qqjHzsjmHGLWHyFGwvEpTkF9HRFG9qvqCVe3x3A7m0TBD00ZxDNtFRdT4Keon42XJugJverEpol55J1/J0ljNI4rlqyyUCvp86RUdDFcgw8rahi/los799xNRiIs2XkiBi3V1VVMRGl4+YbMDSLEafRhNcV3q5KJ66Yj+ok1bNo6XHM8ccJZHjjNRRDQjr5mDLcG0eXr11gjplJtMw+erVr2LqH7ghHaEX9ObJgDiSxOXmaKD2A2euSJBVlkjLkQB9cw9SHCfEJGhtY9pDSf5uSqnctxbUxspNElVdUBVaTpK18n0QLKuwvqT/snIOCLK01HMVCSBG1u2i1Vz+dmJZLFFUIA1NtJEyzRxgJpMslqO1BKoURyTqjQyQTnIYA2TSskVO0Vy7heisweIRw+zxmzsXOncT391Q8VnSCAgfUhg4rXZjebBH5iyRxpF5yspGnsXa7z6sV6WOTKhVJalfpbZ4hGTpNZuQd9Be/gFYcRpcOqpMj8WLMUoFuq0aqXyeWCIbRwrfz2BKdjRNCZwJ0X1E2nbBNJOaApKgOHXHcJ1x5jkimL84w6YGjhKJjywxjFY4Qtt7CEEhC4SCxGaqXZCLx6b3rCjwoERO5yIUEBHuXcIYFaJVClJXSBdSD7m1gQ/k0kbdI0qwpF7p83xLp56bTyOckkFhIIIdiOWCU8LobOOK4Ngz83RvqYeKn5tC2XsFOFwgzo1i1G2qLpeVGVB0iTgbR+mskAk50xrDkYGvphLpB1N5S2inxSJIags51EmOUMG4qbRx+HVuo+xLNbq1hWAWlrbAksuQ3lTpOHzqIboUES+eJ/Qjn5NvJzOV48uRHVH/r3iMlfrCwg7drKDvA1Y0+jd0SS+fvJdk1CTNFknCKuHoDb/ssxQN30UuKaNuv40eeuuQ7hSxxu0qQJNgplzjskBp5kNat72GXpklk0rd9CTvr0Bc938AhohtfVxErUy/hifdyUHRD/0zWGKS//4M4tbP4fl1FxfVCnqgZkhi3qwPiJt579WuEnYhUdoiuXsP1MnQ21zn81N0EuUN0A/kF3MHaeE6lK+LRMRJvSj1UBNAlF3JNt/HDHdUzcsioSFaSLUJvWzEWDL9DIjd53cIw5e+VKM9pYPTRi6cJN3+INvqkgmcG28/hyqYlEAj4Ar44kPPDRN0qTrlEvLfD4OMfIN66RaJb6Jki4fYVjDt+jfjal9Cab8LAA+hhW0XZ6DsYeRvfSGNI36uxgd7bwZx/O97iM2oQFpeKpPWD9FsvK4WZ1Ynp5TVSrQpxocjOzRaloQPk3rmf9kvnGHz/eX753bM4epNMrkzsayxsNvjGi5v8+f92Hx/7o8/QeE6izGl8obT2NSSHlHYLBO1NAlHNlcaIXBPLHCLQcjg9Ac3cfpGl0yduHyzpKrewIVpITf65g9ERZWWKMD9OtH3pNmyzLzuEDFGyq+pEZrqMVxNi7Kgiqwrd3x44QJIbJeY2kE2r3MTPlVWvz4or9LavEBf34TjCGvDQeitE7QpJFOAMzuCFNkb1TXVZDoURIkAX2Yhnhoi8Ppa4l0U3Jw9kqQflhm8/KwXGJxvh7rXbl00jh2XLxnxPMRq6V7+hIm5aeRo2XscaOEogPycp5Leuo42+E0uGGc3rJGZJHTzl5RpqCaFcHgOJlE1hxy382i3sqccIezVsW1cQv1AOw/kyoZO/DT7sXMEevJtu/QZJaxV78Bhh4KGZMYY+TOLdUOaSCIm4tZQFRoA6smFwSvtVVSmsXlcqPV1I9JK4EqOIYWJIX9G2sYwhIhWZapD2Y/xMiVA4LZaNnfTpVy5iFGYwhOkg5gVRFMmGvHYFMzehKPdiTtGkq1jdUqYTM7cPy+ySmJJkEEL/Oprg4DMDavAicVotM4cu2wZR4AgLOneAZO86ujNMpHsq2SQAPprrGDLJF9iqkH9FXSTo58RTRF8/sDDj6u1DgAxCq8sktq6GEvL4dgZP069dw9t4jszMUwqO6iVNTC9HYOmKeyDdOqe3g6+nFashyQyrSJ8hxxbXIUnyKhKsy9BGXuRWDxIB19bQghZJnCIR1qwln7OWhLFIquv0M6Nk0mU1vNE6G/iiRRueR+svqwNWaf8HaHfOkzv8Sd550mKgXCKTOFxYqXBkJOSr5zT+r5/9/1h68yi50rQ+87n7jX3JjMyM3DMlpXaVat+rq4peim63aewD2IyxBw7gBYwZMwwwxwYGL8fGx2CPYWxgMKYxNtAw3dBdvVTRXV3dXatqU5VU2lLKfYnMjMzY4+53/H7yvzp1VCkp4t7ve9/f73nq/C/PFbj24ZF6h3Y9j2PHFhkMeuzu7VGuVNRAQE8TgqFHrlhgZ2WNfKXE5MwCB80dbl5vUq/BWD2itebyc3+6x6vbNufHbUZL4CU5IiMgG9ig9ZkYzRGGGq8vN2l6Cb3Q5e88VOOp+ZSTMzPc89wi5HIYQZ1kX0C4VQ7XGhjpNhFT5EKf3uEBQbWgLu+DzTX0ziFxxcU53CNxJzGqo8TNHdLWCqHukpuYxJXKoKzI2h+Sufej6NkRaQASbdwm3Nzm+a/e5m/+0SbVfMhz5xcpORFbrQHlfJmDZoP9vYD5ySylgsZhBxq7PXqOwXzF5bEL07z2/jZ5w2O5p7F8rc3Oi38bBgP217pYAkW8eRXdcskeu8jwzlu4uSJev0X+/o8S7dwhuPkW+sRJ9OoI8eYu4aCBM3scszpGsH4LI9bI3/ME/Rtv0rt1FX16HjvSMabr6ElMdNikODqBJ9ufK1dwRiqko7Nk5++ht3NFuabtyROwugqH79F3i0w/8gRa2eH+h/8lXr5CtdAnS45OmOD5IaenXUIZJg89OnrEy1c9HhyF/+tvnOGxT5zBve8BvBdfZrDSwJ+sUS7M4dmuWob025CvlpXFJrhxjdzCPUR5HW/1htqUFh/7FN1bH+Af7ZFdWKTXaJCuX8OdP03u5CMkt9+lHRo4Roq/+gGlB5/DiAcE1Vl6b3yZfHkK7fgx4msfkErc2B/ijM7hD+/g1S+SHxul+8ZLVISVMTNHf69BOZ8h3tvBfeojeGvLfOYnv8QwjTgzNcFRr0OzD0bWUo5xE4+SC7PFLL/zrRZ/7wmHX//tnyD6YIfdV78tXkScslRRgfoZ7MEu/f0O7rFj6t9PBo/B3j7srpApF3A++WMM3/kaUXMX5+xDUJ0nvv4m3oeXyD79Gczd2wR+gPvwJxjeuoJtZxS8TRSWhzevYE6OE3cDbIGMFir0tq/j9kUnNo1x35NEb36NaLyu9NymJ9veCkYY4r3/Ctajn4L9dfzLr1B++Ls4+OANtJFj5GtF4laHVN5TU9O4uHRaW/iHh8yfusjW6m1+9N++yvmlEjuNLqdPj/L5b+7w6ESf//CH/46Vl56nqEVEHR9r7gTeh9+hMDYL88fpba8pKHJSGCU3OYnXOmRwZ4OycGQWRqjWC7hP/R4//slp5YdvBRaardNsdRmEGl/+nY9x69UXiQUOq/fR+hbVmREOdvaVmlLMEbWJOh++d41+65CnP/Ucb3/zW1huhsPmAbabY3ZhWp3zW/vCfrI4cSLLbz+/x8/+0ZCH56GesQiNlKXxPFebPi++2eHdP3yOU9/3T9h+4U8pGRFG/Ri9Vods0VF0eiPqEicBVhwRajml1U2TfWWHGmy+g2lnMSoL9Hcu484+SLR7Q3G/0vwJrJy87zuEcqHWHfT2++jVCwpgJ3VBgf7KwMr3u2imhub30EfOY9iy2d6EKISMAKX30Pxl4qSCUV0iTmPMziqaQIr1ACFuSxo4kc9+ew9L72EWlhh2rmNXxRZ1AL0NDBnOS1W7u006fgZN4HOxVARSFS8nN0osphnXUMMtsaylw32S3DxWZUZ574V7k8ap4iFYOTkTrGJkC2iZeRJvB0PUyKmrtthWqmHUnlSsBMOQWmyBOGqhHe1gTN6nzkup1AUMl+jwOtboaZKgQ+pOYwrMMDeulMFyPzE0G8Prkkjl28irxS56hTRtqfqsXjyhTAZG7Kk0YCxVqUEfv7uNO7qAXjqhVM7B3i21cE8lmSF8r94BiFkq2Mccf4xUoH+Ve8gULjK8+d/R6+PYlSfxt1/DKM9JMYQkbpI2NjHLFZVGlyV64miwt0IqwPHcaRL5GcXkNNwhluRCSZIFLXRszGSguGFWZlwlS+z/ufgJO/tKE6vV7yOUpLwaRgXEdgW7XFf1Nz9sYwvA2jQIkhzZcEslEwI5Ww5WFdRe/p0H/dsky1/APva9pEmk9NWybKb1IZEhVfEUrfXqP0v14ZHqM8SlGfCP0ERvkTEZqFikDUKhnLgH02/jtTuk4a7aaCRaGSvpMmwuYxVqanqaNl5Fn/2M2pbE3oYCrsQCbMhVlW9VqPby3xlhi6FAZSyXJD9CuvOBitJa2SJJrJFITHfsaXTdwxvsks3U8bQRkt5VTNNEk2l66Tga8gFKFQ3RP1zBrT+kNthB/6ZSNJGvY1lZInF5GzWlxYq7q8TuNJatYxcmiHo9fCuLvvV5ktJJHLuI3zvCERe3RFWR6WKkoqSmNUZiSc9/AL1VxS4IDQ3NLhKFCWl7WdEZBTyTygbS3yYVMJQZ4m/ewSnWMbMGg8TGCdqEcmAfvUdNt9LOVXwvwChNK0K10bxEiI0981H6vVVsU1R/BRC35/AWuSCDb1sY2THS3iZpqhBYhHvfwJr+FGEckmy/jj3zMIkzSxrcUcwCp1Ai6h+oLdhg49tYtQtqu5p0V7BMubALjXRd9ZJ9Cowcf1b1VoP+Ebop3Sab7OIxLn39S3zib/0+//KnTvL6pT3ElrGYsdjuh3z+zRb/5R9O8ld+9BxH33oTMxyjf2yUUauoejVyyDDduiKbp/kq3uqLaEMD45R0D68QxR0y5QfQk121rQ6aG+rhJikUXQ/IGJMEnatoUw+pGLJ/489ULyde+DTZ0YfQ975A1O3d7Q2XhaR/SlkkNGsKXJlAFvBe/3N6kYWeHSr1nZC5e8sfUPvI4xQmv49o7UvqQB/lz+AQ4x1dA1oK7B5Uzimfalo8hyVT3kAnWPlvWNVTxM4SxtELhOSwsiOkepFUPv8SbQ6FIuoS9Rq4tbMM9i6TifbwnAvYU/dg+Rt0Lv0BncMWZnURPeqjJxrN5j7lsUlqD32CtLmKN/Es2ZufY+gW0dvvkmZOYk0+oICaqTWDt/OyOggG+YeI3/oX2LV7iPVRvM1v4I4ew7AzaImkQFzC26+jlSfQcjNY7RX6/g7u+GMwfp6dl/+YkXyO0vcv8fe+/wX+4nWYL4vf1mcsa/JXP3aGb7x8k69dCem0nifq7tFu7JP29zEDHa1UJLWLqt9mhG3M2pNK/aJXZtCtOaLGX2IWFpTPW5cQnVB3tRaWliNMTcL9KziTD6oXmGxlySxgW6YC9Em8MexJxHWc1Mqql6T4bqRTmUhSSS6emSJaFBLE4V0ojGx1NY1UunTi8rUKaDhowzX83ipG+XFMMZm0buOU51R9IJSUgXNS0XHlQio1JXkBa5njoA9xFBBU0jIS36oouE4ssD+Bt0jfvjSPvvsaw7CLPfndasus9buKgGuVS6r+0x72yLqSAIpwJh7Aa91Ck2ePXUMTJasjgyZDdUZFRSmMgtRvEnmHmPVnlJZVSvZaZorQWyfBUXF40aymFXnpN7EO3iUoHsfSbZVCkKGEJB20SJguBlqwq/RCZnH+buok2L270T68giFgVAHvDQ6R2YPtrRPLbEcOHVRIBZTo5okOV1Q9TC8dI5YKSq6iwD6JQCz967jVp0Cm6f0raNaMUjQKZ0YGnpqAhfQiiUAbI0lv3KP0cAmSCjpDuP8WCDdl5H5Sv4dk7BN7nLRzCd2YIoxtNK1915WdnVKJAj3wGLSuoKfjxGaIXZ1HI0/YvoUjCaNUJ/IPlbXDiGXr0VaphbsK1ixJcoSVnyTdf59YnrELn8BJhqSdBr7wJTJzxNKdDLrK9Z7EAYmkP8QRPPSJNJuMJN/2XyEuP6IGmMhmAl8NgPu9A3JiYxbIX+4YxHI476gklgyxD9dfJjd5L5nSffhJG7N/pL57dtRVEEBdKjrZEezhNoXahPK8nzj9D3nu3nECJ0fr8ID9Dvz1x+v88z9Z4Rd+sMjP/9BFvv31ywgIoVYusL8naQ0bEC+3qG017txepz42Qq8zwP4fcK5Ge59jp05SyWVZ2z2i3Whz/4PT2EGfN9/VeWe9xRffaLCsVZkp+OSTiFaQUMlbhKmBGyUUMkU2AlF2umw3DqiO5Plgs0fVg0dPO3zXuWmevb/CSDVP8dwS9miBpLGP7thEkmIbZmB8kuTmVQJysLqMPZFXvAejYMCkDGczGM0NmDoD2Qz+/rs4xWN0X/km1+8M+Oz7+zz/9Q1aQsjOpZyp2riujjfUaAceM6KpG/SJEhGKmZj5DBVXY6fRYXxKBrpy1vAYHymyetAlX9Z45a2Qz/3CIs9+4mm2t3yqRoJfn2Nw+VukvSa5pYfor68R3HmfwuNPqvpH2jrA37hGJAaVpdO4F57A39snuPEmzBwjfvObZOZOYp64qHRYR5ffprpwgsy9j7H75isUQg996TRJ54DEj/Gvv0v+wYcx3Qk623dw3Czh2jWMU4+THW7Q9V1cx+Bo4yb10Rj3ib/Gg5/8NTYPh/z1j5xkbWOXxLZ4/Pgor9zaU8CzQU/nRCHli5tHxC2LcTvkd3/xOR577DjUbeho7L52GSszSleMLUfLTIyPsupUmPU7WCN1VSU8fO875AolAjEMtXfV9j8emVCDQ2/3DrmsS29wgNWJ8Mo5im6Z3sYdfMulIElFTUxLJn5niJfXyI9NqwN78eSDbL7yNcy9D8kvPUd79QYjp6fRq7Nkhstw8iJRUwbENr/323/Aj/xugxHD5N6LZaVwtaOUh04u8vbNTW4fxYwWUsbCkNuajnM45Ku/82kquQy3Xnidysl71dlYNKkyRHZmLhAOt9WgLMxUcWuT+JZDsn4N60hsWT5ROYtWnYWbV4h1TcFjrfosSbaEtbdK73AP5/xHWzpjegAAIABJREFUyIgpQtdpN7ZwZLpQG2e4vqK02XF1HKMyhjU2izUQLeNXsT7yScytFYbXXqP20HP0BHbc3ECzS0QCqo1jzJFRfDl910YYNpvkhj0i00DPl+j3PCrTS7Suvk1SzVKcmcPvxlQnc6QH65z4/i9wai7HwmROaUR/94vL/PhHbH7hV3+axjtrZGcX6Sy/S+fa20w9/TRxrszg9bfV0iPzwMdwRuc5uvTn2JVxso99nP5ffInavXNcazR57Ic/z89873Hev3VAv9NjcXaM9f2EUeuAX/vpOi+9sMfjn3qKgtPm9bduMjU5yUglqxZ87771DieWjql0b9hrY5ki3U2JYo04DhQXyB+EeL0+bsFVjvYLj07xB7+3wY/+xYCf+fgUg8hneaPNqckcu72AP3ttyHv/5fs5/wN/i91vv0ZuxELvucSjs6S7l9ByNRLbIR22wNLvWlrCdUJPhrcCxysReDuY5HHqF4j2b+H318mOniEWRaRWU+8N3RDoqzBcGupCbYkJK22hZ+cxJQkt6cHsDFFvG10AtN1rmO6CShAEskA1x7EPX1ULCLRRUr2PUTym3ofD7iaZ0oJaoESe6NEl0TqL3z/CSVuEsSQPhlCuEMUllTSVJLMuDCUjg5nTFIjUOHhfQayt/HH89l2nvfC3QtPDCk2iTA4nN4NE95JBD807JK2dJuzsYnV3CEdmsfUyfusdrLxszjVCUe+aMZpeJY0D0swIFjbx4RUS3cHKVvBjA80O0QeHakkmyUzNmcWIuwT9W2ozrxtl1AvTl6S1qfg4tlTk7DyRLIT3lnFGaiD60SRUycVsrsqweZUkPMLS88qIJGk4uXvqsUeYO3HX4JNsEjlj0G5jjp5GC4ck7fchVyAQ29b5HyOOdjHbu4SS9qg/gBYnJFZGkf6N9g3FSYuwFWBeEqaGQBYDqRfk1Pnfok3oe5hSIdfyJLJ06R+AkVcqYgHrW/0WSeU8SX8FwxlHt2XBLB87nUhg7sU6ib9PcnQHIztBkptQy2ZaN0ndCaxSCdMo4cvv09vFqV4kHN7A9pp4uQvYRkvdy3t7t3HcUcW10rqv/0rqd/uqJxYJGE5iHq0VrNw0wdF1nOoCvtdCCBjSiTViITyHCsYghG81tRoKQVtIz9PKCpApLxL3VokEpOGOkyYtNXGSQVWUtdAKAmQbkHiNu72awlmsw+tKmRfJZj3ZFbUqRm4Kq7dCKBtNiSxXzylXcLr9AcnEPdj+EX5nE2fiQXWh1I6uoJVPkfo7ykep+5HaCIZOFaO/SSxdzvw0iXg1w23i0mnizddIW9dwpp4klC2bbSs3p0Q4ZMuuSy8mM4slsZrmVbTx4yStPWwh0fa20Ctn1WUSgVAlDsHhLZx8SWkskt41tMi9S8/OVjDIK01feHAFe/pBfL+lYiPa6MNK1yTRbi1TwsiVVNRGYjepXSXy2mQyOaLOOqH0W6Y+Ttzewtx9m9Ao40yfJRRIX+camcnvJhhuYyV7pGmBpL2D5lrqwmLkTxPJ1Ky3reAZZukYyVB4DkNlf5DFo4Bf0HJo0kcV2KPXJCguYnSWCXM1bL2AHWxj63sYS08yNfp9VEdtFhZyjCYe03NT2JrPzk6L59+LuXb1ObKX9+i0PYIMZEtTpGEDzZPJ1gi61r9b9Qg9+utvUlw8gV55HG/rFdxgmzR/msC2yHpHRKIY8kKS8FBpJbO5WUJ50LXXcDIZ0swYgoUTJZ5cPly3gh4cMggGOJEFTqCmckIYDbNj6Ltvs/3WB5j5EoWJWQbNXbqtHSYu3kfl+LPsXf88BXeCWBgN8mI2bQXSkCGIVp4hvvFZtPIZkkGDtPwQuhDjoz2S3BhSqzbjXbVNFcZC1L1CEMZKgWbpGTzDVV2/tPY0pkT3Rf2x+HESgam5JRpf+T3sqRMYvujoyhzefpfy8UWKtWn89grm2R/FX/s6ZtRSWhjyY1A+QbT7KsHOLdU7kx6XOfMgxs0XCSdO4VQXSY+21SXYEgK/nUXbf4dYCETlSaz8EkHrfQWdFDiiv7tCsX4cp9xmdxhz4mPX+N7Hahxbcnhn+ZDOdp/5EZsrt1o8cN88v/7lL9B94dfJTC6SyS/S71zDcE4S7F7CNA3isfPo3S5J0lJqOu/wNWyrrqBtRlagbBXS7jZmdowodjGk79R8idSZxihdQA937/pQ9+8Qd24TjZzC6O7B6DFCvYLVeAst46IVzqoJtW4KiK9KpEVqc660oYaB7czhB7KRNTCEuJpbwvS2iQQqF3rqwoyVQZeKzsQiiXekqjBJKiMKC41DYqtAokB7jxLEO6reYcgBV6BOBuhaHkMe9n5XdVrNuIMnOiNhEnQbCqyXTDyCFiaw9RWlGNQMGXBeRh95AE00c81vwtR3q0qPXiyTxnn0ZJtYaMThEEoLuJksw54Q7kO8xjK54hyhaeEND3ByE+CtY+YrBFFJgZm0o0tExXncTJ1IVIt+l1jrqy1EKIkQofEaDmH7GkZ+CjM7R9p6j7B4L4YyxAj0xkATNohckvwtZUShIImLRPXn0yAgN/8s3sFtks4y2ug9yuQiTBPhK5jFOnF/Vw1usG2CYRtL9KRS33BdNeRMJKnijuAfXcXJ5GHoq56wbA3snhwkZAAbEJfqpAdrxP0PMavzkDlOiIfVPyS08ziFY4RpG3N/GzIaSWaGNJbDW1YlppLWLVVfcyefoH3nRTh8h/zpH8IXVke4T9AbYo4cJwoS4rUXyBx/DF+sBxGkAq3dfwWtcgzbqBI031bP3UhgSXGHpHCMYHCktiwSzxQGQCId6d4ddfixxQmsh2hmSQ0bzbEH0HInSYZX1ftUhhqGFhOZgVKKmk5dDSRS8U1nQyxjmsgqw8EVholO7f4HCFZepXjul/jkwy77jZBaqcDQDDgzmuG/vtLm+V96gHPHQ1548RYXL07RO+oQRjGum8FyXaW4jFNIg4SZxVmuX73F3Kk6vUZEmAwJez3yozWG/QPGyuO8d+WAF95r8uPPXeRgOOB7fvUyOT3PufkM1WrE9q4kWlIKYwV1CN3c97j3REVSoby70SZfcuh3A1b7KdFgSKMLdmyKiIlSASTZ+8RD05yaKTJWLbFUNygVbEbHapiehj5Sp9FpiFiHw6bP6soW29ubdD2bb11ZY289pl+q0N47YieFbADzM1myRsTSwiiJnbJ7R5I0NZLODvlSgfX9IbOTRcyhjHs9OgMfI5bnf8TxkRyHfsr+UZ+prMEbKyH3Tlt8+Uv/lOaLX6Kz1ZDGD6PH72MQ6Pi3L1O4+CBpr6eI/u7oBJFE1AMXtyvK13GMoU/o9dHaPZxjZ9GXznHwhf9I+fy9+OtrRL2U8nf9VYLVKwzXb1CcPkZvY42h1MCE8TE3TdI8ZNBYwT1zgXB1RSVNrPETBJvCXAooPfEs2nCF/fekQxxRPblAb22VT//7y1xdjxT0zTD6HO2G+EWbvKQH45RmL2JixKJeyfH1Kw12GhFnpg0+9cwpfvZToxQfeRIOdohvNPDaPfXZ6ZlFjNERLK/L0coyhalHMOsGyc4qg/4RmcwYjqQ3t9fUBaQwmke2B5JoGDQ3yYvisG/i3blMyR1TPWP7kfspFcp071xm7/1rTCyeIIlabL+/y+yjSxTkYG7HcOHjytCx9uF7vPGddX7zGwccJB6HvsZkpkJ1NGDCshgEEp8NSbyU1U6H+6o5SrUav//KCkuWxrf+62dAEkwDnaS+SHLrCsGdFaxnnmLoabibtwk31tDmT9xN0rVvwzAkd1HeB0O89W0yIzW0wQCv1yB36lGi/dvEwlYa9Ih6LXL3PEmycYujV79G+aFHiTKOAghTGVGbyt7lt1RtY2D6aNevkvnID2Dks7S/+ocku1s4H/s+tTn01zcIogMFNpPVcjo2AXvbGJNCk+/B2gbJ+DiFXImjN76tNrDFc4+QTkwSvHeJwTCmmHXInTtJ5Fp8/Ht/A6dYZqyoM17wubRhctYO+Z3/9tO0VpeR1luyv4s+WcecuUjvza+Sw8OcnKJ7MFCDC0mrxdVp0mGIGzco/9AP88nHforXrif8tY9NslTUeP9Wl9yIyZdfH/Lc6ZD/9JtPsPzSDluHO1TyJSojWRq7B0QiBvYNsnmXQiGnLj293pAgThWjJIygMlZVF8WD/T1Cb0itXlPpTtdq0+3aPPZvGtxTsPG0IQftmON1R6V7/t+X93nvT/4upx//KBuvvExxborWyttU62exhzv4wrLJThLKu6s8D80P1QXYKJ5Q5zBr7CLR3ktkZQhRegjv4D0yM0uEct5t75EpSoUxQnMq6u4k1cDQ38UQcG8QqnqjVGDj/UvoqYVVX8Lb2VX8AMutKNp+JBDvwrSCnRvxId5RR7FD0opAgLcwzAqeaPhkGDLYRi8voXuH+I23sepPkPg94tYl7MwJtLGz6M0bBE4W3RnB77yLk50ndU+QbH8Va+xhsCsER9fQdffuO4GiWirY3iGRllEd/1gvKu1fKvBco6DAyf7h+9iF45iZOaLuTeLqw2jeHbWsEJCzDKakRhBK3c6MSELhCs0TtG+QdjpkJ88TitlIzsbyZ8mNYvfaanAfy6/J2SqN0CL97lLZSAnjAU5pkWQgTKYmmpui2+Mk3T1Vz9Ars5imsI4ClZoTbobljhPLwKR7h7i/j5GpYsjzzkhUlRTKxG1ZwEQ45SnSzAWS1reU/lD9d/l5zO4GBAO84AA7f5LI1jHDWKUUEtEvC3zP1NBTW1Usw9wCmjAgvAM0ieVrGaLExh7eJi6KweEadhqRSsKguISxf5UgU8WRymPrNoOwhRPryh4jiVFDS+i2trA1Uxk9dL2k7gFhGkDSUQpF4SpEmSXs8JZsRIh6hyQM7yZMyBLvvY52+OqvppZlKLWZQI2swqJ6aIgrOVWu9jxmouMHm9jOJF7zHezyCQUIlBeZxBRs6WYkfSLNwKmcwROgxOGWUvyZhsDRVkjFUT8QKvKYmobR3iAWin/9MQVSija/Dcc+hdXaJc7mlLHPMky6Qp/OSuT3GxiZBUXFjoQtkJ0h1YaEXbmM5ontPHrrCkNdDARZ0lSm9yNEXldF0sx0gCZaGSuvLhkCs0qyx6GzieHGWJULakIj6QZNE5LiAknjTdWjkL8wvX2TxD9S05tU/pKNLk7pQWJdLHKigEjUZlEmkpqZIYzuEsKl0ylOXYkNOQIgzNqYaR5Da+FJ52/8wbs9sOY7SgFmVmbxDdHuuXfJ1e01BsNtMtUlFeOXzT+5SZz+gMBKVBzFlUOi1yFJB8QS88iMwParhBIvHVlSm+eoeR3dD1WNQjEfpI0gIIw0i2YFaKmu+rNR1FLVBbtyUX3ZdFNUW1foDxoUT39GfYD7q2/gTJ6gcP77+eKv/iI/8ot/ygP3ZtShMZO3ONwLmZku8sW39vnsT47yPT/xLJ2NAbnWFoNEDnw+RrBCZvSE8k3LxS47epawcobo0h+gTS7gWGX1gDedAZo7h9lP8NMemt5Bc2eIW8sE2bm7B+2DW5gTk0oNGd34HEn5BKEQyAsnyY6dptfdIJMdJQ5FT3OEZhvoUQHm7qH7zc/RWLlNrl4gkhe4DMKMkKnzzxDaJbzV9zEnRtHNcYLm67gjn0BLg7veeXGJjj9GJJelsgBjHFLhFQiETRMF5U2M8knsQCOJ5KAfEsZtZV7Q3RH05mW00gki2UJufp7syDmGtccxjZCDr/82upUnTBJFRI46TSr1CbRKXcEo7e4W/f4u2dnvVhsIPVxDO9rHFChS3MPIjWDl5qC3RiBE+jTF0kzF3Yjkwl08ptzUWu0k9HYYbl7DmVsgsmoYYlrQYNg8UIfIyrNlPvtT3+GnPxfy5ImIpYkCh22NHkMODhPev9bi1Rd/mROPPsLhG6+gZ+WinMd3M7i6T+yZpGYZQzq0gw8UIdcSbaahk5ROYx6J2aFJao2rNIX05rWoT3bicbU9jJ0yWhzA7juQy0J2iTQVAEyeuLOqVC6pI9aCIwWd0SNfPfAlPWH4PdLa/WheG01ij9lRNYHX00MSa5q0KyrAeQxrFKGNJYGHnhYwR4p47V3sbJlE6qe9NbH4EAn/pHAeert4e9/Eqt2LkAhTqd5kK+pniCVBlZ2FYI+48QFW/V4Sobh7DTDk97tL7hdgTdxvojkmqePiisrOzJA2l9VlNtJHMGwDf/cSmZEHGPRuknFsYvm5fdEVWYoSL5NxSRqY3VX83Ih6UaeZJfz+GqYpL/EyifBcDB1PlJfCI9l5E318ibS9T+JMquqXGB6MoEmSGScMm1j2KJF0rEXlIwfJMIDKSUJJdziuAvRp+Rmio3Xi8BC7cprU2yZx8qqzZjAk8DqkRkqquZhJwODwEs74E2BPKyVP2rxNWl0C70Bttp3+KlFmGku8xvGyugQnTka9i2RgbOy+STz3NFruNFrjJXTZ0JgTCrKkvMLehopaWmGLVCwbho7lyFYhRyo1E5nMCaHXdFTtStgB/VaIKz1F8Qb0jzDF2BJ66uJsCUDSEhaIrapiovfR5P8hkczcHGnzsrJQiNEgbL2LXb4fLW2p7YuRn0cP+4TD21i1B7GiXbyeAAQdUcGQZkrqcBkkKU68pRJL6cQ5NK+nTAmaaxJIX1RUab3baBPPqKijWzlBEPSUElD+vJYA1QpFBXjsHWwy+sA/5skLZe49NsnW3gG1YpZiOeH3/6zBH/zcPNPFI2J3HMeGxtYeEzN1dTkVM0W/3yGfk3ilxocf3GB2YU4l5dpHRywsneX2lct0Bn0mZ2cZrRW4/M33+cNvW+x7Ov/sR0Z54/2E5djgCy8dUB2DxTGb49OjvPHWLWwry8z4OB8ciOvaY3LU5NRUnfcPWnQ3WhyfLkOpyMpBm2TfY6RY4PJGQx0wNw8FPhWhK2JDQt6UKK/k44SlaTMYxAw8jVI5JvBM/DhhpphhPCubfZ+zEzWCrM5o1eDm7RaRF1DKW+ipVLIiuoZDwU1YDuB8wWR+usLJqRKvXmlwpzFkalQKtbDfjZSXvSzbx0ijpw95/jd/gHRtk42exejJkwxvXKa/fptcpQ7n70Vv7BJs72LldMz6GGmYUwM8qSc544uqaiJmAS/t3e0AN9bIjkzRz2dI9vaxMzpEDv7uGnptEi/xMPs9vMY2xdFR4pF5ciMTHLz1dbL5GtbMjKrwhe0DumtrjJ5bYPPmbUwzw9T9T+E7OuF3vkJR2CNPP8o//+XP8U+/usaFYxbTIxWG+8HdIUElw9WdAXM5ecLqREnM/aeneXW5xTsfSFIm5tOPjvGPPnmS+89OkJmdhH3ZasHwYIfMMMMgZ8PoGAdvf0BFD0nGK3SCHElrn36vzURdNFkpkRWpDj/rtznyfKbPnMbRArxuFytn0tw8onr/o6SibnQ9ovwcZiqejx3S+XtIb22zv7PCF166xh+9cIOVg5h93+VMfkArazEzUmLCCahKlH4Y8ub7GxjVAukwwDU1TsxP8qdvrXCfnfLa538cvb5I59U3ibIjZM4fo/XKl5Fjn+2UsMs5Bnv7ZM/fQ+/GFZVIk7SpmEQo5jCsCvn6HGG/gxZ4dBvr5KbnCfaEMSD9W1OR+TX6DIYJuYULDNeE15Mqo1PiJ2ijdfTtO4RegF0ZoXPjHXLVHAMcCovHiVXqp094+yqUKurMKmaXfrOBlR0lkzHpL18jSWwib5/c8UcI+1tE9UmsttQeMxy1drFFVVydw/LaFEybGwcDfuZ33+NMPWW8Pkstb/E7X73F3/3EWX7gFz7N4CVRLR9hlCoMthtYVoIxUsfJFegMPCqLDzGQoa/03Rs7+Id9Jp5aYqCVuee7fpOnlgx8x6UTx5yo6kxmXf7NNw75zb9f59kzNgc9TbG4Bt2IiZlJ+t0eBzsNavVxcvkch0cdkqGHH4QcO3WMo/0D9vb3GBkfpd3sYJo6iydPcv2Daxw0Djm1VCfruJz6+WucsHM8clYjV8xzc9endeTz9esBL/3bZ3n6H/8yO1/6Etm5Caw0q3TawuQKe7tolSXS/iq6WcNwC8S9DfTCCYgkCSgt1IjAHKBHQywjr+jsVE9ida8RhiaWQPaCplrCWTJolPMKBaVTFP5ZWJgl3n8HI1vDyInOehtr7DSRDKh7DbVc0KvTqlomyVi79AB0l9VZ3Zp8mlSqtd1VzLF7SYO2qu6Jzlz3+sqwE1Uuous6ycE1KC3eZQb1BXocomVOYidtpYBOAkPB1FNZknghkd7EiF0FApTlRpJoaDL5Fmtad48w3MQUbpjQ/MMO5uiTJNEdLF8nNBoYiU4cialkEtglokBGXrHhqlrSSH5juH9Z8QQEbB0HksLNqX57cHgDtzitevDR0VXc0jFSU/4eWxiy+AOQs59tQlqCg1cJ3EmcyhL+wSVcsdcVTioO2rAjd9cyuC6JVBsdqYzaxF4PU+qDegZfhjSdO7jZOYZSGy2PqwpeeHCHSBhhsjyx8kSpRSoLZE+4AcfUkIBQevcWRmlR6QGR2m+2pu6JVr+t0muSmk57t9GrT6H1ruI338Od/2HFcTJrZ7F6twgr5+8ai5qXsYVP5eZUMlvul1ILF4tSMlyHkgx4eqRJH9sdVXV2qQUYuTq0VogHTYzykrr0G6IhDVOCxstY9jhhtoojmsb9a6D10Npv/koqcdF0KL1ND1M6IALaGu6hDSPMnNBRxUfZk38uBfyTD3QoHVijSKILRKhAdCA6jHEirYoxeAeSOqFjqE6jkRcI1oIi1wusIun2SQVElURkMlX6XdnU9dXWSy+Ok4h+zjBIExsjaaLpMgV5H61yAq10Bq3xDoG3TX7quxi0V7HSRG3r5QGtTZxBa66oL64lvVV/BxlZmuJzNqTbuqe+VKk5jlU/pnycYa9P0k/RMr7ahityZe40RiiR2EhFw8OgT0aInP11TKemDsNBpoaVyOUqIHZmiHTRwSWYQUt5QlPp64dtEq2oDACyKXYmz5DIAVRKnmJTEK9mFGBKZ99yMS2h8cuGsIGWxKTNm+i5EUXmTssL6OLLdSYwjb7amEVRiJWtEnsCnzCIMwWsbhN//Stkjz+DHyYYIjTx99WHEEkb9D8kHgyIMnlF5I4jRxEuY+nFOqMkRzdV3UHUakOrTq5+Es2LCXt7JMPbJO4YjlshWwyh9hDnZp+kmLM4d7HObMHm0o02FXtIZWKM//DnG2z/xVnGpyfpXlnHrp9msL9O1Pepnb9Ad/k1MuPH6B9tqBhXwXLoH+5QXPoYkXScxSKx8z5etI3V66LXaji15zDki2YFDPbWyR57Dn9HbAZlNP0AzU+VU1iKyYkQ70dOEe5dQ1/4DHrQI9j8JmllBur34bTe5cqffY7KsTNkXI1hxyfxBix8348Rri4TxIfo2Tk0fZJo7S+wZs4r0qcblYljj9jw1cBJnOwS0xEvtoA/RBOZOlOKC2vIJUkijpkCgVFVl0QrXEYrf5Sw9TIY8yRYuAISy2U5uvk8nQ/fJTM+R+L1SbWYXnOHqUc/hVWuEB4eErY3KE7fQ0+ouINldM9TgyFt6j7S3iFB+6b6bEsSoH/wFpYrm4o2iUBiKk9ihk3MwTbd1jZ6NoddFJhag37QpXjq49DfxexsE7ghxkSW00+/zcS4xkQlRgtrDAYHjJZtXrvaJZ/N8s7mtzm6tYqTK5L2N2itvE61dlbBAK2xBXXpDsVpLdC44C58xQh1wuYrmALWy9+HLlCUTEWoGuiSgMlViHu3lQpFukuhmVXTf7O9T2pHaIVzKjkT6T2kOG9nZxk23sFxc4RmWZFV9aHA44p4iYU5uE5SPEvaW1eDMqc4R3rwIcgzJ9VIpJrgWhJFUBwF6ZHLNkdiUzYmkVNScEEpg6cSj/d8kAqTIxvNgDQSXookBrbRpTCu6aS+xPsksjdCcnBJTddN6W0bZWKxhrQ30EbOkOoaWvs90urD0L1F4tTuvvTaEim8g1G+D//WZ3FG7r+bcor6JFYZrb+CXZwj6GyrpI8pFPvGayoZIKYTIz1CK1/EHwpU5xaWe1bxF4zubVJdwK0ukXzGBAjoCiTGJ9GlyrBA2BRKtPysrnrhCXxONuqRNyT2bmG4c2qIK9aWTEGifI6i9IpyUi70KMfvBJ4AS4/eVM5ho3gvqSUJkxqmL5RkqYWcJurt4eSmSIIW3tGy4ssYu68QSfVAOvhGnlAGbIMj7GqReG9XuXwDvYJryeR+S/EmzMwsdFfUzyUvZVFwhHETJ38OATyL0kYfHBEEsim5F922lCKJJFaARUlZaHiqXywwxTDVVDokkIFIQdIFFqbXJhIGR2lSbV18LyVsvoBVWCAtHldWmiBYR3fGlYFBtrtSUZO+Z5opqI5i0lsBpyLAGKzsLHHzmhqQhXZRRfH1WDzzPYyJU2rwFQxDrFHxvw/QnSpJUsHUNgm6R+JTU6DcytIDvPeN/8BP/NyXKJZLVLMBWqiTag5e7PPtWxHP/2ydsXpKYzekUsrjBz7FYpH9nR3anR7TszNqi1YuV+h3OlRHairRsr+9z8TUGMNOl8Nmi5m5efJjGQbbB/yfv7NOPiOYzYhz85P0+kN8U+M3vzHgqBcyd3yKuWyDETIMg4iumDqcHCVCDuVQk5jYxZSSkdBo6mowlM1nObs4wvKNbbJllwAbw7QxzZR37+zSP4yZW8jjtBOqEwW8oIeWOrj5VMG7jg7bTNbK5EsuaxtN1TE+6h6pw3HPSzm9IORlXVVqDtKQwb6HZVmKnbFQtfnjd/YZj2HquMtRL+XEuMnJhXl2m3sUopTX1gZc2hjw1v/9vZz5SJXey5fI5E8zHB8hlMuvO47taMTagM7lt3BO3od2cIfO1Q9wl05TmDpG3OnRXrtKbmJewZo0oeHJME96yJ6FOVZC7+0xTGu4Y3l18ZItDr1UkeYlkmwkNoFl4W3cxqpLZLdFEPfUFnR8dIGBpF3keyFe6zDGnRph0G/jcEQ3zlGrOOhyvi4SAAAgAElEQVQLJX7r7/4+f+9rR0yMGzxxfJL1ZptxJ8sTF2p89dIdBbYSzVXRCNGKOkUMtto+l2626QiEPWcyqUV84vERvv8jF/DWb3Pv9zxEbaSkzpViuEAfAd0nPTTQSp765bS3pwaomsAZxpaIzG2Q5xjCgzJxLYv0qAV7y2gz8/Tev0LkpdxpD9nqOGyJqvD2Kp/9xiZeojGINCw75tRMjVxeIxcFTIxNc/3DVeYW81xZ7+EFKSemLErZPBkrZqNv8hevrPO73zfOj/zKj8IHm6xvbZGrVUmWr2GfmKG3tU3x/o/S21wn/fAlmJwnkVTP9jLmxISCmsl30SlOyuSc7p1r5C5+nPx9T9B/8Y8J+i1i0WLnMpgPPUjalmdAjDtZwxiZJLz9DvHWGsnIHOHBbYqnHmWwv0Vw2KB65kEGYkpYfY385EniygSubdF66YvERRfXyGNffIy02SBKDOKty8T5GkYS4E6fo7P2tuL4HN54l8p9T+CMjtBeXmP4+gskBYvC3AkGwwzjZxYx4xZP/OB/xcmKYDfPE+fy/NbXdnnpFxepnzvH/lqDYiGPfuoRWn/5BSpn7sMcLTGUP+/EHP3l97ByI2inn2T49leIijVmHjnHf/61/8Iv/FmLv//xUW5f6XLLDwiHfR49l+flN2K+859PcLjbVuyxXNHhoHPI7vVdCvU8c4vHSZOA1dtrTI3V8CJfXfYTLeHwoMPMzDim7eJHMe3tBo3WgPMXj1EbmyCXGSpt5fyPX+PhM2WemS1xZ6/FGze73DOf4/l3B/zrnz7BP/iVz7L/9hvE4Rql6gmCqIAbv8ew38GuTqvzqnA3kuKEcrLLqVo3RfM9wJDFm13GCgYM26Kt9nHnHqS19S1K858gOdzH0/dwixeIRSsXrRObk7iaQSyf794RWrRDWj2rqpBR4xLW3HNoR9Lxz2LIfSuKFHNi4Pto1bPow8vgJxi1s0ovaOlZElfYZBW1CU6GN9HsCVI7ixlF+JGPFm6iZ08TJB6Gv4ehSdJuANUJOLiOJmf/gkDQBfIXEkUmTqZI1P6QaOtVjNN/E2RpevghaU8SEQvEvR2ssXvQRWFNjNa/Qxpr2PlFhu19xbcxMxqRl1XMKmTBQA4tt4TefI3QSrELZ9BTj+6gTcZ1kV2qQPsEpBn01xTAWPezaKOL6KIZxMeWKnG/QVpZRIt1tN6KSpwjA3/RK8rZRu58B2+TBn1VCZCJdyrQ5WEf3RL3XayMbhlXjGejtHtdKhNz+O1bKqFjzjxK7PdxXJPByiXFyXPnP47RWZNTPaYkxrMjGJ1bd7kGufOER2+iV4R3J9aBGyCLICeL1tknCY7QJx8lEO5A+w6GaK9lMVN/Cm/rVWypdGRKBDf/COfMDxHJ+1/qkpakhuXvxUBP5G44QLPLKnkY+5II3MYwxtGEeSO1ITOLa+YYNt5AlyRY5SHi8EDxkpJE4JAFAqksim2qc+k3Ui0Rp/lAXWylU89wKCZltVkUCIu40DWhRcv03XKxbYNQ6PeDFUIti5mfJbzzFWIrS37sDGHnf3qUx6WrGZN07oD0XeuniSKHVCY3xem7vYvOinqp69katNZJjBE0J1E+RNOZxvN21darb5TJBC0iKwd+C7+9SrZ0nMiXg+8CqTnAkaiJbhC48+hmSiB0cQFUhQFmeYagu44VxqTlU0QHL2O7i8pjLbFwiwFx5Sza/i10ueBnXKXMkF6x9H90iYIkcsDdRpefPS2gt66pjVBiZNCL4ne+haY5GJklouENBd4SAJR0OMJ+AycnRPeQIGhgl45jiDalfVl98TByxImn3Jd6bgrdH6KLpz7UsK0CkWFL1ABdoIFmUXkyLXeaQDZ0wTZJZhJLQFfDLaIgT5rLYzo5/MZVsvWH8bu34ehdcos/itfbBH8fTaLWWowpYDpTJ3ZtEi+Aow/Vn0PPzBOkAlcZU8AJmTIaRgm7tIDX7RDuX2Lir/wsf/Ar/zs//ksv8APPVMnYeV58e5tP35Pj7IWT/Myvv8kv/O15fv7ff4T+61ew4zpH3VXKVVH8CY3cUpt3edkVy0WMhY/Tu/2XuNLD1aokjkVysIw7cy/+7W+TnfsI4XCHoXhYj/+vWPu3iVaeR6+OYxWPM9h4mfLiJ9SlzG+tocvEdf8W5DMYdpn46DraxKOk3hZmd5tg/glab36R+CAmU87SGnaIdg6YvOc0+Sd/jMGtl+/GrRpXsEpl0vEn8YcbaiMpEWu9f0QQD1QnR1QdmllTdF855A+HRbT+mzjF4wTeOuneh7gzj5CaJ2V3jp45iXHnt6B4DLP+HGy+APWLBDsvsfPGZXLVCol0ppIB3a1l5r7r00TFsyRHy6pzbNbuZ3j9D3FL46SFixiDq2iS1tn6AGP2SeVKj02XrOkwbF7HMooYtVMqnpX2O8S2JFMOFCAlPlhXkMne3tbdDVK5jrf8NqVn7uM//vp3+N9+dY+/89HjtKM9Gqsp/+hvXGDtfwCz/t0fvcvnfusneOC5T7L+1uvk3RJZs0pg7uPIBd7PkQS3iA43SMMmRu1x4tIJrME2cRgR9m+qSa84ZKOjXdLyCLY5jecfoBFhWhpJ4GO6U3hGCcIWxtbXCG2bzMh5UnOMUNNUH00L5fvfQx99gLjxnqrShIZ8L3oKiJkMm2TdGYbxPsbBZSyrQiQQUFGRytDPi1XnLzUd6N5R3nUZ4AiwJTTksuCKYBkt7aMlIq3sqc2yxK+0aJvkcIW0OEdiFJWGUdSpqVsFeU6Il1ZYHXLxj/ag01QdZaUVdPOY7iyBEGLzNTSjjt+/RXr4NrnZjzIQH1DJwErKJPL/3n6bwC2RKx2j27qJJayRkXNAH9Sz6hhpT6jyLlFwgBX00Zw5Yn+NOAlxZ57Bb94iFYVdbg5Tt4isFC3cx4hyaGmH2KlDfw9j9Jz6POrl+xXzQnr8dl1I1D1s+fkHLZK4rQ5Ami7k3FfRHQd9XDy1Mcb2iyRTz2AYGZLD6+AWSAYb6jlvmCZ69RTe+vPks4v4to2uF3CjLn4SEDRvkS3PK+OHTKG1ozvoAnTUhJdyncCpYuXHSeR5drilIvbm+Gmiw1tqWp+4o5gCpdK76o5vOzpUT5H0D0ial9Dzp9AsgbLapMkIabRCNFgjV30QX6S8AiSUQZUlwEOxuQQY6vk7jpH2iSWFkuaUT1cqKUjVLPbAnkD3NgCXpFQnDmUovKUcx6GkQ6R6oRcIuytyA8IYPau2ETJMlsOgWDW0+v3YwZ5KpWlWSQxSeKIuTFPi8gR6Z51od5XsqWeJgpT9977O+A/+Czrf+Fc89D2/wUxNAmk5NWQXCPKnnirya19u842fH+PRp0/y9usb1EbzFHNZbly7QTafoVgosb+zqyjaEzMzDPtdMsW8sl0c7TbUsODJ736Wy2+8Q/eoTa2WpdPUePlGwLF6jd/44h0q9QqHaztcOOnw0x89DbOL3Pu3/z/cnMH9Z0UB2WUsX2ZfQE9BJGNPtlttpidG6AlXJzIUQFBVVktlskbMUHgWtk/FzChHuhd59AVYrNCgAZ5vEfY1dVgTnVpv6GFlHCoK9huRsxyyMlj2PLaPQgqOhmVEDPoxi8drCnZ2bsml4OZ44bV9hl7MP/jkAp/6q5/gP/0/f8JO32elMaScsXDMRJHov3Jll3/18dP88D94kIMXv0Pm4v2kOy3kapAdHcOPIvrLr5M7+QxOJUfvoEHW0HFOP4q/eQ1/fZv8U88QfuPPiSdGMPIlBt/6S7TF02RnzxDvreFtLZOdv4A1NUWvsY/rNelv7FA49zD9zRs4M8cVvHHEyXC0e5v81DnSYAdvkCiQ3CD10BIfq7ykhvnd628QaqbaWA86farWBF4ohoFx8ieW2H/9Ev/HL32L/74eUqvrfHraZD/I0wl9ZfK5sdHk3FKND9fbSgd8bjxDoVIgbydsHoSstoZ8sCqQUhdvmIgUiYyb8MBChs/cL8uWHguTVeYnqhSSLp3EZmP1kGP3zrC5ukK1XuO9SzfRByZbeszOSod394esNXUWZzKs7w3Y7gj8LxKUEUGgRFmUTZiYrDJVADOTxZXnfeDjGKbSzEZGwpXVJg+dn+dg0GJn0+fMhE0xq/HFq23iOOInL5T5J7/+A3SiPPtf+kvqS9N0GwH9wQaVs48q1WkyjNGKLpohFiyD9re/QmlykXhySqV6hM0jFe1YAM7tHtmiQZSdQNN14v46mZFTxJaD/+ZXyF18knjsJP2//BN8rU/tnocYrm3gXriftO8TfngJbaIOckFL5V2/pJ6xQmTvvfZVtPFZSmcfUtT54WsvEhdcrJE84cEArdfAnD2jlksSZXZ0F236HEHviOHNdykunKa5t05h7gLV0dr/z9ObB8t1nveZz9lP7923+/bdF+BiBwgCBBdRNEntshTJjmRZli07iSeTVOykYsdxEo+Tmow9SiaOU5PEji1HcZzYGUsTayRqsU1KFMV9B0gQ+34v7r717b377Gfyfpia4h8qlgogcHs53/e+v9/z0LxzHe/6RQoHavRu7vDFP7iCPl7mY/uz9HT4l9/d5vY/X2Di/tMEySjd157Dvf+USjWmg56y7ejZEpplE61dxCnPK0ZW5sEPE994mdzp+/jVv/8Vvnsp4EMP1llZ6TA1kaPslPjvl1b5icPwW792gsvnBKSo09iMOH1qllu31xgZK3Hn8jWqY1WyuTxuscz22gb7Dx2g027i94cEQUCShFRHq4plMzo6xvX3LtPqtiiO1jn5yCwPffE1pTKeKFh0SMmGOguHavzpt27xS39jhl//D3/I3tuv4eRDBhs9ivMPEbdX8WyBtNaIm+/hyDmq27jX766dwhqukWp1jGSRyKormLacDYLWXbTy/aRpD1NU6ZapOEG97g5OXipo4i4WrlBRPRuMNCQa7pEmFm71MMPWeWVjs7ITxEZKouu4fqAqOXp0lzR/RmncEs1TSwijWCX2Q5JgB9z6PdBc77qqqMXSS08SsvIejD0iUSnnSwiyWuDj8e572Pk5QlHm5l0Mvari6FrQVupcYcMxepJk+ypx+xq6JIxU5F6Wc1nivTuYMvi3OsoM5I4/iT9oku69g1M9TqDPoYlMXRK5Rk7ZjQQ6H2o++DG2Lc8X0QwL8PowUdRE6y6rBPJQb2LLZy5Tw1v5AWRqOIV54tZldLtImJ9G31u8l4qb+TADv4ORdpQRTJPKRi6P58XYRQEJ7hJFHRxXKu2bqupO3yMtVdGlKrmzongvA9HCizZQeG9uHc9vkNNdtTBIswfR5fy3dQHfFZCfaHtFs/0Q0dpTkLjqHqvJYFCGCKmHXrtf1dFNu4auNfEE2p2dwclUCaMBkd/CEQ345iW0jNSUZTAti4sMkVQHMzPoGTlfhiSSGm7dIRIIYGGeodfEzch7ckclXa3qgXs1hsbyPcYXKM06pSOkZpaou6iWEokkzAWMHCRo7bf/bSq+QHFXaqZ8nUYqNm9LRlz8234TM+mp2HXYvakiUPLtKwoK6TXbwyGR9K+l65odU3R08UkblkMkvRehG+p5tEg66Y6CdclvLZsm4QjERkmYDhLkI5ZLX7xJkozjxOto4u7WsiqejqMRxi5281204jxafpa4deXehdWOIH+MtLdOuv0Gaf39mNLDlu2b0PXtHLFmKYWcJtAv0yBpXSC1Dqp+bqwPCXavki3fT5g00TMjarJlyguUnwDRw+QPocvPyY5Jfdm6StfvEEHnkiJnO/mDhL5sJi25KxN4DdKGHO4NjPw+NAn+iMZPImTpgEE0xMlOoMmBbrgjTy51uJN4t8R2o6CrthFykTWCFrFdIg1baDJxc0fRshUVQ9UN6eu7JGEP3ApJr4fmiHv6cfTGJfWloBdmiEO53F/FqBwkGQwVA0AXcGMUK2CbaOkSo449WCXNZLHL95F48maT31s4AlOKjK1rGlHvLqb8XVIXY24fZm2C0/Mf4eiYw9S+LI1OwsFRl9Wmw8Kcx2//UYfnvnqSE6cnCW7fJfFDhsMOGccgqp3C7DWIu3dIRw+jd9roogGJVrGz+9VAJ+pdw5j4PGnUwzJ26V58Vr3uhgwM6icxWzdI3AJOYQq/sYleP6a63EHjIomZx4jWMU7+feKbL2EM1jHmHyMZ9BVgxZ2do335L7n5zDnGT+8nkk3E6qIio8/9td+kd/kNrGJN6bekrmCV7yMNFknsElamjrdzWXEmEmOWOFzHLZRIozLh4LzS0oXyIYv6KsYeNW+Sm/9RpXwMVp/BEVBYUsfMVOlrPs7WmziP/kM2X/gt9FaLxBq5d3hoNdTmfuxHPoZVqpLueUT6Kn5YQdu9oVzo5HNq0JaZ+jDtlb/ATQLSwiEFlAnjBL2zSJKVieN1MuVJAlGNyNZ37nG0u28gI7+89MMKDuHKWXaW1hnbP4p5/BgnTzxDfsznxFxRpcCHsUkmZ/D85QbjScoby09jLF5VU3vbdRi0PPTiBLboUwyh8ws1daDiWBLp0qNNNNE3SdxL+t6hTKT30MtzRP0dbCePJpfvwZp8BO5NehmSlI/jZGqk0h8TKGTso0syxpoi9a6g7Z5Hn/k8htDYG7eJww0SI1bO19jXSOwskhjrr58nWzsM4my1cypqL8C7mLaKvEVCsi2JNUOYBdeINLmwZYkZqPSAphXR8mNo6fCeVzdokchBL+qTyoUtL334TcLsPjVY08INlbgRLoEjw7jt59BSE2PkYTUUSQYC7ZonEFjpxpsYMiARlV/aJWos44zMEvfWiO0prGIJsyObAA9dNjGy8dm7hFUV1aoA83ylHIyCBoY8/EszGKs/VCkHrXQ/2uarILFz2WB0r6vvX7d+nKizidndxM/JhTcl6DVUKklANGZ3GS97TH1eBIaq7C7Ni2ribDr7SYMVNAGhlgW6dUHRhlVqw5DKhINhBCqOJ1A8w1onCmvqcOoywN9+gTTMY9QlOj8kMiRanRBbKaaYE+S/mUqc7yDe5W9jDt7GOPkriqtibDzP0NsmM/k4iaR0hivKsqFbWZUw0F2buHmdRFJiZl31osVN7Iw+pLZPSeNV3OnPEEqMvn+HZPLTRAKx7fdIajUVNxaNaLJ1Hb0ggEFhFoQK7BS1zqvniil84tYaWmm/qvD0r38Ne+YJ4swU8doPcUv7FPR22L2LpbkqwiduZsuQz/FlyObAmCRJOsR6TjFY5GIbBB5WYhH4S5ARr/go4dYlTGFG1I5D/210L6JnHiBfr9O9+zZTj3+Bd7/1ZT76xT/lC588yq3lZTxfo1I2+asfPsiv/LuLPPUrWWanyly93sSwNQ4cmlWgxRidQ0cO88y3v8Xk5AzjU9Ms3bjOyESZ0NfpNXaY3T/PViei6CTK926JnjNT5zs/WOT8ekhz1aPsJBSqVb775irf+Z0PsPDzf5f+n/0nnnn+Nv/yL9dY2YOxSkAmzXC8apMWLFa6EbO1gkoRDLyQ5l7AdstXF8/JrEnBzbPt+Vi+XPgTKkWLERnWNhO2dxtMVLNYrs2g41Os5XC8mNl9RVo7A66Iyk/TcR0Z4kCllOXc5S1mZlxGbItcLsP2xgaOJvR1ndbekN/4+TlO/Mo/ZPcHL/LAT/7ffOT9oypluL7T4f1HZviD526Scy1u/PnfoPXNbzAce5jaxz/A2g9eIpePGG61KdZs9pZ2yJ68j7wzQuPdl5TKtvqhz9B85g/JVCcYtptY5TIGZQa9DaX8k/eAKMRyRx+kc+ECw71N6l/4mwye/TYU69iH72P4+vdJvSY5IcHfukAii4m5edX3z46dIC3pWGlI69ybZOoz2G5RpW6ojWN0PLo3r+COjeCtLJGZncOZOALlIrlWG+pD3vzBDZ78zXdxnZD7xnLMzRRUpXF9G6bHXVZXdjl2YI6t3W0WN2IK5Tz1ik5elySmiW6aDAcd+pHG+lab3UbCluHgJD4yV8OBgScBDIMkTCkXdYJexEDOgQlkYoOcCT1XY7IY4/elumSwr55R5zk/8Tg4USD1PHpNj14m4f6pad69uqoWCg/PZJmdrvPN56+SqWeEvMRqK+WBealfxaz1Oozkaizt9djtBLz7lU9Tmh2le+U6vTWD6rEZdgZ72NdX6GV9ivU5tTgaDNaUctZ2bLRiBn/pDtbkPtEHkJoZIq+HK2q+rTVy9SqDxUuqVuMUKjQvvacu7IxOM3juazj1MdLJg/RvXSA/OgvVOkHcxxT6f/0AXmUUZ/kqfqmGPVZD29kgjAy6N89RPH4G78ZF8qcfYbB8Fy1Xx85ZDC6fJ3fyUaVCzGVH8KMmrjNO+/wPyR59gDTsEaxcx5icx+j0MCtjNMMchZECWd0jVy3w5089z8/+zjV+8v3jFPMx71zvcKPhs/p//ThJfpTdnkHJSulcv6ESUwJBMyujFEdrbL3zEiNTh0jmD9F/6Vt4VpnCfJ3qI2c4/eiXOD6hcfrwfp67sMxUqUi1YPJHr+3wtV+q8eSTk7z2Fxvsf3A/W6uL+F7I2GSF1lYb07KZWZjlxvnL5EeKZLIOXhCQ9iOy5Sxe32fgDdSzuFSQzr0kvRLFvEmCgMNnJjj+hVfpDjXGpPaR9njy5ByvvbPEahd++n11/tXT36R99lXyov/dvUNayKkhniuVPXOUJLhEXDqDOdiAwQ5aRsCu7+GMPU4otcOwRSLqR1HirXwDp3Y/qVMl2nsPa+qD0LpN0BBjwSFip4qVqRDs3VIJQmvsFOHG27D2Esnxv4UrmrlbTxEJcUglCC4TS5LHKqrIfGHq/Qoim0qkzcpjBAKxFrbHiKqWaeWjxLkxtOY59CAmFluTDBqGYn4J0CuSbEth5RXsAz9B2NvFzuYJ9lbQS/sxUk+ZdIJhhJZsoY08gm228NevK0hhduJB0kwOTZa7oh8UeK6eUzU8gVynmTEc4R85JaxhU3X+CZYxRGeTnSK4+020pIAzeUYBDvVB6x7MvTAHrW2lMpckg6YNCHduY+//FHY8UFwjLTem+Gim4Sl4c9BYIjsySShwvyRLtP46oa5jVU+qVKguQqRkqNIEsvyQZbZRPaSS02mwh2sWGfoNZJaYlTuiun+NMNw7j5HNYUS6SgEmUgtNd7Cqx9D8oVoua4UK+t419OlPEMq2Xb7PymLlaajev+gYTSNDkLTRjUnF1gpl4Z0dYbD5HkaxTEZqi2JU6K5jyRIMWRjvkg67+Pkx3Nw+gr03Sb1dnNFH8Xt76owg+sGkcVXxnhxzVJkHRHEj+r9AuGDuLKkwe/ZuKYiuwAHDYBU3dwxPqgN+n9iUpcrrv5VqSURql+51dPubaNL4ygjNOlDAJ9vziMSRXLBIxz9CvPkymkQhx48x9ELsnQsk9ePqzSz0U4m625aBJlOM5nW0MYlaTpCu/RBfNpd12X7LAesamjiejQxpawkj7sP+jxNtv6seiunoFFaSMtw8h9m+iDb3OaVF0vxdte2VTigSfZEHi9ZFdw4SB9tqWyJ6Jyuv0/dNsmZG1j/KZiCxStFvyPbGkY1R9RS+1wGJtnWGSmOYZucJhhtYEpXJTKgXTbYwWuyp/nciDzlJRqQ2kcQS9TKaiOjEdy1AjOIUMpuOVa++R+r1FXAs1SUmHKDLQMCtEbavqORB6s6hM1DQLENAZBXR3EkE9waGVbyn4ujtkFRmFRFeIHRmmuDJ9G7ifcqHq0UxuhCue+tEq89g5A5j1o/gaxUQmFh2VtEm7dYmQfkQWuNtUk3DGTutJpaipkjFea8lJP07aKOnsaK+ig7hNzCVp7wDolyU/ll2jqC3oqJZIydn+do//df8zL+/wa987gHmCl3W+gmvv7LEsfvGeG9pj6UbHhtLnyNMptGXr9DrN4gbPcycbLc8rNIhpUvTvBCjcoakdx4tFYOEiSWWAL+FJZPFSHjAyyRzf5Xh9lvoQu7My0PouIq3pDKg2rmtYvOCmojDIUZ1TukR8Tpoo5OE27cxxBgw+ph6QCfxLlsvfR1LuA+6ow71e8tLTB0/RPmJX6b77pex3XlSiX77XZVA0cr7SWwDU0js1hhmGhIKCM4sKqikgAYpv19dOsSugNCvs7KimILm84qbZk68D3/YwhXAZKFK4llY8RK7r/4/+AIaqo9gWTrtO2tqEzfy+AeJli9iai5a0iGtnkLr3cILY7JTH8G78yyGaMZ6m+qw6xz/gtJWaq2rpJkpZX6wswKPOYEudNXeBmnlkBoaxdK3XF/GGiuSX/g4jUtvMPbxR/lff+G/8vvfTPnHn6mx7rV58402Dz9QoRfs8Sc/TLnyJ5/i4Gf/Lruvf5dsZYogMEgFPDfxPjVYGu69STZ/kkDAcbqFOTqPLp1xzcRMPEL5fhGdZrCr4I1m0FNTVgwLb7CB5Uh0tETaWVYqN608ry5P4crTpLlZktx+Mq6FL0aNrkd+4jC9xW9gRVnMyftV7Ud+nS6XqSjEiDqkwyba6CkVuzXEBNDdFTqlMghonRV1kNAKC0pzp0vNZigT4z6hVcbJCJVaQERdtHio9H/hYBkzN0PSbWPlSspuYrTPY9QeIfW2ScWOgku08YLaWIvSMs2OYPsd4twESXubeLioNvNx3Mdo3yIKU6LqAyomL2wOgrbSkcom3LBG0SyTuLMhpTClKlJb5d4SeunwvYPecB07P0IaWer7RzYOurh8MyfQGy8QCwwv9EjSHvZgl8Af4o6fJJCDgig3U9HCJhjy3pQ6hBgKQgmHbeFWZ9A9m3hwU9Vjhms/QCsfUINOeQgaYR9v9xXsqc8qAFzav6B+BpLtE1OJcDukoy2AO7nYSh0qkr+LJe/d25jV+9AsUWBdRReI6mCZeOwkmu2id1bki5XUiLHdSaLWVZK0TKoFxEkfXZN6yQPEQr+Vf0oTDDorOO4IsfyeK88qTZE2/iHoXMG3ZnCMnoy90YVHYnTVoTHW8zgCtTVKJIO3lIJQqkXyObEzk8Q9Ue+F2DPvg5UfEuT3o8yzh44AACAASURBVJs5Bhf/I3nR7kicb/N7SttkFccRdYgMZEI5mA4DxQ2I+ysY+Uni7qrSBZn1hwnWX8SQjqVho2fK6MMBlp1RusnQ7GOb4+q7ZiCVDhmESZJAupt6h9rJn+b813+BD//8W3zm42WlObx2u8H9B3JcuNPnrVsDlr92ECO1ae9qREMfP5HDo9Q6bfXv9bEJYi0mGA7VwdoV7zYWrcY2wgrq9/pMzUyRpjq+1yf3P4w4v/nHK+z6OermgJ3YpdnvUXUz/OQBj8/+rZ+VYxph3lXg06WvP81X3x3wn89uqmdk6kItgfmFCo4k4AyNcqbI3tAja9u0Bh65TISr17jbalHJWTR3OqriEIvLOU2YLJfx+ik7UY+Jap2zl9aZLptouQy37zZYmMnhuBbd3YjxyQzxMGYz0Lh4bVfSmQro+LnjNT7y4AiP/9iPUHn4NDf/63/h8K++yydPVFlttDgyDnOVCVZ7Ps9fb/POLx1l7Mw4a7c62JVJhus3yVUmyZ0+Q+ut58iP7SPIFelffRu7PEvl2AG8JMHvdYlf/YHyN+tjR3GqVbyLz6PP3EemJt+fO2ibW+gzR4n7TTo//B7Gg08wsv849vKrdCSia4C22SZ75Bjerev4pSKOnSG4dgX76BFlWwr7AfbkgtL9Dl/9SwqHHlGpFr2zoZYgfq5ILZ+ls3QZc/QgvRvXyFTLlB55ECvaJryzyP/y5Sv85zfX1fvx1JzLwkKe63f30H2bsVGLC9c3mRst4dgm7baHL1tLB2bKee7u9chYNtmCzkw1y421Jp1OyFg1y0Q9T6fb5eD4KFu9AMuA7S2fSI85tq/K3Y01Ut0hkymyurHLYycW+O4btzgwXma6aPPq7VVqxQyjlZzqik+NVCiXy3z7nSt0uhFmlLC/nhF0HJ1uQjfUmCtlyRVTtjYaysTx8s0hnx63+OOv/s+Kkr17Z4g7Vlfq2c7Ft5Wms3r/SYJ+oGpDsXz/yWdufIHgzm2sW+8Sve9HMfWQsNPELc9ilPN4t65hjEyiGW3ClXUKJ59gsHYZvVJDojjDdh9bYFySCnrfRzDuvgeHHqD56jMkm7tURP23cFIpAb1Lb2HUplXcPGjdonzqY7TfepHsgRmlNPZ3VhRvpjAxzaDVwwpDrJOnGZx7i2yxQjh/P/bYOOFLT5FKmrQ0RtLyydRGSKU2K0Ne2VDnHNrrm+x/9AQvfO8SX/ztt/ncI1N0iPjWxTZf2hfyt//8d1n9T78Lbp58xlJR9eLMIQW2la2iF2zTufgOMz/ySboEmP0hZmmM/JzHi0/f4DP/9DV+/xce5dvnbqB7A5xKmcWNAZt7Ee99ZT93V/aIwoyqYs0cmOTc65ep1vM0dzscO3mCnfU1lpfXOHzsKJmRAlffu4Rr28ztm2N3Y09VZ+Khh+enTM9Uae91aQY98maG/TWdv/dUykvnGnzmoSyjhSp3NnbY82Nu327z4AGLP3rteQaX31aXdn3vNmmuQij3iN0tsBP0YBujfFS4fWi7b+LM/wSd5g3s3Djh9ltkBAQuVjLLxdt+k2z1McVvgua9Gmfgk63OErWWBMOGLUvMltwrUKlRMQ1I+tgcvY8w3kXzBLA+JIw1jLwwbgZYoqtcv4lWP4wZ+QQIYFwI+y6uWIGyVfqb76hqnGXL8kkn0VsY3SFJ9RCGsIeUKWyIH3XJ1U7i+TFOtEo4FOuJgzN+UFkFUjEbZCfRC3OYjWVlMDIKwi9po5t1ovZ7hIlNJp8DvaDuEvR7+P4dMqUFZUEzJT3tdwmbt9QmPM2NosmSIpD6Xg6sMnqmit9dVikIW4xqyVDxnjQBkGfkgr+K6Qp/Zx+a2VdGIan1aWlPPYNSv48fBupsYufENLAGReEn9NDXn1d8AllcJGZFqX81WawK51wsTmICSAboQR9r4Scx2jdVBz9K+iRyfiudwpTzmQwuhgKaHSp4ti/n0kEbbewM7F1QJiKpt2u2aIr3MKXCZI4yvPF1jIkHSORzKZB3VRuUutC0Wg7IYiBTncePLDRvl6S3TJqfUXVshDOEg6knhNY4SKWjtYfuZkiKB9XroAn3zSpilOpqCRVL8kGYaMKAMnT0QRtExe2MYzk5wu4Gupw/Q6mRbRMLA6n99u+mSbitHMhmGBFIR7h8BGRCsPsa9txfIdm7TjxcRZv8yD3Yye7LKjYqb/hUJikCU9BiUtExuOKal/66jyHRCi0gacu0pMxg65a60FjSbU0E2umhScTJitGSDJFsCWXqoZlqIjaIHbKjouJLiYwcjlkkQXgBKaleJt27jTsyh6+lxDvX1VbckN5H7w66WyY1poj8HczuJRg7SSo/oP4aqUQhqoeJFl9X0d7s/EdIRc3QvIAf+xRnP4gvCiuZIKlD6RJBWkV3rHs/PPFfSp/bmsTsvKd6Pdb4Q8r37m++g1ncj3yy9eEiulEgsQqKR+C1ljFpkxoj9w6yxRH8TgNbN4kK0+iiyopb2LIdcq170MTODQJRjMyeIpaNpyfOSx9dzxDJBkbcj7svoZePoBcOq+lkEJjqwRuliaJHJzKuKR3F33oWTeBFhROQtqG9jSYk61gMBgOsJE+YbiA5Nj2US1CVsLOCUTiKUSgTb57D78swwMS092NYDfbW24wuHMCdd6hP/xO0/oBPP1Sg4IZsDLJqEJMpFvnOxQafP2jy5T89SXC5gF8bwbU7NK9dppqz8YrH0bdvY9X3o6c+XnMNvXqAsH0ZPc1h5acJ23ex3XGCjIvu5EHed9KdpodWfYjB7jJG76rSN+kzn76XruiexdCKhMNtbDEJxBH6xCPqz5U230Qvn8Q88hkar/0OzXMvU5w9oHzfve4Q0+sz9sSnSMtPkrbeBs3D0CvEgfSlTaKdJTTRzImru3KIWAwDaXzPsxlFWJk8sXSdTQiU1mVSTY7DxVfQ5j6IkbSJ23ewaycJli+SFssw9QS9b/4TfLNKZqQqRRw668u41VGmPv8viJbfJG7cUWBHPW/jtzrq75v4y2jygRfX/PRHYeN7hI6FMTRJ3EhBpPTafoIbP8Ta/xDGoMdg8wrlkz9Hms0wvPkGurZJmoww3IXa1DZBeRz3g2/xyQcOMJ1rcnM9oFwtUqv4vHGxoy6pl9efp3vuBXS7Qig1FTnWr79H4JQpGDahkSfJZxX0Spc0ihcQJpqapKb+IiSm0mwKFNfbu6x0c1I6lsGSJUe4TBXNrZMG4pC1VDdfmj7CFUjikGjngrp8ywBNwJAxBRzx1ZcPkXTXMPxdEncOGJLRfEKhn4r2XTbe6R5a/VGisCfXalLRkOq6Mj0IFTyybHK5Qwwa7ygDR3bmSWL5Toh3lZZIXmoGe6qvpmdGCSU5YFTVZS5pLKqDf6/XU8MbZQLpd1Xc3CxPEkuEWzgluSm19or9JUwxJshnevssxuiDJGJj6G5BQRJUFQWxSf1V9EwNf/c6Fh5R+SS2bNm9HbxIvLxl4t4dZR9wM8dJaYCpK7JstHmWbOkwnreEIVDGwkGGzcsKVCoPey0netYhiZUQ7m2oYVEk3bK4of7/qL1FbARqCCn5Mi2VIa/Ul3yV6khksGFWhACG1ruh7CbhsIHlljBFTzhYJOjtKi1eZIYYcZnAclWNxi1OMBwK1K6nKjP28C6h5pHak6T9dQWIVIetznkRdxMlJm6xynDvJkYmh55ZIF1/FsMcJ3KmYHgLQ2pf2gi2TMy9zXvPqsoCiR5Bu6VgtMoOI66O2iP4t58mrkzjVN+nvjd0URLKHiYUF/McSbisopGGskx4hNoAW3zNgzahpaFrMtQ9iy23oOx9yn4Tr34XrfYj6Gbx3oY/2iHqr2GMPIaut+4BFE0bO5tlOEjIijJJ3qCiBvI66qAkvh1a19WwhahHYmewRyZI5VLu5BnefYlAq1L/5E/w+n/9t3zs5/+MhTGbRx+Ywzb7/OC1LRXxv3zXZ+/pB+itNVheSRk/XKW7s0exLByeLkvXbpIpF5mcmeD29ZuqEpDLZ9QwTjb+lZEqgeep9NDuZoNMUePgwVP87X/+NqM5h+l5ufxHZJw833ptnV97OOXH/+jf0/1vf0hYmKJw5DD59hIcK8GmzbVnnuP3vr/B1XbCcze65F2TfJJy37EaI65JJ/AZq42yfGOZuZkS/f6A3d6AWjlDRcBorQHLO13mxkvYBly+u870ZJmcnVOaq2Imo5Iu69tNCgJiMgO2eylxnGekv8mH78/x8RP72P/EA1iPvY/w+hWsbo8wDHj4E99k/pTGsKdz5kiVtUEfR8vwtedW+fXPTfBrX/o7rD31rDT3KNWm6YU+UatFuL5CmHEYf9+TtHeaOHaKnmYIdhYxE4GFFkn3nSC6+Ral2X1074q2LSR3Ri6Ki2jCHMqZ6BMLBK8/izk5jXPwUTrf/wrpxCEyx36E4OordC9fJXf4GMnGJk61TGgI1zJHID7vxgbmxJTqpBtOnkJtAr9UJjr3Gs7UtKpFdpMQc2KB2PNJ796ieGCUeKvF5vUVygvj1MtFyBi88vRZvvSXK3zvSoepYo5Kvs99+6cxsyHXb3Q4vL/I+nKfsckSm+0+d3c6PHlygjtLTVp9j1qlqGBnTqxRKzts73RY3R1QrbkMvIjpiQIb66Jh1nj06Awbm20qOY2ljQ5Zx+LqakexILb2ehTzefptj0JVQFImS+sd9V4JWkPW9obMzYxSdUOOHF7ga8++R2BkODTh0t/ZY6fjcWxunpVGj+eubPMz75/nT7/8U6o+s/3G20Imwyq5An3AcgJMp0IwjPGWz5M1cwTz+9EuiU7Ux5GtszNL2N8gPzWHv9Mg3bipGFbx8YfJuQ69d17F9zwy+4/hXXwd64EP4ba3ad26ReHh9+PksvQWb2JOTuBdu0muUIRDh/G9WDF1utfPUTx6Cu/aBbxhF63TJf/IB5Fl3WDpFrl9x+lfeAX7R/8axp3zdN5+jeyp40o7aLoZBstLuI3b9PcC3JEq9gc+gT6MCNavEsrZRk/Qy6P0VzdJ3ITi+CFKczl+49f/A7/3zIBf/fQMjWHAN97a4dqffgFtpETvbg+/XME7f5bsAw8rfopx9SxdyyRTqCqjTOBHOMUarVvXKJVTKidP8NN//2ku7fT4wH6HN+60OFipcuxQgbeXAqYqfX7/357h+3/wNtVRGax7ZOvjdHZ2SbWUfD5PrlLm5oUr1EarWLZFaplM1ifY2Fyj326qJeWJ0w8q+4ff9djZ3WV2dpz6xBi93Q61GZuP/r13uLVn8JH7XM7e6DJVz1PLpWoTfuuax7n2uxjvPYUvBPhwgKdrmNQIOrfQizPofoOw37532YoGWOVJkMtte1ukdooplFoBelokNXoYrTvETgndnSFafZHENLHGHyHuratKQZQx0f2+MugkjoNl1NXlN3ZGsXdeJi2dUNUGU5S6g3WS/hWsuZ/D85bR/S0McfFWTxIPe+r5bEidwBMQ7gG1eJTnrlTstEQjWnuJtHgQt7qPyMirpYGT2gzb17F1C18Nq18gMqq45QMk/RsIXtxy6/jxkDAckC+eIN57B92ISCpPYEcdIqlJb95W9UHbHrnX7bfF7tYlTDPo3rYCYmu5HHqjj+ddx8mU0TJ1kp6Y5QZEpmzJDZWwDBNPVTlSv4llV4gE3Jf2cJKQYLCDY43jawMcs0zqlhUjTGj2WBqh/CzlbCWsk6CB2VgkFpp+rqp0uWrKLSlTa5JU5kxNYe7MEJku5nCZ0ArAi7Dls66lmBkxGxQJWjIIOIaRL5M2F9GKsyTDPcV9k/qf5a/i5Q+qMxDt29i5Cro1S+TJ4GcXffpB9N4AX352miyqR7BHDhP7q4SRpiw+duMiFOQSP0TLzZPaMVprA0/Ag4M1nLGTJFKXtXwccxxDzHB6X9Ucgt4ejiyJoyaMnCARWGV/iOFm1HlcJ0volnHCXfVeQdeII6nKlUnbfbTOm/9HKtC7WOIj3gZpGmNbZTz5D7vzysWq9+6iazFafoK4tQWRgP3miASqsHcds7SPZNBAF+p9Nqcge0Zxhlj+Vyj5gy6aHaOXTqINmkSWhSZvTgHpdXfIVap4AluKJe68TCTTFO82Av52Z86AvEkSj6C5Q5wt4Vo2cbaI3veJnRx6f1vptzRaJGYBM7tA6q+gSQdVSwiGDTBKir5OwSHYuY1z6DP3fv1gEcOyCMW77ZSUhzrOFdA7tzCNcQamgetYxPJBlTqC6A/FoSkwm0jAQbJl27xH089PkfG2FKREwhy6XlMKEyvrooU5CPukRbnpDIi3XkG3F6CyoKiRuiBvLBtfnOT+Gro+iR9uYeZHMIr3EQ53MfobSkdlF0podgYGuwra6DVuqYm5eDTD8iTZXJVgbw1Dpop2QtLrk5b2oxsZ2DtH3G1i1s+QlqYJl/4SrTyHqwmR8w7MfAwrXMNfepXM3IdI8yNEi8+TlA5g5WdIhFwq8EK/h27IJHOKtNsnOXYKt3eVkelf5BOPjnDfoSpLuwNuLDZ4YLJAkHP48lMdvv0bDp/45Z9g9enXqUmtYeFBksvP4Hc3KJ76AsPdN6GxhlY7jiXQk8EOdpyH8Tq6TAXLB9GzdbxrT6nXzS3XaS5eJDN1TP35ZNqeqx9G0yICrYMmr1X+iII7DlfP4uZGSFybtO2jVxLSfg67coA453P3u3+C68wQ0KJQHGdvc5nqkTGqJ/46vZXvY4kzPa2h26JvKaF7l9AS615cqXyYWGwXwx0VB5SNqCYXJgZYanJaIGjdRBcbRXZMQTFN11DTujCVi/x5MuUZVf+48tXfp7p/EqtYR/djervLZIojVI4fJdrZwJx7nKAnFQYfK9pgmJTR0y5u3MX3u0SZeVyJiFWOk3auw+bbWDMfJqw/Snj+35Ek+v+nTmliju4jtgKs1Tfxax+ikI8ZbL6M/dij/OOfe5H//mKf9x+zGBm1aA1MRmoms/VJ/uV/PMcf/5uf4rO/+HcIlm7SGexiewnGSEVFM/WeEOMdokRYGiPYmRhv9wqaeNbtmjJVyBZEi3sEgY+dJCQZobJX702O5TKZmKTxLrjSgbo3QTVkwtnfRK8+DIOG0o1SlNpFBdMcKu+9DNOSQMcSroVUDuL2PWaCDApzY8RCs/VkDt9U224Bw8RZF+RyYo1jeTt0925QmH5UdU31OKtov5YZE8ea6vcrUrumEUuyQXrw9LHqj+N3JPZZwMgeJNj6HlrhgNJRSg8s1TIEzTvK9IFvoGlN9MIkkTBKBqtEZoV0OFCkes09jhHfJvWHJJmKSpBoWdGkTqjvTS3cVcNYs7Sf0N/AkgFE2EPrL2FmZgjF8hFopBmH1BuSxjFONkevIRvJx9RFNrWklqRj5QSekyVqvINJD+pPoDevK6WQVTlO5N8FGSYMltF7O5g1ofOKts9Uw1Sh3afBLqlRQcsU0GOJyN1QDyrZistwURP2i55i+Fsk2YPq+0rTha+gEXXOqzqVLO+FHxC119UEWybqybCHIdus5rX/XxWIWUAXcrIAcOQhJ8mOwryC9xh2lnh4Cy3Yw6h+CvybaELiz05hInDZCQVUMswWiWxZ9D7e0FODRTPYItXKpLW6AiwhU/bmInFpCiwZjqQkSR9S2YlrRKVR2LqmkiIIEFY2rNYs8fA2oW1g6RUV2xTqs1DV01Q2ObfQ+7v4loUhA0U7h50/RrB9jqB3g8LMj9PVHYy1VzFGj6re5DDcwhjexap8lIEwGHQbAiElv41T3qd0gtL7rty/nwv/7fc4/Te/wRfO5Nns+xw/MMmlK6vYhSx+lPDNL9XZW9dYX91jel+Znc0utYlRVm/eVQCmiflZ9pp77G5uc+z4SWWC2draQosSCuUSiQ1eY0iz2eaxTz1C8j9MLV/67Td58Waf/aU8RUsnazt8/d1V/vxLH+HQZ3+K5T/8PWoTU/TFwjKMKJVcenGL0oc+g+FvQjPhuW8/z8tXVriwnfLCZXF8mwTS36zKMFD4HbK5rJG2Q8UDyJWyDGKfna0+x2bLTOYdXr+6xSefPMNbFy+qIWC32WGYilotpNEKOTFt4fRDnjwzwv/2lV9VcXGvu0KuqdO+eYmz5zb5yM++n+efeZXP/oc7/MzBcc6vrvG+YzXevtXl9rDHXKjx2le/AMOUW2+dZ+TQaXKzh9i9+Q5ZNyEMUtz5BdXnpr1JZuHIvYve+jrt4Q7OgdPUH/lROq8+jbVvgeZrzzL2gR+jffssyepdDHccrZqhsO8knZ270OphDPu4onMcP0yw+AZWs49erGBmc/gT02jrcpgcknS75B55gszQY+uFb+E4RXIPfoBgdxl/oOPef1w6OfRf/iG52Qn1GQyWb+HmS1j778fwdhkMhgzTlJGxUWxziDNeBdfn5g+W+DffXuepd9bJZCwsbcBCLU+lnOXyrU3m5itkhbekZxgtaaxvdxQLoDMY4No+zZ7PaKHExPwo164uEYYOXhLx8MEJVtZbDMyIjK7j9TXW+z6nF8os39imfmiU1kaLmZkKrW6ElRpksynL2z3JoGIXTUbzBt2uHN5dLi3vMjHuUDAs1rdDjh+uMTdd57f+7A1qAok2Xf7kl0/w2I8/qgayEu/eee0FSqcekb0SUaODv3UdN+zTzUgE14VsDb1Spv/iM1g5B/d9H1WU7v76HYJBn8LEHHGvjXfpNXInHsZbW8LM57Em59SlQupQQW8Tu1hm76UfUv3Jn1Xx9O7Xfw9mj2IfPUGSpJjtIdHGeeLqOLqfI2CHwvGPM7z4A3UuiB15L4tatq3qm7uX3yQ3MUt23/2YBQc7jPHfehGv7GL0fLSpYwTSqTbzSNGkcfElzBOPk4069Id9HKdMEPXIlcuKil6e2s9v/4vf5SsvdLjv8Cgb2w0+v0/jH/zBL7P47EuUS7l7OszaBBvnX6MiNcOxWdx9hxi0Btgjefybr6O5k+RGZihYHXZTmyd++k+ZnbbIVmyVrLKikM6wxaVrGf7Nz0f8zM/ezzsvb1OsW2oT7ZYcNpdWKZVquK5BGPjqe700Umbl9m0kAlOoFO+Bf02bWOB/rTblepVc1laq+LU1GayltHoOTzxZ4Bd/e5G77ZJS14mZ7NBEicWdHR46NME/+2+LtLe+Srbv0rh9AQrCgxojbNxGU6DzIprXInU0nPw8fuem4ts4lUdJ40V1zk/0gHDlOdL+AGvicYJ4DVti4/kJvGgNLdAUI8YKm6SaOOIjjOKkSmJowjGjqIDB8d5VfCuHVVhQG275HpMtbhwJAE6i9rKq0BXsTSqHRmkcQh3f72NnC0olLJ16Uy6J/iaxWVND4MQsEwwaZJMenhiDMhW0YZdw7w7G2HHSppjVRvHFa99dV8A9OT/4UotsryntoQwFUrGnWaZ88vCTGMupKgiwsmzbk4TCwcoLD6FGvHKWcPQIhl5QwyK/cRZHoLz5kxjhImmnS5o0MUYlLbpE3B9gjBxBM2PCzgaGpDJTsQftEraXSJwpHLHKxV200mH07m0iWTaXBYq4rqxn+mAXY/wxtRAZKJVwHp0Khpsl7V0itEaVzS4NhopdJJpAsbkkkmaOOsRaHj07guaMY/TeJYoFwpiowYnhr4BYAIr78JtLZA0xk/WxtDLJziKM7L/H2Np8SXEA3MkzJKsvM5RFQ1jAHplR1UMjvEtgjqNJ1UKU6KaDgYB8h2pRlPaEDzWCU5pXAMS0t6bsA6Y7T+wJZLGrFh6iEY/7LVJkAZ9FNyyGkgbJFPEFwJwR64GkTyx0W0xMWbTuErFZxqweVfUArfHWv09lomXG94BWAvYwXHmRFnBaK0RJC0u0dsMGmvRQcpOYxij+8C5OtkrobZFmxzGHLQIjUdsoic4o/3Lj4r2OLKGC8Ug3w/SHaNUzRP4tbKE2RiF6pshQur8y+SnKpvwORmEBsnKx8ZVvW08DIreIHtqkO2+jTT2CJhRsodtHHaBAYuvQ38MoHiUerhB5q7j5I4RmBbP5ilKcmSOHCFZeQtNt4nwOp/YkWtQg2L2AZcyq6ZcmNPlslThuYuk51QGWi4eo3YR0TNLDdAokQjOXyaBTU4c/gXqIhiPp7GFUZjEE1ZFERF0ZZgxwRw7hZxdUpJPuJlHnNma+TpKrKSiaXARkEKD6uznpmqyQBJo6qGi9uxilSUXVFkhTbGQxk64Ch2VGnyBIO9C5CmTUzy5p3SK1IvTCcYZrL+H4t2H/L9zTViQJWuc91dsVP7g7fopAaOiyfRTwyED4B6v4qQXlMzi9W4TeqopTO7mDUD2hGAoyhHRk2BKt0W0OGP3gz/HPvvhX+fJXr/LFjxbYHRgYlTzadgczm3Brw6expnHt8ufp9xuE711VFY6MU6S9dZHC9BlisU/IJX+wgh96uBmJmV0mJ/UPLSBa+74aBIiTzRg9BHaJZPl7RP0mzvgp0uZFwswBvN1rFEemlS5EtraWlmVIB/fIX8fauEq79w7Z4n3ELbnkjMDscfa++7sMByZ6uUC018Z2ClT3TZCWS6TtLUz3AIa3SSx6SauOI5oWyyYRtdjQU2pATAFIljBFJenUiPp3FDcj1HIQrNwjunYWsTSLZPRjyi3rtF+lvfQypYf/Ad75P2Pn8msKepgKR0LX6G3tMrpvivLxDxDv3iISiJ0mQNUOkfwoSpOYtQ+Qdu6qSHTcExp9HWvhY+jty4S9AUb1AP7aixTqD9BrXMEsTJHPjbG+scJ43Wbn6lkyBw9jpWWcI7NcffEHnPm5ZT59v82ecDw8i5lJi63VPvVahlfe63Bz5yXMvXfZu9sljdpYxTGGu5dwR06gO0X6orOjS8bOEOqj2IaBZ45gCgugeRUrX0KjQmR20aT7GgaEAvlzhHAuA4CW0rxE4j2XiasAVoIOhngCvF2i5hLuyAJJRra+Yr9YxPd3MauPYYgGrrt0T4EzuIauV0hkai3JpSTESCJ0t64GMrpZUz5ZTdPuUVfloSuXrNRE6yyq6b5uF0jaGg15JQAAIABJREFUVyHYwCieQXNsot0lzIpUmZpq6GfLF7leAhnKFA9g9VYwDYdIIEwCh9Jz2MMldSCUGpKR+CSjj5DIxVoiWzgY2WkVCddyNlqgEw5apHmhZzvYXpsUT9kyDEM4CQGxZ5P0LkLuJJpMmE1dkeUjf3hvODdcJdDzKg6fFqfRGufx3TpuMiAetlSNQeoEaDVlL5BDCk6RZLB6zyqhxSQ7t9X3WZqZxeheAWdSpRDk1+sSnpeFXJIq3ouRzSgqfSQDS6H4FmoYm+eI/XXM6sMkeokk3sJO+3gSgy0eUvokPZIhzeAeWMpfxS4eIiwfQ9+5oC6habyFln8EW0A5rTv0bRN9oKPHTQVs1UyBtO4o0GfotzEGXfQRgTetQqaCUTpAsn2JNFfGDmTrIhv5BDOtoVkeYXcNTSB82RqGGrJoxGZMun1J9Q51XZSLou/rKY5L7O+gh+K4bxK2tslPfwhf3lP+QPBMGP4qRvlB/Fge8juKrh1LR1EGdaKL7N0lzd2vXhNEY+o1iGdOQ+sGhjcQt53aIkhcxZj9MHpvhTBoqc+BuIzJL6CLfWTlVdLcCHFnl9GHT/ON//h1/qdf+xa/8LnD3Fpq0mh2ODxe4I21Fhnd4ql/NErkjuEP+1imze7mLlMz02xsrdJr9zl45DA3Ll9lam6cjF1kbWWRoR8yKvFoSXm2e9SrRa7evMPRB08xVU75xd84x6WdKvMjAYWMzeJKm8AL+YUfO8nnn5yj7WaIG56KZBeOH2b73UsU7SxaYw9rXw0n6uBW8zAv3+d1uHQWsn1uDsrsvPImSzsRr7y8iJ3XmD+W4931ATeuGwyGAeHICJWoyVYvZaJSoNfu4upwal+G1K7z2KTB6UMOEVmmjk5Tu++k0qX2ttbpLLcwDh1l5dmn2X/sQUr7QowTp9g3/79jjFqMOxZBf8D43AiNpsdrdwe8858+wenpcQbbuwwaPZL6GIMbF1Rdy5GtsSwkRH166V3CXIXMvgXCG+9gH35MHdxF7zZ8+y+IrAJmL6D4yU/h37iooE9auaJqLs3X/gJrEDDykU+hF8dZ/c4fUZqfx9x3gv61S7jSKzUG5HOjxIMOfjrEKUxgaRF9AVFuXFP09bi1gSGbOPoK/mXM30d66y18Owt37mLpHr3cKNWTAs7cprvTpmzaRMURCjPjtEOdbJxTBhBjX43MqQfpPvuf+Ue/dZZvXE1o+jr77ZipyTyuASNlk0rO5spSV23kDh3fx4Wrm+SzLrWCw93NNp0gYCLrMLe/xspqg4MzVW6s7VCvCpE/y/JGE9fSMO0hOTOLbWXY7fTZP13n1uIesdgu8q6ySOx1+qw3u9w3N0uru4Nr6bR8jbVOl/l6mUZjyLurfSLf4b4Rkz/6laOc/OBjGNEAf3Od7uVrMDZJPLWAs3qLodicNnbIPf4JgmFXDW2EMRMWXUxBkw/2GA498g89wfD73yI3O0dSytHdWsXsBmQ//DmGP/wOVmUU/f6HCK9fJrn9DrqQwqt1ZcbQh9vKotW9c5PC4Uew5uYIVwWuuk4ciBo2r+Bu7v6TDC+9gbX/CNy8SnroOPrGXQY33sF9/LMYoYcZpsTTclEZ0F26qbg6ye462eMPkqtPsfvWC+T3HaKzvoglrKuNLSy3iLlvDEr76J9/jnTgkVoZkrzB9MkH+PRf+y9U6jXK2Q2uXIz4w199goX3z9LuiAK1Q3/1DkWpnpx9BxaOYEofv79JfnWZqL5AqvXpv3sVa26a+k/9GH/8a7/D//n0Cn/rk6d45ewtBgmcXshx7naXu22bd586yrk/v06uIFBo0fDajE9WuXP9JgdPHKXf6bG8uqrMA3EYkIi207To9nosLMzR7g7ZW19XKbBhu0dlsq702qr7f/oEyzdWOflXFvhX/+wt/sVfNHnwWI5j0yXOXl2nbOcZLWR44coON8/9a8z6UYKVNbzWOqXZCQbb26SRVG4NlVYmESOaPHtjAt/AcoVhZqJ1O6rqK+56rX6MWCxF/h7GyAOEwTqG+OElvedOkDbvqK2zcDKQxKJdxXZHCOwSWrBJ2l7EGP+EMvFklr9D0x+SGT2JXhbd3/fQvIi4dgzbcvGbsnGeJUwbpENhAk0T7pxX0Nps9QF1jxKbl5mpodmjRJ2bEPQUmDxt30GXtFv5YaLtdwjporuz2N4aniQcCrPKqiUWLS1bIhh20DJjKoEZ+U3sxFfa80SgvHu3iQYbuPkpgkRMWAIxbxM0F0lFQ5yXhZeN7uvqQitmrzDpkrFK+HEDKyOsqgBv9zzZsYOEvSZsnSWtPSQYOwy/iZGTmp9DLHH8YEM9vwVSLFwtTdTVkkDRxgiHF7BGHyYZbqqatiQd+0FfVV1MxwLRx/a66k6r2ZpKX3kD+TObmKm8RllpCBCHfUzfI7aKWLkMg+2rZCsH1bMwUxohGuypi7pwNFJjlHD9TfSxBfQkId1eIjV9UnsOLdxU7ClheWnCuiodx4g2SaW6F4PRvIE2+0FlSkk6or+W2r2FLssHyyYwpnBNGfqtqnNfohI2YgFKQaDLkuj2G+oMEK69hV05TOTksGWRLZpoYQ7osaCbSORM0e9gOQ4UxoibK2itt/5dakTbqvuMuw9dFApCpCwege3zWKVpUtsh8SWqXiEQ4FVGaPiR6vRKFB2tpLY4Vq6IaU+pyYtMgi2BUclkeriMbdbVmzqWMmTg4wqtUHyVkYAmTBWjvtd3MlW0wSifVBdn6U8YZkhszqBlTBw9i799lkguwKIFG8ihraw+YAg0cHcJJx0SZMbv6fp6G0pHaCR9DFuc0WW0pEFy50W0+hE1pdYHG8TlGVy9pGL2QeMK7tSPEgUrJF5TKQSFJiHMAYFXSPTWF/WXbNeCBlHioEvawKkQyYe4u4ZVOozvN3BsiWcMVaRZ2AriRxcVYWTX0WWTGIbEQuEv5AjivAJX6WYZ3RgSd1ok4vqUjrTyVo+oVIA+XEMvHlVpi+DyV9BKZ9BrR+51yfuXCI1x1aXShCeQ6GhjT95jD0R3ccSzHsZ4/RDT1nDzVfrLl0kzNtb/y9J7R0l2nveZz811K3eozml6picPZjBIg0AQJGFmgpQpHkprSra0tiVZ1q5We+RjHUv2WXm9SlzLu5a1FClpJTmuFcxsigEACSIMMjA5dE/nUF3Vlatuvnver/Xf/EFi5nR13ft97/v7Pc/MU1B7VQEJtfwJRcy3XJcoK53XLRxdV5vEoLuFVZxHLy5AZwsMk6B+l+yRi2RmH+Hi8Qvqkv7Y6Tw3btWYnMsp8ODsVJk/+3adkhty/eYn8F+/QqvepTT/GO2eR1bzSVrbaBOPY2cs4o036aeJ2iCk2gxGMUfv7rdxsvKzz5BUnibt3SPY+T7W0k9gFO5HX/lj1eExY4145Ix6aRite0qhNahfU1FvZ+nTIhhSNH8r3ib259DGcqQbr7D60guMHDmh4uUCQmntrjL3tz6NXT6Nv39XUWj7m6+rgZRmL0JGYkqiqswAeQxqhJqraiLmyKJSwqRxm6h1g6RyAcMcwdx/TSVDYmNI9bgtGfSIVePhn6bz/G/jbTVUH9PzI2ws9jfucvxDz2CML+Gv31KsDFGc4MrUuAsHr5PMfQht91UG+3fJLn4EK6nR33oDa+GjauiT3PoLvHwZs3QSS4CPkuH2D5QipzJxnJ4+Q+f6X5C/cJJi3uXpH/0u7zR1fuqBYTLDeZ59aYVHLx1XE8ff/coO3/j85/jwL/5zvFf+lL4nUJKs6kNK192SiDqG8uVm7QJ9qeEIu0II+YN93FIBb/cugVYkU55UsS85AKdViZgNYwwfJa5fRpeHunOGMFhWm2A3N4In+lHNJJGXaKqpzpUtQEwzj97cBNEfibqmIS+7AdbEg9BdwROS9cgFYgFtNq+hpZbywWrmEHEsOrqEXH4WPz4gkWpAkCXNDGElTfUdjWTQZ47gyDbIsujv3cbWuiRDp0GAOsYY+uCq0qQqguvBGs7UfXheD8cqEB+8hRH0iMqPyi6GVFSR7ozqDIZ7z6NbRzHExiA1idZtotw59SLX+tJBFPCoRSJRRLlkD1aIJXEkQBy/rV7m5vhF9VKQGWjUvk2sGVjS8/cOQPRz4qsXB7At+qIyUSCHaVQfXMgCckmQDb4d+fQ6K2RGlkAbJ/LuYoklIDWJJDZsRkSiOUJXrtlB64aK+CdyyVt/F608raCjok6UA7MCjg4tkJghjuhchaMR7aGLhlRUjaLIkc1/uKt6paYQceWzDfskgyqoVFaWKBSieai2A5oMQHOjmGGfoH5bkZPj4EDRbckfUyYViQLit9D690jkc2/dxNGGScXEIN3MpKOi/7pfVXRgq/jYIVeDLr7Qmp0x7NL4IXTH0pV+Ut4Nivafgj18njQ7RGKYStWaRln0kQpm3CDqNTHiDqEwVbxV9PKjisBrtK+STH30sP/YvIYx8iCaX6V3cBlHALnDj+J1t8mZEhWvYCYHBKmumB+B8Cja95SLmomzRPuvooUpmfH7GTRXCJq7TDz5Pn71H/5z/u//eJWPPV7ixp2IIxMOS3Mu2/2A7Y0u3/3ifdxd9th89yb5oRxREDEyPY7tuuysrDE2OcPI0BA3r1+j2+2xsHiMRLzcA4+JsXFW7t6lUhlhfHKCm7fvcuLcFA/81JucmS+rYeiCkzJW1vjOC1V+5ccXeOpTn6Tzjb8mf+EYPalADWpYJZtOvc1QpaKqD1uvX8a2c1SWxtl59jmmPv5RmL1fJdoMow9DMyRyGevWCVu30ItjGKXz9Lu3yAzJu05D39xie+0qpRMPkZPi1MQQ1ugEHAyICiaRr+PsbNKv1eh3WwQ7HcrzQyS+QW5yhKgTwvQIt559k/v+xYv8xk8uMJId5hsvbDJbtPn/buzxyVmHL77wO9z+3S+pLdfsfIXuzjZaPoOpOQyadZycoYC5AjPutxKc0/eTrr7N8PwSB8065tYKXpBQfuwxqi++QDY7gj47j5PqDFo1Mvms4taIhWdgysCwjnH0FMHl58nMHlWd2+ZBi1T+rvsfJ7z+ColA4EqiWITMznXC/BBmLo/WOcDsRQxKOdx8mWBb2Csp9mMfJX7nFeLxOcxaCz1t4Wl9SjOPEO9ep9/dJdpqQ3ES3dolc+QScZAjXf0eo3OLcO4puPcWN969xi9/eZ3Xb+/TaiR4kcWR0YiFhSk2qnUmSybDVpG9TpMTI1naqUbPC5kcm8Trtbl2p0Em4zE1OU7odcmXCuzvtRkfL5KmOdrtBss7PUaHTXKuQbftsTBeoN9P0Ekpjxe5trLNsbEJ9mtd7tY8bMfhdifB8gacrgR8bM7gF//Rx6kcrcBImeDWCtvXd6g8+j56d67DwQbWY0/hv3ENPRuQtVyizChBMMCWTXq+QrB6k8g/wJ44Tby9RtLcwjfz5CoVwnvLIA76KGbi8WfwX/wKvtdBR77j20rDljn1GHalwODOm5iFCl6rj53JYR9dondH7Dyxqg72t3YwFhexrCzaxhU8PUfuiY8Qv/2CSoJJ7DlOYuwjS1g7ayrKH5Zy6LWaqtHG1ijO9AQ09ohExbp6Uy11xLwiW80441CcmmHvv/8FualZ7HKZZP481vVrZOd14soIH3r4d2lYGpcqKf/sl55h6tJ5guvvkhSHqN2+rZz0ksDKLSwQjk1hdgeqdtpdW8XOzeDOjGMODkjaAfmPfYCHzv4isvt44L55Nta2FCMoow1odDT+ztPj/OzPz/LOd6sE/QGyFxMot9Q62wOfYl74XqGq0U3PztLutHAtV30H5JK/vLzM+Ni4qgUMvIB0MGB0epJ7K+vMLcxgZDPcu7bBE586x2/89rP857fHed8Jg1qvR+AFDOWyPP/yLrnhLG9d/QLp3h7BThtPi9BzeWJZGAZtwvwwZqihi81r7w2kLY/Agz1ZQDyqNKmRHyhblKSbDXWJS0nDntLW+bqFPfYYGT2iu/+Siu9roxdImjeQ7o4+OqdUfaL1FVWckabqs/Y9AZiGipWCLryTUQj3iDNDhxf4zBK4FqlwiyQdKdWCuKWqRvIZSRov7e+gJ7pi8ejZcbX1Fvq81MxEsxwG/cOUthgj2usYtbcwpt9PxsnjSZ24eRdjWLzzTaXYk4q3HHd0MZf1N+i3RN+bxx57CjpvoMeGqlXowlqSOH8SYc48TextKV1h2FwjP3yMxG9jykC552E4PvbIcdJWl77Q9jsHOKaBNv0etFAqzAI3DtEklSd1CUd4VlX0TFGl0VXqId05vCd1xcKjqwi8ruUI9l8nSUTtK+o8g9SZg8G+kC8Ix46jSWI3EpbiOLEsYSUBbwypBYYuyb5ej3jsqOAYSYVrJx92r4Ue7RMaDtbIHAQOSet1Ut9QsGUjO68SFZFpklGVzAa+HmJJRdPO4Ml9TwHfXcWfy6R9ZTYzi6fBSTEpqQqn6vkX5tGTFkksBqAyUa6I4XtEzTWElGpGMVgFPC2DnZskrr6ImZ0g6cckhQq6nNT8LYxClkQzVBI9lGWyAN3ljth+7V+nsd9SlEGttETSvqH+cQIjiHubEMfoojWQCYy46wXjGnRxxL+dlehtrCALYUNI1osEblERGpPmJmm2iL97B0cAfe5xEBhb6JPIlq54it7W98gXjzDQOhihRGfeR7D5NjSv4sx9nCjaJyN9bK9D0m/glOdVfFk2d6G/iZU4JIL1lqGBbqnuiHRs1AZZdH96C10+uKiltF2x6Pqkv2vIESGPWZwg7txWoC/TyONFdUx9HCsrkxcbf/0VrNEF5WlmcICnSeS/giW/uXpM0Btg5xaI2xvE4TqmM3LYgc1KDHWAIdsx6cAWRonkF69193DCJi9Yd4xM8RhxFGLqctjtqq22KRRS2ThufgOx7SY5IYaWVDojFdhifwPNlgNQhUigHc4UYXyA5tcV4V1Nw0aGCKOy6gAlcqkaOYpemCbYWVYkStF3iB9e8zeJWrskQvUff5xYbAa5PEH1JnZ5glgAi61ldIn25mSCN1BTKOJdXHeBXtDGq1+jPPWQ0pn0d1cZe+Jxrr39Ch/66L/jwdM647lJsmWb1Z0NlsZn6GkhX/z6Hj/xYJ4/euGz8L1vsbOtM3ryAkJvDLsx/taLZI4/Tbp/TW1Z3fknieq3SKYeRvM20WVb3NqUZuxhF354Gl2AhdI7nniaTBzhVW9hzj8KgxZENdJOi7QwhVaYha74de9gS0ojDOn1DhS0SZs8yvJ//NfIGyu/sEjY3sdf32Lh6R9Hu/A+Bt/4VczZi1hRhmR4Bi0zQ+rv4h9cxxEgnZoQ3zkEXAZ1YmcGQ8ij/WWQYYmQyb0NRXoXo4J57B+SGm2C5e+Q6sNkpxboXv1LerutQ42jpeN1E8LGPY596meI2l11AdGGT4ooVbEp0qiOljkB2Qjv5ku42SLp1FkG6z9Qyhln9r30OnXMxlW0yhmMg21VozH8Ol5jk2yhyEAbxx2fYvX5P2fpc5/mt37hj/jVv8zzzBMlon6f65tN3nP/NMeOT/Jf/+Q19nuwFb9GtLtFtHuXsNfDGZ6nzx5OXMBvbGLmiopHIDBGeWgqEJ1E9YOUsHkVc+h+TDwG1WuqzmKZI4igxyvNkdYk8dNVFzfRkMpmQ+CbXiIHhGlsw1d9cVsrKOuIk3EYSOpmsIlRWsCTqo1Q9i1XbfXD7gqGU8HITJJsP0+aP4UzOs+gX1cJn7R7DfUMFApt5giGDP62X8Yev6RgqF4kMM8WWqYA/R6xm8Xp7SsYDZlhNaSLpO5UmEIPEsKuDEt7hEKE3X2RxJhWQCQtrJLmTyjvvKaI+iaxGA8GbfQ4wBMAZ+0OmbFzKjll9u8eagMpErbfxCmdIk5dwuZdMiMTDJIijiDa8jIYaWK3dpWu1XeKWHZObaMTUzoMFdLGD9GCBgMqZPLS7y0QSwRemCPDZ/F8geHIgFO88YZ6piatN9HsSYyCAAM7qiuX2hPKSxuLAWb8I0SDLbTqTdKRcyoaL4OF1ChghsIeEFhhgGlNqASRQP9iAfgI40TFNy383rYCjIZxrHp30ksLnZSsM0m4/wP0ocfRjZCocUXBG83CedLysABk1BA69ndVXNJv3cbRNAW11L1dpRUKhAxkTZHJjBAKXyLcIhn7MBr7JL0ALV8hwcOorxHmc7hiYjh4U1F+9aF5InIYAsuSGk92nmiwiilbhuA2OgXV7Y6NmIwR0w8HmIoH4RB5dfTcKQxbx7LGDvkfYryQfuWgQ9xLMPRd/EELV3OUdSWOBXqUxzVH6LZX0WTrIRujnNRC7pDqk/KNJ+htoTmSVVYoHILsPAU9IQ0Csg88xf/86Y/xB1+p8mufXeL6VptiRuPVW9tsd2wentb5899Z4o3X96kUh8iMF9lf3mJotKSi0Qe7O7jFAq2GvAdt+t2eHD05fd9pRYTe3V1TkdR7t9Y5/dBZyqO2+v9+8hdfI2kNFNX7/LFJJqdy/KPfu8Jf/twR3vcb/4qtP/m39MsWTschW69hlCeprr5BaX5OMXKcsTnC/AiGHZPZr9Lt1OhXm5TTAb64o7tdwlyO/Cd+jFykc+dL/wejZy+Sj7vsND0qS9OYiw+ird5Er9ZpDmrYwq/Z3SLwNSqTBdY3d7ATm9LCFMnQuFKltdY3yA0tEI8UKOsx1tw0T37q37KTaHzqxCjXPZ/5vI3tuPzVd+u8/v+cZ+zCCWQG1JNBZqaAv/wO+fd+kCD06Vx+7pDgLRFZI0O8t0HpqY/Qb3vEe3cI7Qzx3Ss4xQLJxBL5I0tk6rt4OysM4gCr2WdQLGKmLtbCEdL1u/Qbe5TOfxB/+zqamWKOTONHA8KtNTVcTQyDsFHFPv8w/bd/iFMZwjzxJMnta6TRAHdmkTBfpPPG9zB1k/xjn6D7nGwSV7Hv/whxYwcnVyHymthHz9J86zKlXAnv4B7exjL5xZNE59+H8ew36MfbBMUTzE4MoU9m0ErDGM0BqWPRXNnl3ev3+Ma7e3z51Q6tjk9qaOqZHTs6k0OWOuwfL9oMz43SqXpksyGToyNUd1vgpsyPDXFlfRNTKzM3muX65i6tVsjx2VHcco6trTrV5oBC2abXNunV+9RtgcUKvDPl/ESGh48WuGiHfODTDzN+5jyGFWGmAdXXRKl6Ea/RpLF1h6nZCnGhwmBzFWe0QqZYpHNzBa9s4rR9Bfw19R5BaBLZLkbgKUaPIUuZ3VWskxcUBd3Ophw0E6zqHczhI2TKUvUTOFeIK9v9Rpewuqu01OaRJbxbN9FNl3RiHHPjluo+D/we2aOnFZAsp9l0vZ5KNwW1O2Sf/DRGu42/eQUvjHCHR7FqdQbjw8Q7NTRZIJx+EKc4i+e1SHbX0Rq7OKUxgnxeVW7MkRzW8FE6GzfR2k2MXAZ9cgHD65F4EeH2Cs6xs3jxgMzqXeLxCZUcsOePcPC9bypOgiRrh2dPUWv1KEzM0N54C/+dFcon5/DjNm7lDKklabFtBoOEmR99mq/+0V/zk7/7Ch88NkxGT3DzDsW8wW7b4I2bu7zzJ5dYuXFDLQxEMd71ZBGQkHb76Lkce5ubDI+Nks1kcHM5Wr02Qd+j2e0yPjamQIlR4DG9ME232+fu1ZtUxsdpHdSYmJzGcC0ae31so0cj0fjM/9llaXjA5FiWlp+ws+lx6tQYL724wbtX/gPu1By73/w98ovvQReot1Ro/S5e866qTEatLUypPsuSrrmiBuu6JENyFnFqSjcKXRapqSi9fXXutCuPk+z8FVr5nPK4a/19TNGIy91FuC6xdOqnVE1J+C6RO09cfw0tzWGOX8DwJB3pH56phgTSbZBIhTEWs9SM0s4aekgkKQMhz+crhH6qKrASXZctceKU0KRiONhFyy9h+FV1JhNNrixITTcliaTe2iIMqsTuSXRvHc0ZxzITlZLVbAEKZtRFWPyeoT2HI6nMxh1SAaHYJt29N7HnP4cWrSmumF56WN3laO9hyB2EBt71b6EfeQJz8mn8xhWsRCMQs1L3JrpiZC1ijkjdcBlj/1WSvMDlTVJ3Aj2N8PavYuZnVHxeYOhJr63SiOnf8KL07rbiEyWdNlgW2cpZdd8cNOXnt6Qu7qIiDNMCmiNVJovUyJL2qmrZkuQn1QJJq28QjR6B9gpBfZfcqU8RNtfR2zcYaHnMxMVI14mGHyTr1fHk3zMIiRIfR6wEUuXurZLmp3EKJ9XZy/dlOCM8Lo80OKwSGqL99sQE1cAuTZMMGiDLclfHUKyBiCiS87FNZIQSTQDh9GkjaFGbRGqUApNG0uxHGWxfxipfJJTqRu+2AsqnfqgGKb6vY2v7mIVFUmtUQQe11qufT+XQm/ZX1MZJLq5mbpyBxBOCTVKBFPjtQ8K6JsutRfza6xClGLMfJK0KELBEIqRjzSQNhJB+jHTvTeK4i5M9QprRCYIDzNBWF4NEM5X3Mm5tq4ibLVdlTyZTnUNas6izjHF8f4ds+azalsjkJBZyfvsWmlyQwxZhYmK6efVv0fQQXzR/2XHsUpm4vqMAfknQIY5ddNvBssTn2EEXN6K4pUunMW2LuC+U8ERt30O9hVbbVz9YiWNYYyfwOge4sU2YKRJ072DFFtbEETyJCFkWruUQpH2seEAi0WXRuwVdbGeYwaCLlXUxIo849JUiQxfnuPScUx0jdwT0Bml7H93MK6eqdHFCUUmIzqzbQJdYmD2MZgn8r6ho6XKZ0Bp7aCNLJJmjEN9UMbVEnydtXVe9Z0YXFYXa6L1GpE+DxLQJSOxJgtY95Wn3e03cmXP4nQZWd5koN03aO1AROy9OsZIemnxxBFQmfAYrr4BnMlnWWvcI23vkZIPsVij5LeX2Hb54P3/665/nZ3792/zKZyq8ddenWh9w6liJN27t8dNPH+NffHWF3/vpU3zulz5IevM11VGs7+0zfeoMu1e/QjY3TyLT1MKY0h5GGy9jZIcI+h0yY8fV1iNcfg5D3Me5MzjmO4vGAAAgAElEQVRRjdrm65TFEnH+GTRdpv1fIbINHPFjVlfQChWc/Cm8tS+TGCnW0CMY+WN4Xdnm9tFnn6L3wr+hU/UJlfJQettZot4Bs09+Al0mx2aCY0+TuDn1MnLLC+qiojkS4Z4CM0vitaBz5dAbPnpaRfNxZIrYIHJnsBLpR7qktZcxRi+hSSwplClxht1vfQHNyxDnXcVlEABXd/MOR37sf0HrR7RvfIXMic8eDqQaL2M70+i5YRW5tccvoG18W5Hl/dYtsvYsgX8NfNG1GQR+qHrMRiZAk5eXm6HTG5C2NOxok+zT/wPdV7/G0I9c40eeHua+TI81P8943sG24Uv/fQ836POtr/0pxx9cwFv+a4IwSxRXIRlTg5nMUFGlfvz1y9izj5PKw3nnTZKsQSowOHMIrbVF2l4hHLqEMbgO2UX1gBv0trCcjOosWRmH2B5X3XqJnaVxnzR3FLP1LoleQXdcBWESZU1kTWDnR9C6NUJhf0gELbEIta7S0cRaDs2QQ+1r2P0DtNkPoLVukmQmiB1biILqGXQIb4wxzJKqu0RC/xVabBCoy6umZYjCOikj2MUxfEnXeFUS6WfRV75eo3KUuPqu6vJlZp8i8PuK9puOPIIVrhJpOqkpnvg9Il1XDtjEk41fqtSaQX4MLWqo3rOqlZTGVHJAkETSEQv7NdzKadLIJfFXVI836g4w4g10c4JAOoIyNR7sqi6gLqkogRRmJjDkYmsGRI1dBYEiN0GsNdHa8ns9guMeHi4k7SV9f1HvCdk3zTroUlmJDUz5vYkEfvQycfEUhjAQBrskWhFdNk0C5UEGVWtoAmLNzCvwqxg4wthUm3FfDLNSK8sdJd78Jqa9gCYbF2EOOKMEkVw8HYT2qLYThqN6mwL3kS6+XH7TjKEO/cn2FciOEdsujp5Tmj+Bt5KZxMkNM+hUsf0d0tL9RJvPQX5MVWaEASHA1yTp4kp9bHiBoCPP1NcxZz9J2r6haOqGVSJsXicOBjgzT6hNj5NuMvAFXhlgSI1CVIvGxGEvU4aufpMkP6TSXom/Be1V9Nx9mE6M16+RKR4hPbgC4w+TZPLEtR0ywndo3CRp3yQeeQAj56K1NoitMoY7B33RAcpGtkTceONwUFM8TuL3sPxVBh2Pyof+Af/b3/k4/+a/bvDEMZvKcI7uoM+xuTG++OwOS8WQH/6/D9OoJ7QOUpzMgHu3t3ELjhoWx7GkrSQ5kmF/u8Hc/CRr99bJF8vKr10q5lVtbGdtnY2NBg8/eUoB2x77+bv87QeK3K3G3Dxo8chske9ea/Ozpwz+p3/1t9Eaw3heh2Z9ldwDl/DevIK/vUJ+aog01MieuqTSHv3l62SOnkO3K2i1GzQbG9j3fRRNwJPP/yW5hz9MX7fIrFyhoQ41EaPv/yzR1rtEHY1kfBx9bxd72KG3VkU7fRa732Dt8reYmjxKcvxRkv110m6PkZlpttbvMJLTMVbq6A+Oc/2HN/jEb93mvQ+LMjJisBGRH8/w1y9V+Z2fWOInf+vvcevXv8jsw2cYlOXfWCVqttCmp7DGj8PaXbytG9hHz6kNpSn91KEJkliD9Tuktkb28U8qqGO8v02y9i5pYZJo7S7DT32Cfm0LwyjR219DHy3B+rYI7nFb+wx0C0c83WaR3v66gvJqzXWM/AxpvwdHjpFtHBBWZujtLuOaefrVVZzJMZxihWD7HnZlnoEMu+o1CiMTtHpN9IMq7tnHsYvD9JpdojefI3d0AeuJjxEs3yUe9Ine+T5asUy0KAaRXTKTcsbYottNyK6vUPnQRxgszKqLtlxOhY7a2Fqhm2ZYfeMez728xcjJeZ594SbNTod392JqCRwtZNlpSRIIco5NX/4QebgZ+W4lxG0ZQ0bkKg7NbkA8SJl1NVoChQYeniny5HsXOWd2eM+j45SnpgmzWYy+T9g2lI9c+EdR16EZdChM50gOdHS/wUFzn5nzj9CR/9KdK1iLp0n8WA3ecufeT2/jLkbtBtrMGWwZqu6vou+sEi3dj0OqCN3+3jqZ0qgigPeFa1WvEzY3safncbMj+HoWxzCJ+k0iWZw09tGmp1XsuPX2O+RnJ9AWz+Kv3cKptxmEAYWFIyrZZ1VmOHjh35NffAhdy9KTuLGRURc+b1DHmT2DHgSqPurmIhrPfgu7MkaaGyEzPsHg1jtg53Em5wiXL2McPUlSP1AXRGVKCRK8WKf71iuUpopkJ4+yu3WPiTOSii3iuiX2bt9jYs7FDzM0Vt8Ay2Vo7qQiyYeer5g7HUk77XfxuhFD8xm6A4fi2eOUJ0vcd+m3GRsfJm/Bhx8dp9GJePbVNbZ9jR89Y/Nr/+Qc71zeYHikRK8fkRvKg1xdqgfKalCZHieMI1w3Q3WnSuT7nDp3jna7xca9Nc7efx8rK2s4GRtBQedzedrNGt12l+zQEDYBgcQPwoChisn7fnmd8/M5tmoNjs+Ms1xrMH1khq98Z4U3vvLLnPvwj7L37O+TK87h5Wewog6JZiulZhT0iXvLh2plTEy5YLuyRNhQG3tTFkB7V8A8gPxJAj/AFcPX2Bni3dsKEK6VJkkCT2nghAmUtJtomRStOI/Z7TFo3CJ/5BE88dPX76APy3t8h1jLYFolgqSvUriDfo9MKkMqn9ieUOancCAiVx9D0wk1H8uZJRlsE/QFUmigDc0rjbmqSva6anAvOkRZGA5qt8lXjoIkCjUdwwuJenKOKqE7Uv3w1HPfa6yo+ozca0Ire1ilbN6jZ1jYo6eVKlMWA8HWO2Qe+iXSbg1jcJP+xuvkZi+ijb1H2RqC9jZpaxknO0fkFjFCn3gQoLmpqsgKPDMWoJ+w4KRSTYKVGSIuXUS/9fvEsY01e0mlopEhVniPzNgjRFK9EN1yqQxiOxG8cnZcnRFlYyBnKrEsZRSQWGq0Pqk5ShLsEXQ2sSffj0aoYvNaEKNNXIDBLuHWc7iTjxNmJe0rlqQihpzHej5eJAaDCE0SFLEM/E20Xo2kdRctVyIqnsYIu8pYI9YDdYeWf5jwN+p3sKQ6Ov4QaeOGqs6nktzQ+mj9GrEzh25HGPaQYk4FnvCXTqkBQJp2SFIdPXuGJKhiSTVZcv5eolhO7vFPKYhkfO9ZtPIYxuhDyo7Xqz6LO3QGP7ExZRDUfPnzaep46M0qcXYJzY6guaMOKaFm4IU17P4usTOGLk56oXAONontWWw5kHZXSbp9EiNSfXbpu5CfVCqqRIiXWopWeYgg6KoPJaWDPXySsNdWsQYBWyQTj6M3bhJufp+MdPvHHifa+iqaIzR90ASw0ZFOqYVdPkKaePQ66+TExdndwyocURF3zCJ6Pk+8dwNNDASRbNUtok5bXeYUfG3oAczBPcL9l9DKl/B2X1aqLHfxcZJeQ0WsDCdFC1xM1yC2xoi2XoR8CbcwT+tgl+zoPMn+VSLxq48exei0CI0BqdDz7SJOGKpqhO8Ok9ZfwSieUR2QpFMlyRUwxZktSip/n6R7jyQ2MUcvYiSdv+npRGiV+zAHe4S5aRLJqOw8f/ghGgId3FNdpNgLMWmoL0pMhdCVGM8uRjpQtG47dxq9K5O/LunwOXT/Frr8knf26C7/e6yjH0OXjWYS4ZiW8rJHzY1D9ZpzGIdWRZXCLDbScReKpOjTxZE+StTYxkw28bVRdL1CxumQ9HZwSpPoZ57g6WMPcaem83Mfm+MH7+ywdDTDxu0Gly4t8IN3q1x+s88ffP4cn/nIGP31toK6ieZPW3wYNy0T1q/h774O04+oaZgMRSTSrXfvkgggTlBcArkpTxHuy2FrBuo3STNTWJ484HQ0sTM07jDobeAe+Qhp2idtSz/3LIZXVZ1TfWyJqL6iVHVWd5f173wZY2qeoZExarU9zO4BI8fmsR75OdKd69gCQnEMvOY9jNH7sHptIiGe5qaJ7Qir3SEZu0+ZNAy6KupuJDIccjC9fWLbREulB75J0pNLlUSrprFzAbsvPk+YyOUmxjQdWnurmDhMfejT6EIV7x4OcfqBRXFomGjvCokoDovzGKlOr/oWhbLE2hPiTBErI1qZO4QCzzIS1ZtS9fbicTVFTv0Iv75PeaEF5z7DhcX/i91Wl2eemGLvIGRxUmdpcYLf/9pVNrdifut/vcT/+Dt/SHDlO0T1uvLEh+EBeXeIXtQhsqZUJN/f/DqO6C6dEQadZXLlh4l7a/QTn0zlCbTl3yOpPKb0JLo2QqL3QXOgt60e+FHqYXoNtOH3qPgzjRfI5k4RyRbeWyONh9B06Y7HBNKTzxyCbRLhigRbaFoOPaiTdnaJM8cOL3PhKlruHKkdkTQ30GT7vn+btLKIOXyKYP8qdG6SmKMYI/ehiVNXIEN/Y3eQNFEiXb3+rroU5kcu4gdVkmxFgVX0xjW1yXbHzxPtraHJ861yHi2qKpZD2Jau4AAtX0SXHJ3E/0zwa5dJJB4mz0Eh3m6+jnX0/cR+Xamd0qRNaI/jajnicJe0NE/a3ydKPOWlNk2POJBnj0TgtrEzWZLshDKsCEcBqf8U54nad1VSx64sEa6/QiZbUn3wuL+HZTlKX2iXZNtvKYaCxJxTmThLvUWLlAZHDi6G6RBbJVWtwJlW9Q5keCrVJKuotrqiGDzU7SQqGq5JSqJxE3vqCfWyTDvrKroWNy6TDH0QXRIDaYBtCclcBp0aaSQ1McExCPuhrt4hen+F7PhjdFqbxFuvUTj/UaKwjJX6yjgR+tvqZQhlpAwuWkek5jV1AWSYt/cmmoDWdF0dcszoQL1o7dIMcdBW9hYF7pMOZxAS5eXAu4a1fw1b4E6tLWL5XZVDgOpQyNvcVIOiNCMJhjX8OCbn5ImcEWJvT5lGBDCkbbyMO3OaILQJOivYkw8R3flvMHFeAY8S0TV111V3PMMoWrJK5EdQWFJ1LrM8ptIgUo9A3pu9dRB1qQAYg4jiez7Nz33gCVYbLmcnC9zY2EO3S4yaHb5/M+EDZ3T+8J+d4Psv7igtlWmmlMsl3LyrPv9yscTdeyuMjgyxub7NiTMnaezXabU6FAoZrFyBqDNgammc5dtVygVLHWwu/eNNfvzJDLt7JnMzWaqtGs+/6/OFn1rgg59+Hyt/8eeMnDxNox0wfeExot2r6BMn8WWh0dkgCGSbIlrCNaJOgFEqUJw/py47emwReh32femJH6Nx+dukY8eYlI53o4U+uYi38hZav0t5bAht7iLdjbu01t7h2JOfxXN0zK1N9NEy/eVVkmxM7eUX0YojTH78cwQ3X8GRQ/4HTvCFv/sl/ngt5NGTkxidLo6d5cCK+A/P1Wn81TMU5k6z+eJbxDt3yS8tMHLqImsr17E3bmFVjuEd7JGbmietbxFFCZnHPsDg+9/Clt+Lh57Af/clxQmRaKzf9IibG+SmFtBnjhBnSkTVKubBBqmZkqks4ichbrfPQTIgPzlBKMT/Yp6o1Vd6LUEQSaw4Lc+oQ7WdG0Nr7qHNTGIkLr2tKzhxEevYKTrNqrLa5EdKdCIXVyK4Zy6S7q7RfPW7mNPzmJkiURBDdQNj6UG13EgkytrwKFx4D1Frh+T6Gs7sBO0gxLAS+vfWGTo2SdRL2L9+jclzS2Tuux+zvomVcSFXUr1tIYJTLsDwCYKVddrtOq2bd6i2A7oU2ah75EsGM5ZHN7S4vVzl0mPHCfZ8HDdkZmGEHVPn1KxsJUUpuos+JwfyUdhbI7Cn0DsRB5dfJpaEzNw8zsYurc5dnMIo+ZFZIqlX7DXRx4Ywuw0STSMSD9vVK/DQJbKzS7S+/gcM/a2/T3tvFXt3jdAVy0mMPbuEtnmHXk2elRqJ8AnKZcIoOBw8pskhC2SkQjQ5SfzyS/SCKkVJmcrFYWwa/85blKZmiHIV9RyNGj2MpI89c4SwNIf/+neJ6zXKF99L62BTqZ5ltOx31rAKFdySaCI74GZJ203S8Qn00MO7c5fCfQ+Q1A6TFP3AR2sNcPIlBp1tor0+5ZOnaQuLojyiNv/tfpXy4sOYkzN0dzcYnjhCdO8GG5u7lF2T8kQJnAzt/T3F/Zi4/wG2X36NwpFFUtEPRh65Z34e7Z3nVcrOHJmkd+MqaXRA5Zn38zv/5M94bcNgdr7Eq7d3eWgkx3aY8NZmwN5ByuofPEBudJMXn6vjjjroHZ2DsM+jjz9I46DJvds3GS5WKA7L+yDC6w4U32N8dpL9nSpeu8fkzCQbu3uMjY4qden8kUVW7tzGtbP0Bh3SfkBxdILKcIat1R0+8e+qPPPIHKubBwz6IcNjRQbtPt+8NmDle7/G/JOP0XvpDZUc6AupXlJV8n7uHaiBufyuqMWb31d1Pe9gW6kIPeniT4vVpUC0/w5JrqIWAmG3pqjylBZBEl1mjiT1iDUX3bSxjEMWkAySPT2vNsmpPaq88Xa6TxAW1LvFFgV3eZK4VSftrmPJ3Uxo9zVJsU6oiLkulz+zCEK89w8O9XC5WZy4RSB3kTiHk9SVblcvlUklpi5aOMVZmiemSzgIybi6SqOKfUpqB2r7rFypFlRvETuGqr1GjS3s0ijx/oaqMscLT2E19qF7izgzjJU5SuRdIbaX0OVnF8jfM4TpFnEin4ZcqqVGMHaGsLOLXVoi7DcwBnvEriSoCuhORTHBxEgWxAdY2TyanGvdSVWzMMJ9ArNCtHcLq1hW52ulQ7ZcBZcNjYwyAFhkSKI+Ydoh607T2vg+7sR7MYaOkO6/rX5+xswpwlAjXRU9n4kx9jCGDO3kNFpYIBnsYXXWQLMhP0cqqWtLEtKrxOVzWJpBHO4dmhB6B6QCK52YxG9uMJBEs/CT5t5DIAuW6pskhixcRL27g5Y7pqDOTqZCkiui9Xr4g20sqSqaPmSEs9Ygaq8qQxFBk0ATtaCBLouylnDo8mTiA+Lyg3KgVJpiTSuoJYksrezMGEZ2hFTP4q38EHt4StXatcYLv5kaeY2o28EYOsHg1l/hFKQrfAK/UyWI9nEooElnSTMIxLVsDWGNPYC3/zp6GGAVSoR6VkVOo7VvkY4+gF2YIPUFfOSqzl5i6BjNZUXRj3FJ6KrIdHbqAkHrxmGnpXI/ZhyrDZRVPoYnCQHp0EtMJmirDX7S21ARiVgc7InQtw0VTZctnF2cwJOuZGMD38gqtVSYaupFHmt9iIUEuYJuijpC4qe72LkT6kIhFzIR0qrNfPm46jpJV1OmfYcqkHEMhHBeQ9MPiM1p4kEH3d8gzYyQFu9D772F3tkinXg/hh4wEK2EvKDVcEJX8WA5uKUSwdKGQA7F+9ex5eA+9TS6xNzTfZl3YQwdV9q6QXZa9X4lnqLJVrx5i2ggveAhRf2Ug38cNLAl+pPIVkf8yAG6RIVkgxykaIN1BVoM8kcxBBKnYI5HsMM+YWWOaPMamjWMNiJRpBRNfMxdedB5KsqmBjlDZ5VbPtHlkSQ6ROk2WwTFscP0Qq9KZuE9VK9+jYKpU3zsR4ijgDNnPk3c93nkZF55ZV2tqLRMWmpybFLj6y/2eem/PMCxS1Nsv95kRMjxm1skI0UEZZ7qCZoh6pN5bFG/+dt4MnU2hpRPPKgvE5fux9SWyYw9SffGN8guXmTQlIfbAG3qA0o/JwyGtHQC495XSQVuJiTyqIFpmHitA9zKIlHtDTLnPs32C39F/847WBOn8aMaWhoquuz4oz/CYPmyuqy7R99HsPMyhqRXnBEMSaPQIpJLUm8ZQ/QvutwncoQyuDqQfvQp9b/z5WEYbKIVH4fem2qrqRWnSAZb7L/+QyzZWssDN4wZNGqMnj1D6dgl/LvfQy9lCKxT6nMOBerSXsVQFoOT6FGduPoOsQUZdwlNhnOi59RG8YJb5IpHMTybtHOXQfEocb9G7uQJdlb2mV9q8YUv1vinX6jymz81z396YZ3jsyNUO33y2oA7+zaNjRZ369+EqEf77Zs4Qr32G/h2nnzlAt3quwq6ols60cEeZtYglPh+6Qiu1HRSjVBgoJqFJUrL/Cxha1l543VTxxdOhumqmJl870J/FyM3SjQwsYp5ko3nSPPzOBNPEVSfVwyA1JWYtk0otNNMQTFCvL543wsk5ixRJPGyAKMypb6/4fZfq6lwZvgcceeeimHFUhvLQr/vY5SOosvFQ4ZxQmnVZdO2ogwaEteKD7ZIJZJoZ9VgI9WL6Nkh9OYamluWMBIaLrFUMwwHuzBLsP+WuhgHsU7WNBl4q1gTDxOJqSDuEIsDVw70los5aKukkfx84s5N9OJZovyMgurooteRKbAc9CNPKQP17g6GDAlzI0rjKppc6SHLc1eL9g8BT9KPFLIwMtnfwSqdJw2rRKGPZvRJpHNcPosmL6OwTxonGOVppSCMMkOyi1fRQN2ZwNZdBtK7M4ew/XvKYKG20tJ5rK0oc0Ukg1BJWlUeVAo/IWC7w3PEEgV0BOYk75UeVm4RI0jIFmF3ZYPS0Aj9aBdTmyUp5bGjvuqXRpb03BZJB9tqk+JOP0DQXiXoHWBl5tGk2tW+i9faIHfkUQa1ZYrD87R33sIZPa5gRkHsknorWGI7kBSBJDukX2mPHupCD94gEWCaVFcGXWWkEB2rYWTxtBbJQQ27OAStDcLScWxxpfsmVr5IIFTdtvBqPIzyokpEhPWtw0t9eQFkuOHL36WrzULQuatMJvHQfVB9GbNyCT0/T9q7iREmhGaqtil6fhqvVyPt3kKT+l2hotIthmTQ5c+aSbubkHdMcgUfozLH+TOfomhYLM6UqfkaQ0ZEiM/372n82occfv4fn+HGK9sEQYof9dDjlLDvs3TuLINel/29HbLC8jEN1lfXmZqYpBeF7G9sMjo2xvBYhbnjC/zgu89z5swRtTF5+Kev82PPzHL19R0Wp8qcPFbhF/7TDb79C/fxgV/7lzS/+oe0t9bJpjbpkIt5UCUqjOI89H648xbd0KZ46gxBr4rV6BM2NkDAhvkCRirQ1D3CtR1yp48r+FW/sU82Y9Nt7ZCWjzFcMOnvbNFrHpAdHsOUs8fcAoPL30I3SzjzU6StDpEWoUkqb/8mljWKe+4hWl/7GqNPPUQmO+DJz/4ZI6NlVem4utHj4VmHTuwwqO3zta/8Ev7ta4SZJcxkQOfma7T9iEwSkTv9KMbMHN71H2BdeBLefRN9coxemiW5/B2ckVHS+aNE77xGZn6OsL6PdeQ8fihVF536az+gOD2Pc/+jBPUq/uYK+aPn6F15gezUEl7YURsxDpq4IyUiPauiybLYsEZHITAIk7bA+onVoDzEPnHqcHhSXVO6v+6ddygsHiOQc8HyCn57l6HzF8G06W4skzRrlC48gTY+T/vWTdJ1gfIepVW9Q3Z4gcQo4G9fU3R05N+a6nSuvkFmeIp4qEJysEJmYl5taXtbK7hH7wdRELe3KM3fR+/6Vfbu3WX4/kUFC472V4hX3yVz/CjeVgtTBlIXHlLqr2D5MtmeD5U5GJVLU4T+8mt4+RJp2cbc3aZVr2Mef5z21R9SiDOkwjk48QDs79Lcfovi4qNKc9zb2yGu13Emj6HPz6EFqRpcCIMtMTS6BwcYzV30iVP4u7fQ9uo4Fy/Rf+HrmBc+jLbyNhxbUrplv7ZM1i0zEHrI9rIadOeOXaRTX1dGomh/G+vEBeIgxZUEVG6U1q2rOAsXcU8cpfHmZbJ2iF/fJT7wKJ48R3v5BvHiEeTpLCkry9XwckUyzQ69gyq29P5zEZYfqd66rkuF01YQanPsDP0ffpUwqpF94COEuxvYmnSYdfycSb9xgBVC5qEPEd3dQOvdRKvMownBffmHGLJNHBsl2d/BKg/TvXKV7Nkz+K98g6Ez78MfmSaQ5MPAxyq56M0urVaD3KnjBJdfg8osudE5+kh8uovfMJi6kIWSxeilr/BPn5nia29tKmK/a6SkgcftbsyDbo4/+S8XaFzb58prK5x6+Az3bqxRrzdYWlwgSMT4E5MMAjqtHgvHl9jd3UVLYjK5HOMzU9y+foNi1iUvhpg04mC3zvzRGXa3qtILVe+S0kiRdq1JLmtSHre4+DM3sQKfqWFDwfvmjxRUjP0LX6/xR//7h/jcr/wq7W9/jUiqE7LhljuB1PDCDvrIGQXulmF2trBEENVUwifOTai6lN9bQ7dHkCN3mGRUHVG2ZVJXjv17mFIXTURfLkaxBpbmqg2711zDarxGOvtJEk/i+GPonR2lPUcud8J5ifaI7FFS9xh67bLSgNtymZS4vpgtum+gFR9SiU5tILaCAkawrcx3isMz/ji2XE5rb2ENn1Ug5NQ7tBEIJymtXMBsr6vPJ5VkdBQcLnTlAtreJ549d2gxCGro9hiJv6+gf8J700Q3J1wIWuhy3uptYEtqc+QSWlBTIEA9W1bcJj/wiXZfJDPzFHFpCeveV4lFmW47GMLU6WxgRHWS7BSpHqPHGYL6KrrrqOVaIkrVyCCq31ApZBng6aYoAn0sUTlLUloA7nKOSTTS7NRhelQU1JZJmFhk3DyDAzmfF9QwQWDjjF4ioQ9hG9MZU8OOKKiB74M9QkCKY0Tq3R32qwpYbIw9qBYzUkEwh2aJ1BJlRDGOAkn5ySKldQstM4mue/S2BeI+iaWnqm4nyvtgsKee0daw3AsGJMEGGPMq2SE1UX2wT+zOYVkRAUUs1yTdfhutIkuEECNoE8slI97DtIZIsmNokhSMHWWJkfquzGui9gFJzsJ1phjIUk3OP5YAr+tordf/ZUpcwiiXSXu7+NWrZOY/DhJDlQ1J4QykA3q7Nw/j8gL60ALat/6S3NQ5IlugJTr93ja5kfsJ9t8AZxFTImzdmrrUCH3fyB2DxtsgQC1vS3ke9cpDDHZ+qDbiqe6SKSzhCZQh3UdzpS+dYFpCbtRJlHQ7RyqUq0ED2y0fbkpz0/jV68qXaM48oTRaRrSlojuJI7T9Kpp03mVznkQMOvfI6Abx0CzJwS6GmipBmp9U3XCJEoluLJPUCOyjpKIrFN5AWsTXDWVLSORSKtZ2HicAACAASURBVLHMxjvqEKZVHldgv7C9gp0RJYh4u7dJQmEFiDmiqAAhumjEIpn6bKt+stp65CS63CSRD06mytk5wqQhvGBimVAPWtjZBfT0gASbqLOPGTSIJ5/ClPhuXw42cuGX6GmbVB5c1ihW3COSKK6Rw+k0CZxRjOHJQyXciHQ6Wwz23qZ49FNqahu1biuYmUBXDHfmsDvcWiPVc+j54UNOQhIQSudJ64IxQ6ibausomgpZ9zmlCqmwFBo7DDqbzL3/J2lV91ic/RQPnJ/Gpk6pWODYzBClTEitE/DuvS1evpHhjS+eZOGj99N8aQtPOnFZB7ffJp05Q9huEey/IwYOHCOHV2+qi+3oAx+ndfNZchOnae3cxJ37IMbOs4Sag3vswwSDHQbXvolt62Qmz4MzQ7j230gXPolWOIK18wJ+3oTGGvbJn6S/8g7OWB6r9ARvfunvMTo6BHlxijexwjZTDzxCKJvzxCHormJ5e2q6qlIp3V2wi+jl84S1V7DMLLG/pjpMrpZVtobYlChTARJBAOYwjYREOBJzDxDvXccqjrDx3H8mlohZ1qGYc+huVLFHTYbe82OY9SvELYN07kHCu19VsBbDzBP37pG0NsgUF4iDTXmUkZN42s5rSl1n5BbxW/uYcgE3I6zsEOb0/fTf/CLO4nuUxuf6N7/Hg794hyOuyfsfn+SH795jvlLm2ESeZpDyre9t86XPf5CP/Owv0L12BVMbAYnh++vq8u2M3k/UvIYt1Yv8Ioa+T7xzDb3yyKG7vHZVDdZSs0fGEBZAi8GB+GsPneeGRNK6LVJ3Ug3iJJIssjXDE5e1oWLzqeER3PwGjhgSKJMkTdXfEpWTKf76ZF/ZBFIBffY2VRXBlO2mIQqcHrr06eM6tvjp+3dh6zUQ1V8SqZqT1Ih0SzSPWSJDkgYD0qiK6QozJAsC9JGfaeUR9NIiQXcbx84Rymba3yIuHEHPzWDUXkXLCf+giOFMM9j7AYycwLYnlMUiM/M0vnxv175M5tzP0tt+VjFIjPwF6L2t/pzmKngHN3HdIeQKZ1MgkGdad11RpVOBW1Ij9kQvII7hc3jNN7ClK2dnCWrX0HWbVFJRAsSLYlLLwXBL+J1NlWaKZZvkh6RD4yBbDaEsBw00O08onXYS9OIxwq4Qb2X6ncMsFkllQGIUiWLp4ItKUYwKcoFdU1v9JLuIHm0StzfVBiRGU1tAW/SMUtcSm8HEGWjcJjVkxdImEbVhUsPM3odQlTRqDLQchvBW4gyWKJAMn8SwSTq76AMD9+gFgp3LRG4B05wh9kX7I1vyDrF5BCf1lXrTMAw00QrGdZLMEejdUZ+TGAcUKDB7iiS6jSFx7qGjSkuZbH0L9/gniCJTQU8NSzRMKbozTOSMYTVeJLSOqUGCVLy0tEGQFlUXVJ7PAt0ROrARNAiF0CxQojjGj+oYYQkto2HmJpSKR8BM5tR7iTbfUu8NfeQBtLSnhq2G1BwMqbSA3rmGp8vgZZnYFPKxsCWOs3fvy4zlE9wHforFkYsKrrQ4McxQxWDMkQirzx+/0OA3PzPJP/jxUb797TVMPWVqaoTScInXXniTcw+dxhsEtGo1JqamqR/USeKE8fExdZDdr1Zx81ncjMvavWUFaTp+9izDo3me+PsvcWImodtx2Gl5zFQM3m1Z/NGPneDRn/+7dL/9A/qtbcyJaYyxI2ow23zjxUMXeSoRR1dF+62338L+6Gdovf0c+UyB7IkHGWwvY9oBvYM+hQcfxxlbpPX817FHxtVWNbENqNVwS0ME7QGsvMHAq5E9/ahiGnWv//8svWdwpel5nnl9+Tv5HBzk0EiNznlSD4fNCQxilkRRlihZ2uVaYbcklVTestbeda1l0rKrnFTWbskSRUvy0qYSSZESxeGQM+TMcGJP6pkOaKAbaACNDBycHL68+7zYXzM/ZtDog4PvvO/z3Pd1PUeychNr/ASZi4+p92JnZYnM9Cn8176Jb06Q+9yH2fzT/8z5f7HKA0cdTuZTdI2YrK1xdbXBbz81zM/+k8+z97Wv08ll1XMivHWToSufppXO4a29S06UVbKgyA+jL79HJC7nzCBxXx92o06opzDaTTTpdqbydJoNnPEJOjfeUSDeWPTEvqZ+VqxsYFx6gOD+IqFvYJshdi6jbBbCNwnaPtn+Mub4DNGeULpd4lSBcG+NePc+Ua+LMTKrBncdLcSNLJJmjTg4IGxLlSpH8ezD7L34HE5pGK2YIdlaw0+VKJ++QHNnFZZuoR27gFWp0qgs0zd9kubGFqmxMdptcXIX0bIlqK0TNluYJx/ETGz8vft0b/2IwmMfx+g06FYqGP0jyjbi18TQMqq23JghcaVOV3TmR4/SESr/nfv0PXSJcG1DbQGLxx+kce0HxH0zOELyzlvEpWniZpWgvgkZFyc/jjswgr/wOo3NdbSRE+Rooo3PUJl/h6HBabwTF/EXXsKWjV9VaptprLFZal//AzJTE+hDc6QnjtB8+3XMXA5PA1POfW5JvaZBdYOUqCjLZTioEPgR7pRweKCpWWTaAoKOscfGSfb3CCMNR35ekcRxt3HGBunt7BB2PcxiH6mJM/gZS70vndIAkUS+E/n96eFkTOK9XVL1KvWoiyO8ipkTalvovfA09oNP0l5ZPKy+upaqmubPPUXvb76CPzOCVR6l88ZV+s8+St0NSUcW2uo1/FxWacqcRpfGUJlCq0Zj/4DOwQqDx8/jteqElQMK569Qu/sWuSNnOXjjOZJWk9Rjn0I8GsJ/0ifP0HjrOxgCOrYymJZGc71CLwMnLr6PpLfAr/7zH/LDnTq//r5ZXl/ZpxomjKfSZB340vM73PiDSfKDMQvXdeygzekHzlLbrdDxZcvfIF8oUCiXuXPjFq5rk8plyeWzGJbL3fk7lIcKlPtHaXekGhiysbLG4OAgGxublIt9jM8dYfHWTfKlQdIG7FV9Ts6l+Pi/WGFufEgpA/faXY70Fxge6uPL31rkn/3cEP/0z77F3vf/gvTEDIneImnE6myc2GWls+1t31CspKTvororiB0sqV2HvdukTv2PaqDkrz2NMfCo2hxHAsgtXTr87NTzhFpNVROTQGC2AhIUvssSuntckfrlXiT0nWb9HsWxJwnMFHpnk7hyS3C1amOt+R2VhMXbIfHauMOPKA2uDPNlyRf5kp5sY9o2WuLirXwXe/J9RM4I+sHb6j2g6cMokEmko2dNotBV5h2cAWUnceKeShGEktzRNHWZDgVGa9mHHvnaljLb6AJcFsCw6NVlwSpJQUkGislL6sy9dbTUnDIXSdLAMaQqncKQ2D3bmAJHzw4T+XmS+jWCqKfuJsHa21hGA2Pig0TNLRL5zK3fUSlAMz1NrPcwrDKBwLAb97HLJ5VRyCoMy62JYGsNU9tBF3uPlVdVctFXCo9KwMVxawWtuU/Sf0nVpb3WHhlhBchZxdtRdyrhpeiDp9GSDo2dW9hajD7+FLHwpWqbiqPkzX8T35Xf5w+p5EXSPaydB50OZmmasLOMlplD661i9LZIBp/EbKzSiRLs8jh2u47XXFZ2t9jIqvdIHCyiNVrE+RnFk9A1B2/3VVVhd4afpLnwFVJDD6ELLLm5hdWQJV+GeOisqt/HcleRyqfwK2Tf3N7GVyaGaaL2HnF9EbN4BCs9pNLEWu3lf5XEvT0CewCreBynuUgUtogc6TVGJEKNjNukY53QHcS//xLW6EW03Gni9h66d5cwsTFUj1m6FgGuM0mvsagImFFmDMstq8lZUrmNOfJ+4sp1jLhCcuSn8ef/DEOmaPJgl65tYoiqFlPrqq1S3NzHKs2pKG6sxQrmFvQ2Me0h9NHzxBtvE1JXyQGJZYqjPhZIXv8xvG5XxdDk60pkQwlCZbJlCk1Vx6aLp+eUZSCR4YIoC2Xr19tFQyB7NUynpCaKktUVd6TujEL3HqGhYxXPEDfX6e4vkBu+iJ4foXewTtKdJ7ZHcaSHrLRm4k+21XbHT1oYuost3d2kh2X00W3cIY50UimbIDeD1ouIGu/hpMdUxDIxC4ffg1w6Rz4AnV3VAxO6e2Jn0FIpzGYXYl9BxWRoEvoyFEhIbBf2r+OI9iU8QAucw+873CFpVdGiHSKjH7Nxm8QaxdM9XCFwFk+QKNynrjovwcEqGgcEXoRuSERdw3bHiajjtyvYsoGmTmwZ6s+2ujUFcxr+8JP84Mvf5ud+/es8+v4yca3L7HSWe1sddjbbfPZTx/jjby5wsJ8w/7XL9D00R3V5idS2UIW7GIaGlXcJa7sqaSFKjihzBP/6V7GGP4Y5WCbu1DHCgG57CdPKYvSfwatXcfav4iVZzOFzRLXrWKLuOvp5guotRH2ppwokcRqrt4CXuBgDj2P6t0k699m6eoP0scsEYV11LqNqh5ErH8IZeuRw8+9YGLFFZOikMsdp1V5TNglz7CNovZ66NNjlWXWIjjvbinKOQE7EbZ4kaEFTTRqNTJlQlyi4Rbw3z86150lZMtwCI2PT29uiUHQpXfwwQbpAa3GRbJ9OsPw82pFH8GVLMHEC8/7b+EI/v/jbsPY1wuYmRukciZNGF3VZeZbawjexojGyDzxGvPgjKiv3GD53HuPSKcan/piJYoa+gvBSQ4qZDGboMTc4xleevcVnPlziP/3t3+Ev7dHdnieMthUfQ9cL6pAgJH3tYJcklSXOF9EFvti4R5IZRnenVAzWa91THTKJ0SPEdq+mrAihJu6PSA3hRHNiBlsqSaE7Q6ob7jfvY0oMb/oz9G5/SUVoU0c/h+/vYXSEzp/DEPBd8z2i7FmSxhZxcBcne5pINs35cZqVOyS1t7FHPqY6e75Xx0WGBobS2BluGUT/1lsilASNNUgs02MjRHfkQ07qHF01XLI6FbzGDez8LImbVx/Kuvz73iJesE568Aq+RME6mwoy6qQdDPciYeM2ndp17LnPYrX2aTZeJ1d+P1F7E+RyG/crxWgil7uiDBx8NVBLgi1M2eRLpCtrq4qWgIlcyyURbWdqBFPI8r11Rd2XZ4LhFpTFQqLhopUSjZ3fuo9t9imeglgrAi3ATI9jyqTZaJKYfYoaG4lTtrdMbPaBVByERi5T+W4dX4Zb7ih64QxaUlPfa1R7TcXYQtl4mAna3i0iGXBaaZL8qUOegFR7skWl7ZNURXf7XdJaBYZ+jMa1v6TwwCfoZYYx6jvktDq9pk+UFvpyQ8UV2/dfI18qEyZFIiNWrmivKVF82Uz4aPo4pnh8g3XVueuZJYywrv5bMmMKHhnt3cIoC0ixpwZnsnnw5v8rTvYoDD2I2V6ja9popdOwcx1d+AYSLbz/GubAJVXzoLVGvP8u1tCc2siEmz9C7zupNkZif/Gra+QHjtPrNrCG54j2b6NrebT8CHEQq8u+2GjU9ynpNTNHZ+tHGI5NevBhgqBD2GyjZ9Lyaqrtt0BttXRG/b5Evo7ZvodWnFBcBT3XT2tnl/LkBNb0Ezx6/jzheouzD04yv7TNQMGhXEzzlbf3+L1PZfmNXz/Js99YpJh3Of7IBbzKAav31lUFzHZs9nd3yUjaxg9I5/NEQUCr3WVqaoJ2r0N1p4IhdYFSjp3dHU6eO8OD/9OrTA3ZFKXPqqX4+IUS//OfLPPVf9jHk08cB6lmZPI4sUNrZ0ltL61CgZ4klcIcvXtv4nge0WNX1ABR29vAb1Sxxkbwlm9gGrJVHCRoJ3Srtwnv3WXgxCM0vBaZkWHssWmCyhZa28fL5jCLk7TffQ4nlcE5cxnv5stE1U2cqQfRtjbxWrs4c2do3X6F8tnHccemee973+Bn/sNtHj/mUvUlpZRlbavOfiVk4W/+AaRMdl5/l9LAGNbjn6H7xjcJnX76BobZ/s5XKZw8TTgqOqsQb+0uSa+lEiDpmeN4O1tUbr9D5uhF4oyD0/Jpvfx35N73EXpbK6RzJfy+PkyBQV57Feehj9FYfIvCzAla118ld+Jholwfwdp1xUwIdakZTdC99hr28XNqgG3kZwmqW/g7G+SmpuiVxtB272CnBvDCACsvEF9ffR55B1WsvgJhkGAO9COsTH93g3D5Fkn/cewBAzPU6YV18qc/Qtyoqi18Ul0nyPZTKA1QeecquXJRab4CudiW+mh3quQLWZDhZb2KZQhTqk0kvfjBI+q5n4m77C0ukD52FEMMIeJHLeQIqg0aB9uUB8aJBqdIrr8Jpo9VHlH9+nSpn97aEs7AKO1mTHZwEG3xJRg7gecHBHsLpMfnCKI0/u0fEfdNU8g5NLeuk73049Rfepb8mRMKVJwqniAItgm29sieOEtvWxZGAcH9NexHHye93yFIhcqyksrKYOWAxuo8maNTaiht5tNEu/t079/GCEOMmTM4vo8vCc/Ewx2apr21QrQyj3XsDJHXxd/cIPfY4yC1OcPB21uTyJmqWvhP/3c6jovjamSHj2Jf+Qy1e6+SiTS86q7i1wgoVKvv4l54DG69ppSagdRU5ExZKKv0rX30vKrpVN/+LrnJBzDkGVmv07n6AwonH0FLy0VqDQObmheQH8gQi+K3GZEMHcGSn+X9WySXP0GqUqV19Ztow1PqHJktjlBZfxe96SlLQfrDP0/v7e9iZeRrruMOjqEfPU791Vf5yD99gYmSRTajEeZTdDoa5wa6/N1Nk6embf7D/zbGys0qfWMDLN25i5vKKK1fsa+PVCrFvaV7jI0Pkk3n2NvaodFtM35kSmmh8zmxQHgqubm7uU46n6UvmyOUQXKi0Wm32K/sMXd0lka3wb2VCidPn2Cg2OSBX51nqDzIdF9H5CBMDqdUFezPvlvjN39+li985Rv4r36Z2J7BbyySOFms9ChhXFVwbklJh36MmU7QvTaYJZUW7O0tK82y8GW0zipWKFyiFHFtE3P0stqYJ7uLhJFHauxhxRmSLjnpLHiJYuz47/41xvAl7PJxusvfwJWtudS7JA0qNYJmVS0QQ6uMls5hhwGx7ShoupY/is4mcatKZA+olFQiC1Q3S7x/lySUzzsDfeCMWNfRjQrd+28pLWwid4wgQos9zKzYfkqq8x+3tjH7T6mYe3DnL9HLF3AGj9HrNg+XTrqNEfv4lWuYVpFIanWNmxjuKKJziMSE4TWgeESBuuP2OnbhBJGkNhu3SORyrhXwa4s4Am335QwSgi9uHkdxraLt19CyE2iZCWJZSEv2ODuhliBx0CKVmyaMbZL2dQIFNhwk8muk8iMkUm+UYXxPEpZNtLHHCO99RyUkwvxZNMsgJQamKCTUIkXTl7O43qsSBA00p6Ti8nF9GUMLVQIh8GqHdRcZZFgj2E6orE2acLTEzCDsL7sPXRZJYqKKbQxhVhlD6h6d5E6R9GSgbWHGeTptARPOYFRuEmWnMdL9BPdfwUjlsIceVQldP9pXizuxl8XCafJ26EmaXklle4ojpdf20NMDhGaEJQa4KCbo3CES/XSSYLl9SqMYykJXzkiisCyN44UaWuWV301cO4D6Pr10P1puSm1+o84i2EdJ5WxFQdTyx9RUyVv7DsbQSbSDA8hnsO0BvCDEzA3S9hpkpOPsB0oFFXlNNEc2aaK26OG5eWwtraLk1O6QSJxMnPRpieHvEgX76MUp9FaLuLmCZhiQLaEZw+jRmoL5Jd0K7sAZ9SEuMB2jtYieHifOH0UTiFZnBTN0VVxTpla648oei6S2ii69VucIkmaJ26u4w2dV3zhpVBRAIxF9l+FjhuJazmOYPn6jjdE/o1zUMl1JHBPDi6C7gt53EW/7GqnR43gbt9V/Hwy9n3TgE1lZEt1Qv3y60UbvSvVBnKtpjFgj6tXxjZiMvHHkMBoV8VhR3S4zk8PwDohIY0gUXLMPL8Nxm9guYjkptEjURnKBEi9m9dDHKdFGtwSW9Ax9AvlwMl0SieymZ0k2n1fuz8QXn2YNO1XG272OOfYx4o0Xie28euMlMnUMt4itYeLGErploxtlRWbXMyNqy9au3cW2xMNtEiQxeioi6PqEkU7BMUmsAtW1BfKzeTLHPsdf/etf5bd/9yVOH09x4kSWV9/sUiibTOUKbFS3eGfRJx8YvPnOB3HiJu27woYbJFjfwpcNYS/B7T9GIAmOwZPEzhCtm39K+sgl/N0V0o59uIFLFUnn+qCySCwRppGzeKHolDYVYTMZuITbeg8/zpGIwqMn8JFB4t2rh5eX/Gnc6ivcWxQFpEe2kEfT0zT29kj3m/Q/+osK1mHIB3PuGEHjTeyuRzL8PryDq1jdiKRvgmTrefzmAcb4w1juCH5rCTdzjjDeQdM1tHCfsGlhp13alSVyD/wM3tIrbL/xIpmhaZKogibdpdo+udNXFFin+tLXcXIFDFFzOsNEKy8Tx020iY+onlV771201n3cwYcwssOqbpPs31TcisL0+zG8Fp29q1hCk++s4554FOtEH//rT36Z339G49ETNuemde6swPJBk/OjLt1Gm7fXNNYX/jtGaYL9xefIySHSSRF5aaziCJoaJm2rC7OWKihokSLeiipRZuG1RaKMaDyH0UW11ulAYVJNKj1vG0e31dCPQCoZaQW8FD4GB7dxRj6k9JtJd58wO6NoqjKZ1vxlXHv6UD8nRFVRh/Zfwm8vYzXv4A9/TIE9g923VSTSHH+CWKb2/q7iILjpHIk1RtCVSfY0iS902A5mepSepG6qb5KUzhIL2EqUdG5eDRZl0KiJ2jSpE4nxQ9OwrAhfm8TVu7Q3nscaeJB4/0USW5gQ/djdLRJ38BDukj9N3NkjkWHI2BWirdeV6s4pzhBUrivybmKZxNXryvUuA61ob4Ukk0ETtZ89jCfVEvkAlmetpIlcWw2wJD5oqG77AaadJfG2iEkpeJwMZgWOp4lu7OAuju6h950nDveJ2wc47jC93hY6BfRcGvyO0qj6lRsqdaULlDB1gijexRb+Ri57OGiRjb4GYWkOW6pJVpaw1VCsmNAUiI88e/qxem0S+d7k0hG0iWydMGyRGniczuaL4JbQ3TKVjavkoi5B5iyZvhFy7W1aTloxQGK7jq1N0261cQZHCKu3wOhHNzvYGZPu/i6WMwfFfozqAoFAecQvbcizqUu8/jUY+ThhxsHqpkmyFnoophZJnTmY6Qx6R7gPmcM0Vd8smAXMgxuEUi2TYYfWRAsNpasl2cO0+jCdYXwZorTuKOCoPKMjOUAVjxMKJ6S9jpc/ghXVscIMninMlSyh0a+ez+IAl3SFcHMSSz7cNSLDxnHKeKKK6tSwS3OEQpav3VavLXFK0aLj1BSmNYgzMUlq6hwPTp4lDlOUCzF+ZNJX0jgykOKPn+3wH38KPv1YnlosG9kWjWpTvTbZfI7t+1s88uhltva22d3appQv0mi1yGZy1Bo1+of6qFea9Dodzj94nvXNPQoFg3w64vgvLPGZxwbYq9cwEovBYoG/eHGTL34yxy/9xk/Sqek0NxcPY5i7u8i4vfTgRxQpW2o8NPcJ9tfRBqcIKztkj56h897rigRuzZxVF1OJzeKbuMMZvLhI6ugZWl/7Eu04JjM+jqySpW6UGRjGHB4lGhojuHsTc3AK4h62plO//iZGoQxhKB0pjCgkqFYY/PTPc+eZb/DRL7zKP/rEeeZv3ub03BBff3mXh4fa/NGXf5XGj5bo9o1haoHSTGndA6xMgearL6CdOEXu6EU6bzxD7Og4Jz6APjxG74W/prG0RP7yk7iiyt1bx5w+S7CzDa0dzKnzWIUc3vJd0FuYpSkCsQHk8wTvXUXzDaK0j1UawdczhAuv444eJ+k0MEdmsBobRNl+mu++QtQ3SF7+7sKvKMjZwyZpHCgafO/mq2oDnJp5FN/bItq6T7y2AeUcbqZEaAo7xSMlOuZimfa1V7HOXMDc2iQumnj3d3AvPKW6vt3bN9BH+2WPog6eDB1u9CXFKBvFwE2DaMGaVcy582oI6c9fxT33kALVahsCLkzjbW5ij00QpRy8e6tqoJdkB4iiLmk3TePuAkmqQPrMFfxr3yXKF8k5kqprUl+cp/yxX6Dz7kuEK3dxTj6KNjGMv7RIvL+Nj07x8pPE9xfoOQ6ZU++n9ep3sIf70ZY2cN//YdrP/xWhnSdxLTLjZ7CHh2h8/9vYfRl1wepJ4jEzorSjztgJWq89o5hH2eNX1Nbblw1i50AtkrT+cfTKpup9mycuUdvbIpPvx+300HJ5OhPn0K8+TWtvlezESXypMA7IsLOOef4SndU1rCjEHZ8k2ryL3/OIJfo9OkGk2Rh+k/atmzjHzqDndNq33iJ9/graxha9rod/sEpaKjWnL9Jeuk2mmKa1s4GhZSnPnOXG1e8yeeEi0d1lmD1FLjBpdqQ61q8SWEJ5T/IDGF6bzq3XReRLOH2crDjNJ84Q3n0VD4v0+ccw775JE5PM5Y+x/wf/J+nJE9iu1KXapB5/ggce+zc00zr/8HyZ/brB/N4elucwWC7z1TfX2PyLk2Qtm+efXWZqJkUYWXSaIf2jRQ4Oqhw/d5bqdoXd7S36Bko0q1XFBsoXc4RdAbeGSvUoy5Pa/i7ZTF6B11bX1jhxbAYvSqgf1HBSLtlsipW7m7iuwSOfPMtHf/olXt33+YmLRXaq8hQymRu2+eqre3z2fSW+9P2nWfu7P6Ik0DRjiFiBxxNMWbhpfVi0CIUXEnaV4Sb0rqNp4+hiP9h4DS1/nGjoA9jCfTq4hW3FaMXT+HvvKY6EKWkyp0/BhDUamHaOKMojj/PuzlWMTAG9eAq9t0fY2MH3G4cV68nHsbwqgV9XNe2weY2o6ZEaOEdv9z01BLaETWT24Xfu44Ytur6QNbO4cn4wEoLdW1jpAlpxEr+yLAod9JwMBBo4SUvV4mKppiae0h4LwyyQQXC3hi3VQnlXyGBBgHcCLJa7klcjbFRwZGgntdr6LvjbhLGG4YoRSyexcmrxamhNpZfXqvdJMiMYQ6cIpZKQ9NDK5/A8ATanQC+T4BRHQwAAIABJREFUZKQ2nUKr3sPIDxA25IxTUHcKufx3WvtkckP4palDCHGjiSlAP/lzZQDrVRTfSaoERvOOShHQ/wS6t4chyY7CjKrY9SRJHeyRK52k53UJ77+ENngWPTWKJUuoRBLnNfS2TSJDBfm7C0Ta3yEWCGvbJYmqasghCUZDKhnSJQ0dtHQZs7VILJfsTJGuliInynhbNIo60c7TSlksrCmjLXVMeaC21RAg0ssqWaiH24R+EyN9DGTAIVVyp18N5EIxHrXuoVkpZaEzZFAi5r7mtrIcyOLHFGmfGCBES5kaJDkQeGy/Uh0KEFBeL6328u8menZYASTCg9fRrTKmlifqvkVkSgfrNEZrmbgTKutVIhonoSZX3z58wbOTGDLBqu+iaZaKHgR6AdeOCFIF4u0FbF1onFmM8hmi6g3QLTQ9S9LdxkmVFPRIXJXh3m0VKzJ0RwECk8gjKY2j13bwe9uYEovobmMNXSFsik7vNq47Aqkh1a2IghpRZhaju0vY2lKkRVeio/KL7PuH1EoxHUhcJtOvIESOK0T9mgIlmBKhXnmNaOAcetLFsRx6jbtY6eFD0rSRQWttYOk2kdVHVH9HhXOt3JQCVhmVN/HSA5jiymwsq4NZIvUFW7Y5lqpS6OL6bC4R+S1cAV8IUbbrQbyJEWqK+myVZglEwWjYaJFEcwMV39WkZ+vXwZ0BM8IURYUoLGKwBh7DqF2lWV8lO/oYfrNNYlaJOoECb2gScbZkg9bCCjXClEVUb+IMTJFkh9TlUMCMmtlGCx3i1pLakPvyy5WTWkOAKX0WAtXLSTQNp/8IfmUNLSWXFld2h0RhqKoSMoWULbcbleikEgrn5vjir/4Wv/Ol9/j06SKjgwmbtYB0yWZnw2TuTIlnX1xiOp3i75/5AGanR+P1fYxcgNY/RFzfJpS4TZ9wAO7TXVvBLcplTaid82RnH8dyp9DdOtU7z2A7U6Sk4yYpj9om1uBR/L23Va8plNh0ugTSu9czpOv36Lhp0q6oijTycxeorLzH1t/+Pe5wPyl5rYSomUSMXfkovlfDCWQukyUwCkS9m+jVHezRh0laOwR2CruzQ1A6raJEEvM1hx+Fyluq3+3kzxMcvEO09x7W3I8Tbr5C6szPECw/zfIPvqt6rLrpYDsG7d0KhQsjFI79Asndp+kaNq7AR4afJLr5p1DqV7WRyASjpxGsfgdNYlwTT6qHfk+PSY+epLP/NN5KQP7Iw4SWR7y5RPFjn+Xd777Ghc+/w4OXXE4OZJlNZ1jZ73G/cp9f+KmH+PwXb7D0rZ9l7FO/Tfvl/4yZGSCTHqJd3VROVV10dztvYo1fIQhs1XciFheugBG3MQoTdLffJp0dQSufxq8+j8YgukQK6wLneljB8qTmIxpKU4+IKqvqwzAx8hDXSYIGVm6GMI6gIZelw1ha0icJFBMn1mmvP4OVniMsHPa+XKtEz2+gRQ3czgpe+SKW+LmlX9e+obrU5GbUQVwetkHcQpcagjFEZvA4re2XcO1JLDp40vHzDeiIiu8SXiIE8qpy+4pCUz4IOVhGO/4xcuJEli1nLkUioMeU6P+2oPAoye7zkD+Onk7j3f1zsuM/QSh0+4MFQmEbSF0jifGFYKuHkJ4TLKzaFlvezqG2R4i5MqkWPk3SxOh/P8neSwoqKGpPry1/j3liZwDbHaab9MjKc6xbw9BT6pCtiY2kuaM6dYnQYMWuUrupLr+mDBJT/XSbW6Qc2Ur2q61XsD8veyOS8nEFXvT0GOHFys9YT5XRq4uQO0YY2ZhmlVhMBwIjFHCo1COU4lRAP1to0R5OnwxxPfzqCsXRUZp7DYrmBubRyyoaGXkb6iDhWCWQqXbvHkFqSg1q2X6a6kFaaVa7m4v0DY8QWRMkckkv91NdvYONgLtmiPZXMKxBos4KjtMH6eME+88R9LpYpUm1rTRr++pZEIYhkcDb4k26wmNxjqjNiTN0AVq7JOmcciHrnZ76e0feJkb/+9BUv7Wp0mKddptMXMX3YozSCGFnXaXXTG2AcPs7GOP/4BCo2BLYW0GZDUxJUojLOXcGW6CCol5ypghkSGeIb3pNmW+E3BzVl1VFL0wVMNv7eN0t3CTGdV3ME2colz7F2fE0g8MF9rdbLO81mRvO8OqdgGe/OMUj7xtgZbHHyr1bhD2bvrLD2OQMjUaLpYV5Tpw9Tv/AGPcX71BrNhgYHKTdbJPvL9JsNBkdG2N3e5XVtQNmj/QxPTbG5774HjNjLrWuxRs39vnpDw2z30rz8FDI537pcbbe3VYe98baDu7EDMaRcbzFa2qQ3RNwVL6fzNAY3fm3idsBUblMpljCyOXprb6l3vduaQDNszHKabSBAXpaHt56Dm/1LrYe49l95K58CLOxx+5L36L4/s8Qrd9T7BDfkX61oxIzvhepgVpPiNqBRqaQwv7AR/j3v/Lv+PfvNLh4JEfR1siaIU8vdPjlhwb4V//242z+/cvo03JwNNG6AY1uk/6+AerbK2rzLJyiztptItlSPvWL0FjHv/Ee9sysirbqOoS372BNTGDPzmJYJepv/pB0KY+XK5A58j5qP/gq2YF+ZQ0wB4doL81jD5Yx+o/iVzZU7cI6dpbevUW6C9fIzJ3CswdISde242MZTfwoTSCXjdUNtJmjmLkS3uodlWTxdyvkRqeJ/G0S4aKMThHuCqsiodfUcMUEIWrNtE9Sa6PnJLHjkET7+PUmpu2Qkf+/VKL5/a+T+9AvEsiGUbRzcxcIDg7QKsLokY1jF1OGepPnMao1DpbfU33d/LnLRM0O7du36P/wJ5RCNqpIXTJQkdR0oUjlzi1KFx/FPnOJxtUXia+/Tu7yJ2jJwmPpGvaZK0R9I/Re/HvyH/wM3vwLCsBmn71M8y/+EPvEGTKXnmLnr/4t6aOnYHCW8PrrCq6VeeBxOqvXMeYewGzVaa/fwWi3iAdGyY6OEnaCw8F5FNPbXSc7c5pI84iWV5Q/XR+SS4eG1zggM3ea7mvfJXXqkopnB81d2q+8gJm04Ogl0h/9OfzXnqe7fJWMaPdOPoQl5PCFNwjlXFir4o5MQGWHIJ3HkIVE54CwIpyZvsM0rSTx8mPUrv9Aweeck4+ppF0ce/TSOXIDRbXVTeUHCRZeJql7mFeeord4k+qdO2T6x+k7e5La5ha2qB0bFsYDZ8nqMWuvv87UBz5Cc3uZuFrHHh/DiaQmaBM1uyqmbvUP0b37BpaQ6weH6G41SDd30PpHCesV7KEBopRFeSDHF774df7wRZ9zoz0uTJVpWDr1tsdIOc8fPbPJ738y4vO//AHm391Qarf1rSqXLh3l3vwSqT6Hkf5hbr13m3QmpdJPYi6q7O5TzImRKiSbkwtzTL16wOTcCTqNGjsbO8ydmsPKZnnn5ddw3QxnL55ma3tTurfEcZtOVWdmJuYLf1nj6naKo+mQpqdRaXU4Pl7ijcVtCnGOFza+R/fN76h7SWRP4klfu1fHyQ7TWPwB6f6TqlLYqS2TG7qsNNxRb1UNNq30GRKjSbR3T+kvTeEBSe2OPKYdqruSgOFiiZiLjUsus1Lp27uhDGLOsZ/FqF3DNyZUslfztpR6NhHQquifhTcgGr/McZykhi5mDy/E0GwFQbaystBwlBFE9l5qKRPZ6vwlYHDbySudre4IU01Hkwo2TUDO6Q3CqKfOY0Z2DDM1gNa+R7u1i1UYxMycJ6y/oypOtlFU9V6pMZimjyYb//03CAYeIW2NEjSuEgswXpdqQR1L0tiyFKJHTxI/wiTTPA47bbrSNcvyx2hvokl9z28Qtm+TGn5KLYflWaX1qkRDj6H19g7hyQKjr948fD1xME2NMHtEDIlorTUSUTr3C8G/hdbeRh86RbD4NcyBcwT9F3H9FuHeNVWpigTMnckT7K1DfV4l1FUqyd9Tl3UnlacrmnTPw5HFs3ztwMNxNLytBfS+CQJJe9ng9D1EvPsuvjzv89PE9Vuqys7tvya58H9gSzVdoMZOmViGSD1R0ktCvQXVNeyjHyaW9Eh7ESMR65utkspSBdULR9XASHMFlB0ThgI6jjGGz6Lt3CZMiZKySnL/eRKxXMn5oLMPttxPeiBLYGHglC+oBGSw/hK2kUfbf+G3E9HsaaNPiN4RU2iJMt0JLZKwhZk00PwGvmyg++YwnEGC3TcVJFAu1lrYUlMqeWFyfVO0997CzpxWmr24KdEqsGyNoCOTjDGQA1wSYRpCtK4QBRpWHOGZOeyUS9SRHq/oBkfxDVepsWSqlNS3cSav0G0f4NfXcPtHYXseRZByBgjae3KHQO+fQZeojn3o4u0JoXnvHdzxy/iV+wro56YHcYYeIKgtK2WaDB96u6/hFqaUVkXc6kaYVgRn6bTI2yy0CmrDFjcXlWpDaJ1yqHZklNJchqFTGM6U+vqO7uM1pK8qHedxTNOmZ4oHeUvFlBLZEFliAxBHeoqwdRu7vok29wmlQow23yFVPk2U5MAUBUlbJSyCe0+j9Z1TZO3e1rs4ExdI/BZWfpZQfka1ZaW50w2I6m9iFM8R1e9iFi8QNK6jpU9gUJFdIFbhHMnaX5NkJtAlthK3CUQv2NtXE87ALJE4rtru6QKm6m5jWFkws8oXHlhF9LhHIFHXTAGjF5Jk+4mEZNo+wBCQVHGaoLVHHLYpjY/AyCy/9rHP8uLVOo8/OsbqVpM4bHLi9DCNtkenHvHiOx0+MhfxX57+ccJ7B2wvbJPOZkmNTeNtLIG3R7YwRGPvHubYkxjsqNglmWmC6jwpW4CWGr5TxHBlvGJh7d1BK03TaVVJ5yVOJGmKfWIhc5oCy7muaPy5i5+jfe8ZbNmkFl1Wvv8cbqoEKZ2o2STRekx+5OeJ65uE2iDtRp2i5dOJYlLxNn7xPEZskFg28dZVjMlPEO7dgYOX0fseJkp2cVLDBIlBlBpH70ia4SH8nWukp8+w/cM/pL68RnZ6lsb2Nrb03va3GbryccxcGXbfIip/UDmbe2t/R9qI8DJDuM4Ycaui+tjkpzHERb7xBlEmj50dRE8fwepsEOhFUmPH2L/zfdWV00+UKc/+PdlUwiculQgzNv2lPF//85v82EdneOvmPhdPDPJ/f/sr+O99j/byDdzxD0OhROu9L5OZPoMfFLCNLO1eVymRBEIlMCNN3uNCes8fUYMrPbHxuuuKTm1mB0gqV9VrIIpHXXpYvodenlZbda36LKYuE81h/N4BZuGUoiV3e22M5oIyc7ipMklYx5cOWGmOyEij776g1C2JlyGqvqEeoJqC0WzgeR1xRqC7Q+hBoPqbvpNSh1o6XZz6Ej2hO+cuKMWoLmP53iZ+IN27IVxjkPDgLqFUPaZ+krh6S/XQ4t4+iR6QyAZeOu6S2Kkuk5ROKoaKUPWD6gKugEilR2rLFN1B99fRbSEcmxDUsfw9ArOAJhAbI0WEAGO6hHFdqfCS+o7SiMkFNSNf068RVhbQh95HYnQxmgFJxjkEkwZClj2pgGdep4JDj1gvEJo9rCQhiVLQXUcrTxKHujpEJM33CHXhEIxgykY2qqjf9VA0sOKjzY6ptItujStHthbbikDs7S8AKUIxrPQEJlrCtobxa/NY/bIB1JXu1XCzaHYBv72I6xQO7S0CdcpLJ9OjfPY4ngwUb9/hW1//K0b684yV0hy5/CS9vQ0Wrj2toKdZe4TyiSHys5/Gkgjk1jz1Fak2NNHcAUzHIWq1VWVCzgqmdDdF8drbUlURPdzFMvIkGYEyVdHb+3S23sQon1KUZjL9CqzqWD5Rs676i+Qn1BY53L+nQFTCJdDTOcz0BboCg5L3pOZC5giqJtnYp7v6nFI42hM/g2HHxPe+TRDaMH4GUyooC1/DHTlJVHi/rFIJr/0pxunfItGbJAcLmOUJxbNJ3LRKe5m49Or3sHLjqi4QiJ3B7yhdV9vrUhqVr9Xi2MjP8viZMnbKUFKNsXyW59/Z4cZ+j+//8yPMjZos7eiKsK+5OcV58P0uhUKB3XXZOHgKFJfPZTAMk7ZYRxyH/mFxxYdUqhWyQr72EnL9WQYmsvzmP7vBYl0nrXWINJ1HzozwJ8/u8k8+kOUf/+NPcWdhnaLjEh1IEqaAMzRI0u5iZdL47Qa2XSZM2yrVl7cskkKBxMnTuPYyVqShD42hz14kXnxDDWlS3hZhXISj50j5u/IyKGNIt3qAb+qkZ8/Qe/dNDPkc802cyxdI7gp0NUMi7wXDwR0dp7l7QPr4LIX2Op/73H9jb9DidMFlu6uTtjyeW2jywJEc3/iTn2f7b39IkBrHnRvGTNm4i6u0sjqZmRMcPPNNssfPYp+/TPedV9R2OO0OoE0fobt8HaMTYZ69QuOdl8iU+tCH+2m/9wpaI8b91E+Tru7Qvv0O5uwZDDtDZ2uBqBZgjgxhLt/DePIKVr2jgHZJ5KN1uyQyDMhIAskikPORMAZCm1gir40DolYF99wjJCsr6CdPY4hvnhr5jktn7x6B72MOD5MeP6YueEaxn8R06C7cIPvYJ4nWVkhMD2t4RrGSumv3sWdHiOZvYgxP4vYN0Gn20CtV9IGS2qDHsUW4s44zcISDW6+Qtk0Cidw/9inCgw30xVvopx6mvbGAXhpVDm7BLFeCliL1c/ctrNNXiKv38SU+u7uKPX2cOKwTC5Du9iJOHBDOTmBue/irP8KcfVDRu8WwlDt1nrDaIs64xAcdum//EGtmAis/jNM3RjI5hV7ZRXvrB9RHjmGaLoWpKTqNCnG9QbS1Sjx+BFczcAKT3YXncDKDmFJxOHNZEfeNcobu9ibe2ib5C1cUy6P7+veJs2Ws6VM4Aq8rTLDz1/+J4txpFcuOWwHJxDBm3xz63l3ifEldrOLqlop4dxdv4BCQHj1B4FXouCXcQhEnm6O9uqHql9aRGey88IgqxF6P1tsvUX7qZ/G7bYLXXoBHHsP0pZ4zQkSI5krqdQdtehT31l3F6clMH6Xx9nsEmQz6mQtYSY7W+jvksjnydoHK9l1S55+gvbGKWdvB7Hl0Seg0u+QnJ9HEdtSpYB1/hGjnLtbYGYzuFrnzJ7n6zIs88hsv8788FJHrk8uzz9Ovt3jfrMZ3F2Mmcx1e+8GnWXruJu++u8P5yyewowYpt8zq4hJ+IkwbSbr2aO00mT49yfSx48zfuEmpWMSXlKUmTXiL/f0NRian6XXadOtN/BDOXb7I/Js38MMeAyNDtNotUlI77pqYOZOJMY1f+cIazy0GPHHSx8yXuXanh+H2ePLUKC+/scxzb/5HUrs1mrsJycQswd4SRnMZd+6ztNZewcwdVdapwIyVAUaLfVJujl5zRd0HRKNnVK/hmSXcjJxJYpKDeQXJpXAEf+c6limfxh7Z1BGi7CBhe0fp6GJJzWkafnYY++Cm4gno5YsE1RWMRDhgs4T719DLk/Q6Os7QsUMguhhz0kMqTRevX8OY+QQYddi/g5k/C90Nuivfxhy/hD78FN7adcxiFlvPEt79GtbkhwicmKjnY/SE+SPpsAqd+++SGb2EmR4SwTF6d1/FzokSQtfBkgpC2JOLmoIpG5lJdMfEq6/g9J1XZ5qkK0DznqrO2aGtaitiWIg7O7jumHqeyqJDjECG1iU0yoqKbwcGycAs8e5bmALHTTyV/BENsjX4IcKD60QbP8Se+ZS6ROtGlzh1nO7eG0KNwph4GLtRo+tV1HCAwYfUQEOzy0T7qwTRAWH1LtnBhxRs1o/TmMEGSdBR3A9JPRiGbP8zxK0tknxe1ac0S2p8NTV8I5VB6+k4WYNuraoqWL3a67iidM5K3Uk0zVU1/JCUvLD64vtPE8s5oXRGqd0FOiigdV0MRK0Kmmz0zQH0bEb9GWIj0uKEIPLUP2V7L9auePcN9PwEiTAk2m3iXBZL4K+FWZXgsFq79GThJvciSdI7Rez0EL24hSaVQr9C3JVlzzG0yo/+90TbeR1r+BNEWkJsVhS5kNquihLo6RTINifwCSRuLJF2V7oSW/iShsueAE0mkjqkZkkar6H3hKY9iScTGunKtxsk0S661Udompi2aDsMBSRwRT2X7ScIRaXURfc8NLqqxxDnx0h2JDEAxpBQFzUMb5NEYpqFUwpYJ9HfwAhw9EEiOQDLAGNXIA1los42llCd0+P4vjRUO4pyLW9W6da3Nt8ilysQy5vXqxLuvIt74ddUlFq0hK7E4f2GmEkVAVLGPEIdF8oiSQ9HjxHOX8pxaNx9DqNwBDu26Rl5zKFp9HagIlZ6b111RAPpnvZ8yBTVFMiorxEIsKN4ik5NOqE9HOmEbv6QjJDOtUgNSQyJihYn8e6LWu08ce86WuFh5XmVWkNS38JvreEOnSSWCG59hzhfxiKnDvpRbhazIR/oJpFUMjo7mKmjRJ37xLJl9SuK3C6bBhoyQZSt3QGxxJXM3CGNXCbSmokZuUS2RdxaJ5WfxhelYX0B3RpSkTqN2uHGzTvATvfRaW5jdnQCS6N/cgb6LH7tp/4R/8/36nz88SlS0R7Dw4Ps1TrcvVNh4IjD9WshH394gN/7yw/D7XeoX9slHhkm7+SIchNUll/GcYVSahBmR3H7JoibW/Tq69iiOfv/qZzSU+6aPnb1BqnsJL1IUgxCU+0jquxhllL09hZwi0exIlt13610WT2ktNom6288g+P0040TFedqLm0x/JHHSU08TLK5hJZxCXtNtPKDOFqbaO1NBckM/QPBZqE7U0rvIZMprVYj6juPmS4TbP4tVvFBIlMgLT/EzB8nMzrD3jvP0mxuYlkZkl4HtzxOdeMuxz75S4S1G3T3DuEwUeMuXelUDX8QitNE1VvE4ho3UDFLe+AsdNoEWgOzKlGmFlqrgT48RVALMfpT5CZD/uW/vMPv/Pk+HzxbYHo8zRtX60wfNdXP716lyq1bFTbf+z0yI6fwbr2IOZCnvdPEygzCQB7u7xKGVVJzTxHe/BaxRN4KJ8CTGJiPLdUcI00UNg9NDLV59P7H0XJjhAc3sDMzih0QNTcws+NgOmj1ZbT0OBROEstBf/8mbmGMxtpzpMeeUDUVrSdAq5qKTZOEWHZMUn6EpLJF0JpXwx7hbQhQq+V1lA7QHbuMv/Rd7MII4cCDaDId7iwQpEexUuMEsoHV2qRzR+ne+Spa+f1YqRJaZkB9QPnLf4E2+iRW/gShPAP9Gkm4p+Ji0veydIkz9uiGLk5SQWvcwJfnVOYYcWdLRcmd3ASa7K07GxgSO5OIut5C3/ohoSNdNwH0xMTNVcz+CfRYQKq3CHMPElkJxtr3lO9efLWSGLNaG5hCeZW4rxaoDbFc2hLR+gQHOHaWyD/A9zZxBEbUEz1QEVPX6R3MY2bH1OGa0MJNC5inTS/2MROTpHIde/AxNbGOmzeULzjJXkJr3cbbeAl76AGswije3jxW2iDpe1ClxKSPF7rT2P4OUUPUdZLQGj4E/knkLDdFaA+SshN6W69RaQfMXr6iBjLnT/4P1D2dfenTBqaKxT5xMsP93YABAYD5cK/SZqJocuFMP5/87Mf4sV/+KaL769x74dsUx2bUz8zKTJK4e7QX7mIVTbTcJJZohfBpey0MX+KCAZYMg5wceuLT279DLCYUW6buDUUJFvK5wMBEvRW3DrDlWdp3Wk3Sk14FPX+MpFtDNwVkN6qSEpq3TFCvUph9hNbOInbUods9wJSon/jND+7hk8N0sqS0GK9wkqT6OmFjg9TYFcLWDt3GDik9xMifwBdlVCrGrFcPPb+SxkhqONYhuFG2UKak0Mo2QfN1jjz4JX7qiQF2hOhf0Rgv6SxXQpwQ/uZ3JqnstiCXVgmmILFI5yzW7t8nZTs0m21OnDpGt9tVvUg9SFhZWmFsakqMjiwtLDIyNkjWyWDl08Sxz+D/52j/rf9rnVol4OKZDM+8VSNrBdzd0RjUDF556ddovblMr6tjlXME9YqyVURi7Glukz33GN5Lz6NPT+DKqL1eoVkVw0yEiA+M8x+Gd79NuFtXQ1hzcBLryBwHr36NvjMfRJcL7O4CtmGQNHXilEbcO8AtDhPYJeJ94b0YRH6khm9OzkAbmCW6M09Htnuhw8BTR/n6H7/Cb/6XBX7lJ46ysVojsQL6CwW+8+oab33rJ+gtNdW5p93qYY6U8e8ugYCTs0WiO++SGi4q8FXk5AmkDrW6jXXhMt78S6RGThMfmcKtbtC6vw6ZnNrmpqZO46+twfQM3Wf/K9kHPkpgmzhr83THT1MYHKJ684c45bPEu2sqRmyUhmktXiN3+Sn8m9cxnB5hLFuhUFUfUsfO0HvtWayjp9EGctSf+w5m7GKXSrgDA9RvXMV9/JOYQjhanCc9Okv7xb8lNTyNM3lWEc/jdp2OAKYufBBNIvVLNygMHYGxafz566rSaJ39IO3VO+g7CxinHkLf3qFXuYdRHMIZP0p9/ir52fP0WgdYYn5yc7iibKzuYza2YPqCYj0IzNd//QWsE3NEQ7PEd+dJTUolK6C+ukR+oB9jUFg6PVhdQZ89jdfuYMjlbOYs8doN9MwonbiBsbOGOXlJMQXilZsYmT6lMqV3oAC/6WKR/a0dhh58CmNoBO97f0onM0e24BKWCiqum05Q+kUZoscCW4002vev42qhApG2K12s8hBxdw86LewP/CT25ga1G6+RHxxBP34Rr9shOzBE9fXvYw5MYvUNEVspeitvHZ4jLVNB7iIzT+32q+RnTtPND+J0ezQWX8HYaZG9eJnWyttoY+fpGx+ns/AWFEsEWRn4Z+htzpPuH6S+u0KqbwAW1vDLfaTLRRoHPVL5gP6+KbSzF+D+OySbG2hnHiGwDKyDDYKdPVrWIFanSntxkW7sYLsBmh/Q9XzyZ57A21nAbtWxi3KO8/FaB2QuXMDSHYz7qwTCdpib5KUfrfCFP1+nPOYzXj7soC+vbPHQhMNr+zHvLrW5+99O0qjbNHaqSg3Z8zuMGA4vvPEeE0f66B8ZQVa8dX3dAAAgAElEQVS4geext7HNqQfPc7C3S6vRYXCoTL1eI5JQnGtzsH9wyIMJfdalPpLNM3pkkMpulWMnjnFQrWCJGaWvwP3bqywuV/jMLz7C7/7+K/zrr8V8/oN5bq51yabhfXOTvHxrnut3HVaX/h30dCobS5j5c1h6nkQsX/660sJp3XtEAkeVz7OMgxt26PQCHNPBl894+fyQNLPfxt9+Cbt4STEZZFlnjV1RZHuqS+i5YQUj1WXz7g5jiP40CklKUzidGlHUACHsJ22SQCfUOqQErmtESg1oGDpxewc0uStFmPnT0Kjy/7L03mF6ned95n361+v0CswMOkASINgliqIoibYkSrKlyI5bspvLyVq768T2xmmbdq2tOIm9a2/stb0ul8s6diRZorosUqJYRbABRAdmML1/8/Vy+tk8L/w/Cwbzfee87/P8fvftNl7DrJ5U8N94/zZmtUjU00gNVQm7A3q1JVKlIbykhyV3mMo9IPcHs6gA1FF9FTMJCawY2xpV9hhv6xIpGZYLiz03pCoHtiSitRyJVBUiqQv4JFoRK1dVxp/I65IqVJViWCmBRQ/cuY059JC62PZ8aWD5xAd30KW6qVfwi/ej5YoYYZM4lYPuEpbnE2RnSPW2CKQeJMvO3BD9zbcwCxMq1s/uSwgjP52bwdJSuLIEMzQ8GSqaMXG3qQDpfhxjmAU0UWjuvg0jR0gFA5VWTyRtLcC/vg+WLKhN9MZtgkEPc/w+EL5B7xZ+ZKgBjrB3knSeRDr2rmiRbWJvk0Rgr2PvxZEquCQqzQKJVDmyBfKlU7iDAXpaYMIaujtQ91apuyeVERLNIdl6i0SiBKUTmL3bCixKKoMlZ2O3TTBoYJlVvKQD7T1Sh0Wp+w76yP3KriCsBa14jKR2g5AcVnlCnVViK4Up+kSpLrT3McceVSBypcvuvfWfktgz8AUc5a0QiS+yPEKwKyC7lIrKC+RKoqem5eOFJoYA+CwLY7BDXyL55IgrUyrmZgusX7b7zTX8sKXgX1EQ0g8j0vlJdHFWy1+0KR5s6b0dIdhbw6JHUjykCJa2OUIgWoStt7BHTxI7xbvgiYOLJEYJozBEWF/HzI3cBYr5LZLmbfSR44QbNzHtPsbwY4ocL05pWyIWZoIx+YTqwYbtVQVyCAQuJtTG0lnV5QxXv4oxdi+2FdHbuYY19ZCKV0RCm6w+iKn31fY9FCSDJv3mrEoBCPDMri4oF6lMjPTMBKZlEtavYZhFgtot1ZN3Zp9EH+yquHxkVNTmh4b0dVMkubSK5RrOKSKRj7a3SOIIM18ikMnb5msEdonU9PuId68ROQ6WlSP2OuiWOEqz2GEbv3N3e2lVD+N2tjGdEgwC4vgAQyAVlVNqYqd7AfHEUeUZF7Cjlp9WsEZ1oRV7gsSTUiX09jaJKD6sKbVpEE2WbPgCATqOnCZ22/Rri+RmHiVo3gAy6IUZlTwQaGBq+HEa+1vYndtkSrPoxQrOaIknH/4UV28GfOr9I1xabICVpiIk5KDFyWNlfu9LNf75p23+1W/8GGwu01jeVFTMKGdTKs/RlAhkpofXCAmGJkgPHcLo1QjcHbyDLnZ1HEMearVlUrPP4DffVH8fxeGzRN0lPC2FOXyfSjEYrXXERpykxmBvCSoTWEfeR/OL/xc9M4eTdQhabXoHPeyhmPn3/B0FytQMYSi8qyothmwJO00CrQ56EbtQxW8IiG9BbRJ19ybW2IcInQxabxG3LRRUU1kodIG0TT5K85U/xxPKsMT5rTR20aGxtMrhD32UcO1dNEldpG0iUZGkDqONTMDq9zHtCtrYPaqGI/70SGji5SqJNY9TLqJ7W7S3rhB4KfWQLJ+dYevyJpN/9xIfP53i6MlRGk2DRttlLO3j6Q5/8vw6X/rtn+AjP/UMtVf+Aj19nDiTx+q28VOjlEaPMJCD3eYLGLH0NzPIQNiZPIPf3sc6uExYnUUXkrt01SMDI+nht2vow4cwBg387KG7yr+4TpSexlRaGvm8Danfo2EXMfPTxAfLaN1LCrYmG3PprfYb17DUIFFXiQ0/qGEEHrFQ3+c+oewBXmeHlO0StOqqixf3ryHrAiHBJpKS2F9Ey46pTaruyIVjAt2x0dsbeOKUFbBSeR7T2yew0nh6hXR/i9BvQG5URIUkgXB7G3gHEueSM4yLlT5EkC5htVcJ5aU6Mo9Wuo9B/RLZbF6SnWqLHsr/I11C68hnO61qNQIGTckFXYCe7XUcUyPJz6nNpRlDaAhtXC6g4qEtEQvsrnMVPbegFFzE8pKw1c8WjZ3GxlQgQdEqaZ114kFbqWyN3EkVc8PtEpWPKdOJKb3ycBeyxwmiXQwZmpoZ5T82oh52sUQggLpY6r5Nkr4LlbMY7iqJNyApzaqfRQalcWoMs7+tYpBRuoohqYT6GokcCBwLLTuFni1RmJ4k7G7wwPxnacQ9fuZD4+z3KrheR6U+Gh2fQTyEYbkcny1w5U6NYi5ka7XDxY2IZ85W+LNv/zpR/hDRzau0Nt8gNfaAqgckgiV0qoqCq9cuEmTHIc6RMvr4sY5lJqprH/S7ZJDuYAciG5Iaeu6kGooKR0U6d9Kni4I8MQfQ38Acfg9Jf0Vt53UZviAGFRO9tYI+cVbFHdOGT9xYph8PyEz+KGw8C+U0kXEKS9RuwSpJ6TD69nWoHFakeHP3BnEujV49B50NQiFvi7JMtI6yXezLsDavDmyyxZBIZ5K4mO4+fT3D8GO/wY+cE32UpcjCQTTgdqOtmAWX/88z9Lshd1Y6GJbAljT2Njc4fGiWI2eOcvPdm2xtrHHk6BH8OOHOzduMjo8wd+wY21trVKpVus2OAnN1eh5HFqYZmUjx4//7LTKxTXrYwtBNnjo6wbMXVrm9VuetS79B77VXaTR6VCYnGfQOVE85XRAjxjrJzDTJ4lWyD78HPXOI/b/+LYYefAztPT9CuLVI/O5F/LEq+fEJkjBHtHaZdndAaXKaoPe3EEi3id7q4pkp0o9+GC6/xqDfxDj3BN73v0Q8iCk/9iR+XZ65IUifc3+FODFpRvvMPfYRVi68zrl/8FWeeWJUDdN2N2OKep/P3zBwX/hp7Pwwm8+9oM4Wmp9CmxgnNXsS763n0HOjBJqL0e+hLZzE8SP2v/81nKFhsscfwGvuYIRy7tghd+YJdSaJa3fU+SHeW0RfeAT8mN7l7zA8c4quLDzCHgxP0t/bJTs8TbR/k/7aLqVP/H3CrRWVzEs2ltEqJYyei6sPsNJFBit3MIIB9oMfJhU08LZ2CHQN96BGplxWwylr+j7snIbnJySby5hOjHnqKfzta+iSbpGqTG0Nf2UVV8ZVQxME4wukBEpb34Vunc73XiB3/jypM48RSDKvWcfPFylNn6R18/uYEkHNTDNobVM4/SDdK98kO3cfcbtP99ZbiqukuXWsc08Sri1ibm2QeuS97P/V/0Ny5GGGqmn1fjGqhwk3N9FsebY3IWNDegR3e53S8Bjx6Aj6oE/Qk3NQlqi+wqDeVsT4wgNn6b74PAEOuXvuJ96tYWRi/L19Uqfvx+1HeFs30G8vkpw4S+XIAgevv0C6OowexZgnHyLYWERvrSuuRxI7hFpAWtcIuj168vucO47udtHLs3iblyFbwEjnCJu7BJu7OIdPYBw+hdNuKh2ZUR3CXbpNIFaUI2dofv+rlCam1OfG63fR1q7dTcksnKLx4tdIH14gZWfpCdRY+BNGkdjUcUpDhBt38CKP4olHiAeLtN5dY/KJD+KZHs7aZcKhMd74+lV+9Y+vcKETMFmF0XyOkyMFHpuVd4LHx3/u09hZURyu4e7UyI0ep31wFX1fSOQGgdQldY1UZYioWSPRTDJGjr6Q6s++hyRY5cmf+xZlP6RQrnB1a4/Hj5WpN3RmJjT+y/dqvPmfjzN7ZIrXXr1MVoNCoURhOM+Na8vMzo6oZV9v0MdxHGVskUHk6uIqx+49pt7XG8IkKZdEJMzOwS5z8wvs7u0xOT7Jwc4Wk7PztGXjb+vcubNOt9Vk7vhR9vYOmBoZUc+L6SGLvWbIh35nnw/OZLiy1mRqOE069rnRiLm6NKBV/wMMcxLvwrfwM5ZapAQHB/jdt7ClwmWksatzxN07BFEBpzSunpNp94BB527aL5KzWBwxqL9NWjTilfvRWwIH3sMcuY+41SGRmqTUiAMPe9BEprGaOY8myQ1TLqUS14/QfRdHkoi9Bj1JpWVkuXcZuzCLbpbUEiQ0RzGMBjEVdO+AsLWEOXaOUPTr3opaHgonRO82SKJdLLGn9WKsdAZfnoWWjUGGWKoMbockNa6Ayp4YrepvEImacug41JYILNEfF4l1X6UZpX5pyGS4ewetdFJttOUupmnCGAvQJDEc9YkTIfBLRP4kkSj8+k3CzAiW1sc1i6R7SwTZOZXGHNz8GvbEQ+pC7NcX1dZbvu+KfyQqb69OYBWx4gG+u0bQ2iFTfZzYOsCwq7h7b6IZ4zgzj6BtvoqbqpDSHGJNZH5ddEMU8rL07EHjMlp+gaS5iDP2IIG3QSIAZHsEXy7whUMQ9hV7TYt7RIMUerVCLBV2ORe014gEQJ0RMPyaUmzGbR3aV4iL4+ipcTSpA4nyVOwLgwOMTIVBEJEO68SRgOAHWF6PQIZ1kY7ZXYPshFK5k85h9tu47T1sK6eWUXHnHfTh96F5Yo67QUxJqcbFfmVmxHbVwm+8i50aJSlMKKB7IH9vMnTNzKnPWKLOuLtEshg8uPDridAQk26dQdRWMQiJ0puapQ6XArwJvQBbtsEpE982MDt14pVvEB35JFa/iy8bwe4+diqHJ+otOdgKVdEKCTwNKz9DLBtR3yLIpdF23lYxV0OmIm6bqPkGulnBEFt4efouhK61j14ZVhHOOA6JxQPZ3cFuLJOM3U9oO+i1d0lK54kNl3jvdayJpzH23sFtXCJz9McJu1tqQxP3N9GmPkysJRhuHcMpEwsMzMrh92o4YUhfNA/SxSmcQO/VCXUNUjYM9nHMIQXPCbWy6rsa/gF2Lo8/kEldicQWx7SH1lohFsGsIXhC6WtkSQX76pKiaQW8UHp0OZK4Q+JMKWp0NldlIGCMWNzTozDwSWdMPNLqhaYFLfzUEI7bwe3ukqqMqM1Pv7tLevwMcasJeVE4StReQF+JivEaAprwmwRuB8tvYg6doNtcx8joOHaVpLmmpAhCYxY6tVws425NqV5kM6ulpNHvYyJdJjmshljpkDgqKiK1EXYh6BD2XMzqUQZen6T+qtKeWHIJ7dwmzsgFUEALFWwh3XsDWgfLFM6exTFNzp/6Cby+zsc+UMJ2Q96pxaqDd2qhQG/gsrjiMpYM+JOXf4z42g6NzSvYzjye7zM0d5hgZwm9HzOwQlKHniLaeAm3toU1PAej50h23iDudTAOfxijcZkwaWMX78UXC0C6jJmdIW7fIRLNWCV7l8WwLcOAVVIP/SLBtW+w9MIFSqcXSLpNur0exqDHwid+kmB9GbtyGE+i580NBkGNTHVeKUKS8hiGbLE33yA+8mmMtefpug3SlTk1DdZKQzjpPJp1jIF7QDoXqE767b/8N+QLk+gpi0SXiR3QrjP20U/gL97Eloh86yqGxMLmP6488LEkdXpdfH+D/NQH8HsbGBIxTFK0Vp+jeuZj7N1YJD0sscYmPd2mPH+In/0H3+S5q30+8cQZ9jeWSGdL1N0Os9Uyf/mdO5w+XuDbb79G++LfkCRtjEGXJD2BnTuBX3uBzt4KxRnpP2sKzOnaVfWwN+wMRqRjmKINkgm16AI1/H4X3ZYXhsTlEwXl1DQbbfw+pZGMZSM98iBRaN2NL0olQJz0pq0IqJLcUS8XccI7E4Tbr+GaGbJDMiCsqIGj7W6gF0/g+T1sW+xlWaJ4oCa0kYRNBUR6cB3cHvbkwwpQZWm62twbvksgpNTuJmk3IizOoIX7CiSjC6W1H8HUOaykpwY8os3U5GIWiVdawFdTqkokbAeDgMgZVbWdqLulGBTO+BmlQJX0ggwA9bBJlJKh0RKGWcIYvR9/8SuQrWKPnFSqUyHt2pZsTWuE/dvYpfPKP6y3rqAnKUJJAOVG0agoM0mcPYSeyRGsX0B3+pil82iuR+g1SORFlB5VA6846mGkhgm6AmftKVuE2AoMASp6CbrlY8nv2d0jbonPukgqexx3sE7kDzC0RHEmIrE3BBGh9Nizo0RRqKiz8hwVy4N8B5IoIeqKQlZAhBGB1yLjlBRRevzcPSy9/j0e+ZmvkKQ0HqhYnL/vGEvb2+o7Pj2S5oEz03zujy7gWyk+ct8wK9tt6r2QQirNcMHmGy9vceqQxa/9589y70f/Lnr9Et3FTRLEJbyh6M1C5hdtThylFIAxl8rQszQBdisvsIASddPDjwIysvHfeotw6CGM9jV8PYVZPaIOLbHfwXKyeK1V0uPnSaS3aI8QCNC1dV2BHGUyn5QniLv7KiGRGBLb21TeZdH2Bf0Blta7C63tbypQqQAdNYlPi8PbMhV9ONJdVUUQyJAlPUk7rWpzEukL4546qGqZgoo4+htXKT32w6xffp373vOv+ORTx1jZ2cUJ5XfZJwrS3NhOuPBrI2wfuNQjmyNzY+zcuoPbEONAiur4kNpuCFv4oFEj9AOVbJNtqK3b9PodypVh7txa5OQ9xzhodShlcpSHPP6n/2OXPcNkzPRZrgfYpsbhbJY/v9yk/6W/hxG77Oy6xLuXlepXm5nBcAa0Li9SnJ7E67qEm9exF87R21okP38MXeCsQxW8H7xEVJbN5qSItbDmj9B/6cuYY/epDVmUGDgjh/FXLtJ/901KT/0I7f09zLXralssBWlz9ox6FsTvfkF9LwtnZCi9iGWauLsbTL/nAyx/6/M88ssXee/DZejESgV8ZsHhwuWmAtx+/eu/RLh0QOfGHZr9PlOnHyAx2my/8CrpkRFS40fV97xdX6F66Cw0uoSmh33v+/EX34DtDZX+0WfnCOWSFztqi19/8eukC0PoR0+ri70p8M3pOQYb1wnqbbR8kczho/irV8mXZqktX0RzCpQOn6Qv9hW/iXfQpPTeZ3D3t+Dyd7De/xNob72Eb2sYQpeXC96gQ7h+h+yZcwx21tQixDn2GGFjgFe7jiY1oW6CZnRV+ije3sWYmkTPDqNv3cacWWBw0CI2Y/RunajVI33uvbjbyyTX3iH30Ps5uHqF7HCJpDKmkhyS4HEjDat9oOo6Xjqtnpe5bI7++i01uLKOP0J8+x38fkTugQ+R9HdJJKUlzI3aJsax+/HffAt/+TWK59+HNXmO9upV4jsXlBIvXhEGQRf7iY+heS3cN76CObKAdfR+9IMNEs8jNNNY88fx3vw+9GrqO22Nim62hBkPCNo+4c519KOnKGTGaN94mcwjz+DdeIskV8SO+wQ7+2hT40T7uzipLJGRUrRuZ+oIrZsXGOxuMfzQB/DeeR6Eun3mDPQ8Wi9/Bac4hnP8PrzlKyQC5jwyx8HyJk4uh3PiAQL5950s5fKYutS1127ijMwSLC+TPnyaIF8l7K2RtPpYuvBurlN58HFa23Vsc5M4nINhjdGJeaVA+8azL/Lb39ul2/DY8TUW5vLYjk6r7XNuxOD7i0222xazpTQL4/CffvljjDxwis6zX6RbqxNX5hmamqS7vog+VKF46GH6K9fYvbPMRCWHG2rY1SFKDx3nlz77H/nmD9rMVIuUKxHrAzhsy6DB4OurEfk45vW/Ps3Sq6tstyOKVpGDbk09O/zYY2RySnXWhffda3eIvIhsLsNBp0mlWGJva5u5Iwu89vIbTE9VyY2OMzUxw876Bv3eAL/roqUjvIHHydOn2dnbYf3qOpmhLIaAWm2QFvHjHzjJSy9f5v3/vsZnf2iUN2/U6McGZ2YrnJyq8Cufv847f/QLLPzdZ9h/87skzW1lrrFHKhi5x3D3X8KMm+jVR6B7EaLq3Zpz4wqRfK/tCCt3UilzhQPnCQjOr2HkRLe2i8hoEtGC9nZJwoGqJ1q5Q0rT5qGTHjuBLpDmjTcw8tM4efHPe2jCp5DxrYCVxVcuZH2/RVyYQvNdsPPKGS/nbat6+i6hXhKKzXVlipF7iCg3DUlatxaVmcCafQz6DbT+GmF6AVPTiXZeVWwAZ1zOGHIe6ijoZxjl1fA91OTMInmDjlrcOpUZxfmJW0vqZ7CqZ+kG22R6NbRMGU8bxopbiuWj26W7fXtfw+wu3j3PFQ5hZ4cJfJf+9ndxrHH0iQeJ27Kc7KBnpTYhSu3XMO0qgb9P3N7GHL4XM27R3XiN9MiHVKrCibv0pS4uf8emhaXqzGkFZpSlr4CP9cEGsVVWJoXELqK7TTRPbC9SpW9hVk7g7l7FFHZZZZ6kt4MpMOJQrGdFdEcjjm1Cr4Ue+jglGZJMYQhbzl8jlvON6A/TFUxT9KHv4BkBttS4nXGiTJmk+5bsbggFDK156PYosZxvRdne3cEqTqP1PTk9ous6mmVCb196jESJg9VeJK7co84hkg6w5N3f3cDMTOKYHQbZU+jtdXR5NlmihNwjkSVjeZKk18DdfwWt+ujdO193F73XQGu/+itJYqVV5FsPxC1pkyw8TVzfUIfUJFvF6i3Rb+0okJGZyxFIn7WziqOIhp669Br2ELqRECU6gWg6pFfie1jiXdx9Dk10VrkjJP1trMDDk0uk9PG0gDiRmKMoNNaUTkKodlooL5k94tIpTMPH2r1IlB8mKt+D7vdJ5CAtwAfbwSydxdDa9Ptt7FyZWA5hEp2wiwReF01I+L0tTE1DD2N8ReSUPnAev9NQSieJFpsS+5AXoVFScSSJOkUCXvBF67ZOulBRXapk0MasPoDbeQNj7QLW/I8SCEwr3sRIqsphq3e3CIICmjqAHaCLT16I0fJ5kw2illGbJi19mFighINdNDmktlcIgxgjU1Jx1LDfxhJdh5C/VURKoHxjasgSutuylkJv3iDQK+jj59TDIOxt4MhGOhRW4ABXDpimhuHHRA2JSM+j5w6pS4w8MOJciSSQC5Kn1I/u5tswPIVpjJAETXRRrEgv2hlDC5uKYiswE6Fc65aB7+1hDQZQPY6uT+DvfgkNG338R4gbL0GSw87KZqVDmMif26P84BMk7VXed+rTygj36MP38s6lO4wVUkzPGJwcr/LNaw3+64ubfPR0ni8/96NE1/bZeOklyifmOFjaoDQ8gjM0S5g0CTcuqv5udvoe3N1V9FyBTGEOL1dVisS+1yFrufjSw0321QBGE4emLpfSWGmehM5sHn1SVVBipjD717j99a9SXhBWgEavaxDVbjP31KeIKvMMrn8RI4xwzvwj/PUXMQQysvR5NfxyDn8Kb+WPsU7/S6zu2yolkSlkGUTj6O4mWqqCVl0gOdjCMrsE2Sq15/4MyyorqOZAVG2y0PXrHHrm5+jfvEAgRPGxEyTFcxjy4PV3MA2NoHQCvXkLe+Q47vUXsCeP4FZPY7Q3iHdvkp6fwb22jdwT80/fy+//D9/iH//xIk/fP0Q/OGBrJ8VPfmSGnZ0d/vrVPjtSIbv1+2TyVXpb1zDEDyuDOv0AGFb6NNnqSwpEDrVC2Ke+jJ4eIgpdEnmb20XFyggbl1XXSBgA/c2XccYfVjUd2ToE3S00PY8WipZvjdT4WdWTM+WC4xTxoqyCaFoSddOElbGPUxgnsqX72gP5LAUuZhxiS5KnW8cbrKOlpxT4MuguY0p8yyyARPQywl/oY/caIJczLEWdlstBMtjCyU6p7mmy/wJW4RBaapo46uM3F8loBn7UxS4uEOcn0Tqr+PLBTWylmgn9TYzcYQX/EX2L9DaT/CiWYxFHEY5svjUbz13HEK2N31PT80AuiJIOqdyL3rhC7K6jDz2u4J9+bx3NLBI7hbtwRHOYePtrGLnT6oUVb34XbeiUqihEoUQBD6nhX9Jr4sY1zLCnoJc+AXFqBkc+6+IikTSXvPjkBhyliW2NuL+HkZlVKYq+1ACIoLeK4bdJhs9i4hMJMMi2CYTeK4NSK48f9jBiU1F4hdQexeI7dpU3WSU16jWs4iRR46qK4zqjZ+ktf5mcHmA88LM8dPosK9d1fvHT4zQ8g//67RV+/jPzLG4eoPUdHjld5ls3G0rF09mNSRcj9VK+tNrk771PgEXjfOvFi1xYC/m9X34fP/O5X8Hf3SHcW8YbbKHHE8Ceqp31XI1cPkdv4yJO9RhOOkO/taKSZEHzmtq4GHOfIRZrQ3eDpLeGMfak1KwJO/s4TpagXyfxt4ntaRxHV/3jKNokicexCg5WINKbRZJcCit1RPEh5PMuzwn5TkhKju4OocQ8MwsYf+t/Fh6C8Bhiif5LDSR0iSUKlMriCMS2u6fimmKMiMO7akQjrIGYRsqTZE8eZ/Gvfo8nf/H7PHXCpKfnuHqtydMPFDhoezz3tsfScw+jd2O++9U3GBmvMDI8wuKdRdL5MrOz49y+cRPf85k9PEetdsDU4Rksy+Ha229TqpSVwkkUPkNDJbTEZq++xf0fOsyv/NoNvnzBZ6Io0RCT00cK1Pe6/OmrXTZ+8wGyx+ZpbsY4YokQkGLeJBk+Qn9nR/EpUpPz9F//Hp4c5gyd/On3U3vta2Smj6JXp/Ek1nnrbYyF0yT769inniTcfheuXCTz5E8RLb+CW51QxiBHS2Md3MKT5/M7rxLubpN+5Dz64jKDnIHjjNDduE66WCZTHmF/6TaHhQdQGeLI//gVHj+Zoe366p370KESF28e8NyNNs+Ma/zpy/+B1kvX8FYvUhg/Ra0UkHV1guXrBGaOzGMPkqxsEUsKrB3KSQLL9TBHp/Bqd8AaUr7u6vwC7XpXHX6zeUm1ZbA8m/7GbXS5tGOr6mCST+OkShjpMdy1i+zc+AFH738Ic/RetpbfIZXLYvgBRtpGKwzRv71CenZSqfqiV76CMX6ISC5Ic4fICHwu6CkwMrcuYeQdGh2X8uwk/opOTvIAACAASURBVG5DwTMzx87iXnwVI07weg3M6rjS0MWORcowiBVQ2ITyGNahk3c77Mu31CAQifiXinh7WxhjUwwWr6ONTlCQHrtYC9IVgtXbmPPHsIpVehvbavsZy7Y95WBsLtG7fgX7PT+EGbtoq7fxBLo4cNWlOxFbQatBVij4oYlz4mGyekJt8QqO8KWcNMbcWYKtK5hSudi4RBjaDNwWtp0le/JeGn/zLJmRIZh/gFylzOD6BeJmG3OszGBvC3N4BksqHbur6ueR07oo+LxOm/TEpAKbeTeu4XptzKGcoo/njz9A7+LrhE5A+f6nqb/2NRyleE5IP/YJon6DQGwMqRT+mrAd+uQe+QjawSL1mxfIn/+wOuc6iUUv9DGLIwxuv03m0EmMg10iiSy3azhjo3RrfZyUQ7h6Uxk6Rj/+aZAhwFwZZ3eZ/nqDn/733+WLGxaHh2MeOTmm6jTnj1Ro1PbYr5nkRiwFdB4vj5DWPD737IZKn/zz9xX5Z3/0b4g2Vmku3aHblhSFR7p6kiRjY0V12lt9MjlTbW4L7znNhd99lp/6AzFYwPnZEtWSTjewaQ3glav7zE3mePl3T/LO85epazM8+fg0izcF2jqnNvf13QZDUwKcbdNtt6gMj1Db2qdQKnD01HEuvvEGhXwOI5ujvlWTexDnHn+MN154iUKpimEb7G1tcv/9Z3nnrUtEccjkzCG1eEhncjiOrZJO6yt7HFoos7Xn88g/WeZjJ20oplla7ZHTXKbGKzz75j6f+1/v5R/9i1+j/s7zWPksgUTH965gyzMlN8ng4DZGOkNmTACAAeH+ywSpOVLVOTWAEICr3pV3sY5dOE4SCzxzHUPqviWBzHpYQV0pcsNBHz2yiU2wkuDuPSWwcCZPE/RuEEYZUvQUpDrSpEos9yUBJSckjUUojWHIv6+nIPIwddntGhhyJom2cQ9WcQrzWNEAXyxATWFAhepdJ9A/ud9IhTtTGFUgWcuqKqWdpOZEP+51txQQXi7Ywp8JnTxJ9zZhe4/s0Bl8gYILiNXQiA9uQVHONHWiXgs9ZWNk55Su3YjtuylHNJL9K0Slw5iijqzdwpQ4vZOD9CFY+w5RvohdeQjNa+BtP0+SP4be2ydJFzCsuwkH0lUiZ4I4WMW0C/haQrR3jWzpuGT4iLQ8lt4nklSqgPaEtdZeFW0SVI/gNUTLC6nhswT7b6nveRKV0bwDDK1LRAEqx9CkHt3eIMyNY4kiNAwVuFHw+aGcFYpn0FNZ9FiWGh5W5BN0bqPlDmNbmvrno14f2/aIUlIlamGm5tTFXpLhSDU8Nasgh3rpQcL2ZZJwE8OZw2zeIJZKaLGsqvVxboRk8yWonsUMu7irz2HnJtAnz6m7qAD+dD/Bl9SSHEDSQxh+Fy3y8YWHl7hkZNgiaGRh9ikD3xkcqTrX3/zVxEgiIrn0ylQoVULr76hLlZM7piKImrrgDxP26xj123d77aI78vuEnqv6kKnZx3F3X1JwDD3ooY/ej7t7EWv4tFJTJa1VRfMV40DgrqkPr3iyvd4BmYkniWTzsv4tMjJFG5pU2imvt40ebiglB+4AvThHLNqFWBzuJaS6oNVeh8IckZXFrP2ApPQAofwZzBBNelrpiopH6ELblws0AttIqZ5rmPjonQ3Vm4g0F9OrI0Uj8U6Gfl99af29S0pfZlnCvyii771Mv7mKM/IoiTOM4W9AJAezEUJbwDXXYPL96DJsGGwTiSXB9dGTOqHos8Q3L1tMCfkkOQwhPovDO+irlEXYWVW9M1FHiEteFzCXbKekb5WegeHjWFFXwdY8cWgOP6imVZFgwe1hlQ7QW8vEuQmsyln8neexinNqo+PQwjWnMKMN/IFLOpdVfTrpssd+Crt/h1guOJGBJsqQ5m3VFYnSMmGK8RrbinopW7BB7SpOelhNsEytROTu4Xrr5Mbez8DvE/sHOKJCFHpmLkVjf5XC0CSJqGZqe5jjY5SPHqe/uEL+1D9muBDykx89wfdfWqGS1yUVxtGFNIEX8oXvNHniTIovvfIZwp1l4uUijaXLjD54P4Otq7gtX030mP8gGdMljh383SsYpSN4688rVaLz4C+Q7F0mSQR4so2RKqsWih8ESt/Rbe1TmHqUPn1s18XOFNFTHtee/Sr20BTFvEFnr4/f36N8+BiVJ36G+ObX0QXfU7gfo/sdVf3wB2k06c9mLGJXJzP6Pvqb30FzLAyJ1vjyd71GlJVe0S7R6BDW/j5mboy9d19RYEG5GGqW6CuFczBg+pP/DG/3NbSBhmaOYwZLioprp+cIWi8QtgNsMXBUBY64oTRKSXpadfQE9hHmC+SzY2SPTHDl+at85JcXefLho9imbIATdutCw7Ypp2x+6xu3+PqvfZinf+m32H3uzygMCa1WgGNFosGKcpIao8dxzUns5gv40ZBStQiLI4o0NSgJ24uY6TE0TabO19S0Vyk9m7sKJBq1bqKV5pQrNhlso1Xfi6VvoXVauIGBXplSRo2gs0Zq+sfQwg38RBz1bbW1N40cXm8TS8sTmL5KCUUSa/JaBM0mmeGTalsYdK6hicoylD+XBJ5FPzeOI7HvsI0uoJc4Qht4Cubky39z5CHoLxMfLBINvx8rWFM9VU3LYPW3GJg5UvoQrhDngz56LqP+v2FoEjZfx5z9UXUI0OUlPXwvcRQoYrsu8U7ReDrT0F1GL44QNm+RTY8pZoTvTGBlDxFJ7DvcIFM5h9fbwm6t4hcn0WTYk5og8ATk5xClhCY7SeweEPXuYEgnrr5213k79H5F/NeaV0mGTt3lefRrqr4kTBTXHSBrCvHcR/uXMUZOKCVV4uhoBYmxramLnkRR7U6dvhWqSK0pNH6hF/vraJ5c5ubVc0JSNCQZNEPihJ5y4XrtW3fNLv4mpjOO41h47b4aIMV6k9K9j3LlO8/y6Gf+gF/67Ht45fm3efrJOb77ygpD2SLP3ejQr7dpgnI/P3jUYLneZFbP8tTZw3zjxooias8eKhInWba293j15oBHTuX55jd/W/Xfaq9+HUsuhROncOur6F2FtCJOWyT2KZJYlJGLROlTCqaKk8LMDJNsfZvQOkRq9inC3qpinETmEKaewQsPSGdH6LsuupXG8Bsq6igpMp8DjPxZQjkktG9hNbcJEh2rvCCnPJIgJpH/d18YN527QyCthTn0OH53CztukGSOqI2sVagofY9ppgn0FJHAMKViog+TpMcwvNu43Q3sVIHQS1E+9yR/9Ll/yv/8K6/xw/elFXOmM/DJyaBdC2jXA77wH8a5/PoBsWxLihZDVkJ+fAxv0GNrYxuv3uVeucRqMavLq1imRb5YUBs5UQNKt9QwhRjf46AtAK8U9z44xZ9+foN//ed7PHOuyobURtyYU+MZvnUn5P/95BDnP/kJGkLEv/8srZu3SC69DWmfdGFG+dUlSpN78kdJOzGt11/EGTtJP9ihUJrC213HnD1C7+qraJ5J9vhJ9IX7iNbvKHBSmDFxNhfp7rfIPvBR0gWLnVe+QWr+BMWhCQZ7iySZUZUEy555BH9rnXD7BtrwCHp9gBbo9Fs3GDl5L7/7397huR+sq2jw8k6DMydGWF5q8fDDZ/nat1/m3LEi//HffgT9oMXmbpup2dPsCtBufIbs1hL1do9Udgh79jidjXXS+TSmNqAvrI9unyiXxu718DWXnPRpwwRTky7+NdKzC/jrAjcewZw4jJYxiOox/e4qeUlATMwwWNpQsMQ4cLHjFN21N2hfXST/nqdJpWwi2eoTs3XtB1Rmjiiid0rvEuSzdJ77G/Lv+6gawPib19BG5tFF3zxUUapj7d3vKiiXffwEyfYq2tQ07muvkDlxDxRHaF99jdzoCHZpjGRyFvfSq4TX3yD9+EeVSUQUeUG3RRL3yGcmCASUpVuEvRZa4GOeeoBgdYnw1stoE8cof/gnaNy8QCbW6C5eIjU2iXn4PPreFp0bP8BtHTBy/oN3HetDVaWH7a6vqSqnJQPgqAsTs7B5m7A0Qry8gTE+TOrkA3hvvYJRcNSF3l26hZOxSLLDKk3nxj11OXQbHexKmW5ti/T4BLaexxmdpXPh2zhHH8aXIbFfQ3ekomdijhyle/NtlfapHjqGNXqU+sEO4cZb5DSH9L0P425t4Snvdg53bwkzDFSiUi6P+tg4TrVC88ZFHElhNdvq4mZJvULObtc2YEF87r56/8WhPKeyWFK3qO2QHlpQ6knXH1Cdnqbx5tuKcD/xwQ+g/3fryL/4377B99YHnJibpJANOTJd5eU3t+gGOqt7B5w6VqFk6yyv9ZkYGWd+tMNeu0+cLbFUG/DiD2r87DPH+I0/+DmC577M9R8sMfXUB8hmyoTrSyy99jKHf/qT9K/uMHpkwPK+xdxnXubnfyjF9FiW19/qiPyOo+U8N3e7XNgdcPW/HMcxauzXphib1lm6vcvK2+vMn5jiyPkFbl29Q7feYubwBOMzc1y9fFkNI5B0VmLQb9Yx03mqQwW1pXb7Hq4f0u02cPsuM3OHGZ4c4caVm+haTF7Sb3FEtVqm2Wgz6HWZPzHP4pVdcpmOOoP8zO8cMJtLUYs1BWPtNLo8fN9xnn35Gv/x5x/lk//uD1n/6m9RzYlqNYs9OqcujUbhXmK9g7vyCs6hZwh2XyJp3SJz8tP09m+py7bU5KLdVwmyC5iFafxBg7h9g0xuUmmTLaNMYpXUvUTelXQ31SVPBsTCKfH2rmBlLHRZlAp3TeC/eoewE6khiylDKWkcCsVe9ICync5IO9tFzyyohF0UN7HN0bv/TNLA69fIVBYIandUTUWP5R6UoJklaC+q7bJS1aWKCvqL6HZ1E12WgpKgxsbIiDp1gCb3uDBCEyBfVCdJTSnVurzzdc1TCe7EuvvzyI8XdAQcXkG3DQHOkMSi2x3CNBJ6O1eU7tRyRgl1YWltont7kD2KUZwk2dsmEc1uefbuBbrfQY+aRAIdHDRI5caJ+3VlGNKlYpCVWnpOJQ5Dq4AhjDo/QnfS6KkcumGgSc1S4MYHm8RifOtcw86fVJWApHtd3VeCvGzRXyeWyk71NLbvq6WRfL5wPXAyhLGYDAyV6iDuEIntyBcLS1EtU4O921jlaQV/D6Q+KHDW1g0MI0Uodc7ggCQ2MMTuoyxHhjIioAtDTTh8htrOBzIIjdpKq2yOnMEuHyaqX8DfW8WafZoo1NSdrrPzJrnxR4j33qUXdsmMnUeTP2dnGbQ0tt8i0BOM9FFivwZyzs3O4dsmWvu1X03ixFXeWN1OE9bvwNZLCtiQTH8MfecFdSAgX1ZUZYn5It0Po0Isk53+GrGvk6go4qukDr1fQe6orxNKlEPi4OmjmFYHvbeHnj9G6BShv4ptyFBhhUHnNs7oo4ocrWs2aZl6iUO6cPIunE8IkXRJe/JRE3dwFi0/Quh1lc/SyhQIgwyROM6dIaJMGtMXkr1O2p4i7K0Tm2lFblYxXD1N1Nu8+zNLPyJXQI8KBOIeD/bVhk4ix5pVJGreQpdD9cgT6kKeDJZIG+PE+VEi0XblF/D3rivPpV44CytfAXkhGZPq0OtLbFn+rrxNpUmUfpjyXogpQB+CnbewHZO4t01SPktixaqnbSZ/C12sCFRNIxDIm7gwY5+4fkv9AoNCGSdJqdgx+ghmKYN7sIIKcuaH6Av1evsHpKafwpOOdBir3jDNC8RRgXj0DEb90t04fGqSQe2S+oBLokLrHxC0b2LlJ4glQSGuYIkryzRTLlfygQpiNCePGfWJ+geKUG7m87iBTA27CrSmV+5T20a3dYMklccILeJgg9AepTi2oDYJ73zxD/joT/4OY8MOD9+XJ/BKvHJpkZ98aoG1WxuUj8/yN69vcTwLf/6VjysKLxs+RlGiTxI1t3AWHifyNhi8+xrO6AyxkLPDrvA8aG/dIS8HjKEzavIY9PdxRk4qLZ23/DbW+Lz6bMR7L6pLe6TnsJy8ikqtfeVzuO2YTKHAQJcoUZdyNqb6wc/i3noFSjqBZ9+FVomT3BknlOlofwMvGKAJGix2sMwUAwHK3fk24ch95Cv30K0LgXdW8RlIfNZe+gbV6ROqaiAxVkuHjGUy+oGPEkYOul4iWf2OUtYZ6bSMB7CsWdJDh9ndfIOCdCD1kP7tF9TAM1ucVMCxXGmE5Mw5qF3m/OPfZCdj85mHs1RyFd66WGNoVGdtc8D3bwZ8+B6TL196A3P5IgfNTVL2GEHzkqJxe/LNFydp0iHo3cHKzCs1iUy6E9n8hzZhUFO6REs+L4ZcvLNoqTERfyhljriVCcWnmyIdDIh1j9DIqkm25kqPy8DQpvHjLTAnSTQD038XTZ/G9/ZVLUYGOt7uNVJD02oDrzSCelVZA5LmBYJ2kzhXIJ05htdfV59RPSMvvG0CGfCFXayhI+r5EQ86qnsocbZIhgJBTYF3KI6i9e8QhKK+ehR30Bbup0q0aE4Wo3SIqL2LWT5JLPC9TJmg2cLSDvB1C1PqN0YKq+9iCJSyuapeRJEpz75dGLsfQ8Co/TZRXEIL9ogkYSDT7UxGRWUlkifRvaC7oqa+5aMfx08dJumvkhbXb/YMZrQI1gj+IEaLd+HgXfTKSZXm0kS7J0Kl9pKK5svz2hTgadAjkoSJYgNoGKI57F5Vqhs9c3cq7eTHCR3Rm7YwZUDRXFFQrdjMYNqS5jFI/C0F8ImjXZWWEBaKu3+B1LHPELdX8fp7ZArz9BubmElAKm8Tt6/IlR5/dJbTJ/8lx08WuGc6w3dvNnlkdoKdQYvdus8kHj/+zDHed/5ebl6/xdW9DP/kD1/g0LjDe+8dYm3TpdV3OVUtoWcTjDhgfGiUf/dXVxgtw9rWywr0t/3Sl8lVRUlYIdi9Bg6k07P4QtfvC4X3gEDqCuIgFkhr+Tze9tegtkx67GH8qKkievrwo0RCBGaAlbtrXdF0T7mNraHz6PtvErl97NwwnvT6rAr09+/WvdJyGKyry3w6M4XnbxBrYnvQFSQ0sUbRO0vE+aNoTupuBNJOqYm91t0iFAOLIxMfiyj0VGVDhjpWRhIWKyC6vg/8Hb7yu5/j4//LV/iHT59gY38TK9FY2064tN3jxx4u8Cefm+Xtl/c5ct9JEt/n8ps3yecdpTEaGp9i6do1jpw8of5ctV1JNci2UJRnbQrVMvl8ga2NdVJ2mvRwkYOVPR57ao7f+OMl/u/nXX7poxO8dKnD7a06/+zHT/DrX7jJH/7c/Zx6bIbLf/EKs+dO0Yk07EKelAzG8sPooasUV1Zxhth18d0eqYIsDCz0ok2vdiDhLJieURFSfW+T9vY6ec3HfOhpum+8THZ+XtmAxGDT9y1MGYSJ6WX6LH5jmeKRR3GvvYbvdrHl9y4MIfFTr75L5dzj9G5cpnT+GN///Pd58j9f5hd/epb6tRa5lMPoSJpXX99iP0m4uRXyyXMOf/RHv6AUmrt/+TJNv0axnMI+8yjB9jrB/h75QzMEnmzwHdLtLn6pSLwusfuA2NbxBb4o6qnb19SFPiNnE6kruC3cTk0960vpFHvbGxQnDzHY36DbHDD+5A8T7K3Q25Gtu0V55jg0t2ge1MnlC5j//fMv+if36ivopPBTDrm5s/hv/g3ddpfCw4+jywuxVcOXelW7QzIxjzVcINlcId4Vm4ZD36ySHpIql0+cyeEt3VHmCfHMt6+/i1MuKwZBfOUqXdumPDZJNDOPLZycXpP0uMBO5YwTobf7+N0GpItkjt9Pe+UWuahNd21VLFaY558ka2ToSTc4I3BEYVMEsHID/dRZ2FglmTiF1rhF5FmYT32K4MUvcfDa3zD19N9Hqw7R27lBfHtFpUJTxRGCfAY7k8LryrlqCaswqb7vlpzp/Ij26hVKo4eIp+cwdzcJZZpqeWjD01ii4IsGxEcfwFhZUrVLI/RxzTRmEpE6fBKt06V77XVSs/MKImqML9C9/Qbe9jb5kUmYPYThdugtL6GPzpKbPkr3pW8qna0QuRV9zuspDlT61AlsL6B2/W1yJQvTqqKfPo+7+C7J9hpBZUEpOINODb+7gp2ZUBFlo5DDvPMGuSdO8bHHf51XNlKkMx4/fLbKVCXLykqNB88NcXPdJFe1eOXNDTzd46OPDvH2m3VGq3kWdwVu7FMYL7N6cMAPLvZ49p/ex0c++UFufv2/MXLiLPsNj7LfVQDO/Mgo2ac/yLf/8lme/pcvUcnYPHOqwMfPlXhltcur19t49KnVbP7iF+Z58JkMd15ucev2Psfmh5Etmm6EtLabbG03OXX+OCknxa0r1+gOIorFNHML83TbPTY2VigXRYVmUarkOdjeY2uvwT33HVdg1oPdmnKnj4yPcPmNaxw6OsXw6DBuGNJpNNnZ2CWfzdMTlbhr8r4fu5/1C5d46l/XGRkzGbFNENWu5VCxHf7i5S2eXMjwtWt/ReflP8G1FnCUEWhTpSFSjo6ZnyH02vIYRgs99dyOOxsqGZAZnrprLhu00OV90VwhPvQUGBml3faDZRCn+6CpOtlW9UESbwdNLygyvGb5aJkZ4jtfIBTu1NR7SNwdVVcUO49thfhuqADMWl+ggVI/9NHsUWURCNxNjOyUqp4JuFsv3l0wyYY+MkbVWVjgxUnjkoKK+s4w+v4bRHYVuzKDu3sb20qjK+NCHzOKoLWqzilSpXYSHb84p7g4dNZIwjQ4tjr3KaV7uEXcj8GRWKPA3FuYhRkFv9TD8C7YT86KezeJBPYnYG3hGdm5u0yF3BS68MNa7xBqQxi5vBqCyeZcNybuuu1tBy0w8OIOKeGUCN8orKNRRBvsEadS6JGL59cxm1uEo8JAAvohg/ZVNGcae2KUZHcHfeiksDjxhAWkdQgEFNvbISU9e5m3SOJJBvn7t9CHj6KHogcF365gBgcq7h/psvSw0IXp1rmNPxiQKhwnSmcxgpaCwiZOUQ19TNFid++QyDBU0uCpGXA3iAZyvtojyR9Vf1/B7tv4VgZL6pX4+Jow3FbRK8ew2zW8KMTMj6tzviypZFlrl7Ik6SlEuadLXTTaxZF67dAJAndXqVzFXGEiQO46hliQREsr5oH2q7+eBP2rShMgoK+eHuD4G0R9k8DfwBRf/dgpBoH8EBtYctnr1YjLh9GysxidG/jpo4pebdbeJM7Po5mT+IMbOBLLle2TLpcxAy0JcI0MaSHRD/YJJaKaPUSStYk2XlHKvCBTQQ8H6kXluS3SY0fwd6+RGX+CqLeFN9jEkjiM9J/1Ap6Zw0pLREmmg57qx4gexw8SHPklVY4qmFbUuIStZ7GEqCtVgm4bq32Z0JxAKwq9MiIb7eBL1DZ1CDPaJYlD/PxpzNZlSE3etRSkCsqxLR+W+PbnsXKzmHM/hNs5wA5r6oE1SBy0ZICDxPw7RMqFOEFiRlhRmyhMqy9sOpMn9AU8laClcgSDQKmyDLlEH1wjUzyOe/COirkKuEimoP3aDVKDpurJxZkFbHef2GsqaFZ6WKIxjvr9OI6Lp5eJU1VsZwTL3cIV6I4ouuqvqweEkZ5WG1UGLqRLajvu169jRQ3C9AQpw1QAj8BOsGXAUpY+4IuE0uuWuH9vDyNfxWtIHCej4sqafGkNVDdmMFghW5ohDmOSsESUki+VhyEWNnFA77xDopcZfervcOu5L/DgB3+VD9wzxuyUMBNi+hhsbLeVr/nQkSy//9d7jDg2ixcfIPQcVl/aYbxi09m7zfCZ99I/EHd4V21bU4efoEebvGyhLYf+ynfRMvN3XcdSbUlb6OYhtN5NYstRio+osUxq8kHVLY07t5U2rHnjKq19n+LhURUZH6xvoeVN5h78IQLZhOpjJBKyNscUpEuoub53EXPk/Sp5Ekq0yK0RpGwSq4otntb0LEn/kuI1aNUn1GDH5gp3vvgnaNUKxUIVO5th8+23SFXTTJx9L74MXja+R6SNoy08SXjtizhRRFw9ih+tYppjhO3rpGY+pXrnRnxAXLkX//X/D2t4mMzCEG8/f4nP/mbA5KjO9d0Gz5we57U7TQpWivtmy/zm11Z48Zs/z5kP/cP/n6X3DrLsPO8zn5NvTp1z9/T0TE/ADDABAAEQIAGCmaIoU5ZJUZRdkrwrFWVrla2Va73yckta5aUlypYlmVxRJE0KDBIgEiRBcJAJDDCYhInd0znfHE4+6/dr/4kq1Mz07Xvv+b73/f2eh9V/+FMqxfQ+0CiW9Io84GR2JSDBAv6Nz2IMP4JZmSTpJUr3KVo7iZHJ4TN2+rH1DkHQwbD61aXf93axnGEM+V4QR6nbIDEzajtjWqOqEhNtfJ+kNI+ZmoX6ZQIZpmSnVfdZ1CwyUTV6W/S8DunJ95J0d/HDLRxJqoiCJSvE1FXCJMDIzhB1lzAEnmjrqvZhhSGB396n21ev40y+C6/xGmaso2ui9btOlD2LkU2TrD6jqLqJ5hNVV7DEQ6wNQOM2pCeIKwPYvRaRYalNY0o26V3pJtZJlyWSFqrLuiFqToGCSt6vfUvFznR5wHqRqq1owRbYI3jbL+3XcMYfVV1RzV8kNAfJmL5wbtEaEoPs7R88zH7izkUirbAP/UPDkges1AW8EK/xlvLfhjvXMYIuqdGjuA2dsHcN5LAhfZCoq7p7kWyxpVcovTP5N3o1rEyentfAKs6pykpPNI9OmlhqGzJEsOQ7fkkxFJDjfrqwbxzZXcYcv5fYkYrFfm0gZfnUrp2jMDKHF3j0D5d44QdP8s6ffoqPPDJEVK0xOFoi6AY88doWjx7J8ZUv/e9qqChUcbkE0N9PtNHg8Ef+mJ2OwYP3ZbGaPrqRQVAZtUbI3ZMWjTDHkz9cwnR0dtfPkfgtRdZOaQn1rk66b4iwtgWyGdUKZDPTRNXvo/fdhSY9aUPfj+Z1LhCmT5DOFVTCQTabAlPUJJInSiFRSZYPK/+7kZ8kuvUFTKtAUphEN4ZVpcdsrEI+TywHspbQkTeUdlWSR7pbIxmYer30XAAAIABJREFUJorLJK3rKuHh9L0Dv/am2sqQymFEliIxCyhT3NCieDNk85I7RBJKcTbCqG3TCXcZfM/H+b8++Yv86d9f5Bc/cJA3btfxwoiTU1nO3WgR1Nq88vkzrG31qDUivHqVjG2puo5A6eZP3k11bY2Xz73JxOQwupPQPzpELl1ka2ONwPWw0in8dpfy8CDpbJo3Xj7Pox85wX///B6/+aU7fOCRIX54dYeHj4/Qa7f4wvkuX/vVu3nso+9k/annKIz04W0uofeNkjlwnEatQTptK26IX99B21ikV23h3PcwxtpbtOSZXKrg93ZxRo4SRx7G7h2igliI6nQXbxB2Q/QDxyidfZjWtz5PbuQInuVIuQfvrZeJykPkBycI+kdIrl/AmTtNd/Gq4gsZZoBeHqP38ovk5yfJ3X+Un/nQH/DKisfjb5ti8dIOg7NpLl1vcXw8z65lcPnqHpN2wjf/7lNkpitoa4s0dnrUr67hDBfRsg7JTp3sjCT1XOoCHtzbwzN1UoVBti7/kNLBU6SnR2QiCuUh9LaAmWJlydDbwt1wabZdCskGTdelMn0c4/gRzGt3iOVwHffY2dhh7P7H8TSd6mvfQo9TGAfuVUYfrb6BnSkRp4sEcYC2sUDY8dWFtO+xd+D5EYYhU7I3sSuj7N14mfzht2OdeZDWq/+o4KrCrMCLsWcOEDYk/ZEnCSKi9Rt4kUvp9LuUilKvruGMztB+67Lqx2ZnDtNdXCVqbZAqjGGV+4gH+vEuvIBhp4jnz1IwNLpXXiQyTHLHHqH5+jPEKYdsfhC3vYExPKNSTs31K6QPHiFqdklabUzRY+ULOMVR4uoa3esXSY2NkukfZ+e1H1A6eobe3ip6pGFm+omyOVwtIVVfJz1/jNbFVzGGJujeuMLg296t+uZB2CGub9Gt7ZGePU4gn+uLr2EnIdHJezHbAb4kIaMURrECgwPoW8tErS725Dya5xMZsghsETW2EGFnUu5TSjh96zaRJFGH50hWb6gqgWFJMz2Nffwk4d4WrN4krAxiDc7SvfiM0koKi8iKE5pujf6Tb6f+8msYTkhueJZuzqF17kWioYiDH/gFfuNX/oC/+qdlPv7hWdI9ncXtTaqhwbGxNH3Ifzd56OQgX79U48XXmrz7bQXqFPF3d5ksZBgYy3Px2hYSqqjVoXu7xXef+KS6fFj49C4tEo/2Y2X7yJ6e5Zuf+zYf+53X+Kl3TNLYc9nsdigEGuagzomDZW5ca5LG52/+7B5e+dplpo+Ps7HXJKj3sPNFyjmLrc1dAj8iU8xD7BH6Mbn+ASplqaFqXLt8g3QxBaFP39gExXye8y+e576H72evJtv/LpZm0mzsURoYwm/32NrcUCaZoeEhVQW4ee0OB+cP0Dc4yML1FUbG8wyP6vzkby2z0BXdp9AIY/rTfXTDgC89V+W9xxy+8voX2Xvxu2TLY3S7KaLmInamoFhCsZnDTNLQua2qi7HU4RqrpMcFJu2oVCKZObT2BWWbijo96K1AoR9IqdptVFtWUG1JhQXunnqOJJkU1Jex8qehMEq89i1V6ZMUqJEdUwR+MU7Evqv69KFWV0tCrCEsOyQS64DbwBSzUHttn5pfmsMybLVQ9ZvXEIqtFZsKCJpIItLfJSocUsBPXVLUtnCSHMzMJEmcEO9dJk5VMNNldXG10/3Euq2i9AKCNHqr6P1i/llRKcRYVHoCx0vrBG2xvoUYow+RtJcIZDAnKQLhLHlVZSGShmEkZ/XCAUyzhB/tqEVhnKTAFa2pVCcTLLNALJH4nMDf5Ry4K6NFpCnvZAZAK0ipEdPdVik6SaobxQMk7Wto9hRu4wpmT+CVDrrAEVe+B/kDpCqHCeTf7oxiu3v7NeJOGyMrTLcKliw4TEMNVAwnr6pxVmESvA3iqInpWySlSTTbxG9sYAsB29QJG6skaanxZgi6DbTqZbT8IYzRt6FXlwgtOWfmVHIglruXLcnKQYLmGpoYrKQWUTyJJhYSMX1l8kSSmjAlfewSuDukzYiw3UUvpPGTNFZxhu7ac+TG36U080rXvHWNnijezTKZXApve1EthQ0xOCQWsfAshIPQful3Ez/axep/CH/5a8TWIJnyEYL6utqsRfk+HCHmS0xJNsj2BEHcwGlID+UorpMltfk83SjCJofm2IpQqKVHiLw93NoS2RHZ+o+obagRtdG0HLHpEDU3sbUYVw/3ycYC/HMqJG4A699GkyiI049Wv0NUmSFp1jDNNtjjqs/r16+pTSOlLFonJsnksNwuvu6qioHMkq3Gxr76pDyLL/onicJiopdPYIbrqsPcXf4ucVrH7LsPTetH1zpo1VtQmFXQC5s2YVRAy8+S9FahsaAgNWEqq0A3mvRJ7QJBbwEtSqOJkz7eAOn/lI5hyCTPHCT2d9TkxtKKKrIvURW7ID/XbfT0OFFvSwEL9eyk+gAkgQC/6piVAQI9gyEbqHQfsUyRawuYmUF6rdvqi8XMDGN37ijbgh3IBynEjxpkJHGQ7qfXXEbvrKEPnEFPLML8ONryC+hGTFwaQosszJSjvnQDT470vgJfYOSVfkOXWE92nEh+z/4OYW6aYONpzOwYgTywBo4o84FscyIyytog/AEhmHZNG2/7CuX+HJF9UDnGHT2k1UwoVBL8uEzxzOO89qU/5kM/80UeOTlITg/JF4u0vJB2wyNOIg4cTfPVJ9c5OpPmm//4OPHGIuFail5lAu/5r5I+9R4cI0tv6fskM4+SUjyEFayJx4irQuzeQS/erS40MugwwgBPt/c77NeehNn3oHXr6gtevrSld9W+s8DGzeuUR2W4EhIbAWGzzfR73ofbDLDEQCEASdHxtSXydAzdv0wYZKF0GIJF/OpFDJlqSt8o+z8tFrdfRM9K/6iK7hWxxw+w/vJXib0iiSF6SVP1twWW2H//wyoaJ/36UOodGeETXMQ2Z6mvXyQ3PIox/jE6F34fvVQgjDMqLijQsWinQ3nORJs7wbtPP8E1ujxyYgDdi1i4UeXAgUEGB4o8/YNt7j+V4rNPfpn2+RcUZETUR27UwslNoGUGiarX1UBDL8mlcR0nN0nY84isDrYHni5CsgStewsvM6fUid3NG6QHZpUNI4l2VdxM2rFGIF21PRK/iz38IF71RWyB6/lNfGecXOUg7t73MBCdzBx6cg3Nkot0Dxq3CLpd9Z3hmBk6JmgyGAwtkoGzGHEdTUB+4uXtSIRfAGuJuiyanYV9B7zTB8IFqUzjb74piXeMfAWabRInj5YtENXuoJcOE3Vl8ClT7JJ6oMoWW6pRufJp2u2LpITJENXwA1d17S13B6N9h0iqRbokGgpEjVfQc7ME2bICfbl7F7BVx05ifQGGgKl0XSmYDMNVRgJNgI55iYN21PZAEmdJuIeenVVgu7yQoOOUottqekr1xgU/ajjCLthSf5504nRkQBArWn8kzAWBBUp0TkBBhUESdxtNjm2ZfnT5GT2XaOMlEvHHDp7E7wnEKEbXh4lTJrq8ppZMfAylyBEqeCRARNfDzo4pNokunJP8HF779j47Rv6te5fR8/dQOn6MT73/cf7uuV0+/PYp6g0Z+CYETkpFN3/v3Uc4+6HThDcv0PBlW1DHTBXJnD6Je/08f/Tnz/OfLhk8diTF+ECZV2+uKPfz9pLEHTMkusP1ixtYBYNba9/E2+rR21glW5yk0bhGsVCg0w4xgzaJsFJqb6Cb/UTFOaKFzxM6x8hMHCUSSI7noqUcksAj0EsYqSxxZ4lYamipkX39nDQn2xuYlZOEcpl3igRr57GyJnHhGJovepyUOlQLjDGU3213GU385eEOVuEwQdTBFB6OsCIEFJgfJ5QqigyRJG4om3NbOBe3iSTtIgMsUekaGvnKCM7EAKdnfwzXtJnK7ac6ZEPTX9SoNXrcO23xqfeX+Mp31njn4wfIaxk2qsKu6KFHCQNjo7z56mscu+tuxaRpdmpYdhrDMSj3DbB45QbZogy0IVMssLG5wUB5kIOHily9ssdP/eEap484LK32mJ4oUnJM/vLpVX79faP81n/8KEtP/pDsPQ+gLV0Bdxtn4ADhThVPgLl7e+QnT9JdPo9WGaGHTaa9ozSp9uQhEgEWJWn23nye/JHjZA6dotvYRRN8hykHL5P6s0+Rmpgjff+DmD1fxYW16hKxllXDIGFA265PMjSM98p3MPoOoacMomwKi4IiV5cfmkDf2+PA2c/w8Kkc8wdL3FnxVLT+wm6PIwWTCak2vLnJ1rbBb/zoJJ/6Nx9GG83DjbfodTS2Vzv0xw22XJ2iHWIfOcvWs98gd/pBMgfvJnz+Kby8hmNkCLZbpCf7aK3sYpcm8FYvExoWlQPHaNkuI2abePwezKXLVM0iz3zle6wudHnwkYPE2yvkMxlGHn5cpQaD1asqwioAL9dI43RdtKFBjHwZ/dpljOkp9IlD9BauEa8ugG0SimvecVS1M8kMYmoGdqGkLrTsbuLuNTGLQxhDZYK1RZL6GtnZU3Q3ljG3NnGmpojLQ3jNdbHY40QxWm8LL5HqQxbNkFddYrgWQaeDLgwBWW70F8gJsXunij5Yxj33Dcpv/wDdfJno/KvoXh3r8BH0mnjt07Quvk4wOYvZN4W2+CbZYyfwo5CeQOokKffwR8j4NcL+SQIB2g5MipuZ+NZ5jNljdJdv4165RnqojHn3O/CWNzB2BaqapdPskB+foeu2sCMBN1bUINKZOYCxtU1kBCSi8JU+cdvDmjtEXG+QZLOYdhbv6ks4B+ZIkqwCWGutBdoLr5M9cIakVcXd3UXPWsR72zgnHyLUMwR3rpDpr2CMHSNxG7Qvvoxz7BSJb6rXM77wDxjZQayJQ7Ruv4nZrOGMz9Jqtyn05TGWtnGGcmiZFCc+9jXm5sr85PvGcCKT772xyNfe8PjXj47yzLVNZgcKnHtzm9VmzO98bJ6O1+BPntjg8IzJA1MZVqsB2ewIXZqMWBX+67kFvvJrx3jbbJvmVganv0wqSVP64H18/rNP8Qu//zqPH425d36QSmVIAeae/eEdeg2f15dTfOLxLL/xiVG29+pU6wbFTESz02N8aphGtU3km/SNDWDHETeuXiFX7MN0DIqlPuqtXbY2tslnihRLeer1FhPjY/hhl7DtUxgf5Pzz50k5FulchlS+QCzPKtdjdGKMWrOF53v0VfpU7WP1zhrDA0PstGrsbTd5+O2T/OmX1/jLFxNOlQL1/25sRxybH+PFKwucmBnki88/QXD5FXzRxorC2KtjpAcIO1Usx8CTuL4AiknUdtU084S6wCQ7hKKwsywsgYzbwuK5hWGNEmy/gG73YYweI967ub/QMzU8qUQKEFgziII2EvlMjDKWnUKLJEk5hC7QYSujFo50VkkExl6W9GIVOzWOv/cWttGDgfuVwlPqBVI7EXuCLbru2CPOTigek9yXjPwMSdjFlAtrvkK8uySnCrTSkDJfRIGBmc8RhjqJt4WuHjQZ9X0hK3C52EetZTUISI8+TG/lOyRCoC+KqrMOMvho76pKqFUcQWtvkkhVWFIERcn1ZVXHXytUFHyX9iqhk8OqLarkj2GPKf2r3nbxhw6QSeXxtm4oNo7E423KyqCUGFW0pqS8E5y+KaVjtNxFSN+jahKBu4Il30Nie5KUnVlStXLTiPE0ubcJOLuGlaoQazFGaKPL2dPbJckJvT8L8SZGekglmwVOaqUSos42Wv4MWrRG1KtjyPlNkpFiD5IaRG+NUM9jZg9hhnWCtAP1HXxfdId5zKFDhFs3CaqX1HAlyU1iDs6RVG+RyBIqkfObqJzH6a1/Hys7qtJXmlUg9OXniVUlMU4NEecOY24+j5sZUzyPMOjgBTWc/odxLAOvt6mMTOo9EUQYAhlMFYkbC8qmoMvCdvf8nyS211XUW1NejN4ynhAwCwOYzqiCF8WabOpskt1LJKkDmMPHCBe/hVWYUn1qXV683JAC70ViAJBIn+3gW/3YcU/mM+pi5useWlcuAcH+G6a2QCQPqNoStlx4sxX89XPYQw8rXZVZOaDgOjRukthlBbqIJM7f62IPnaGzewHHtEjy41jBHqEcziNDRe1001JqMV3vqUiKeCojd4u00cJzI7XZ8+vXodXCGDiMEUqvNsSUS7pXJRFnpMQxwwC7s00vM70Pzlj7HlZhTjklPYmApCoKfqhLvEMrEaf0/YN75pCK8AjZX0+aRNIByY9hxyUCrUUi/dleg7BxRR32NEtTm9tE3M5aGWtgVg0aouIhrNBT5E2/fhFj7N3EEnnevql6v+LZDGlgOCPoYYekuaA+ZOliBb+1Rbo4SeDvosUGiTUM8ZaKNSsw19o3wJnC6Dup1G1mIofcSPnTRWsXC4sgaBD0tjGzJzCCRWInK+2F/fqHzLA6dwgigYvFagMZW3nCzhpht40zfR/BxlWl4YhSmtLm5AdPqihuLICd0l0Y3WVS8t6Kczhn7mX5W3/N/Pv+M8fH4J+9d4bnX95keLJCfafJ2RMTLG82+bOnNvn1j4zxe//l3fDWEtVgEDvaIuc4uN0tFZ8zR09gyWHGi0gs6VMuopXHFam7raVIbb9GXDii+oT+8reIzIT0+ENEnYhk93W0kRNYk4/hXvkc62+8ieOIAswj0Q169Qbzb38AvThGr7GC5VpE8qVcexEjN4hReQ9x81X81m3s0lFFIWXvmlI3CvjJHr2HuClsjR6hqI5aC1iVKRa++d/Jjx8gVczT3G3Rqq0zMDpE5Z53EezcIdG3MPvejm1EtG+9RLoyjdsLSQ0W6C4vKzVnVkA816+SFIewjYAoXaZw93FeevoiH/i58zx0PMPMWJbB8Szf/NYup+dFR5fhyXM7vPLq7zJ+8DSr3/8S49MnaYr/1u/RNafJaD5eQzzPY6rrr0wfUagI8+KlTWTLaReVZsSXL3gsxXuwU5Y4DQmNPjRfUjW+6juFYv2WTaiA0UxDGRxio0h69lF8GXRtv4Ix+DacqEXHGMCsXyKUwZK47ZMIo28aa/NFQn8DffDDBLZYRLaJ994kzAqMUiMRl2x+RE28pbsuGtFI4m2lKfXQccSRGhcgqWFI7DMSruAIpmw6d14g6obYA0cJ04M47jo9zyQlCj4nTxik0eN1bHscL6mpSXGq75ACAAmRX/bioQABY6m91Ajrl3CGpVMu02gfx6wQJT2ioEpcnCe58yxavoRWPIJdv4Cfm8FyGwTqIBKp102X6JaMyWVAUVtVqQqZ6oa+nNh7GBI1FJZJ1EJ3ptXDX+B5sr32AiHXimooVu9Hd/NVtP63S0JQ9egkUZXohf1+YGTgVi+Qzo+jOyaRXlYuX5ngpysjdBIZ8PXtPxvCOmF3AUuPCe1x1XuL46a6TMSUQVIMeopU3xF6y9fIjPWRmjvBbP4R5qcTiBzy+TRJO+DausuZwYi/+NwvkbRDdhY2sfOiWWrg9tK0Q5exw6NotsEPXrrMx373NeYHMzx0sMTF1Q6pFByYGSLw91iv+Xz1uQYPzuQ4t/AU0eI1vJpBT94jXcgOz0B9lchfwncmMYSxkDkM9fN4ZoFU/3246z8gnSoSOqPotImkA+lFOGJyKZRUR1+2R3bQIpCERGaf5yCGGsf3iHQTrb4Eg7OqiymgV3luhZ6B3n6VpPwgev0CUXZesQSiuIbhy1bS24fA5ifQ5bkmhhm5UMU+vl0g66Txxc5gSq1jnlxmC7OQMHfiV7A1hxPTWW6sdIjCkImBmO9eTfH7P5HlU79+go0LNXY2ttESh3QmTaqS4q3zF1VfPeVkmJ2fUfFZiXF1ZGMpb48gwnU7zBw8gC+6r0KR69ev4NV7PPYjp3nmB+t84PdXODUGD80Nc6Xao5KC28suH7qnyG/9n+9j+6kbZGcHWH7jNYZOPIAxPkL7ledU3zqpLqueaNwSsvxjdG6+hmWJLlGcyRZ6d5feym2sSgXfNMjIIdj2sYaOEzZrJEFHkaeDnUUSt0OUFlVVTHF0hm5Lqocu3asvU5g5jJcRldMg4Rvn9usxWbFA6JTGD3HzhRc49ckf5ZXnLvHJX/o2owPwyIkJbqxVaWgpDs30cWyszMrtVc6vbPHskknKdTl1JMdn/tezHH7/WQgzUJcFgaSVDJqvfBdkCz1zD431deyxA8RhD39zW2mFs/ksnTsbjDz4LsJ0gDU8gV4agd0FVs/fwLFCPvzrT7DThAkTHnlAUiMh3vVNfunTP87QxCwbP/wWeq+JPXua7tYGdl8Fs73vjZZlizU4jBc2MVs+jmzUQxP30jPkD92Nn66QTM5SuHWJre9+A6N/GOPYSRzpXG9cJVhYJT0zr6Lb1tgciZbDdxLclZuE1y9RGJ0kLlZIz5zC3bpGd3ud0t2PEdIh6IQ47apK5mVmjuBeu4DppDCcEmEc0d1Zwpo+hrbyFtmxQ7idJtreGoFTIXvmbXSvXMKYn8OodgiWXyLuJRjZAtbADL3Fy2QPHidIaejLm8TCaCr3YSwvyIRK8TnaN14jKaWonPggkZ3Gi3bRtjZJhQGtoI0+chRunMfun8U8NE/7xW8rWFpsFsgcOwbdHolUtByph0pitE5U7MeKAqJYxw4bNO6skr3/nVhenag8QdTYVQlUeb8ZmoU9dzehl6C5XbytS+ROPUYcGnSvv4y3uUv5w/8KY+My3o3XMQeF6RIQl8YV9yDZuEVkpciIsaCno2ds9t66RdFyKb73Pn78R/+Il7dKvGs+zT+9tcK7DpUZL1h89+ouH3tgkh9c65AveJR78Ae/dhfObBatXKF2u8Hpf/FP+EaGqaLO6fl+1lfrHDs6wOe/e5P33DPJX/y3n2H7v/43ymcewip0+fLnXuCv/7HG/JlBdpt1Xrng84HTGo1WGi/x2WoXyKddnvibu1n41g32YptiNsvu5hJ9ff1YaZ3takele/v6+3DMPFVRSpKivz9LtSF1YYNM2iGXy1KrN0mJ9s5zufjmW9xz93HuLC+QtzIMjg2RGCnShTT13V0SgegFgYrFl0oF6rst9ee03I5KTxWKfeh6l/HpPj75q+f5+9s+p0dgtK9Ao9bGEP2c63JzO2Hl2l8StFpUVzZJV0YxOkuq+uy5HaxBWehoKm4uCl25nyS9NmG6gNbbxE7NqAWR77mYVpFEGGPSVW8sqGqy8GOs7hph6ZRigsn7KwzT2OkqsX2YpPGW6runrTzt3jJO6BBXZoQqiyVQ482XMXMTqnufJPJatgjlXJvqJ7SzaL0VbBk+ZCaIpOos8HEZBpTniL0Ai7qCnhtiExg6i1m9Tnv3IunDPwayOBU2VphAroAROfhrz2EOz2MaA/TCBoZWxJQKgLuDlxrAEnZcY1ExmJK0pBxa6pIbytCks0PYf5Rk7wrW4BmivasqJRylBog1YVmV1LkXWUhICkT+3Pot9G6NuHSQUL4n5BwpxijdUKT7xN3FTXoqQRNpGpYlKQwDdm5iSxVT04lrd9RCJCkd2K9uJ4NoUV0B4X15LWrXiTJFBeEzi0cVy0g+c0kqp7SkUWxjy3O1MKUWTbJRjyMXzUxj6Dl8O4slrDgtUIYTWzhvcQtSo4r+r0t93AzwhJUnCcvcLHFYQ5clcOaAgueLutd2CoSGmJiuKyaCUjKnTxIGdXUvkOefVt2A0QcIYx+tta7+TlluSE0qTFdIZUt0Vs5h2Tbp8pwyrGX7DuDvvEEsEMmJM2jNHXXvkGRo3LiOoeWJk0C9z0ypKdSf/w+J9JJUZGH3JpozQCyADOkciq8xqmIZOYz+eTzpgO+s4xXGyBQHaC6/QHrktLrsSXdXYh5CPnTlh6CJ6UwRNpewJPLq7xBIjN6ywfeJDV/B6oLiLNnMGO2dK2jSMWmuip2PSB8jkQ+LM0TGXcOTvubQMRKBkHmrGHqZIDUKQU315wWiFrfkcivEWRlepNVD0RNC/eBJYqHU711Fn3q7qgS0bz5N+fA7cDuiZfIILAdDl9TCGkZqCLswTc/fUK5eWluE3VUyziCxk1FdFN2ewIiXFehCyw+TSP8z0fE08cxeIT/2KEFHXvC02oSF0a4iUoqPU3XEZQMZS6m4i9dpY6crRFoHkyGSpKuclEaSwRwSmqgMEOokmtDOJ/CjbYzAVT0aH3dfs7h3g9AsYwkB2K2CkM+TXQxnFL+xjpHuU3CayNtFN3P4LdGctDDKUxiy/WpeQ8+WiQK5ANQxc4cIZXpUPU8Qxdjlebyt65jS2c7Pqo6q2V4l1gcw80KmFjdopDZYWQEbbV5QF93OynNknJDswP0EmWllKNAbPZJ8lp4bUsnFtLtdCqZPq1WlfOpH+MHf/gk//Rv/wKFhjXtmilipFC+9uU3/ZB9rS3vcd3aKP39imfefKPD3nz2Fu7tEnD2Ov/ACUXGMzOC46uz6176JIdWJ7hLdYIN08R7i1opyZTozZ0g0AQHKNvbSfmfX6xGJu353hbiUoxcWcNo32bu1hZkr0PNiTEfqGasMj6RJHX8EK3WCeOfpfSWKu0Ys9OTJR9EaN/Y3x0PvIKaHv7OgqjTq8Ccx8uo3QZvCGniUOFkiCXfYfvIJonwOR7pvToq9WzcZnhmk/9hDJHu3aWwtky4OwMhZtPYimlwymguEWkWpMHUnS3r6g4S7l1TXR05FGVYxDjzIB9/9OXpOkbNHTW5uh/QV83Rdn0JxgM994xq/8olpfuf/+yI7T32e0sQgne2WqoSk+w/QE62MurxX1OFUoJ+Ju0qSEd1kGzO08I0iSXcBzSyjVeaJWzdIhQ3C1CiugCDlvdfbUXR+LTWphmOmYeK2l7HMIUK58HQXFUwukUt+ewUnVcStL6Cnylilu4nDO/swmMwkoZEh1bujfMqSlPCE1ioPwtUXMAuDykYS7dzGGj1LsPx9nKkHiMMImUf4Vmk/qtW4hVmeVX3qSICeTh9B7Qp6a1F9F9EvVOk3sMRpn5bn9SappKA8sEmuH62zjJ4pJ/6YAAAgAElEQVQeIvFCNSDVwiaB6DDDhNTANGGvg560SQJDTWxNf1OpQeX7NUrq6GIFkYOjPYAeuATBrtKpimpLom2OJEQq80Q7F0msCnZGqkoNEncR0xpGy+SUOzbUuiTdbWytgF6eIWiuYMgDTzrteoJXvYPpNrFGjhBKjzapE3V3sEbuwyeL0bmgInx6YUaxWWTCr5kTIC5fefDJ90t9hVji2nGEFxoKyGMkLrGVQ0+kW9ZCs7P7QMbAU0mwxG9gpw7ihjvgraN7GoW5GTbXN3nn236bD3xgnmsL65yeG2C72uXpSxu8W9zRn/23+85uBzbrCZlUQHNxk/6DE5ieRvf6DQo/cor12zXe/XNPMDdW4Ppuh2w64dhwGT8MWFtr8OP/4iy/+Ucv8Zl//3Z+9nc+S/ONb6JVd/GdFLnSYTo7b+H4TbziDIYm36MTqhsftNeUz9sMPHxS0FxAk6hivkLUqBEnHSzhRkjixUgRtxqEMmSU70O7pECLTnZKxUbDjZcJs5OkhP1gFQjCHTU81qQu0XPR+2eI9q6oOpbUQUIZSsvWVLYjAoeNA3SrgCaD7m2BOo6QSJqm1UPr3FBau9JQGS03xPDMxxispLhr1MFKWRyYtBkol/mVP7/Cp398mJ/9+CD19R5X39pSSs5733Gc2LfY21hSul6pMNUargLelksZ2k2hKcPs3Bxv/vAC04cm2NrcUWDYqelJVtYbzB3Osrwe8MF/d4t/9f4pPLGFJNCox3z9Upd/NhLz55//ObZfuq4OcpXjs8Srdbaqy2QKKeLEUsMiP/AxUjns/kGsZoP68lWM3CjR2g20ux4g43fVwD01OkL46jkivUuQGyZbzhI2e0SWraj05u4OyZl3gQzill4h8h3S73oP/oXXsIs5Yi2vLB24IebsDEanTXN3m2wS0duuUjxzDKdvlFtPvcgX3lih7GjcWm5wfbdB2U4TBD1245j5vgKtIKHtuZy76VK0EoZyKc5MV/jldw1w+IP30910MYdM7PQAUV1sOl20pgdDx+XeA6L03V4iKeTQdlZo17s8/91XWWoEXFvc5ZVnasQDNrmUxb98z1kqlSZLV7e51fC4vbrH15/4f6gtXydeWyHRpZ5Y2qft33gD/ei9MD5CUq/hvf6ceoYKhVwbn8dsNbECg44VkhZmQK+pFGP6zh75M/fi3rqtbEdW3zRGa42kMEJSLMDSLXYvvkLlxD04B++it3hbkf8lwq25HTZf/EeGT78H+8hJuktvEazeIjM4hD52ktbyBcXAyIwdwqsu0b70KsVjp5SJyRqaoHb+BexykXRpHK0iPIcurVsXVdzfu3MLe2iW9OlTtM9/j6C6hzM5S1Bfw725jDM4SHpggljOmd09amtraN4uuXs/RCpjsf3MNynOTJBIRUr61nGTRDrSQUTcqWNU12i3e/S9/YN4mTL2+gKNV76toJFGro+4kCO8/RbpQ6eV6lEuhJaZkYYEVizsmx5udZNsfoLW9gLZwycw+mdofP0PSSrj9D3+z0F+vzeEQeJgTh4i3NvEvXgOR3hV938UveXjLr6I12qTHqhQGD9KZ28DTXRw63eoL99h8iMfpfH6OfqzJeKhHEMffoqzRzUG8ylit8Cmu0NfrqCGFj/7kSMsXrjM3FCad/z8/dgVk86F22AOkz11N+zu8fGPf4M3NjqcOTFAZy8Qrj1GJs21S5tcffWX6LlpsnGd3/vTv+U//F2bX//EHHuNJssX2+gDJn2SDBaTjJ7nay/v8fRvONzzQD8rKxq5Qh67ELH0Vg3bDNhdbTF6eJi4B/XtHWXhKPfl6Yidoiube5+hvgE21mXQ7jM2MY4rKtiJGVbXlul1Ghy++wS2Y7P01g2WpGYSxNx93wlS2TQ3pTaQSlMoFri9dIvxoWGcnAzqO4QUcAgZnzD4X373KsvtImNlkzeWq8yUSoz0SR9d54lntzl/7tOMHH+ItZe+QnFwAs0ThllRue5jp2+f2B9o6qKWKk/iNbYxJF5eHidpC3StQBw2COR5W5jB7CwRCJQuN6qSfHKXisKOuqDr6QyW2yKOGmrJYPqRqi+6foI9MKsufWHYxnT6iWMDzRjE776GWTmOkZgEu+ex8nOQ6UMTEG9mjEAUfjKglmd3Zxe9NAW7K0pNLoM/na7SEcr5yW7Kv9fFDSTyvouVGlG1a03zMQqH96GCdkol/KxgCS8U/o80/kylrUbOhLkptNodYsMhkpqBk1H3Gs1tq/Szt/YDnMq0Sh76cq7QQixfI0o5apEpaj5bRIdyFssdxC9OoLt76NUb+JtXMA5/UFmGJMFpyZAj1UfU3SZuysbcw85P4NllrN6u+tmt9BC2k8Vt7pBIXVvOlI7wduTONoBRvaqSZRQmCau3MOM2ZkrOk1KLctAKx4lqwkiThYioQnuKHWUKA88awvA69GrXSQ/Nocl5MQgwJe0ZZTH6puisP0dKauHFEXq7l/cVhFKHKE6RmAJmXsTom8OvSoqijW4NoJs6QZjGcQxiqcUK7NEsYODiickrNLCiRRJjBr0yCoZOsPUGljjlynMYRlGd55LWIk5+lnawiy1L3PQ43cbN/SVwIMuWBrqZQQ984vwkWncbrfHqHyfJ1qvoow9jpExaS8+RKk8TJyVs2RzJG6bbwS6PEjUbqr+qiec5MTGyEpPOEVZfRe+/T2333dqCeqioH0om87GGYdj0jBQp2ZSIZkV0F9KHtGUr2CWpzBC2atjygW1to0k/sjhJKD3+7iKBu6tilebYw2iBWAZWCKSTkS4pBYO4kGPDwF17lezU44Stq8SauJ0rRAIOQyeWCLB0Lwrj6mLS6dwhPfp+AkdHX/w+kbeCMfnPibdfRdN3wTigNiyaniBsXencuM1rxJkSqdQwXn1RpRy0VgdPer7FafQkRM8OKjcvijDehdbC/hBg7F3ozfMkxrg6mNvJHpH0zr0Arb1CbOhKVaWVyoqWnsjFPjdJ0N5G6zupVA8CD5MIWVZr0UlKSgeVjrqEzoS6iPneOnZqgkDUfZFsPXUFOdNFG5gbIFx9RW1K9MI83YV/IDXzQaK9V9UHI7HlkJnCin31pYP4pwty6epIWRoQ0noGrbNBvHMbHAvNmUJZSMRj2dkhV7yHbu0t4sIwGUk95O8iqa0Qtc6jl+8i0dKISVR6stHebZy0TdjYxvM65KbPUltfp2S5ZB/8AF/89L/n3/z2d/h3n7yLO+vLbNdt7p0fpdDX5MKlPex8lm+95PPQ5B7/5Xs/B29usLO3QXbAIVl0MKYGCdqbKsIk8SN98h3QS4h2n1VQL3vyJ0harxOuXyHJl8mMPkR0+0m8iQ+S1WN6oQDpJkn3bnLrlecJxPfu9GNYMXhtMqkyQz/6UwS3ztNp3qYw+CC9+uuqJmLnDxKvP42ZGsArzpNqb+LVXidx5jAnHyeqvYAhU7riURWbtqZPQnub5We/iJmaolzqY1s0Zs0ak3Pj5B78aYKb31f6SGv0McL2WyQrz2PNfIKw9jzG5KMkXoZ47Wt47R5acYBUuY/OlhgLpMRSYOIdr3FyAI7MpVjZkfiaQXY04cYV8YxrvLn2PNHOVfau3CQzNAZmH93asoqXSQQuCWRbH6nPpwytjOxxdFMinm3c+gpm6SR2ex1fdzANW+nh7ChQrIdA6LB2gO5WSShjJxbuzjk0gYNms3h+XcXixJSgNZeIIht96B7ViSKWh3gLS3OEeqMSKNJN9FqrGIMHwM9htl4nSh8lsE3VQ7NsnWj1RaL8HLqZIhKK7+C9YHQwOh6RwBnlUBs0SMSrG3RBHhaaRPm6BOGuAtdkC3fTqJ9XySNTHqrS/5b6gO6jyee7ehPkku6byrsq8J/YEUJsjtjOE269qXSfaXp0gg7O0CG1XdDdXaVGjIOaSi61zVmc2msKlKXnhYnSR1K7o0wfVvmo4pqEEjoU4IxdUso9f+8itrBIzAKRRL1k25QfUxWiOAQ9M7YPbE0SFT/0vGUF5oy8LHZliDAKcJdfVoYQWfMatnASbGVmkO8x+axa4X5aKM4V0SIZAgm52sYsD6httOcJ08PAlCpA3FC6Mn/3NnZeBjAehpVRxOa04ShOS6/ZR9/Jg2xc/VsO3v9X/NSDGbXNFqhPrZvmlYUdvv1/vIfZDz3C4rfOYbSa++CpVJp2NsXe009SmTxI5p4zGKLFK0iSxOYnP/rXfL1p8KMPjbN+dYmJ6QqD5REavRoT43n+5O+u88ITv8np936M9uv/iG5quM0l8uMP0muu7NelJNqem1Kbldjz9sGScUIY9dDiKkbpfmLPJxG/ryvJkmlSmSnoHydshvi1N7Aqs1Iuw5NaQGsVvXsDc/BdaIkA4fJQW6a3+SqpgaPqu96X11om8wKDMmUzKluBvNIbJWEdLfGJRDkm5OOgvj9QKk2T7NzEGp5XiZVw6wrlMz9G4+rXmXj4Mzx6qkjJdtjYqWOkbCbLFt+73uLeEYsv/P5BllYTPBmibG8yPneA57/zCjNz4wyNDHNnYYFsOoMbBAwNDqgKnZ4YrN5ZodNsc/rB01TrDTUQlq1edXVTkYqPzVaY/4Xb3HUoC409ZqcnuLla5U4dDhUMvvrU/0bzlQW2FpepzB7CW3pDMWLMg2cUg0Bgc96dKxSPvo292josXqc0NEo3X0CEOQIgS595iN0v/QVWqYTeP0a6Mo4XNNG7XUK3Lc0ENUTX0ynMnElw9SLtjkfp3gdxez0sqXvt7pAaHKTb7JGdGMF/802suXvxG1IHs3BmT9C7/CJ9J09BOuGzv/2XNIwBvn9jk/JwgbKdpbW8yS09T1rv8MixAhdXY5zQY7vZY6o0yLmldRodm8lSSEkzeduZCu5qA6nsvu/UOAXZWvYyrK7LgBO+drvDzRsuOz2XVqDjCNvBNMglCX/086f5wSu31FZqcsrgu69U+cX3jvCdy9u0b3f4+Z8/xLEHH6d67js4B+dIrBT+9ib5iXm6zU0VNc8fupfQ7eCt38JKD+AcOqY0yVqoE/ldFe2PizYp4TL1jeItSLXQxJk5gXv7CkahjNkvQ89+7KxB87WncTs6pXvuQ7tznU62n3ShDOU8qYvP0iqNYQ+PoXcahN0GZGT7myHaXEYr9eHu7eCUC3g3rxKJhSD3P8i+B8/iNPbQ+0s03RbO+hrarSskU4fof+iDVJ/9GmGpTBLmlI3Ir+RJCUfGt7Cbm/Q2bqPf8wB6vUbUapNKCzRukdLQIEmo07n1Js7wBF6zTvH02wgWbqMdfxv+tTewyoPYogCOUJeBcPgQ8Y1rmI0letk+MqUcjbduKG5K5X2fIKi2aDzzZSrv/nGi21cxBgaIR+4ivnpOdbWFDWDKM2Folnj5ddUrLp5+nPaNC6QnJfLfVEwrv61Tvus+egtXMUr9JPVtZWbShyVZZCo9MMMHSRp7WIN5glSFbKPJ7p3LTD32KJ/5gy/zhXN7vHM+w/Orbe7qLzM2muWPn1+iu6nz6qfzHH5Qvpss4o5H1evSrlUpFUZk+cnAA/PcutblQz/zPe47XGFlt0e/mbCLx8tXfN78/I8wcXaEx973eWaLJYYnHNa2O6ysdnn4bD8b7R4C0tmruVy40+Q/fqyfDz5g89p3Gsy/c4699T2GRgeo7tVVbWFzeY8waJKysnihXKJ97jl9mpu3F6jt7TE+MkSn3SZfLrO5ssmBQ1Ps7NXUdr++26RvuI/pAwf54TPPY6Zt5g4f4sJrl8gW0+ocKY20nZVdTjx4llarRkozuLO0RSHnkMrkqSc+p2byfOGJ2/z20zo/cSLNalcKVj2qVZN6t8nGBtx45XcpzEyy+9qb2KUigaS43I6yo9nZPoLqVeI4wC7O44vBSI7Z1iA9dxPHEzbaEQV/lbO6qHBDobx3NrAqM8SSwJV0oGPiBjapoI4vg4T+E+oCF269jj1ytzI36ekxAjNNynToLJ3DyPbhCEA92iHuNv5n3z5DZA+rSnMsgzrpl8tdR5gxwTYGWYLsgIJfJt4OYdLDLp+FpEHie+pS7EUOWvNVNLkvZKfQdAtdkypholJiYnCT85epF7GSBj2/hpktEpiD2JJKFtZF9brSuCedJpG3DOksui6X9RnCO08q7pppGbhaHkcz0IIFwtJx9NiktfYMdvEkhZEDtDcvEqfGyGSyhHWBc3awiwdwt15XoHJZOkbdBKNUUKkITcAV7TpavkISypklIU40rCBSAwOpoIrO1ApquIUjqpKc9BrYRYHo5fYtU3J00dL79QVRKmSGVEXBF4abUSB0ypheG723pPr2sRGRKQzjxRqhHymtY2JnVTVQKu00LqCX7iMpTKmldyJVd1/DSlrEog2IM8S9FUx7WL2PdDUEyYriQfEv4qBL7LVJ8v3qnKhlJrDMHIEnQ49dzHSG2M6p+7Xe2gfVe71FNPnv7CxaqkBSu4AWpdBy4yR+FcJEnWtI9SmQsLwfA81W53pt7/U/SqxeVR2E8qkswd4ywfBp9NKwgidgyFZf+huH6PTWMQQUIfC97hUsiaNI3z82lCpFXUAtIX5vk2RHMOwy4fZ1EvG8mn1KieP330W8dgGrexuG3qG2CYnovXqu2trLxsXy19TEK8mUMGV7unoRY/huIj2LgTAAJNbbJtl5k8TMKrJ1GFxXIBy9/wGizsY+IMmsqEOULy8cNZLycTWZS5oXcEbfg9u6itXtkK7M4u7eRhcqsbgiL30Zve+Q2gj53V3V702yR9HFpbj6NLHER5SLUmJKffgCicodwbB8THuMsHkdYukSzyoKfVK/jlmZx+hI30V8nlJlkDewQdhrY+dyRJZMDm2soKl6ncHOZUmfYJSGCWOBQHiYcrDM3w2di0pJEYmqS8spb7zpru9bBOSm1rqpIiwCkzFFiCa9pd4acWYU5MITh2hOjGFNKjKrH+o4klCIE9rb18kdeBxEYSK08lyRMB7FLqZxN36InWjoxYN0eosq8hrreWTPrKZmiQwx8sSlObTmecIoh5nt3+8V9TaJnByaoSmaZrJ9AUMo/FGCqcek+o+o36W/egE95ZI78wBf/8PP8JO/9hQfebDI0eEyL93aIglsFu40ed/j/Qz9D7bDp79a429+eZwf+40jdK8XyVhttl96Fk0ONQfOYqTmoXURVyBMoYPRvo1nT5G0F/ZBL9VlzNn3KACct/BV0v0DCoLS69bJjIjRwmLl218g8RJSfQV63RZmKo3t6VSOn0YTWrdoPcIcSW8RZ+hu1RlC94jzxzECn2DtKzj5E8TullKpiJEiMUYwvStohXlMC7Zf+Dq9KCHqRer3bqWzmElI//gEyUBZbT3s8jhhEGC7dRU70gfniYU8TZNUfoTq9g6ZlIkpSr6Ju5T/NHP6OL/6L5/iz74X8rPv7mevWeX2pstEpcyBCYc//8Y6f//HH+bxf/ufqT77h+QL09R3bpAbmqGxvYpVyJAfeEgp8pIkJGzLzyB4RhkAmcSZY+iBuI6vYxXuUlUWZLiRLaIbUhdoYwhQSbbTsiXtymfTRpPusbwnBk9ium3VwRbXs7f7uurbm4MH6S09B/3y+mQI25tooTiv+xClQLxxDqZ/ArN5laCzTWbklOp0aV6owDKBtwa1RYzKNKQmiGsCe3QJ3QS9cFjF6Z1wizAUt1qsqkiGTETb2yQj9xBuvgX+BpRPY4U1ksjHyE0QKYjfGEmqgrb9HRLrKGGwqsB4qcKUGpDE4TZaLE500WkGJNY4RqdFqAXYdr8CT4XuMuboQ2i7lwh3L2CWT6DlRgl7Qoo29kGKnRWltokt+fzL53pHffeEhRkVDbdEJ5QbR/1VHhi5LElriSCJ1XBAYv0yRY8HT6uHNjsXCUXNUxwiKYmOcUn9DgxzFCS10bsJ7WWSjg8yNCxP43c30JIB7NI4QfVZEqkbZGcVxEZIyIaR4HtrWLlpjMxxPBlk2EUsqWLJQaHdQrMiNVjpBRrF6ZNUl/+Jhx79T7zzbD/lYonL15Y5fGCY73x/mSf/6icYOzpC9fXb+waJ6jrVepXy7DxWJoO3cQurbxII2H39HFOf+mXilZscf+SvKUxleOyeg2xtiC9cyMsdVpsmfqvFzZsxi62nMeIuq899iUJlCkMrEZqu6l1KH0VrrIjmAs2IVFXDkKim7pNUV4kLQ+q7LajegNIoGStLs3YdOz+JUejHu/V9TKeAli2rQRWVe+nd/CJWbgjNNDACjSTYhNIxom4VLepglWaV0k0GUeQPKoJxFG+R1JfVgcwcPI0vPXg/Jt57nihOY4w+iCFsHqHoi3LMXca5+0Pc+dr/y8P/+pt85N4819bbzM+UuLXZpl5t0k4yfO3/PsNIssk3vr/G2+8dxO3lcHt12o09JuZmWL2zSS5jc/j4CdaWVrl66QqFbIHJEzP0duvY6Qzra6sMDAwq1VaxmKW7I/pbk7l7Z7nn488rpt19cyU6vkfKlvSGxs07TS7/w0exN3T2jBwlO2Lz8htU7n6QBGc/cUcKt7ZNJptTBGpjcBSjKyaPClrg4i8uUl+6hDk2owYIrlZSqT0jDnHXF0lNHqTn6mrTJSkN2XSIFlQSM0mmQO+7XyF136Ok+ufY/uofUjz1boyRCdznv4H2/7P05lGWnedd7rPnfeax5qmrq+e5NbQk25Isy6McO7EJdgJkhYBDHAIrYQG5yVoQknsJK4FkcWHdG0gM4YKDg5OQwTKO5UG2ZM1qtbpbPU9V1TXXqTOPe768X+dP/dPqOn1q7+9739/veY4/hj4YEuwuY1bGSCQdNn+GlW//Gcc+/iTG0WP82A99iW/ea/PMkklhOs3O1oCNRp9Hlqbo9fpMFDPkCw6rm1ucmqtQyRX4zW9c5wMHynz/nk8SRXSkXhTF6FqEJ6mcIGZ/XqOEpdIAiyWTYsahMl5iq9ZmOEw4uJTmxZf2eOqJKY7mM/zK8+/xy5/exx++vco/eGyJv/bjn8YLQza/+xUKx85hH3mc+ht/Qe7wWaht49U3sA4+gR4NifoNGHoYpqtYE32xLRx9GE0G2702jfOvkVk4pAZ9RnWC4d1b9FdvkZ6aVL1UgVBmTn4AP5VTLBxD6kt3bmEdPUUkzvixMbq3bqLvrKBPTZNxcgT1OkEhj5ZNoW/u4ls6lpPCLuUxxg+oM55//gWs+VmCdTmfFMmdfgw/thi98w10Odgn3oP3uJEQ3DhPVJ0iVZ5XSj7N72EsiDLNJm7USfp95ayPhZYu7+jEwrdj9FYDzZLP3MCdGkPrDhjcuUS6Mk6/18cYn1QXp+DeFdxPfpHo7juqpmYVpwluXyCRRZCRwdvZUeAyifbnHno/8eoVBrFGYeGY8m0Pr72Jc/J9hMEAb2uH4vw+hmrItIRmBwTNjqqdSBda6O5JJU9qMMAz0/jLF7FKkzA+o2oMfiRAaENtStMluXDoiqll3Vth7LElDv2N72IWA55eKHFjJeLYgsW314esrgxY/fIpJmaGhPYSWphlp3aLSakrGg4jv0fn1i6LT3+QYfsy8x/5Pp99YorasM5MOsfyTp/1psEHTuZZv7XFalfjhz60yPp6jft7Ax4+ucCt5RplTSc36fDl7wz4pU8F/MIXz7D+3i67Oz6T+xwGnsGo08V0TCYO7Of25RtUy0XSabH2WNQa2/RbXVLpNLML83RaTZZv3+fc04+jJzrffuEljhydo1gZ4/KFKzx87hQbG1uqyzx3YJ6VG3cplPJ02z0sy+HwscPcunkbXYwhYUy33SdXTmEkGfJSKej5LM4YrNU7nPiFLT55HCZLeXLjNq+92efHfvgwv/alt3j+/3qW9/8fv0btW18jn8sQhl0F0pQaj145qypW3btfw6qexk46DMM+rlhh2ivo00+TNK4TNV/HXvgkaMJzke/ljkromEaZRC6KmlyQDUYrf4Y782FFio+HDQVlk3Od5Szg995VNjKqDxPd/ROchcfw5EIuXXFZ+JkBiWjCy8fUEiPevaGqOE56TtH+ZUkjdH7dKZGMdtT7AunAp0Vjh4Jsmyo9KHYAOQKFWHae2CpgyLlMt4mtMhbbhLJUyp/AjDbUmcb3pRqz9uBuo2dx8/sI4hjDiJXBZtTbxdQizMlH8AWMmSmphKJY0KS6kYgjcFgj8bekKKrUt0bYZ+i3SBsw9MVeJ733GYxkoNKHUXcZ89BHFRNNqtLRxHGl1yPZJum2SEQxX5zBu/UnOBPnVE00rN/Enf8EUVAjCUbo8qztXVbJX9Gh6nYWLSPpxmvE3T2siYcesJaiFlrmEP6whq2JjnMOze+jDXaIs7OYXlclEJg4TOTHJFJHCFF2BzH6maItDDbw9zbUQlD+t1rQUnclnXEix8fWhAE7RE9V0MKW4jaEvlhqnAeGIFtA+VuEQxlstEhlZUm+TZwfJxarkvQdBSCtj1RVVUDZnreG6Q1UFc7IgDZ1Br25g6dpuKmCSg7afkAY1AjIqmGC1vrBrycRTczsEloSoXt7RAKMSi0y6q2hu+Po9bfRMlnwPcL0HLYwdkdN1VOULVOUniZsXcXSLDRR27kJgVFR6rO4t0eshZjSyd+7g1FcUhA428yTSIQ0dFWkQfVARlvEpSO4iUk8EOBFCc2ZRevdILKLyr2oDW+hWfuJbZNk8yXITShQF3FWvt+EG29iVGaUt9tILNXDRFIA0gszEjUBkh5PFImeL08iMXzxBOu28t4nlTPYQYNguIoWWOilSZklMGrcJLGrZPNlhhvX0eWLWZhVGwe0aUVyN+rvMEyPqSiyJB8SURaOuoRuSX7jMIbSy6thiFpP9B9+G1erEdsTBJ6BnRL3qMAuUBs/r36dwtRJ/FETr9FHM7qkygeVe5Pm20TpCo6ewrMn1MZTESydqkohyNZJhiUSTxZCu/zcSX4STf4+nS1SGZcwexitv630XmF7D10imV6EKRfj5nX0oa8uEYHXxbbH0MoLJN37iqDuFh/Ca1xDFx3K2AjJ28AAACAASURBVEk0fwO/WSM9eVR9T7r9Nvmsy0DPIyxBf+ci9uyHFEArEHBhIltSGzd1GDPjMeh5qjek50JS5oya4DnHzvLrf++L/IsvXeKTJzOKKX5orMz9WOq7TU4eSrM36PPN1/p8/zcOcOrZU7TXumSFfJqzVR1lWH+bVGaKKMqT7L1JavGjJIUFvJtfJTX7uAJ2JEkH3TRJ2l0MM61oxlGwhzO2D6s8y7WvfhndSZOqzqCFCYP6qkpYpOYnmHv0x9W2buC1sNMnFN1fwING9mH0wTUVj4wzZVJTTzGUPtRwlcgoopsp9Z0brL1C5uBHsfWY5tt/TnOvo5IbstHt1esc+uDHsGUMtvEt9PlPYzdv0muvkp46rTpPduYQ7ZX/QVovQmlWwfpEBdLz6lRms0RLj/Hoof+INeFQKSVMpVzurHX52Z98lP/ny69zZy1i4/4fY/gejStvkarIxt1VG514cwt6N0jmzmHrRdXNFz8s9kGS+vfVi4TMLCmB98XrJNEIu/QQntcj3HsTw5nBzAlgUhd8BqEMojqXCFOPYNgeUeMy2uyz6I1lQtl2Z9LEI0Nt5wWYKZdueZiqfrQzpjz2uohAZeDo99HHj2H0Ggy7N0j6Q+XglgNjXDqu4ulB6xpG5jC6qPm6DZzcnIK4SIfOZJdR3yNdrDLqCoAnBaNN9ZC15z9DEt4lGmzjjJ1TNPZBcxknUyEcSF9ZOsgZ9N4qfmYJKxmqC13gD5X3ViJnQv9V5FldvLtl7KzFqHWHpN/AHn9IvdAS2c4XzhB5K8pAYZePKtK7mBHMkTz490hS8lk0SQbL6IXHsYw+ibdLYh3BE62ivPh08WwGxNpI/RyabpMM7qBZs4z23sYq7cM0siS91gPwmR+hFRYJrQx2b1nxTgJjEkProXVXFYjVTuUI5N8tijCjDl60gx5mVb81EHewfP66KGxnSbSaAofabkFpk6SKpPUbxDJUEXWlmRCJoaNRZ+zcZ+l33uTYkZ/nb3/6IOstHyMR88yA332lz5/8vUU+/ZH9rL23Rv70aYLQx504iN9cI9jcwhibIdlbZ5SbYMyAxs51pj/+ft775iWe/UfnOfeEqMQGLC8nzE5aijbtCXuj2aAwPsbXL7yJ3byM3xIQqEWit9R7QLZio71bJM4CZs4kbknNLMJ392Gxq7r/w/4G6YX3KeCsv3cRSyA+tk0sRorqaXXoGPXXMAWUJJ+P1Lzys5jBnhoohekJ3OIhZdcxvBHYafVSVio8X6CdSyoBoyb6xSPYoiZyRpBUINjEkm2CKFYSUS+NEfau0tYmWHjfx/n+7/8qz/70N/k7z04wXilx5d4axSzs7RlcWOuw8j8fJe7Dpas1rFGf/Pw8RjiiU28ytTCnBgV9eQekTSxJ6AQ+6WyefDbH3u42qXSGUW9If9ClUBpTE6eN5fs4TobHP3GIT/3cZSqVPGOuzr1GwL5xTTEzvvyDJjt/+BzZ0Q6dpMwotkhJZUJgZ6Im6tfRtRS93U2snKuMNO7JD9JbfYv81BJBxyMc1AkNg9yx04phMbx+Ce/GTTUcN4oOmuhV+w3MyqTaNPvDPoWHP6wGP8HeFvbMhEoEaHkZCOjYnS49x6ZwRJzMGZKRr2p7evkE2rBDb+MGxflFHNnSaBukpypc+NY7fOxX3iHjGjxzpky/HxHYqO1QLptjZbejwFuVyTHOzqW5udZiWBswPl5gcf8kt3e3qeRcao0BY45EpKsMu33Sls7l7TqdfoCdzmIHPrdXO/zs33qIG1c2uLDdwdYM/uYjs7xZD/nTb9/lETfFH/zZT5MarbF7bwUGUHz8I+y88FVsK8I58RTx+jJGqoR19nGid79D2Osp/ZzU7nKnP0B05Tx+bYXcBz5O984tXPns1m9gFifRTJPBsE362BGcvk2nv0dw+4qK7DpzjxD7HSxhDK0uE2Yd7GFE7sAB+jvbxH6Xwod+nP6Ny4p90r34OrnHn0Z6nb78vHpC7/Zl3JMPM1q5rp73pYceYXDvOqOtPaxRE/fgQ4Siarx3FV0PFI0bu4x9+gTB22+A2JYmFkkfe5beW99UykF5TumlcaHB4mYrDLbXVT0yW5xTsDPWbkCxij9sYVam6J9/C3tyVpH9hX0kdie/sc3g7lUyk1PEM0dxbZvhzh2y0wfpri9j5qWiIu++OwwHI+ziDK3lt8nIUF/Ou1kLzbUYrK2SffgZ/J1VYoHcyjtmexdjUFff0bgvDvU8ZnMTfWwRb2oOszPATOmEV8+TzB1Cm14iePdVrKkp+ht7WIaHma+QO/wYzvb3OfJ3/pLJsRIV02NyyqTbj/jzt/rsvf7XsN02g45J48YWhWNH0f0W/XvXKFYP0E175MMQq3KckbPOwSe+x5PHCsyM57i728PApxuFDDoJWStR8NjuMOHJYzmWmzYlS+fkcYd/+5V7DP93wuufPDPgH//sk2xs7bG93GDp2AHOv3SdfQtjDKOhUvbJZlYGZadOneX65fdY29xiamqSyelx6rUWvV5bRaWFEzC9sJ9RV/hHXcozYyrN5lgma3fuqe+BY6coj5fR45hWu0mpXJFdNW+/eYHTp06qM/Tm1gaVUpXeqEulWCVIIlZWNzl5dAajOWDyH9/icw8VuHGvx9y8xWRunOnJEr/ylWt86ZfO8IV/9dv4rz1PX08/2GzL5S8zobbOQeselnTv83M4+QMqTWibJsPa9zCMBdWDj8xxzKzA9mokGEqbHQ3vq8schodVOo6WniJcewV33/sZ9Zuw+zbW2OOEiWzrB4o27xQPPADDDW4RRlUizSM2NYz8fjRJ2HSXVbRcN0OSTlstaBKp4nZXceaeYOAPcTp3Scwy7uTTeKM76P1tpSUPTUPVygy/p5YZJg9A28PYwFHA4YBYll1yx0lS+P4meiyvrCP0xRrXukJcOq3YZPIZyRLCMnRiu0Dc2RBfMnr5uLpfBc37qgKhgHzCs5Euvu4pxovlTmAYLr5QhGvfJ0zNQ24J6+5X0DOHCOwMrjEg0AqEmoYZGUrvnssdYHDz97CmP0CcniLuLavURDJYecA1iwWRdOPBRl9VA4QXMEMoFH9tCrMvBrg8Vnm/0h2K8lYTfbtYjuJYLZICU5bdfaLeDnbxIbUsCEWLPBhgOGViOb9JZX60huFMKH1ubLhEohsdbDHsb5EpzWGkDhB0r4JeUJXM0Eipc2HY2cEqydnmkuIHiEUoEnbEQP68EnFikMSyUEqjR3uYhSMEorf1Gw/0i8XTRC35cz3iqIQ5MacqTXoQKO6bGTuQlbtGjnhwR8HzA0nvWg62llVJYq352j9PkqBOPIiwxg5iOJP47bsk9pCsscigcxvNlE6nRCMSRV91aeMLcUMOeF6iLjh6bwezeopQVEWhEHxL+I13sSvHiVv30FQ0RVM6CgEmWHofbyQBzviBeiktkIJtpfHS6Ss1XhQmGFqXWC+TWBZm6BGGgZrcYGbxmrdw9Bhr/CFVPdD8uxj5x1VvMhhuk3IlmjHFYLSMHhhK12XEQ4z0PJ7fxrFs/NayornKQXok8AqpNziToEsMs6/6xog7sXuPMBqRVI+raIzqkWlVtQ2WVIBm2CSeDBUSguJJUnEsFkf1ZXCGdRLpzRtd2FlXsRyRUOpKLTOlyPls/i+MmacIjHmM3jXiwiJ2boq43yOUw1/xFFH9ddrL3yIz/SmM8nF0hFhfVwAOo3OP2AghdtWGWcYP+rBBnJnC37usfOWm1iO2heieV71T07LwhF2Qn1LuUUNip/oUscT/h2v4ziS2Pa7sBkhEKL9fTZACs6+2sTLVQx/h9w0sxyVKTavIuMRV5aFjiBpvsEFkaw/InwJFyZyR3Z3a6NpenyRl0rj6FuOPfU4xDaQPpg0aMCa+8pDc2Sd54Xd+kx/9+f/B08dynF3Kc/5ynXwpy9NnZ7i2scaFNZudtW3e/E/7qR6o0LpiUpw36TR1RfqPzD6OPcYo6KtfDk0PsGRq6Xs4xaoa6AizQh6mGKKh3EOToYGf4JR0GhdeZGdziCPUedci1gKGPZ9q1SJ36gm01BFGm+eJOquk0mPoAjHJHkHb/CpRbKmJv/A14tIBTK1EXL+AbnoEE5+A9W9hH/xhgt517v7F/6S8bwHDrRJ0a+yt7XD0kx8m49r40j2q7aKLDm/hWcjNQOMNtFpPmHA0BhGlsXkCN2K4vkbQ7TH+kWe4fX6dU3/9FT75aIqMm+HIyWle/M4NRQh/7VqL73355zn3o8/RefsvidoDdVgyK4+SbLwC1SUSUopia+b2K+jhA2K8qVgcMjAc1l7Gkb749FPEtQtEtoU+9Rhaewd9IE5ajUizMW0bXTiv7TX1Mk3cwoPIHFl8SQl4Plp2UsFQYtmgGo7iSgicT11qjeKD77UkhnxRozVU314Tp2pYV4MQAR5qtYvKyiC94iQzwyjJYMVbGHGaQH5/h01VXdK9VTTp3ocefdHNCJ8j6qttdSI/j/jfKRDTUBdmfdTDLE4TGxIXk/9eJwgGWE5RvXhkIx33thCEbWLLxlvHV0PFu6oSIZP6WJIP3p4aOmkSLaxfVIRet7CoCL1xbGGIuiqxcQUIlBlDywmxfw+GYiFwiaIYw98FubTKBDfoMmzcxZIKhSRyEv9BBWHvLYzKEnGcgcGm6nyjZTDk4BH3lOpPnt3J+BGS+rskQY84fwBHzzNqvIjtHkIrzuLtvoVmihs3VGBVS1zF+kDBejxxzeq2qh8lQsSV6F6sK9ioY5sq2t7f3CY9c0KlGnqbK5ROniVee4PFJ/4NJ5fy6oA/mU9x/FCRN97o8jc/4PLDf/tHaV74HqGfUXA4c99BjJ6ky6p4gXh7+yLFIH3icfa+9idkyial557jj3/3D/kb//oS/+gzi+TcLKN4gOmlePvWPd73yAH+xX+7zE8+N8d/+YsXaFx9jZwNzfoeuhNhBIlKS0kdKG7WCFMGtpYmCbdVk0IvH3qgThKCc/M2VjYLSY7BcAVTamll6URG6mIflk6h736bYLSLPf8cSEpOTyktmyEJAnlHOCUCXyrBBaW4lGG4npZKh3x+c+j+Llr3tnr/RF6XUIw2xcOE3b9S8Rb3qyRB0twm9+G/xzf/5Y/x1//5BX7siRRzM9O8/u4Gjxwuc2VlwPev1al/6wnaW21WbrSYOzDOQCK8hsXmyjJuymJm6TAbq/dxXYdhv8+Jh8/QG7RZv7WJHwypVIoUyyXu3r7H9Mw8rgDJ2i3G56eozjl85se/y+rI4UOLJlfbAgePmSmn+fqbu7zxp7/ERLzJ1sUrmHaJ0uI4rZXrCuZEoYi1sI/RtXfJZHKMWk3coycZ1JrqsOsYEYMbAlOdILA17LEFtEGdqN8md/govVBHu32JqFLFkXNEd4SXsdGaAs1dxykUiccW0fpDtFYDe/EoBB28AILWHo6ohtNFOvK7PxzgHH6M3o23cavT9O4uE40s5t53EufIEvFojz/83a/y+y/UeXMrYsGx+PijE3QCjWHSIx3D/FiJe9u7XKwNOFCZ4Pr6NqW8TVY0yZmM8kDnMnnaDXlHwiGJ16d13rvT4GAhw/xsnturu8wtVGlvNUnrWbTegP+07JH734CuX/3sHD/5Ux8Ay1bRaX93j2j5HvZjz+D1h2SDAb1lUZmWKR8/AfPH6L7+dTR3jMzMEv7Ke2j7jmH01wj2OkR78szSKDz3E/Qvi/0lwJaoqB2hZysM715Uzy9r/+MMV99A294mfeCEShQM714j+75nidsazc1rlJ78CNGr31JVpt76TTInn0ULhoSdddL7TjNsbdGX7v/CSYaNdezxSVX7YnwabXUVKuO0L32HdHYGc+4ATmUCsx/SfeuPST/xUYYzB/BffgFHko8CiEuZ6iKkF+R5PqS7u0N2oqzMUAIV6713gdLpJ/HtkN4r36fwyNNEeyswe5pMzqF79XWSrPCLEtKShLRtjI376ItHCAWy2uhgn3yKQbulLjpGSYbruyq6G1sR6Unp8u/gN1r47RqV4ycY7O7g33iD1OmPqKj2yNDQByMy49OMdBdN80ju3yH10NMEN88TSox3VgZRAZEkGAyfVHqCcHeV3l9BnO2xCkHkM7hzi8Uf/jy1a+9w7IvP8+F9FQIj5uTJCV5/Y4d5x+d33/277PyvdyiUi7S3d9XgWVIX/b090nIRjzJoUYfU9AyFTIqzP/R1kpzJqdkSm7tDMnZIynVJ59JMuwYXd5qsrY44e7TErbU6Y5bBSltjpxPy7X99llOPl7n5zk1SWpHbt24yuThDdXyK7dv3SOeK+N6AbreN47gsr25RLNicOnOKWr2LZSXEcUIQhKQcW+kp5Yqws7FOuVhi8eQx3nzxNRX/376/xuzsHLZt0O13KVUmqO1s4Y88KtVx9f8oVcfptJuMz1Qp5GUAMKRWazA5NcHyvXWyrs7+MYvJn1rl1KEsaXrUuxpPPzJDt9Piv71U5x9/fonf+IPfYvMbf0x5/CxePCAMmhiiOjdkG72Bni0RS/I2aqB160T5IySSbBQifelhRnLZal8jSR/FzpfQROGXzingcNK/pZYFEvO2iyeJo0BBejVtqOwriSxM2mLQmcNJ+rQ7NbKmQSLQbUkUCMxy/WWMdAmqZ9A6AkifUhXEJFhH1zRGql47T2BGDyCAiY8pHDLhRjliINChvYmVH3ugn8tOIY5nGVo7AksWGPnwukqlhfFQpSKtwgkSTe6BBRJ3nGjzRUJ7nqwMsDrbaO1N4lwFwyoR925gxhrB2ONYox3ClVdhfB9hfgHHk8u/HJNKSIU9GTTRJLElNcyBj10oEOpVNcQQ7Z8u36HOHpYeYIiuz+9i5OYY6VXM7g9wJj7NsN8lWfn6A3B9aoEgaar0diSFY4HnddYxZ87+FaB+D7uw8CDd3NkhjLoY5f3EWoFYGE0CW3YqmP6QWJYmosmtX8Bw88qCRpCQ2KICbhA37+Lu/7C6bBsCyxmI1cbFkAu+ZqokiywHxRKQtO4oBfbIdrFNRzFvtPY2ZnmWwG8qg4eAqRMZpFhiB/IICdCEO5DJE/ibWJ4sG5oYhVni+rvouf2KoaOGAXLGEMtYf139Wwv0WlhGop+OBASYkmqui2kVkVJ7hIHWbQgD4NeTRByyukO/dZmUIV7uacKtt0k6K+gLHyTJzKu/YJCy1bQ02noLCuPocRmoEUQFnLRJMJRNWJMoKSmIYCSbOXcap7oPzZcH7TZBsIkWOpipDAgwy0ipvolcIHXp+MoBP7JU/DOUDzNcYxRquNKHlC9fYqiLamiPw2CNUKoDhTH0JKNUGVomh2ZMo2traMOh0roI1T6UC0F+BmPvuuqWWMUTIm9SvxSixhBKua2iMg0S6WxYGp506cVvLfFu7zZO4VECv6VioeoXob1FLDAnrQyZFJrEmAfigu0rOEYSG1ipAv3NF3HMSazyPF6S4BgmkdfHEMigW8Xb2iCuzKg+qJifw9pFtNQYdv4gvjAO9EC5jVO5MYJb38QbjUgdf07FeyXdYBceVbofcWybwx1CLVLqIkljuK5FsHMepJtkp6GzCcYuMI3h7eKVDuJI5jwa0G/dxxG4mPSYB3V0IfaPakptaDoJXu0NTHdWdXv0eI9Qy2PKgEY9tyUSLnXqkTr8y7Y3kc5N+QzsvoVXPEC6e5dYvuTpkxgSYZe+tVvC6O8SdGR4cwotU6ax8gMmZw4zCEyGQYeZc5/lT37jp/iFX36VX/4nP8T6xnmu3RvQrQdMlRxm943znUtbTNsuX/nSE+SyGwxe2UVbOoxRWKR3/xUylaOEuQWiq19R/s70wkcIVl8gNC0ccTdnT5P0PZmIQekIWiLfS49QujfdDjsX7+HOFAj7Xdx8UXWAykZP0bELpz6OlluE5gWlP5O/d7r8KGHtDbTqfqKRjxE0VY9MLt6JFxPJZdHJ4rpFjPF5BrffZvPdd7ELaaW1EZp7Lj/L1OlH8bZfR5v7KehfYNC+Tyo/QbQtG2mTkUwOowA7N8toWFcxcamBuPk5rNNFfuhTX+fmisPnni3RbQ1471aDh04f5sJ7V2l1NN7d+y7Bcofd9dfIZ0ySXgljvIy/u0to+di5CZJdgdBl0cy0irVBR3XR41FTaUli/QEM0GvtqsO1UVrEyU2oPvpQYJOyaXanCMVtHopy1mUkBPnWFTShzstgydCU3izp1hTUzrF1/CCNaURE0s3q3VUVHC3oEYgrOrsfTeoytisLUaJkG1MdsATOZmNmKwSjmJRtqci9bwv1dJ1YFFOWbK3LaGaTqL6uOAVaapqQOuiTpETfIs+52McaSs+tgGMX8fr3sXAgs5+ofQ1dDsrykok8rOwYiecTdO+pzbgjL1wBbuYXif11gpGNnq4Qj1ZwIouwcgZjsMyocRWrfBayks5ZJxkMFNnW6NVBHLztFTTS6GOHSLp30VJLD35vOnewqycI7Dy0bqukRGhXsUVRp0s53EWTCLRmEo32sK0SfrSlAITCU0jqbxHbZeWyt6Mhg05N9Qxliy8JHl/+vWXY0L2kDgKmnlOKGdU9M0QH5xAO17DkIB7PQe0FtOIiWnqeYLClmCmxlcJvXoP0Ak7aJdirUxG0ei7kY4/9PFMHJylqMffrIz7xyDxXNoY8Uh3w+X/4BUZbVwg7HoFUwRq7KokTpx30WgPTCPFti1C8wu4Y5alZst0bsJjiZ370L/i9VZ/3zzzwUo9GI9LpPO/cblOdtHj9jSavnv8lDpz9Ijsvf5Xc1AJW6OMJOLNXx5kSF/gOYc/DmXuGMNohvP8K7uz7CWKTePc1UvOfZdhrYu68gFU+SpLdj9e4g6GP0OK+SnXEjkGw+hJO5SiebBCyE2qwpaemiQebIG4cXaw7q4SGMCQKJH1JvfQx5PkjK5WwQyi6n6SH7WSJa7dJzBA9dxSkolCYJdz4HoVn/z7/5ed/ml/80k2ePlpWsX6tkGc2E3JvMyZdcnj+/z7K8qVVLryxycJiEWm+GHGG6niGtiTTRgGj3ogjx49y+8ZtDF3UXDnu3rjLQ4+fZXX9Pr1un0cfO8f21i7dhnQmQ0LDYWE8ze/8yQ7/4RWfz78/w9U7e8zOVrF9nz94r8OvPTbOL//7n+HKf/9DSoUqzuET7F05z+TEDMlYFVs36Ne20KeF+zMi68cMNwWYNkWSl4OLRbC1TdDaxR6XHqNNqpChtSm2oTT2xAIIDfreNUblIs7ECZIb3yfc3VUK41F1CmOsipsr0Vu+QSqdxzp0lN6dWyqeKnA8xibRGg2MxiaZQwt0bt8lJfHWxUWGknh85Xncx57CPnIYbavBN/78Zf7P33+H7ihi//4MGzsDJsdd/vrTJ/jv37vIuTmXQEuTTrlsN3usdEZMujncsMt4ucL1+w1cO1Rb39MLM9Q6I4Fv09r1+M5Kh2Zb6q0+H5xOqOZ1fviZSZ56bBL39FNqSLTyR99l9ugZGr11os6I0nRVpa36d97DmJ3DW1nBzRbRilmCm5dxDx5XOrGgtaWSAb2VG1iir9vcxMjmcJ/6FI3//FtkDi6S2n+K3tV3FWjYtyDrmURL+zF9Ha+9gXH6SdqvPk954Qxxfwd/b4uwME52cozu2hasLZN55Bl6nTVKuSJ7598gd+Q0o7hPtlAlKs6gn3+D6NwzcO01rMkl+sMGbi6LO3+U4fp94is/IF46jdBX9e46fjsik4lIpKMvgNfNSwo+6sweJN5ageoMw86mgvQKT4p2l+y5DzG4dUVBO225gFg20eYq2bk5OtcuYo6GWKVZlbAaFStkwoTQNbGyU3hXXsI48yliqVTdu4Izd0hFfON7N6BQJSMb+uY2Wr6A6aTx6tuY1UmsSKO3fAU7kyNMNEatNpnFeQWKSxqb+IaGKc9PiX23N5CujCug3fdeISxOkVo4SHTzMqGVkB6bJ448vEgnFXv0V+4xfWo/v/Hf3uWXv9vmN56b4+0bd+iGDrfWA/70t89w/HPvo/G1d3CyPpo9UtYOS08pVWiruac2lDk0nNkc8V6fqU++yuc+Ok2n1eONq3VOLaWpjaDVizk6qfPsmSVeXd2jsb3DmfECL1yFcqrFr39hitPn9vPaty6rAcPhEwe4eWuNyYkChmFw9Z2bvP/Zc9y4cp1sOsP0wgJbO7skkXTPTfLpDKt3V8iPlamOV9leXaM8VsXzQ0Xwr9W26ba6qnI09D2m5+fVEnFn4z6jgc/EZIVao6EGJ6lMgcm5Oa68c179WblMlRdfPM/JExNolk0w6pHPy6UdpvMeJ//pHpmCzdlZKGbTbNR6VFMOP7gZ8LGTWf7fb/5Pts//Ba5RJZZEiV0gaKzixSPc+Y+CxPzdLHRuYjhpYmMWJNUqm1ZXIvcJiZs8gOEN+yrRqEdixRHWUZHgzovE5Snciafw+vfQum10O0Uoejp5N4wfUUDqcPc87vSj+HtXIbWfkaiOe6tYix9TNPvR9jWM9AxGJkWUOYQd7xFbecysbJXfJQkNle4VAHO79h5ac5Xs/AceKA47K+piKeyvqHaTOFV5wMbSHEJHYI1bGPkFDKklDFbR5n6EYPV/oNVuYJ74orL+eLVbyoTAqEXQuoVemiYxSxihRyRmOcvGCHpY7hh+5xpGUiJUJrQ6kSQrakLAhzAnZ58QXQsZtO9hZOdJZaYZjGpqMSt3GbZeRpv5GK4WKP6bLDMlghV4TSzqhGbuAVnfqpIENTSpIyRVVeWRe6lu9LAcSRG7OHGdwdAg7t8hlS4TOwsqcm+E9/GSEnh7yuYVeW10w8d2T+HpA+itqOf3QK88eJ97DUzLJxomID9j7aKqHoXCKwh1DD1WG/9AK6l6s9O9TH+wh1V9PyIPjvz1B4OQxjXM8kliye13rpNYVWWmsSRVjoPfvYiRPaJYT6LAFHAmw7aqcgZidciPk3GrtJs3VOU2VX6EKOhgRV18AZO0LmNmTxFFLWw5Q2sa3nALrDJa663fiHJmZAAAIABJREFUSoLRQOlmpMsfO0KRb2OKlm5YxyrP4cdT6L0LClSnuUtYUVPFwkWPIGAG6dN6/Q6Gv4M5+QRmIIcDHb/bguEeRmVRxfJsiTEUDzLstLAE/GMluKkSUbeuopLSl06kW5r0GUn8fOwwWq9JLNFU2d6bEypaEm6+iZaaU0T0kT2GrfVh2MeLPQIvxpEtpGHi93toblr1MI2wRzwaKhBGJD5wJ6sOEkJaTOIHF2aJy4sT0zDyaool1EZTmAXDHnH3MlZgEtlZwqSPmWTRxw8oarcmm5tooOj5SfowZnsFzxTwVRbDb5FECeGooaJ1EjsRyKEp5E53hujul4mr58hUj9Fa/Uvs6kOKlSATumCkEeccHEu2n3LVkNpE/wHxe+wwcW1bHQj9MFY6ifT4U2ozouWzMKo/UJRJdFdot1GgImRRt00isAqh7TrSfRsS9zaUbiOWTkkcYVgWkeCs/JaKb0f+LkEywnKmsDMLyi8p2kN99kNEtTskEkvOHSEeRdhOh8HaNZzSrCL8yi9Ya/nbuPOfQeut48d17MJRVY+Ih6HqzESSWoi21ADHylRx0lkGA5F5DimWAxreEaqn9vN7v/hz/LN/8yq/8MXD3LrUJjWu0dsesV4fcebQBOcvb+HrCa9+40MkmQWCtT3CPfmF0gk7PdycMAqOM9q9pi6Zru0Sy88kh3iJOa99lyQ9TWrqlKJ3C7/AGRO4XJt3/uPz7Dt3CK8zYtjrEUQpsm6H1HiV4tEPqU4fxhhJ5WH0jT8iscskAvvwdOJwDX3x8/j9m1jOcWKZ1MqUr71H89r3mHz67zKo32bthT9TscRQpqSGpF8Mqkv7SI0dJqldVakRIUiPbvxAgcy0ySMYRgmt+Z568Ad7ywpk4mkw/sRzDGvvUjn3PR4/MUlBommOqPlC9i0kfPfVEf/p3/1NHvv4kwxubGDkXRJrjOHuGtnoKmFZJpsjksYrmHNPqXiSKGQ0y1OO5yCISLz6A6oofUU8T8hii2Kvd50oMDHcaexkiG/PYHQuEsqOtbVMPHFKTVgZrmKWDuN7ohPcxclPY6T2EQ3qxFEHU7qyopkpHMK0KkSaRKX3MP0RETa2QBbl9q+7mMGm6rgJ8Te2AuzicbSdt9UleDRqKLd0qnBCTVb9/hqk0yRKTTNJUlwial1BT02RWDm01hXM/CGC9CJx7VXM8gHVA9MF6Cnddsn2tG6iT7wPTQSY/gYy1paUgk6D2CipoRgK3DZUn508T2MhuUtX6+YfYFUPydhTDQuUa1dgM26RYO8iceCipVIYsQw7dlW8LEmXiIOaiv8JIT6SB/hAUhMlVSkSDz0S+7f3Eft1zLFFaDcIBnfV0CLSLHHfqUk3kujqbmGJOUUGNu68MngEw5uKvq0VDiuNIVFILLyB5kXC1hWs8geJ5KKlNgUlAkkMRX2S0iLR7rsY7j5ice6GDczcPrSRR5I/QNxbQ9NEiTOJZpu4E1lO7fsJVeeYHs+wNDdFzop54eI2+7t9vvqnP8PepctolSnMdB68roKVOUtn8SUyHvuknTSd1h5t2dA+8RG2L55nfDIme/AAP/G3/h1/ccnjyYcKOP4IK+OyXOvz+OF9vLO8zP0bIde63yE32GW4doVukMc1QnWJ141ppRCVxBLeXfXZmIVFBtsX0VtXicY/jmluqbqYYiEYVYL6qxjZfZjpWXxvGbPVJZ5+mEQG4npPpVyssIMvFaDFjxF27hAHEW6mpOKf4vrVwx0iZwbd76L3buBJUssZw4wkqXKQSHqTMrA1BDYZ4egd9EjI3TbFRx7nU4d/iBuDFh88KEOphIGVZtTwafY1Tkzq/Oufm2VldUMZCKQOaqUiKhOTtPZa+KFHIEyZJKZcqLBb26I6MUO/1UGX94KbUBqviuaYy5feJecWmZwdV0P17Y1tzn3iGJcv1Xjun97mHz5XYmsn4a2buzyyP0+91WU+leK3/8Pfpb4dYFsu3tYyemUfblCnf+VVQvFRy6D+6FGM1bt03nuD8qMfwDjxJN5Lf6b6mu7CYaUVlWF5Z3WF7NQ85qF5kus3CcdmobZOev4gvc4e6fKsekdHvR7dm7fQrYjskWNE65sMN1bJPP0jRFv30HfukH7qs3Teeon09AyWprG7vEL26GNob34d7eyj9GubZF0bL3TQVi4xqJvM/uxPYS/OEN24yLUXXuaPvrnKl97pYhgaOVej2Yn56b+2xB//4D6fOjnDgIjV7T2eODlDUbf47y/f4dThcSazGbbqPt++u4HXCNgbGVTtmMfnLWYrJv/oJx5n+nM/grOzRtSIkXNa7/INoqpJYeoA/QGweh3zwGEGb79JktVVvN2dO0JX+ujeiL5ERg0TZ98p9b7RhDk0Pq6G0eHOKsnuhtq6dcb3IQQmAS4mM8fg4ndIHTypUludnXXsyizR5homA+LMPN7GVdzjjxO29og6m6RnZajzBtVnPq3ehf1Xf0C66pBMHyRqNDDLOZK2iZGz8fa2GHoNCieeIhFHdu2+uiBnzjxBzw/RW3vovS1CI0OwfJnC0UcZGFmsKz8gWTxGIhuxoEVm+gT+tQv0h9vks2MMWjUKBx+ieee8JK1JHT9N6851MqNAbWJ7o13yR55h0F7DnFki3rxDEgyJekNSB95HtPEeWl+UXkJRN0nKVfVzpqcOkXgOo/Z10vOn8K5fIZiuUtl/TPEx9E6dYOc+7tIxhr6BmZVtao94/Sa2JEMrU8SDAH8g1VeNZHOLuDquLvdOdRZvax1tvIQbp/C7bdyHHsbf3GN49UXsw4+TmZml990/xTr+MUrHJvmvv/ab/OaL8CPvq/LNCxv8+FOnefO9u8xN9vh3X/sVwu/+JTWpt6Wz6HqEZrgE0RCv1SdXmcTf2sSbKDJ2wObJD73J7KRBbxiyfyFPYxiyudrk2KlFtrZ2mfIDvtsOKYQ2KSehmIn4yq8eJlPN8Jd/eZWHDy3R6XRo90P275tma7dJrdmk7MpCyKbfatPt9VhcOkC72WByZpqdnS0sx0YPYiLDZGJ2kje+8yazcxP4whcpFRX49f7qPQrjZSzdZE+UiZOTmITcunqXxf0LODmXyvg0g3ZbAQR77Ra2mAmCgJn903iDPru1HoWSgFVFOxwzvWDwG1+q8Vvf3ObHnhhnpI3Y3vJYWhzjravr5ByHF6+/xej6a3jaEK0TEEk9UJ3HVzBzBzCkH88I2yoTpaeIBmJk6mBI8rg3whpfUlYja3cZTdm92iTONNr2O2pzbSVb6E5ZvRstLyBxBgSjhkpEWflpRns3iASmnFtQsPVh802ydgo/ymBK0nfxx9H9PbzNb+MuPkO89rLaKOszz6hhtu6vi89BpQwlHSw6udhK/uq5X1HKTN2vk6SPoNs5/Psv49gOcXGMqLmLmZ0i9IRrVcMYewq99j1iYxxr/CyR3yXauUysJ+gpR2lXZeFk5Y+hGyPCQMPSs4xG67hyIR+0MbIzRDIgmHgUX2xVO1ex8vtVss0yE3xhEGkBen9ZcZaGkal+zkiMTKaFVj6LJkOL/jVGUnuNPXRrnLB0HL0vl/0RUWKp1LMmXB1JNYieT+DDofBg5omHeziVeaLQINh7Ey0zjZtfJEmNEezJ4m4X3T1IEHYxDU0tjgUKGtPHbG8TZY+R0CBxig+0hKMOuPJvf19V/nypKEkaPTXPsH6bWO4XknQ1y8SDu2ilA8TDAC3cJPI9ED1rflwtu/07z6PPfQAzaSsmlZ4uYziJGqLowx5aPCRIzxB2V1UK0phYUIm2UBLV7WWi3BSMelhGgSDpYeiSutVUdcXVbQJXtLhZUpHUEuRMVsa2ZNrcQGu98zuJHtWIds9jZM+gua5SQaSnzqm+wGD9dXKTDxPXb6oLjVZ66EHvJS8+2m20gU6SEwjLGknxOGHjvNLhJYWlB1MI08HwuvSF8u86OJkZhrqOpku81yCyhIpYx1QXcUmiHMQb3kbbvYRROYyum8SjXXSrqCLmlri7vaGakMjlPup3HnRuM2n0liQASmiiHAwMrOoJ4uEOUW9bxTAte4y4NKXcwjQuqQ1f4M6qiH7oCkhvSFyehNhWXnNXH9AbbZFKphQlWhOgjC66pCxilDZiocU76P2bws/DGX+IMGgTBB20wSrhMMKcOIct227prkjHWXqW8QA9PYmfncBprkHGxtvdxnRtrMy48mTGXl1NnwUeKHdLR1QhgxWi7BKp4iGlt5Avq5M/Srj5ElFxDCtK48uLMqrJGRBfOnvuHFF+DtbeRJcBgFvAtGfRZFMYBehhj8jKkQiF0uvihdsq9m+kl4AmgdSKhYzt7xJnDv4V0KqOPxigZxcxpCOz9SpG/piC1wnN0ohC1VXR7Ali8Z+PH8P3+wRy+CjOKCWj5V1Hzx6l334P06iCU8XsDfDl389rok/tI2rdZVRrMFOdpUeB7OlD/Od/9qt84d+8ys99dE7RnlNJn61diXCPmC/k+aNvN5jdn/D8Vz6iOAONi69Qmn2IQbNJ0l7Bnl5SmrjR1kXCugxlAvTyUcWtiEIfJ7NfWS6C2jukpj+H7i6DbXH3f71BaMtLLSDsheTLRaUJyx88RWZ8DN9P0a+/hWEu4Mg01d8mzo6TdO+gy8WzdV8NRELdwR5sMggCXCHt198lP38CzYfV7z1Pav8x/EEff9gjpUHlyALW9BnC5dfw4yKu0LFvfQtHYkDeEGtyP/2tGzBoo+WmKc8eZuv2JlMfcvnzr6zxd/7lJp8+l+Xo4jxbtQZXVvfY7fblvMx66/fRbl2isz0kGTtCb+01Sgtn8NfeUC8Je/JpYjNN0t9SFyHLHBAO+mpLp8kFWgZm8vklLtjjaituS9Ik6amUj+fdw7DG1IFKomlxTy5VDfzCMVwrIIo0lQiI/T0Su4CdjPC7u+iaRJ+qBK6F6dUUNMcS0nxkEMYDbM0ntPcR6H3c/jZJ+RCJLwCakYo6xXtvYFWfIsIj2XkNc+YzCmTqj27jVh9S281Rt6bqKVROY4dDejuvkC4dIfTk0mMTZSce/J2tArYWKu5A0nwJK3sSPWipSKZZOYPubeF5IYbE6BDDQKKSCXIxlmGMJUNJx1UKwqRXI1vdR5BoBLuXCP63Yik19SPqYh/uvolTfpjEkhSU0GJl0JDgB13ckcTzj0DGxEwSvGFfeXsNcdE37hAUF0gkKTTaJk7PP+iuS7x69y2M8mF0GToKGDJXwqpfVhBMMyXdu4RENETeBlHuCIIS0Ad3iMRza0+QdFdwsqcYGQYaMnF+DGPwHkH3NriHMEWL1r2FVXmMeLClni1W4wa+Ke7x0/g776khHppYUUqkMgfUv1lh1uQf/OS/4msvN3lqKcvMtMPqdoPZ+QprF7f4r7/zk2rjVJiYJajtMdi9SWHmEN3tNTKTB9Am5qnffI38vkOk8BgONPRujfZWi/KZRTKz+5n84G/jmB5f+ORJrly5T8+zMSyPKNJ55XqTM/M2L999g/5bf8SgH5KdPkOiW+p9Z1g51Q2U+kM8bOMWJ+glk2Rk0JyqEnSE1yATedmi1yGqK50R6XnFWAl617DH9zNsDzD8EWbKIpDfVfEaGjZRbwWsBSyhp8ucU1RCUi0RWrPUNPxNtMyMMsj0m7dIVR5WW187bhNJtUr8y5Gn+tyVfcfRS1McKH2QT3/2sDIavHRhnX3TGY5V03ztQoNJbcA3/r+HWHl5h6SYoVwts7vVJJXS2N3cxbEccsU8xUqZd18/z9hERUX7d+9vEum6ilhOVKdwcxm21zfJF7M05aLoxeTGysyMp3j+hVV+8Ws+j04GlEopbtcDDlbEyFGktrXD13/rw7S6FbTxMtHb3yUYm8ZZWCKqtwhbTTLVIgMZWF2/T/7wPEGpQvfySwqMK0m94oc+S7C5hiucALNAb+0a6UwJc/8Rgms/IMjMEbo22toNUtk8zXv3KJ37BIF8l2Wx0NjDmp7Crs7hX3oLY2ZGioZkM0W87h6OW2Gwcol0bpx4ZoLh7fvkTzxM/ZWvs1ffY+kn/z7e7SsU/DbXt2A2FeIWbTLHT+H3BzhxRH9lh3ev3uQX/v0lAnlcaQa3ehppN6Y9iinKUA0YuBoLaagPEqZCsU/AJx+f5DOPTXL44UWsgY72ftEI94m/9w0CY0R9t0f+0BkGkU9qe4ckSdGT5E/pgAK9Wju7hEJ79n2al16mePwRtGoFr90n5eShUCFqrKHrDkl1Rime4/5QLWkMxyLYuEfl+Cl67a7amDntbTj7fvWuDi6+hLvvDHoux6jbxBybRmtImlNHqF3WyMI2AsLONo21NUqPPInX65OemZXxKP3dbcKbl0k/8iT9+1dJ2WXM8QnidhttWMe30wSrdykfPEG3KculNtrEBKnSEsn1twgkov/0RwkGfUbf+q84Mw9jHX9U2ST8lftkzhwhyc4T797DHZtkJFyRaIjfqimSdqo0SXf6MKleHf/uMsPdFQrHHyPWIkaNGuNnPkDz3rt4G8tw+klcK4u5dkOB/ayxafS5A/Te/Q66naHwyHPUvv57ZEslwtJ++isXyJw9B/eX6d25RPXZzxMUKoQ3zmNLTLsyyXBvBS12cUuT+MIJOf8845/7p/RuXcdq3mXkDzH3PYK2c+/BQkQgqsGQRFScl6+iV2Yo5TUCTccoH1AV3Wd/8RvsL7u8tzbiE+dKXLlZx7JjvvH9L+Bd28brdVSKaNBvEfRHOKIttTTShSIye7ccDWufy0c++xK9bsBn3r+POzsjNfQzzQQ9o2MHMW0t4s23A37mUwW+8NlppqZtOm2dftPn/sqOAp5GpilEM8r5HL5hkrIcXDui1RmQL+YV+X/t3j3ur9RZPDzD/kP7uL+8ovTPmXya6flFGutbKpqcyqRZvn6HqcV58rm0el7HSczK7XvM75+lWC5z9+YdgjBkfEaA4wn12i6lsXH6zQ6FcpahFxCOfNI5l2F/QDZdoNPskimUOHw64fNfvMX31gw+ecbhZtMjZ1vYCVy81aZQNLiy+QOab38frxOQrjj4G++o95mAfrX6BXwjr8CDeqDj+8IXG8OQqp6ZEIjFxNtES80Sp0DbvYEuMfL/n6U3D7IsPeszn7Pfc/cl96WyMmvJ2rururqrV7WkVkutBQmBIDAojBmxmTGeifA4YCYITDg8GNvYwYwxYMYeIISRERKyWyA13ZJavS/V1bVXVlVmVe573pt3v/fsM+9X/ksRilAo49a953zf+/5+z5OT3+jr9FNHSOdMAmsKs7eBvER8YQ2NnFNA8LC9hyU9f/mDUpKstIgNeYcKWK5LKO8OGRZMfZRY6q3tiFTSoidDiAMfJ2XlaN/8U2X2sjMTRJ017Gxa3ZcElCcgvlAA33s3Vb1QC7aJskdwcqNoidxbaurfUnS2WruBJ/YAX84ymqpzO84kYesD4tBC0wKwRVXrKhsSVomoMaf4bqJnxiqC31R3HUMqk84IWtLD0PcJ4wmccFPxEoTnFu3fw9TFdIZa3kVmghV26XdXMIonSGUmCdZfwhh8Wp1NQ6+DpQUKnBeL2jPUsf0NlSTWjRzkj+CIcU7CzQIpr98gESaVIYRtm7gbg4D05P+wWVMpPNfN4jeWMCrH1dlLznIClI33F9CzB0nqt/GcEXKlAwSNefSxp1SFwpJqqVQH5Dymj6lUn2hFDGH22MUHyyKpV6bSBCvvCiwBQzfVkqnfvI9ZPqBqEf7uvFIRRsIKyApcPMTqNzGdjPo3kAV9VBxDT/YVT0JUz3EYY3vzhL2AePSZB2djSV2mRtGlY2Hnsdw8nd33MFMzymqkd5ewhx8hqN9B23vvXyUChhBVgzgi+/vLmFqXSCB6sfSdbRWhkuivWRojkAPy1lUYO03SamBmSwpa569fIT3+MJrXpusJDMYnM3aefuihS4RPIgsyzXBSmMUZRccM5EJWmFGH+qS5DaKwElLh5MME3i5JtQWjMzhxTNytk8j/V5RWfUloELZr6gIRxX106VenCmjNdSLZlIax6mNGBYnftBTtPow1dL+LmSqp+GgcddVGou8JD6AojQto3sUZPIrnC5DsPqaeJenXMPITRBKZ2F9ByxVUjCJoLaE5OlpSIExNksYnqF9FdyZJtt6FoSOQP4UudGk5ODbuYhVGMDPT+I3L9LeWcMYeQpe+8/2/Jpn6DLqVe0Dizh5SsJukv65qFCkjTWDm1YWD/BDa3ip+cx6j8hhhbV4RpUNLPPWThKJ11DvE+QsK2mcOTaF7YloI6LeuYg+extRsvNYGWnrqQVRFYnUCs8iMEjS2FGdBLgSSqjBTEqVyCLpVpb2QC3uUzmP6m/SCHI4tl5xh9L05Yom+TD9BuHEJPVrD68VYxZOY+SK6oocuEjniHa2oLr2o4dp7y2TGRwiz59Cqi3SrF8mN/xh6Tqc1f5PCwTJOUMN3p7GPnOTXf/xH+cO/3uRgCc6fG2LQjVnd7TKYy7MeR1x8c5fzY/C1y7+Gub5O4+LrOGe/SLS/RLD0Q+yjn0XbvE6oWaQOPU5y54d4mQLZyklCAc7J1EOziSQKvLJB4eyzrL39XZr7PpkJAQEGNPa6BI19xo+VyOYsnNNfob30HZzMMYzcEFpzQ9UbBBATxkOw+AcEzjEsu01S2yIZmsYc/Tjdm2+Smz1AZ+ESm7cXSJUzagsg0cewFXLo8cM0OgaZkQnc9hY9IawOPkFiNgkUKTlHJ9LIV2bQhg/jrd3CEPjIhfP8wi+/wcVbERcec1m41+fo9CDZYpevfm2XX/vKYf7xH/wOjbcvotFR36/q0qtkpj+JXTqqImB+lMXKZdEFOhcK46qNLVH5cAtLitH2hBoi2YZFaAUEa1dV/Fb1tIW2mjsM0hdrbmBUJvE2rpEePIvfuv5AjeaMk0Rb2EYOv1dDcwsqyh75vupixWIEcTOqFhT2JB0yTtxp0U92sQqzWL0dFVfX3GEC2ad7W0qLp4cdZVwwSk/QW/0G5tCjWIFHIJvvuETYvoc7cE51cL3GhlJLxe4YdLv02/JwPEks8fc7f4Q28jkiMXA0l0lGngZnkP76FZzyJIZl4Nfm0IVumxnHTHw1OIwDiTpKBCClvNNC5LVSQwS1ayopYA1dINISpYoz5FkkVN6NHxCnBjEHziEtg0AUWrquOB3SO+2GLVzRJOZPY8pUuz2Pn55RaSeh9ca719DccTSjQ7h9R/3GE1O6oyFa67JyBGv2cfS9vyMQD25qWKFGBVGktfYIM0VMSRrQg5SD1g3ozb9IavRRZQOIunWicIdEIDMD0yBuZSdL6HUJxfyx+ypW6ijKCCgDoNQB6C4RykCSDJrp06vex0nnyZ39OL/7i7/IX75ynyMTRQaLaRVxFUf4yy+/w3d/70vkThxj+/oc/e0t0pkCufPP0Lp5hebaVcZnZumGZTo775IvncS22vRE2bffwO/qTDxxjr0bH/KR3/qQR49UGHBNru3WGMpWcNMN6l6Kb769yUt/9st86id+lN6VN0hy0/S9ENu1Sbavo6UHiDJjRPv3Md28+k1HbTC61/ASHU00P/1VbKNAP1dGWH2+FpD0apj2IDgZ9Y7T9CZJMqYO9lpG7Dm74k1VCTDZ6Kt4opDFBx8naVxXmrA4dwzTLRB31lXyzdIM+t0Ngk5TxQIdN4uMeKI4TXZ4CH3yNJ88/TTbDZ+BnEZkxLRFeRpp3N0O+LNfqPClz45z41afvfV1jLTN5Ngo9Z09xiYnaTT3uT03z8GD4xycmeLWzUX19w4NDdJqtJiamWJpYR5xyuQzFikrTbVaw2s2afctnnz2Iebmlvn1b7bIJiFnyjFhPs2l+y3evNtmNJ1w68//Adb+OncuvoPpjJKbOqQGlqlylub8h5jFIeysrTRuelqSQ33aK3dxD0yCW8asbdJq7qsaRe7hCzSvXiG88S6pZz9P0qwTVDdJlYoEm9t4+UGSVpvhI1N0PF/B4YxeA0c+f18n8ANss4tf3QJZUBTKGKlB+vc/hI0VopNPU6mU2b/+DvbxI6TsKXpSt5PDWW6QgbRBdONtWuUySd/ATQ/gjuWp9T0Gn3qceHWT6rUrqjZpGnVuLO8zJBtfy+GdN67z2OQI2UNlBkdLhGmT1ERGGiFwcw7/6GHaSx1yDZ/d1Q0i4WsMzeBqHUrZA6zJgG2/hpkukj80ixMleDtLxGLaOX6CZGOf7tz7OMNDUBlW2l+z1yQK2nhbm1hjh9EyBnF1H7s4CGkLb3metJ2jI6nJ5XtUHnmKQFgYN96ntbtN5ehJ2paLHXVxBsfoXf0QLRWhz54nuv46fnGaZG+T3MExvEakWETpycPUP3wXyzTInDxNsLlCpnSYVm0Je+ok0co83tYK7qEZYiHxHzhK682XcPNFrMeeoffmd3GPnKUvjoihUeLmGn47Uv5zX4/RVq+Tcou0NrYxi1mcmWOYqQy9O3O4x48TJzaxoLY1Hf/S65gHZ0llstRX7mMXxeCyQi+IKDz2PJ3VBby5Dxh++ovEAhgVB3joYc8+hjH3Hq36LqljjxBt3UN3R4gcHUsUY/MLGEPjasklHKvsoSM0Fpbpzb1J/txTJLFG3Oph45NkpCawRko21BMn0NbuoA1WlHatc130bweURo2xSbTdbQXPjmafILn9A3R7lPznvow//wb6xTk20fnE71/l4YkUTx6eYKO7x+2rDTwt5I03fpLGtaUHw+9YYF8JoYLEakoH6WbThHZCcWqYxR98wBf+dYvHDjtsb7cefNYZm42dPpWKy/07Ndr5HF+Y8fnt/32Wkqnxg+9uMH04R9/XKI0M0NyrMzY9TK/pq3fJ2vImoS4RbU3pNw8cl7NuQN9vkc9WuH/3LuURYQOEZLNFeu2WemdsbFWZPXEYN2WxcHdJ9aRLgyUa+w21mBkcHSEMfXpen8HSIH4QcPfGTQZGh7ESg1a3zeD4CJGczTb30CyDEXl2JNCsd5m7eZ8zpw8yc3ZhedzIAAAgAElEQVSAz/3im/SdEhMFg/W9FqPlYdZqVcYqFt96s87+8v9FqrXI/qqOVR4iqr5HmDunkmdWbkCdG2MB+qKTTjsE9iGSxjXizBDSvvMkQq6XcFJFpciOhQ6vZwi7t0llDhGJJlK0yt1FxYUxA1cxbaLWEnZ+gMgdwPTT+ME9IoESy11AOu1VWdIWSeTcpYVYjTW1adazJ4m8ZdgPibr3MUwLe/bj9HcXFE9KFhJJklZDum6UkJKESyDFa+mh3yMqPkYQrOEkNmRHEXE0sUCOF4nq9zHcYbTKLMHuFezyIaLcccUN0torWLIoFsOIDELyh/Gqi9hyKSudVLDvsHEXe/yT6LQJt69ATmxpor3T0aMmoT2GVr9DtHMd+8yvYO28+gAeOXCeYOs9DC3BGP2Y2n5rcl6Ss56dx04J5LtJYiVorSaJ42LkptDai3iSdtRdHK+KL+ce+YLtXsLIHiYK9xWrQaxJTtol7DYxpYZaeYhwfx4j2SXKPqwS1Ij+0BJrS0VVJYRxpDeqUL9OsH+P7KmfpbO/rECGon2We7SeNBWkUIsdNDNLXJ/HyBbwgkSlf+J+APK8lES6pAfyB8CcQG/dVYtfO1Omu3ZDmamc8ZP4/Tpm0CTUSuiFwQf8m/0t3KFxBThOUlk00RYrfoFNIpyhXofAitADlbPG8CLFfKFyTLZtxL06zuARevuLaI13/nUSh3W1wRY4QhC2MbttEiFJi/5C0I+9JUIBTaRFPyWUcghWXsXOTyPH3KR4lrixgBa2SY2cxW/vqIiykM5Dcb75/2Og0LxLauAkYXaYaO8WYbOKPXKMsC7QwTSmOai259LL08wM0aa8aMqqu2O4RfTODpFEQkgwAyFr7qC5Qj9/mKA6h5mz0RB1jE8sTIHqAv3iOSz5soYaDI8S7d3EEB9lcYp+FKuNmxNIzL1BJIc6gWp4DTW9kjSBFZqEvSpRdkJ+oZhxRGIVlStTlIJ6Kg2BCZb0PbKKGClRZas4TtiVTWhHgQglitXZep9c4TxhsKI+Z+kix8WDqgPih33cwhT9oI8R7KEHNUL3EFZuAmpvEmpD2JWz6L17dFbeQLdL2BNPELV3FWVVrAQCNIuNPHY+ixcIDdwi2p8nJQ8tMR+Iws/oYPrSdUtjlA4S7ywS71/GFOBG5WESYTQkzgNgmtbHjEvEcUt1t4JsGTcyiRTys4u2XyeSekb+PJau4dXfwXCOEaVdEj3EtvME7SbRzttoAxdw0hni2gpa+QCRADiEKTD4JEbjCtroUyqmrOAhbglv/WXMVo3siZ/Eq27T7tzE9FPkx6ZJnb7Ar37ks7x1u8fRAwaWqRNFKdyczjPHy7x8eYVvvxfy9x83+Q8//F2aX/sNXLtINHoBu7/Ozm6HcnmQoHoVbfRRulvS57ZIZaZxDY+2WCNyMiRpk2xdJHn4H9K99DV2riyo+CF2QFpAPeI9jdoc+tTnCTaE8l2BSMeZ/gj96iqJgCnz45gM4XffJFM+RNJP43Xukhp/mmDtFYLmKvnZH6e68AqbF29jj4j30yAJTLr1VaYeGiPQs2QrE/Q9DV1rEqzfxZIEzejTaqgT1W6ju2W8UgrzzhyF80fU727wiYucOFrgsw+X2QsjbtyQhIzLG5cbbN37KunSAWqX/4q04agtuhOE9F0LLZRuaplwb0N1rS0zItp4Fyt3VA1+wkhiZhIdl6jYnhqG6XZa0fJ9x0H32iq+ZR14Rmlg1IMvkDGhp4jd7AuhfvQBhKaxrC76hpshaq0oxZ6ki8L9a2hanySM0KwROnhkUmWSvYsY7iRRZpqoPoeRO6BUpLFAHC15sbUVVTxy0kpTJzBRRWaNdHR5cdQvPrBzlM8TS/xfbCCdVZJMAUOTfz+PqH1PvTB1s0WUiLEjROvMQfkcSWhjyIU6lUfPCBRRFCG7JJkcca+P4WRUPUENRsRU0pWtregvJeqQqKm5VI4kyp4dOk0/7GDpshmWysgN4p7At4bR9RS4BlqYJgg6xPJykt+aOwWx9CiLaElDvaiT8mF66y+prbQTWHjtVSiMK8WMX/uQtJ4mcCo4bhm/tqwUhEn5ScxANjgBVmGazs41XCetDm+iaYqFzisT+cwx4sZtElEOOgX01AE0iQu2loi7WxjFo2id+4TtdZLCIyRhT31fNPcAoZVF0I/+znXitAu42H6XzNnnuPqtf87/9CvfwSykGBowOTmcpRYGfPOVKm/9p09w9OAsN16/QiETMPDUOdoLbdJFR6nUtl/6S4qPnMPIjRAuLKBNCd15D8NKw1CFzl6DiSfP8v0Xv80Xf+sm//jHZlhc3gEzQ94M6bXgYtVjZbXN0srXqeRDNq4so4dbDIzMUt1aJVeZoOtHuInUXrL0d2+TOAKLLWAJM1mSKLlD9LYvksoOEOYmaF35Ku7EWezhTxBvv6J6evrgCbBGVMVF/rdJbKrUVW/5FbLjn8LX2uiRTmC5qvISdyXCl1fwSVO2tZI6CnuEuuiTMrhmQQGBkvQBkuoHmJkRnAMHODz504yM6IwOltndanLkUIHafsClpQZ//U+Geej8AB++tUlJ1GMZh1qtQ6e5Rz5bwsq7jI2Ms7a4pKjVxaESQafL5voGuVIRy7IUxCvwOizOrzEhoK/RIXa2arQ3NimMjXLsaJmv/LMPWfDSPHPCYGfJlOUDC/dq3Ksb/JdfmeWxFx6lsReRNHycyQr66h6NzTmMUgVzYExdLpu1bZJ3XiYeGcQdP6Xgbs74YarvvEoyMUApXaLtt0jqbaUK1MvD+Hs7ZI6fxd/ZwIz7JLmyAud12jUc8ccbDuHmMpqTIx6aJFMuEXb3CapdLFtTurq4vYZRHCN3+Dz1+fdJpXSM0Vkiq6LI6O0bP8Q9+Qj+1RuqapU6eATtwCzW9l1au1WKxy7QvnuDytFDtAQQ1mniPHQeY/ES0e427slz9FotXKNDUJpW8F6v1lUXdwFh1i5fQgqxUWgydeExmrU9os4u5vgxvPX7yuKjC3xPuusHz5DLueytL6HLl3lpHvPUaZLEIXYy5I6cpvPqi1gzp0lGp2m/9d9IOync84+x9+E14sXbpA8fxDbKoLeIyiP4KyvYUxM4hVH6tT20sEVve4f8I5/BkP6zDcHdu6rzbIwO4M9dwxoYUVTvZGwKty71lDRmIjHYLF7aJVpapL96Hffcc2qQm9DHb/axRkoENxYpnn8YPbTZufE9kuIEubRLc/U6ul8ge/YsenWR2tw82Wc/Q2f+Bm5tDYYncA+cpVVfJj1+GmpiJYrpLUmlYxvDtUkdOoPf7ylbhmFIQnUIf2MRt7FGUBgnTrkKBps5+zz++j21QPJX7lI8+wL+7Q+wZg4RFcYIrr2NJttTebeNDtK+9JayVGTkPZ8Ta0wfvZxVTBhhAXgrt+DeTUi7WLPniHfmsDOjJI98Gv+Hf0Xc3sWefYT29Ytou2s445M4Dz/Hzot/jjuQpvD0Z+jduU+nuaOGCmbJIZ0fp9aoY7RCJn7kNL/xU7/PSmjSttM09/d5YqaCndYITIOvfneFK9/+MoVzozT/7jU6tT6FwQGli97tNSlLMszrUjl0EGN2lK/8xH+n3ksxWTZYrwecns6wttnmby/XSLsRA2aO//fXB5geS1ip2+itmLXVVXIlscSY6hI5eGCKxbv36DbrHDg4raC/mgb13SqRF5EdGlLbWrmUymXdzWSYv32XnaUdzj56QkX+Nzd2GBipsHp7BStlcPzUaVaW7xH2pCIQsXp/l9n/n30gVgZJcgpbYXB0kN3NmhogFIcHaDSaHBEV4PU5es0mT7/wEb73t69RLkvyTBhWNutbNT7y7CSvvNvn5/9giVPFkGw5S6OaMD7qktd7/MlbLW5/+5eYefoxWvNNYqtHsnmfwsEnqN15FWPyCTSzAOvfxRg8DWkZjt+CvoNmNLGtIYKwq9LFml5QXfSgvoCZP0bKbNHzG5jmmEqbJR1hYlUglLfkJnp6VungLK9G38qScsHvyeU9i+1YxL0m+tCjJM1NgsYtxU+y3QqhNUJET6m1bRkepHL4Wlo92xJjmP7GS2jZIdzSOYL6TWXNiMtn0MQQ0N5TWlsxVCRamkAuniYE7hhRfRVb3tsBRPky0e46ZmUKoyvL1/sYqTKh76ML3NgdIGkvYQycJIpsgrk/I3XmJzA6fbpb38c+8Em0MKa/dwtHKo/pCbB8NPm8tCa6Jxv5iko4BlFArBvEtTnM7AEsx6S/f0sxzdIyNBJFemYUS+pscR8rrRNag4RerCrpmsA84zzanT+E9GGSsbPqt4dUwYOeqlp44ZL6G2SZF8qmPTVM1L39YOErfI7WbXTrMGh9eo1V7MIBrKBLLEw7y6K9/jr60En0WECW4nj1FYjRayxguuPqPhHuLz2wBEgCUpdl2iRJdZHEW0PPicWro8CCcV24dChAuVSGtKEpvO4++uoljAMfE4UbsTtK1FjEkHNWUbTQJXqNHfTMIcWc89ZexZp8EqO3Q5yeUfdRzduiX13GTk9KVFFZnaxCCceYpN++q+6yWu3iv0ksw1TbotDfk2yF8nojX1A5mMhUsHIC2msqHhqbFYzBM8TBFv7GPcz/ockTvZ058pCyACT+nuq2+JaBlppU8RFDbALOoLQT8Tt7OEmfpHBW0a+tVFl5MX0sLCMibtxHz4+pTUmo57FSRRKtQ9LYI7ZdtNYdAncUu3CaaPWv0DIz6Nao8tv6otzrr2A4YypOaRs+ce023dYGVhzTn3mBVBITN1eUDpDSOJaQOGVKlPiEmuiy7mFqpprgCK2cjmzbF7AGPoqWbBPXN7FKhxCZo2gMtfqCmnCmBBiYn8GXz0oinGaBeOcaVnEAQ/R7uq1gHlqwpnzqUlEg7OELbDDSsFyZ8GwSOzaRnVPxXL2/o77sKekk77yL32thVo7gaG36lEAeCtJ39Gvo7gR6dpy431CwtDhdwvAjAnGOi0O9dJS+XFBVwEUu+KIos9G9XQUIjKM8RiL6KpcwTvC2LqkpppYRh6SLEeokzQVC+ezTYknQ0PrrCnJhZlPEjUX04imi7h6xUK0zk4o4awehiiRbxUH8zZvq0uEOHKHd30bfuYM1dpqonyKKl0nljykqb0RTQdWs8iy9cJ+c1qO3Kz7uQ5RGi1AZ4PTIp9Uk/vyxMve2OpiODB4CZgfS9GKbv31ri+/8xyc5+1SfOy+uMvrQAcL7t7Eyg6Rnnqe3c5W43cSdeYj+xodou6voE4+TBDUFpEwmHoZ6HV0mf1bIta/+FdbEMAW3j5Yt0t1pkUoiys99CaexTVQYJg5zGCsvEsQNjEd+He3Wf8GuDBOWn1UQkaS9jGEP08/mSXc2lOrOLk3Rri1w/3vfUxuLbN4lkofJ7hZHP/E8SWlUDUPqc69QnH2WMDTpVj8k/dBP03z7TygcPEp/b5PO8jyjhy/gfepjXPrDF/nsP53j5z97lOJQzJ98fZ2//6VjvPjGdUqGzit3P6S9fpH49lvo4x9XnttEfKuOqGHEQugS+neh5WOXD4pCGjcvwzhdvTQkPSPfN3X5l1izxKATHTsSyt8wXlN+Q22M1BCeW1BReE3SKWEXTajmjVu4+YOqspJIJKp+jziQ/nxRRdNjyVeLH9ZbJei2cWSaWjhKXHsffUg6YXlCediqqWpfRfytgcMEvoaeGcaQCsHme9iFsgKwJHET9tfpN7dxjv89BeDs795SrJDYGSZtDdMzPDS6mEGgOmNCzlYU1UgGIiNKNxS09zD8Kohrt3gMTVI/Mi3evY5x8HE0RH26KiJbBV8Ko300YZIkA/gC/EkVSaUmCPvyLEtD1yMxOw8UilaeUJ4ZkY8hQ8jmHWIKMHoYo9NBK58kql2nV7uBO3RccRF8f4+UXVGKnETqQ+06mFIhCBSMR55BkV0i3HgbxxXA6yT97cukJh/GCoWE/dfYRx7Hyk8rK4ataYQyBJXaQHqMaO1d4nRZObGTJEUi3fjqTeLcNIYzQCJcmNYGUf0K+sEfVQPbZOeiIs7qot2NMkTV6+QnTqB3A5o76ww/83nqy2/y+Ed+W/Wmjx0eY2Igoh8nvHJtnz/91VN85HOf4d63v8PA4aO0djdIBzGd3RXKH/8y+tQUnb/5YxXJTU5ewGy06IqXeGOb4sGTtMsFBqRGNFThl3/uP/I3C11+4clD7Act3ltucmCowEcfGuS3v7XAsKHxweaLRB98SJQ2aO00cEdOktSW6DbvYwydhNSAIvxqgVgrNByG8Y0NRbT3+11Scgizs8Rdn5RRJTGG8PYvo8c5tHQWzXaJW5tEbhk68zj2kHq+WoVRgp4Dvmzc08QyYJHeppEhbL9HYhxQ6RpJjpgSQSxMKDiUt/IDsoc+r9zR2alp6u0tJmb+F372S9MUjD6X5uucnRnnr99cZG1f58PfLDI8NcrLr1xh5kiFyuAQYdtnZX1dHc4fvnCebqOt4H+Fco7JI0fod9os3LrH8YdP0O1INSxgbHSKtYX7LC2u8cjjZ2k1q7h2SXY7jA+F/PYfbvH6Ropi0qSlWcwOGJRGBvmTV1f4F486/Opf/J+sfvVreEsLhBPD5CS2OTlDUhW/ekLq8ENYGHRae6RmT5Ps7pLIpa/r4dMllRtXQwjDb9ITI0viYdtZegJi260T1jYwhbtz+gna117FFSPHyAHs4Rm6739X2Qa0nk/rvZcY+rlfp/Hm3xE169jnnyK5e5l4aAp7aJzOd75B7smnSQKLvtHEWNxCs0y0jEPqxAX2X/s62cqUUtUllQniW+9imJ0H217Lpat1KLrjeNOz9K+8j5bKkpk5wtqrL1M5MEXq6EmCe1eINKlC5uj6u+RLQyrVwdQF/Ne/rdKY2oGTmDvLhK6LNTiDffwM/cvfI6pWlRfcX7uE+8QX2H71WwydeQTv/g2iXox+9Cja3ZsEA4PoaRet3cLf2ibzyMcwvLqiS8vf6t+5QurIafX5eBuLGOUiSJ99fZW2naV86CCaXNzvzsP4Afq1bXXeyI7OEpdLdFbu4929SeEzP0N47YdEQ2OkHIfa+28xeHCKriSJ8pJ8jMkk+/h7VTUcTB1+lNrSLcVtyh09RfvSG+hDU2TOnMWw03SWF2BzFUPAdbfewq0ME6ytM3DyUUVFt6aPPoA/764TDoxj1LfVJixjmbQtAzNTJpi/jTU4AMOTsCMe8ZbqWgRWgtlqKqVvfO8myZjYNFrq3yjUQ5Jui6BaI3vyKfy1BdKHj9H+QIZ5AanHPkFU3ScUp/f2ElHiYOULpC98msZ3/zOmXyf13M+jr95R5HI9myM2EqK9GvljZ+hnMgSXL4Ok+D72BfTlu1Aao3v1XdxihajsYhXG0NbXiKxY1SyzQ9PKklPOtrj0wS6/9xfX+MQzU7w2t8/adpunz07yrcsLnBl22dyUtlWPP/rjC0x/9pOwcAVfahYpm7ifwaq4RIN5LNvmv//+y/zcb6zw+SezPH2mxIuvbdDuwuzpDK9cbvGxIZP/548fx7+9x8Jug24QYRsu+bypNuzlsQHW1qoMDEslKaHZrBNHiYIil4vD5AYL7G3UqNf2OHRkhlq1TrO1T73a5PGPPIabz3Dp7UvMzEyzu7PN4eMnuHnlCul0WkXm+56H68oQ3mJ0dIhY15i7eoNKvkyz2aBer3H6kYfY3dhRA73h8Qneef01HnroDNWtXerNBifOnWbtziLVvV0mZ8bxvISjx0Z55Yf3+Yn/sM1PPCzpSZ1+PyS2LTrtmPdu7PHet3+T2Y9+muqVb5AdekSR1YMoh5a08JvrpAaPqOGGKfo94dOIei+MMOI6piwKvRqJNaRSZPHuDex8kSh1mCRM0HpzBL1NbOegAv/qYYMg0TFE+WYERMIKMyxodlRv3x59TiXFErmsSzpXFNMyjM9JbNxW5Pco7uI0q/jC60kXiNffQ2Ti5tA5TCNGa9fwxBwkUPLcYWWikC6/1HLdwgFCebcZaQXgxhdtu5wBWwou3exVSWUPKiaVJlWA5obSrWujn0C3eyS1KmG4rbrqcqGO+/NylMTIHyKR5Mnqq2iSxpl6jjjoYYi5JlsmxsESYHVR0gyS2qzjrb9DauC44mOFtZvoY8+q+1HidxVN32vvk556Aa91E9OQ4ePeg83+5GNYYnXxOirpRG+d1PgZIoE1y4AwEcq+Ryzmnd6uSuVq8u9ZmiDs1EmkFtDbwLArKhHtV68h9nizcoaoJ1ytIQxhWW19gFaaUXBF0zQwE41ItIJ6Fl3uxVGHTnedVHZMLY9Dp4TRE3XgDnpkqkpppIeq1pGkpWZt4y1/gO5k0EfOEtY2cdoL9ARWLxWeVF8ttGM7T9IQKG4JXdKx2RxoMrCQhMcBdDdGD1KEzduEYQdb2FWisq8vYw8eI2rtYDtl/NyI0mfS2SSRRV1oCPT8nyf9dpVUUfrccufuomsZot428l+Eol/KHVCwCM3OEzcX1ebTzFVUbEX3ttEIsQfPEQix9e6L6AOnVYfW7HvEreuEsUuYtHDGnleR9lCmYCrOn6K3P0fGyhDaLnpqRJHX9fY6sTOhpqBefQ576LQsD9H8KrGbUtEP2ykQRBZ2Ko/n3SGWTqwY081REgE5DE4RSMQhbMH0l0hWX1LdF3PiObTGXQytiZ9okgYh6O2rDq1WmlL1AOliOJVD+LX7GOnCgwtF7Z7qieiDJwmauySxbPBHiGXTKNudUIYPFqYxSRysq26PFoWEov50TDVtEU94YkrUVieW/rSRIm5dxSw9AULNl8FLqoxmFR4MP5rb2FadQM+rH1G09TJG7rC6sFmNRbrBGpZTIkmN4+gGrbU3VC9ETw0SmCFOLAOHIZJAJ0l21AHekgtL6JO4WfTWNkamSKgPyrGLOBLY4bbq5ovyLNp9Sw1fIqOM1q2raJzZvgcy/FBR4Wn0RCpJ13CcBEMfVB5ssSG4WaGWShdlClsOwO0dfD1CX/khYXYGe/wChlPE23gfV+lI2iRmD6MwRtzso+cHleYxqi+Tm/kYcatO6GSQsajdmCN1+Cnqm7eZffT/4OxMhVMPm1ye65J3XZ48UsJKa7z4+jo7WzG3bn0ObydH/95dNL1KVG+SmXoM0zLo9XdVlz6p7mANnSZq3sEUiItM4QtTRKUjxFf/lOyp8yy+8gaxZWPqeTqNHcx0gXZri8NPPUW2dARv/Rbh9FO42wsEUY1+/jApYTW025ijz2DU7xBGq+jZYyQCiUyVad78OuWjZ6hv73PvrQ8ZGpWIk0FKM9lfW2fmox/HixtYYqbIVehtXMEaehTbDOnM/Q3G1GNYsh10bOJsAX9pkdILT/Ev/8Gf89s/qPKPPjnE5kaXK6sen3l+ht/9z7f5yidG+IPv/D6NN7+Pk5ZIf4JZKdDbEgCMkPR1tECjH3RJlaaJBdYim39fIFErD4ZbUUt1KFWWTS79cagupEFvB70woS7+QWMTM24SyYMwtvBql3AKkySGTbB1FWPkKcX+kI5u2JPI/gn1AupX75LOjxGXnyAJA/V7koenuMClY05hQpkBXC1FL2wqKr30+sWzKkT//v6HmJJiyBxQKQFNHs66aFUi9PRRgqilFJ+WXLDzJ0ksTwHbaO9h5o9jZCeIe/dV/1lSNTK40+WhLX9rJofpS8ew/8BRLYMuARfGMXby4Dcuh1gZakSiZwlDRN0uw4CgvUzSE4p75gFs1JWXmE8iLxlHElCjRP26ovqGiYsZtemLItGooPcX0NwTqkIlfXsBw2BUVLfP6C2AHEq6AhXsqhcMuvMASOdLSKCALn2H2ira6BmZc0J/HTM/jrd/kyisk8k8Rqt1XTl59coZnKiF19uHpIbtiiYnjb/9Mk56hljAf+kBFanzWkIbl4tsHS3eU87biDZxJM7ehKh1R+nmtPxR4nYLzUxwD53Hjtt88fyXKA6YnHlklqXFXaX8e+2tXc4N9Pjj1/4Qrlxke36FtMAUDwsRHPqv/w3pE49jTB5Ga60Q+BbhpdfI/r1fgGqP2tzrogInaPQZOT9LqmTy+V/4C+Z2Yj71+DiNdsR20GU0Mhg+VOb3v3GPt7/+DznzqY/RfPcmVIpYyRadukYqlyPobmOUT2F0lvG7u9iVUximQXtvVYGTjJGzRDu3SVrvYpU/j4w6jaSK55YwxIdsCIjLxpLevjzv5XMPU+oiEsl316kozZRdOg3V+8SRaHweJvK3SNKTik6sKxOERpzKoUlSrXkPa+wp2ls3GHni8yy99xIPPf9v+fLnJrh3u8WdapcXLgxx8foOc+sR7Q8+zu1X7tGPNLIDDqYwejRdMWeEwN9sdtUAQDqocjgSP/PIyDDra+tkchllnZEth5spEochywtLTBwYYX+/xdDoIOVymeGzI/zL33qLf/m3VX7p2RSXli1urbY4Nwg3WyZfPFPm9/7VF9m/soBpjxNUCmTGpa96h/qHP2TwwieJOjv0OyGZyRnC2p56/6XyBRr35tR7yDx8RGmYyGQJHBdzYwVreBI/ignuvoPWT3CPnVasGfPoKfTtTcJGl47fxO63cGafpF9fx23sYwyU6L7/HubTn8Z20lBvKM5N1PUwJHEzMYu/vUFmdILAtOgtXSMt4C4D6ktrZIsuzvgMjaX7ZC98FHa30bKDxM27RE0PXYuJul11QZQKU6pYJPFDvP06iXCPOi1sF2W26LdjiiMj9O7cxHn8WZofvk4uX8IcP0e/YBEvXCYW13wzwTF1fKnLDI3j3b2M/cQLxNsb9DeXcAoyTM3j1beI6wK8O0u0KRwHOaFpaJUc/vYWTmaYVKlC0G2qQ31HoGzZNKncBN7WEn4mR+nYSYKrlwlHhonW7xL1+qRPPQW1Ddq1HRVrTTptsmYK7YUv0/36/02qMkI3CkliD/fQKdq3FsgUi0SDOdi+Q+IO01m8w+ATz9HYvocrKVFngqi5SndxkdzJh5U6Nd64hW3mMI8/Qri3SdzdJwwGWZgAACAASURBVH3sAv3NuwRr9zFTeahVFcAtmx/Dc1MYgUanvkl2YFKlFeNujTA7SH7iCMHOMt7WGunHnqe3eotw/gbpp75IfPsdjJnjBLGNsbZA/cbb5H/qf0OvzdO/8Rra1AWcoQP03vgGzsFz6FqXfi/CfeRZ3E6d/duX1KXN36mSPXiIxE0T7e1gGDG+VCwGB9HdAsnuFj3Px6kMYkkcuLOHduQJUtV9PL2H0aup94klCQ6B6fa6RNlBUqk8weZdlUgQSNpjP/NfyeZsPn6mRK+WsE2TbBhRDdOMpy3qekgpG/L+99r8+u98ii8+n8OYlCqRTdRssXFzi1qg8Z1X7/Dn/3WXmXMJh6w0H97vMTyaZmbA4uVLDXW5ff3PHsLqtHj3rVWOPnUKy+uzU9sh9BMKmTKtWpVCpcxudUdtdo+cOEOz08TrdVmeu8P08aMEQUyv3WezscfRgwfpNpr0A5/y8BAp21WGEdNOqJQq7NfqqkN/9MRJFpdWiPpdhkdH2N9rqCRyy+szNTnF9uYGTsqhUCrgZmx6vT5723tKDz4yMk51s0pxosDmnVXKo5P0ekLxl/1WgY3tHU4ezPHO9So/97U+v/zcEO/drjGZzdBoemjpiDffb/LlL53n3/zlH7Hz7X+HO3EBW9hYWg/LKitbjiO9/APnsZdfobl/FSs3o5Y6ifynsBZCAbluEAlXy6oo9Vo/XFYR+1AuX2aZyB4k47h0965iy7k2PUkQNh5YBSSNZFdAKmTZMqGVJtq8jiMX8aRJ2NmDzGmcvEPgBWiNWwpGKJUzwx1Fz+QeXHQ1QzFHZKCctDdAweWK+K0NZVeKkfSRWCxs+t6Ds11K4IypaYLWoqo+GobUzWJVc7bSg3jN69hRH/KzSHJc01z195nCrMgOom3dgP4GyZRsrgsk8jyUoawkoYMamAIgncTzNnC9TZLUKDFSNTceMMQS4R2Y0O0RZoUBJWkAC623rVTHsZsjauxiZgcxmnfRRmbpNwJsv0rYE136Q3Sr76nanH70RwkbdVK9RYLYQm9u4KUkfTCkFk6UDoLUyzNHSfavqd+mmO3k0h9ZDolWURUaSQBqQY3IyhILmNkLcNLDIFyD+i7a0Axm+ghhbQ4t2cfwLeJCBVOOxflRkvotBRvXWksKYpkUThNX3yShjCYpT+n8Zw7itxdBQPnGzIOkrzus3idWoKlaazD6OFpfOCGjRFtvq1qGIdwg4doxTLD7ukoKyOKaxCPpVDHNFIlpYRYfIqjNQWcdtAhdLHHpMlrznd9JTHmIBS6xd185qp2CTMrvATkxd6vtfBTritjoxQ5GT7ZLqwSGS9LtYAwcVp1Xb+NDcmOzxOYAQb+BLpqJzj5m+QTh7g/R2x769EfRxVPdXiVIZWTnr/QPfmMVPVXG1tpEAhTrtkj2bxDJBq34KE5hTE2Bos46MbZQB7C9HnpugMCZIfaaGGGLWPfoy4c2/CRmFBOvis/8OEYswIe6ukD3ve0HSYdYU4cwUSMEjSZG1iROTOUwT9ycojHqpoFuTKguTxJUVVRYIvKyCRNYmN+8gWsPEkgkWM+R9LZA7xO15AdooQ2cUP0PzZRYyrZS6/T0CmnrwQ9LnJo0bqK45mZO6TXk8mmm0/hCGZUOyMabaBOfVFPqWJRRvk6YCEwwVIfLxBJfuYXWXiWR+HjmGHqwhSlFF00OpLkHChu7jE4dXUuIRYPhVqBzCy0U6EuOyMgQhR6GaaMFIUh/2XGIgg6m/IAzIwRxGnzRr2yraLZlugSOSeJ1cXSH/ta7aMVBDGsKbecdzNmfpnHvv2FqJezRo0QbHxKXDqJ3d4i0GHtAiPsSyzZJZccJDOlLmSQIDLFOVF0hGTgsCZYHm+M4RGusqQFP9sTHuP/SV3niS/+eLzwzQKlUUoC0N65vc+FwjmrV5/sLXf7Xj+T4zW/+OO07dXq3VhmYstF6GbzuDro7qOK1GrHa+LFbJ3f+R/E3LioYCrkD9HfukXrkp7Dm3+T2lUtkc5J+CLGkP9lp4YQaI+ceJTR9ujtbZA4eR08/ogBiAoiM+gIJ6SpVpMTDLHMCI4I4pdFZvEzlwheovvZV9tZaZA9OETYbkM3RWlnh+Bd+jEAeeM1V/E6f/n6V7MA42vDMg/hV2MUXfRwumjdI6N+hfGKEX/on87yzkeLQgIBU4OzMGPP3dvn2zRa3vv8bHHr6o7Tffhd9uKKiREl9SYHHDBkkhNIdrBHEDqQH0XpLyi6BO6o0NnIZlxGp+t7Vbqi/IdCySgmjNefoN+uYknpxC0oPKRPxSHMf+G0rE+ixgy8HeLkAtep4YVepLo2Bs/imi+0J0b8l1Xkkj2bFIZFRUTpBsQNoks5JInq9PXWIjATOo3yoa5htgX51SFIV4sIhtP0bJEYZY+AMXrCrhosC8MEsExg5dZEW/Z6JgGiuYRQP4UUGlkTUnApRfxFLbQgEOLqKJjRh6bAZRTWVD3X5POrY6QP0TYnARkThFrqvq6oUQt3v14njvlJSar09BVc1skeJwyZGd41IBhSmTiywsqCKJfTr9IiK0xuidpQaULSL5sn3yFLMAywHTcCCVgR2CbOxSKuxQSqVUYR5vST1BhtdtJO9DpH83UIpqb6Hqxt4/TZmRr5HJ4mX/k71orVMGkeGSenDitDvi7XAHkGrv4suMFFPWAbD+HqAKdWJOKs6h8JP0CypKv1AgUZ19wRxfwXbcWnvLJAdPKVmRF5rHtcepxfWGHjqo/zk7KeZ79j8yJkKL12rkUt1ODpzgm++cos/+6cP89ERn4Yxgpvts3HlPtPPf4HO6j18x8SxM/grV0gNnaC2sYBbmsA8eIRg9RaF8RFa99YwS0Uqzz+PNj/P4Gf+iCcmc4wMGGx2IpVcODho8oPbNep7IRsb/wlvQd5xIe3u7QdGD71ItPFtpWhKBHgqPIrcFGZ9Bd8UBsIAgbemNh+Wb9HzF0gbKXp7t1SNwyrNKsiPfFctiY2KSzj0FSRRhkNGfR67/DDB3iW08lEiLYXpNQlr76hNhDb2GMn+XUxRRWiim4qJYhPDKWDIAKh2hewjP8X3/+if8Ylfe4uPnhwmb3ep9zRm8iH3GwH393zu/PtZ6k2drvThZdtkubR7XRr1qrqoVkaG1WWjWd0hncmxeH+JcinP1JFD1Kv71GsN8qJgtEwajTZHTx1he2ObjdV9ihWH995a40d+5jxv/XCJn//zBr/4tMvSXkwx42BGPhtdi+5ql2/+u+eIJk/S3a6R3LtDZniMuJglWb5BMjZLa+0OKT8hc/QUte98FWf2AsnkNMnCNXp+zMBDR6nO3SVz/gXMzTv0l+6SPn8BNvdobd5XG2V9YFTxf5yJYTor28r8IupWPTuI7hQfaL2KI+piJSkXfXyM4O4c6UOnaW/ewd6sk4gerzJE+NI34NBh7MFJEtn8PfwCzdf+CiNXIHvyArpbovbq18nMHscYmqZ77SLZcw+j7dapzl1k6MTjaJUK1e9+HXt6Gn38FD2BKd+8S/65L9B7/zWipEdu6Ai9WKdf38K98HHMhWvU3niZzDMfI9XqEeVNrMHDeOKVv/ka2fIJOmvXsY48BL02UV2224ZKBuImuDJoqO1hOCnC8RHitTVseX8O5olDFzPw2a+tkD36OP2717Dinhq6xKIRXLyMkR1Tg8Twzh1yn/1Z2pdfxUoPEacT2vfmGDj+GK3Ne8TNGrY8S6XTLDH1YoXGxgojH/kcu0s3GagcYPna25TLYxTyQ/hGjd5On2zRYenqTYr5MrlhA7JjdHcXcOTwKgq1sEo3KzHzApqbxm3u0HRSZIoV2kvzWL0O6TPP0tQNjFtv4s6cpb8xR1TfxZo4ilWoEEgdslVXZ1DZKPdufki2VMTzDbT8AxaH7eQwh4eJVtZxhor07t+HQ2dhfAj76vu0Oy0yx84IJUXxLpLqOnarTsO0yWVG0EblImvRK03gXX8Tx0qTOXkc/8487Z1ttHIex9VwjjxDY/kOqfU7GBPH6a0sqCGuRIatyeOEm0v420tknvoszZsfovWrOMcuUBgcJej6GP1tPvur36JQsRnImbw/1+Ifff4EFxeXubsU8MLjI7w7v6u61ycOFqm3W7x7vUs6m0FvRuwEfeTeM3zA4fuXPYo6fO6Zcaq9DpNp4UZVeH9hm1NDCW+tuPz8xxz+56+M8OYPdsmkfSYPznDt4h2mZ0bIFYtsb21T295h9qFj2GaWhblbZF1HKY5F1Td/fZ6xgyPkCmWK5Qc9+L16m4xsq4MenVYb27aIPI12v8vUkWn21jcJxY1umQwMVui22/Q6fVX/LRRy1Gr7SukZSH0u7HNw4gCbG+vs7NQ4dOwojd0dBVlrVuucfPwUb373LSaOjKlawr25e2SsFFFiMnsqS61a48gv7nD2jM6AYTIwUOTG7U2mT4/y1qsrFPNwaeN7xB+8T7vnYxotlWoMZLEVbOLJOR1oLb9BJlcmGv04urdB6Il5vodm6Bh9nzDjYvd26fUl3ZvCzE3T3btOKl3AzB8ham/IDQCzvUBrf4vc4R8j6a09sK0JrG/lXbTKFFrqIF79Cm75BInfhriOYQ8oWCReE6+1gJOW90ekFp5m/hB+axtb9+kIYNCVZFkezcnjV+cxUhWM/DCJaJSR5b6uqsoMnVG9/qAnacnbCkZsDn6CJLqvuvyaM6a65AIMTpVFc9wkiQTgXiCSOp5Q1PaWIS8gdR+9u41WOCQUPuKOAO4GIOoQiaIjzCh9e9AW1V5CLDYkI4PR3gZhPUntrbGMXpxBKv1SrzR1TSU5ZekhfXmdDIadIqrJAmQW2vdBzl0C4/MENCj8IQ2jlFdMJbEUiaox8FbRO2vEAkn09rAk6bi/hWGiEn6amVfng8STCpGnhnh+z8eRoa4WYeijeN42hh1j9GNCvfvAsGAlxFLR7Cxj6K6CCXfrm7iFCnFmGC/0yITbtFtdnMwQfhjgiFXJzBBXb9LvNXAHjhGlDqK1P1B6YV1S3nEdvbtOkp4maUkF4CBa/Zb63UrVN5EpjwytgzpG4YziK0RaDq23TOQ1sQYeImndIdm8qjgJ+sgJvI6vAKxa491/kciHK6o0ghjbjomyMyStmopxm4nQSI9jVm8SJC2C8jEVpU/aK+iJSywvBvHAN25hVQ4TSf9AVAT1RbVBk55I7Ov0bROneh0yFbSwS+xFhHYReWSQG8WIWvR334P8CUXC1/buqDiyVT5Fv7mCJiAtq0wggDYjUZ3zaHeVRJcJl4UzfgGztUc7FFBdk1DPoEtfzWsSYJL07qF7NubIceWnjlsNDDuC9FG0cJOwXVeHZcOZgdol4uwAenqasDNPFMQqxmvbZbzaCkZ5Bj3ag45A7dYJx59B37uCXpjFMNuqjy4/YN30iSPpreoSHlYxF9mIRwLdq93DEwtAHBBGVTRzFEu4AkGPUPiNhosu7lhrAP4/lt47yLLzvM98Trw59u2cZrp7csIMBoMBiEAQBJhFkYpWoMSyLWlNqRTW1qq0WnvXZZe09kqWLbnWsrTepVeiqExKzJRIIgOTB4PJM53D7b7dN4eTz9b7zf6Ff1AFzJ17z/m+9/39nmfn74kzQ4S509C8hOl1lT7N7zehOE3Y7xLV3iSz76M4koSQTV52AcGoid5CPKV6VEc3E0ShjSU1DHmI5cr4rVX5OSnyJs1N8KtKu2EYfQWdClND2PX3FFTGTs3iBHsY+ii+KNx0E23kKHFrj1CUid1FvNBS23tLE79yk1Qyg1d7l6h8jFRxhsipK3KlqMIMMkTZUfoSRdJkgCRb4cew6jeIYwtj6hnCuE/c3CaRtvHEad5qonfXCCuzdGu7TL38Q/zJr/8iP/mbr/Lb//Qsl27eVj2hO0vbnJ4vMaDInUsr/P0XD2KXJqh+4y4T79vPxoWLJMaz5KaexLcrxDt3MTYvYZ34KIGQZ+XSJpRlI4Emjs75l7CXvsDDV99Bs4oYcgHL2Di1BrbtMPWJX8YI6/g7TazsCH7/HqHpE9VlE3CSSHWEiujWKNRfUZ8XqSMkyuO4hsHun/8rmm2H9EhZ9aD2mj0yOsy8/P3EpquAcb6TU6Aj58Y3Sc7MYY+fp1+vYlpdequ30PomxRfPEnaajD71Bs+eGaKgDWhhMTM2SqOxx9X7Ve7eewO//jbt7TX0sAhhU4FhvOQ+cGuY6TKe55IKdhVYKPYsYomSicZPPK/yQDJyyqsslxu8UPnjA/rEYVJdVgVEInunWKLlUYBffY/00GG0vIW38g5Gbh49L5PgHexA5nFNDDPGLD5O4LvEe2+pS7edE9BgVxkEYtEyZufoVa9iZlIYqRlMI0fYvK5I6ggDoLmMLcReYRh01/E1Dau4n2jnJkmnji9x/MJJAunP92VLX1VbtTB3CoJNRb4ntjBTIwQCPbTTeL0mQSpN2qzgycVXqO1WgqBZxZp4Aqf2pgKhWoUnib1l3O0r2JMfUqrRQHQ77iZ+c0CyJNtAG3lb+IkCdv8qYTABY7KVX1WfWZSTzzfxKJXi72JEBr6dxopTyEhZBrImvgJymqlppReNPPELj6MlDeIwA0GVWFIXEjXffu0RcGjiKTUk1WVAaeYwkhlFsk2Y43gJ+ZvVifP7wDPwl76EVplSzJHY1Qidh6pviDEB0RaRuKVzk4Stm+DGxJYG2f1Ka4gkOWRQa42SGD7MoLUMQRpddxCKXraUpbayzMT7P8Hv/rN/zm/831f4lz8+x52tgDF5F+ZN/sPXFnn4ex+lMp9h50YTa2wcQwYP994iLgyRKwzTbLbRtpZIz08S7ztD76/+M1beIMrPkNx/FDN02L55kyCKOPSpD3PzWzc49S++wyefsJjbP8Lq/SaptK42Ht+82uI//erzfOLXfp3tr/0B5aGzeM626qcmxp7EdYQvkVDJMlHjCuBK0iBmWhzTJrr0NMW8EvbQR18Gdwm9s0c0dBot9Ai7i2jlA2og4+6+QXLoFHGs4e1eI7n/+wlX/kp1Qc3c4xBu4ko9JjlLnD+MFw4wYlH0xpiWSRDUYdBQHmIvMikcWeD3/4ef4tf/eJ0n5irksuJfTlBOZfj2W1uMFCL+/t/OK5Die7dX2Nlq8dwnnmf17hKGplPIp6h12iq2qQcRrt8nJ3FkPyJbyLG9tomdMHCjiIydoLa9y8TUPprNmhpgLxxd4MG1NQ6dLrKxWOd9/7LBc3NCsBaVXUlxctb2Ii4tt7j9Ox9h+IkZlv72PQqVgO76FqmFE6pXbZdSqnspqtpedUXp6sx0DlcqOq06w899gu71d2h/5c9UVNw+9RjORh3PbyjuRnr2GO69K0TNKtnnPkVw9U3aNdHXTZB//Hn8ewJYrBKOHCB2Buhry5hnTuC++y7m6DjG6EH0zWXCSllFYs3aDm5+hoS7q54t7u4O5sJJDK9LuLOD1xfDkUbuU58huPtAnQPcK9ep1/coPfcCVqcL5RKh66hziNQTBHxamNpP48pbpB57hkCGn2IGOfEy3XvfhL0OyZlDBI0dEmMzquYkmz9doqLNAKPbwi6nMT74GVpXv0tOLqN+RCptkMiM4/k9Bbfr6XlyM/vQxEDy7hWiqTmsw4fx3ruBv36PxBPvI6GbuPUm7CzhyOXsqWcxc3n8xTWSTou925fJv/QjaL0GYb7wSK+2+ABzdpzB9pZKMBiiZyyOoskZRuqXzQ6mqJezJuFAR6uMYzZb+DlB42hE2yFBf02xBoamT+NV77B+d4OpyQm6vRVCspTmjtPvC3Q5BaLC216HZpX03Bn21m5RPvcBon5bxe9TpQq1Gxcojk/hZkrod66S2j+Ls72FJgmk6XGcbp9UYNGoLZM/9QS0moTNJn3LIq27GPUOPeFfnTiLee0NnMYWybEDeNkM9uxh4r0ttZ2U54nUDOxOi/rOfdjukH/507B8R0Eqvd019dzTKpMk5s/TXXpHCMqkZw4xeO9VoslZMpNz9G/cwMoUVU0ysf80/uItzFnRuPq4rR1KlUnavV1yGOysrjD9vqfp1B5w6Ee/xS99+jCbmxuYmQy3q22e319gqauzWm1wbp/NjZWIo/tKZHIeK3sNhoIU37vX4cBcTtUq/TBJ0nKwcxZb6wHZdEBs6xyZTHNjtc2bKzqfOZHht/6Xfbz+9buUhytMHz7E5W9/i2J5iGQ6heP5tBtNpiYnca1I8VYSCZv6XoOnXnieO7duKYVsZWiInY0NvACy2STrq1UOHD7I2tYyk+MTDDpttjdaVCbLeH7AgeNHuHPlXcbHJ1W8PwgDRkYnKI+WeHjrHolMmtrWFgfm5+h5PsuLKwyVClTGhqk3Woo10/cGOIM+R08cZ+n+ktrulmYnKQxlufy9t6lt6zx5OMvQoRGO/tQtzp4e48RQyHfuNNhoGnzkRIXGboPdWpevX/4vaAOTbjcDu28JdgerNE1r8R9ILTxLWlgsTusRgFfqtrtvP1IyV/YTNdfRZYGQHZEpAZGRwBBbmCSshWDfuKUWJqnyrDoLC2/Jqd/EdGowcloNe42umGUg1gV8WSSMmgpArA/WiWUJlhpXLARDYMyY6i7j21PYktCWWq+kbkUVbOfRZWEayHNoiDDYQ2K7uj6J27+HmVlAtwzi1j28xpLS8ynlssD1/B0igd6NPqPYYpa/itO+i51ZQEuVoLeOZshSxscP2yTS44olIDjIZLqo1ISRLuyfgUoKky4SdVsYrtQfR9CDNqGRw8iOonUWVXpOtJyYo5hCuk8kMPQicThQfxbDljj8GFEgdxn5GzfwO2vKUubl50nm9kP1OwRuF3v8owSduziNJdIzzxMsfZfYvY859hKaJL4iT7F5hFsXNG8Q2jZW6Qll15Hhgz5ooFspYtFz+Q6RJYn2NkHSUfBrSULpuRJa4GEkdLzmprJ8xbkZVfFzGu8pHhgbf4u270UFAjbNXZVs12RaEO2hBxp6HOKKPtpZQcsdwNQEUrtL5PUUEF73HXV+1sv70YOAoFcllZ8mcGv4MtAPDKJwDWviAwRbV9VnLRwB37AUHyDuL6oEvpXMKzaCwJz9hPAhisr4oDWu/n5M7R5xNo2RPqCo7J7bRtM7aNl5zO0rMhcgLMxhykFUgBONt4hkYlQ8i+6uExIT72yii2d89BS228Vp38CqvEhQf41EeoRYXIzxNnFiCsNrKWq8xA/d1poChhlWEnP4MMRp4u4tIr2ALnoIL8TyalhGlkGirH5MAn0zDItBa1spjJz+FonsMKE4KVMHsbKiTdh7pKRKTZIUcqsMNkRJEeaJBjvYVkS/dRtrRHpxLZBLYOcSvjlLYJqkgi0ct68mbXbSJDIKSm2GtqMmYVGnSiDb9cBSW2Kj+xaueRSjMEa0+g3M/DShngctUMouK5PBiVzlDhXaZCyToYMvMNhbUoAQo/9ATdDCwlkSQjMXzYSZJxK7Qb+tiJFK5xe4WCm5YLbRXPnMcwoqJukJ+ZENZJtk5DFHnyRq3noEGxFeaRSpAQCmrS4CSbNCN2hi9bYJhg6Sbm3hFiahW8MIWsQCryJUSQzbk0HAMLGmYfoNtY3VDQGZycZRp1PfUA8NYTBohePoQY1eZ5OMXcbpbWBWHse20gTODppdlgaiMj5IrDXW+wr6Y2RT0Gtgj57C3b5MJBtRc5z+2uvk5z6gPKkSW5ZouGNPYAtQzV+SpgSpMx/gHz/5o3zjwS5npmympgpkUsPsG3b5+9eqtD2Hn3guw8/82ss4tRqW9L3Xb0NxjmDvEnZ+DkvLKtBjbHv4y1eJ86MkbFNVvQXGlIw3cawKvfUqu1WfruYzMz1NOp1k9fZ1Zp/9PrKlPr29DqncPLFcjCVCFVlqoudLHUI+78wpkU/hrH+Z3NgRNXhwMyk2rt6TIg12IUcln2NzdU25jMtHhikM7ScuSDfpAeaQTFQd/NXXVe9JHx3FjidpOnWxvZOeP87S0gVOfvwan/2hSdy9NrMT86xsLvP57zX42ecr/Mdvfov6xT/GGh1G61k4tWuYw8+SSRfp7t3F8MT9LXoXHyPaIcgcwEqMY4mHvLtIoKVJFaZwepvo8mJKjaG5oncpE+pdYulmuzKVbKDFEq0T9aaHs/cGBEVSo0+qZ4YXxwrapUVtkkaBQW9VwTtlQCjaJNm2iy9VKK6aRGVXXyM5fE7y6+qi6cUFxWLQwwaG9OtkgCFT2O4q0fZtjH3P4+tFEu4yutNjYAwwNeFZjGME94jFh5SYgFigYhvEQ08SC1xR0g0DjWjwACNdIZDBYJAgMn0sv0egpxWw0uqsqBeHqBLFyS4UfkN6aXtL+GJEkXSBZqD5BpG7ha0n8ZQrfgtb6LPDB4nDBn7tIUZmhuj/T1sZdpHISKEJPDXYwtAnVBLH2XoTo3wYMztLuCupmSRGZoR4b5FQ28OofBgzkycYLKINIihUCLcuqM3LoHyEeOsfsMovE0RddNr4roEe7ICkOvKniDe+qYYOVnoSLzmOLZ8LJTVMCBvXsOwMrryMhBeRmhaFgoq0RVoREh52aBOlC7D9Jo5VwLJHiANhjfjYMhQtT6INAhrVi0y89Cle+8Kf81M//3k+cnaMQVcI9ynW9wZcXurxrz97nJ/5mY/Rf/ddgpLofErYzU1F7E7MnkKfO0bnlT/BKI+SK+3HEXaJMyB0XKWxiodm1SDM27iPOVxg+PlzfO6Hfo8v3mzz4uEx1hs1Ts6NoZHhzto9Hmzo3H3tX2CVF9C3rtNKHSEp9PTcuLLAhHLpcFdUxzA9/UEC6Xx6O5gylG5eJ9Al+SDoh2OPXrTuHlZ7VSVRQlENeQ6J/CFcYckYJqFwRRrST0wrBW0yPUYk21y9jpk6qIbtNOoYloZmy0FnR13SZXiTMnK4GUmi2KSOneefffgf8bfvLPODz83wzpVN9s/mWN/16Ac+n3kiwS/93BEuv3afdKpIeSTLzdurdLYbnHz8GLqtK/BsLi3KU2mH0wAAIABJREFULVhfWqVcLFEaLrK8so4ei44yxBbzQNDGNLJgmmyubnH89AHsnMHWSpfId5maSfDRX13CLKZ5bCTF169u8tL5acaSMf/1WzU+dzbLb/y7T9K5eI/tep98ZRh7bA60HsHqA8yDZxis3icpyRaha8gAEB09ZRM8WELbN0Mgz6W1BwSeizE+SnTrOuGBA5QXzuH06+jCXNjpUL/8DSqnzqn6jjikrTjC0R2i+pa6sMWNLcWrCNNZcpOz1F79KslinkR5hLgtNoka2Wd/Ejau44cumpkmfHgVfVS27MMqEdC/eYlEsUggEzYtjfn08yR26nTvXyR//v20L7yBnjCw5hboX7xEdmYWY+YEg94APWwJ808R34N8CffuPdLlCvr5F9CaPeo3v0G5so/uziaWppGfPUbT9bFHKrjLNynMPYajaPirhGPTODdeI1pfIXHyKfRyWX1frf4AzQxwwiT28BhGv0336tuY599PotXE2V4lc+gkzUtvq5h5JjtMf+Ua2vlPwv03sJM53PVtksMj+LGD5Q7o2zkyEv8PPFW/8Lt12rdvkpgaI3ywjHX8LIlCgsG9eyRHJ2nv9siEbZJxHe38h0lPFuDafRphg5LwH1o+d69fJT9yiFQ2YvutVwiqDaYfP4ObSGIfPU+4/QCjukHHSDB0/gUGt95SHnWnKomNJbxEicyT76O7voEtScftFsHMOOlUDv/BLcyhMj1TJzlyCHNzmTipE8liKmlhd/ZwG3Ws+X1K/9e+d1PZBYKpGbS9HfrNDTJ2FipjuLvbJDICem6hm1kFdtz+3l+TCQL0E8+iLd0k0A18Q6BiQ6T2zamFQNIZ0HnwNunDZxnEcpjPweIyfrdJ4f0v07m3hm71sIWHs7dJX7hDxSJ2p0v5oy/w4JsXeOHXvsdLT6YpOWkO7cvwR5dqfOxQhvmxgJ/7iw4fPFrE69aZnypz82aDHTfJD788rGw6li38JoNri2sKiJcwMrhui34Us1V1OThT5Mpmm2yY5v/9tRJ7dzexhsdVXSh0LcJeh2QhS7vv0a83SWTTEMfkSzmWF9fZPzfD5tom+/fN4WkOTtshDGM6nTqWmZHJIpVKiUDe3AMX07BYvL3MvoVZtdipbm5RLOaoVWsKFGgaBpsrG4xOjdAf+Hg9l4mFWbZXllWqQJJv9U6LTFrqmBaO59CotTl17iQbG5sMGm11d5BndDJbJG3GBGbM6NQkd169xunn5/j4ry+y04o4NCFinhydjouZdijnCtx9t8Ybq3+MsSI1uDp+IHywAb6krlKz5MI+3cYqViYN2UksP8IXfkT9Flp6P6GAW2MfXUuD08LITSjjWexugNTJvJ5aXAhPLa6/QTRyEt2ooO++hWcJvyiNprtoekLxFUSR7cuZJhyQFPBechrfbaI7Yusy1VkpDEM028Xw5OxVwxPwoeNhDR8kkLoxHWVKEjORGT5ilUgyQW9fx8pOqSFqv7mtTEx+bGMlbdXrt+0Y13VwO2tkJPVSEl7XDpFo9XIH0WOfWIYcpBXTLJDIf2+F2BxTyWrRpnu9dczsNHF3Gx0HPzWHLVDRlpx5fZJDZ1WSQVhOQvMXBbo26GCNnlYmpHDvCnFqP4i73jbRnS3ob0N2hlgSGgkfZxCTSJlEqUNQv4Fe2ocm1iVJSiSSWL0ensCc89Pq/53kMJpeRnb+DPbQEwlF0fcHm8qOkC4cp++sY+g2plje3HWM9KyqqpIUhkASKycWiwaGZmIXD+E17hD7WwpsaFs2nd3rpCe+n6j5Bm7UIFs6StAU3posy3QsSXrIb14g/E5b8VKC+rpiC9gC03dbj4YkYYghzLXeLk7tJsmZl4gk+d2pq/qoICPM4edU2ls+a13sU34fLXTQpffvNvAk4ZkvYmpF4t2bRN37xONPobXe/NcxordLGATVd9XLViL7snGL9t6DseNEO7fQhw6BbJ6NFL7jotnik0/hR9JlTRF39ujv3SQz9T58r028+Q0SMz+I39/AKszhN+8QYWKnRwhaovuTamgGvTRLWHuAJhuUwkksp4MmcR3Not9bIyF9r2SKyLExDYmVyPBApkridS6qi6QQ0MNBX2qvRDLRcZokSqIp3FB+e01MBGaZONhFEy3b7rtoYy+iO3tE4RaaMQZ2WcGv7FQZY+gQ3uqrSgWTHD1NKJM+3UK3bdz2CrZdQLOFYdBTEyYr1nFLZfRmjczIQZzakiIP22mBo4VKjzLwBEIBqewMfn1J/ZksK6U02XZhlFBu7/Jy2LypLtdO5giGPsCv38DM7IP+JvbwaUVyDNs3Ca0U2dxZ/O5d4v4yxsTj6kskeL/IHJG8raJ8yqbR1CM8a4iEQEkGNeJ4CNtyCaSTrLnopSeh9S6G7hCkjxDuXMGwpQu0j1DvYMaiuTExU1NqyxdsfZ24eIyEbBE37qBXDqFLMkDqAAIgFAqqUC0Hm/h2Crt0VD0Q/K2/heQEmclncN2qunRJ7Nns3oHRDxKawaMNi1z6BDYn/XlZJo2cUZPSMNhGk4ulUObdJnblkKLoV848S5hIMDv8SfYN+YyPZ7i9NOAjZyY4fCjJl97Z5OrbHb7wWwd57uPPUL1+naQozeQQM/8Cer/JoLuF7a1AnMI6+ZP4m5eJJNaoIJeeAgFaKZvNq5doLC0yevAEXemtpZPUV+9z4H3n0CQBEjVxtu6TGn4cyofwt18j0hMkjeCRFUJAbAKHG2yQyB2ls3GX/NGD7LzzOr1qi1QhQyham16XqN3h2Mtn8PeqmIUJgr1NwonHSDhNHImyT7+Pwcp3yOam8WODoLNBcWGCX/93V/j6qz4/8OwkX35nj3PHJdLZ4L99pcqbX/wcpz75A3i3rqoesLN9Dz0hk4bn8L09jGSfwNMwBKY3cZSoukgUt0kW5giFzSEXfeFCmCZGdhxvdxvdW3/kLx47R7R1B8voqN9d3JPfZApyE48ObLu3sCUSlhzCvfeH6NkFjMwkfmdF1QdMcxTPWUVvryvLhagQQ7+NkZlXhFez8yrG0HElJvE9g7h3R12aUrNP0JWIl54mkyjQ3buskkLp0pMErRvYMmm3pgg2L2BKrKL0uErPRJvfwNr/E9C7i9+tkkiOEafz6qUgjl0ZUElfSrOG5byDLnA9MQYkJvGTQ1heHbYvwsRzGJGjvquaL5cF6bpX0AVaSosoM0/Uf4hJBUNegKLZnHlCTfIjt4/euQaZI6q7JRccfVBXE+IoeQAErmpbStgnmwbD76iBgjY0j+60CO0MmgwEF/9KdbT90hGQqhXSqZ/Gl8todwXLlEFhoC50vjVE7K1h54/gC6tk/XskJs/hN6sEQtUVqF3pIKa7QSx/5zJgTBVUJUwb1JRNREsNY4Q+oV/HEt91bOKKQaYgL2WfoLeE1q8S5uZIeWIr8AgSFmglYt+lePI02ze/wzMv/w4vvH8fQ4Usf/qlmzx7KMeBuRH+8C8X+da/eZ59wxo94TMkS2j5YYxyhuD2VcgnCat9opJFJidAzl2yMwfoahXct7+k3NHFH/vn+A8uE1arjB/IoU1P8NKHfo/32hEfO1+itjZgEJrMjJb468trfO7FaX7jzz7P9pf/iKHDzxOVk/SlXqBL9UKo3CcUYFU2+mSHsXQTx2lgJyce/d1tfRdDwE75gwSedFrzRFGDqL6iUkMaexiJWSIzSeRWMe0ibu09zNHjmNYEvfY1EtkTjwYt1atocR8zIyrHJKnCKN32JknDxh6aovngGwT1HSY++bOcmPo0vuZzarLA4pbD0VOjLC+t8e5KwJf/pxGeODXEV7+3zRNnJjBjk53dPUJfJzeSo7W9p+wPYqlJZXNsLW+Szdpq+zRUGiNbzHD35k01PJ6enmR7bR3dSlDf3eX46aMsLe9y58YST589wcIHJ/jVX73I/3OhzbNHbJpbMC507WyBv3hjkU+fL/MHf/jz1L76OtbEEdLjaTo3ruHVa2ROnsPrt/DuXydx4gVYvINx7DS96iJaf8Dg1hvkTzxN+uSHGMjQdPUBGb1AUClh7i7SeecC5pnzilrtd/Ywho8x2Fkku3CSwYOL6KMjZK087cVbpCpj+Kky+t5DYtHWTi3Q/95XyX7iE4S1HXpXLpF74iydd94i9cyL2K0B7VZLwcbMSh7fGMZuLuJh0r/yOsmxefRkET8VkJiZh2qLoPEAt7ZF5vCzuM26usQb4yU6715A64dkjh+nefUC+ec/oRguzrrEw/cRNRuquykQsLhoY2hlSOmkpubwqzv49RUGb75FPFwh96mfxH/nOyomnh0aZVCvYi8skChO4m7dI+p2CSvDJOV9s/4QTr4fs7tN3OoTeg3Y/ximUKcb2wRbi+hjB9GXLsCTLxMFBt0b3yNbLNLd7ahuamZ8nqjXw8yNMdhcwiomCOwxkvQIdmVDaWPvm6G/tYtdSJLJJNG27ytYYqY8zfWLt/ndv77OUNpk9eYuT84V+R9/+6eUjrT1yhuYh06hF4q0b17CmJ/HFKVgS6KvRYJCGqu+jbeyhTEySpy1FYslKo4yuHWd1MmnSQ8VaF57hdSQJB7O0H39Gwwcl9LsNInZo/SufA1fFGhGisTeDqn5w3RXH2CJenDmKO2eg75xV6k2zVIZ593XiKfGMfZ6RGPTJFNpdSbw5g8SXPg2ueI4zcYW2YVjOI2OSqWZI+PEm1L7iQnW1ontgMSTn1Y6x+Cd17EqE0QS+w1CNXyTSk+8WcUeyuOVH9kK0iVJusakd+6TOX2Oj//jL5LRQ6ZOTLGzWWc+OeCVHXj52BCfe8ngK6/W+Sd/5ZLPhfzsh0doVR2ur3ocm8nyzt0aU2ULQ08S+XJW19Etl9ZeQNE26KXSbG+HbHR8/vzXZjl/OOK1Sz5D2ZhkyqRV72DrOq2gx8LCYfXnWllZIwgGnHziLLcvX2NiYop2vUF1e5tsIYtlG5SGR9jd3GbfwgLvXbzM9P79zM5Nc+XSBdK5JGWBZ8rgxDBVreDyhQtkEkmmF/bT6/TJpNO0Og1q1SrzCwdY29okmcrQre+SsGzyReHfBLSbHRYOzrO0uKqeT3fvP8TyQo49/zi337rGXnvA1FCWRDpLP/IYKVeoTET84K8v8uaKw9mZLCnN5Mkzw1y6tMFifcD6js9q9Y9J1es0t+6j2dOPmB5Oh2TlBPW7f0Fu3wcUjV8PFwmzJ9CMJL7WxdZzaLIg6NeJcgVV6Qq1AkZ7Fb0o+nGpL0rkMUJL2Y8623sXiOxJTFHw1a9gGia+FmLqQwycFlZhFOKcSv9KQlg24cZgG93KEIvO2GsSSipMwOGFYeJuF696FV2SxbOfhNZ7GAI+t0bRlLJzibj3Fva+HyDevYUnA/PkISxNEsOyVJSFraQQ2wTSne/tEltZLLWQ2CWS7b9exKhMQ3uLqL2F+NgjsVxVHyiwn02KUJqi7qqK3ZM6RjhYIWrfgvwMmudg5Y4TettoMmQRzlV2DE+3sAYDtTDpd+Q+dVoZxczYJRy00UYOq+VGb/lLZI/9BH6vg9YVPecI2t4KQVFi/hLf38WJUuTLCyqtHNtDmAJ17u7i9PawrAGBKNedLlbsKR6cnRkh8C3sqIWfySomj/T+7dGnYePb9OKQ3PhzuGvffQQMTBWUdhKtjqZNKuBvtPs6zsYK+v4nycigJpsj3noTXbb8Q09h1C/iyVAfqRE3VJ1TTD5eq4altYhCqaF3CS1RQJcJ5bP1eyoFaIy9hC/LndYdfC1FyhYtbRk9zCkIvCaJbKmzJ8qYa2+o+00o1UWriZGYgqCr7o/yvdHbi4SSLGxc/d04dnzVTdXzFRXHi7MVQt+FlVdI7P8ArudgJgqE0p3vrxBkD5FQ99U6WnZCbdL03Kja7gpgT72AcyPERlE93MWRqEkU1JI+cE2BJzR3GT/MEiZMBYwzY0MZAQZmRGLoDPSqivBNoClIn1KISaxG2tqxi956SJwsobst4uIhBT1Q/syttwn9PvbEk4o6iS8H8Eni1hp+a5H08Fk8M4llWETSN5EZlKhrRLWQHCZu7qBLJNbO4cYysJAoS0d17ZKpJINBVym6UpkhBraO0ZFNdpFI6K17t9QEy05NP7oI93agfIqwfx2vO1C9mVBixYkp3N4WZvvOo+6MdNqzJRKFswxqFzASKRL5A0RBlbDtqcOmopiLHtF1iUVbN3FIDTZkUiYvET89gVa7gJWbIbInYOcfiMrHsZ01wrHnVdxD+v5h+vCjKKnqQo/g9VagcFjRgb3aNeX1NBJDRBLDL4ygD2ICd1PFsLW0UEu7SlsWpg7g9e49ivbY8kPokZZEhzAKCDHyB9UGNFSqxUdTPbMhYBTZFoqFoUpq/JwCvCjnedpGcwICTV4KOubAJZYp6vA0CEzS66InxpWyQ/R9wk7QUkllc9C1HEPve5r3vvo1nvrk/8FnPznHdqvOeCrD/qEEf3F5m+01n2OzBl/+7o/Te+WbtOt5io8dIZbNk1HE89axJ8/Ru/MP2NMHMKI0Udwj3l4lLJZIHfspnOprdN57E18v0NqpkctYhEJyavcZmpvHnj2q3PDh5hvE5gSJmedxd14nlIdPr64AOmZJPKs9krGFL5fB2ir5s59k60v/lZ3tJkNjEtVJEZkhjeUaJ3/0V/A23sKTvqNmEolqb+U7pIYfI548Rvedr5GezqrJntdap/D0UZ584Tu0ezHf98FhvvLGrijJ2Vcq8NbVHRbX/1RBzLYvfI2x3ASDwrQahHmDgKC9SnLqrOqDBZ1bMPvD2ELmby7T213GzFfQ5XCkp4m9nooVRdkF4u67hN1VYmOKZLBKUJhHN8dxWu8Rpw9iGY+m41aijJ8YQRcNZq+DlZ0k1hIqJi3gG00mv+NniYTX4QuoJoXT3SRZOq66b373AfbYx8G5QmSWMcRlG7XxzAWscEsNBPzMGZJhnzgRE7aqBHJhTsvDepqUoSmIqWeUMLKixLtDoihASyno2Bit6yBJn+EzyjutCR+jIEkYTfW/g24bf+ca2sgxbC0LQoMOpPdVJIpq2JaF59uSFcRwJfpfQ8sfErED8c595Y/WFOR0jaBwipQRq/9umKigCSOgvUJkZtHl+du8il449YhRsfsmhhegV54i6txGpi1RJCRamzAaEHl9NHsSQ8BynS2s0ceVWlUqGFLV8FsC4BpXur9o7wqYWcz0MI47kMowXqqIN9gmnRwjMjWCrUsYqRJxHCtrgJGQrYtwDGI00dMEUgWbwiKtgFs4uwTZSXSpde2+glk+i5HwiNpdovxxwr23sUv7cOS7PlKktdvFyJQYOv1BfvkjH6fpaMzMlPju1SWenpvETPp8/usr/O+fO8KPfd/HaN29QFjvw+gEicOn6L75bZVayB84SOPVr5F95vuVeiqsVYnLQ3h33iCVG0Wf20fnvYcq8mtM5Rl//DRLr7zOc//rJT50dIotp0HOTJFOB+y0NO5eqfKF/+sTnPlHP0/79beIR0ex5PvgbOO010iUDhEbon0VDk1SvQe8xb/DPvaTiuys3/0btIUfRkulFMA0nR5XiQGplwndO+hvoffbxBUBCVroUZ9A3hP2ELolKxEXMkJg1ui17iu4lj1yBNo1PK2DaRYePZvbK2itLvr+fWQPH2TS/DilYY1PP3eAW6syiDXpOjrfu7HLF36xwEuPl3j4UCdTgWQ2RyqT4857d8knkmBodPYaiv6/VaszMTyiVGqrS+vM7ptGSrjdXh9v0Gd8cpTWQOC2Any16TTqJDM5pbI0fYu5x7L8xRc3+IU/bfPzH53gfrXFnYcdDk8XsIyY+q7GN/7zJ+nckoRFiXIqwvNiNLFhmDYIx7PdUekOp7lKtF4lN7lfgeCCkWF6y3dIeCHFp15k98p18gvDGNOnab/zdZITAuIycXYGWPk0dtqjc2uJ9OlzeIuX8Hs+iZlTmBMjOK9+CXPyoAKYujtb2GMLeLEslGaVDaBf3SH51Ev071wiO3dIxWD91dsYB5/C31jGrBRhu0pYLpM59gzR/Zt4RohpWThVOfwdwlhewRibRE/niBqbCuAokGK/sYFW20AfP4C39RBteppYQKBL99GGRjD9AH1iHG1kirhaI11K4Tg27fcuYo9lMYVHcvgsxsoteitrFJ//mFp8uHffJUpZWAJGlfRZvYkxLO8dT6kzB+117NIBEpUKftgnqm6htxv0dzdJHn2MCIcoUyadzuEs3ybc3iCeexx9b5P0oZOkzASttUXMYgnN0hhsbwrHG7ezTc/MUzl6ipTv423eQK/MkDlwlNDr0727yC//3pf5/AVXfCZiFGOhiOrHb223OT6U4U/+4LOMnDvP4p/+d1JS95s9jZEIcbbX0PI5DIF2JXSorqFV5um88UWKL3ySQAC1V18nnpnD2tuhF/ZI9Bx8r4/92PsI99ZFyq6i287uJlqvSerEeeKdFWXs6O6sYo8vEKzeVmcsLe6SK4zQEkDW+h1SU/NEUtXLZxjcuEli9gDee2+Q/uBPEN6/QFoMNFaRlpxhJYGWTjN4eE1dVP3JOfxrl0iePK7+nUR1g0go/+kx+vcuYsycxJXKwIOHWNPDmC0f48BJgu3bMHkc78Y10qkBOQGZnvsTPvdCgu7AZLkbM18y+coVj1/9QIF/8lnxnev86bdb/Na3+9TaPpO5mP1ljccOj/KtG1XCyGAorWMEIes9g6MVk3YUYMUBta7OzU2X//iZIT593lZq1JH5x9iprpMqlGnv7eIMegoGunxrhfJkhcpwke2NXYb3TeB3Pfbqe4xNT2FbOt16SzF6hBdiJxK09vbY2W4wXCnRqNeIrQxjExWamxtowhu5vc78wUnyhRJrD+4wd/QwO9UNDDPJwUML3Ll+nekDBxU8sJDNsLmyzl6troZL3YHD/MEFNXhw5Qw2MYKlx2wuV9n/2BFwfJrNpkofNLp9jL6Pk9E4fWqCn/vN21x82Of7Tk/xxq0dQj+gUk4QuC5fv9rj6t/8EgvPHsFddvBiH8nR+gJ0k9rz7S9gjJ5SF6woIVyXCE3SJOkSXrf/SCPcq2FMnFAJUEmo2P46bmMPW+4JekbBd83YRssU1VA/HHoCrbFCFFaxhs6piLcM3bWdu3hSYxw7T9QVFtOGqhZ6VgW7t0ScHFVK5kHgkxbNqWiGLesRFG4gS4ekMinEvWX8jPyOJLGwSegIHViD/JRadIbOLobmK1q9a4TYros+dICoJbC8w+q946y/qnTxRmEGQwvx28uK2i9ckaB9Gz09SSwg9N3bRDJwGjuF0VoiSM7DYAXaD0mMnyeOwLn6+zD/g8SFBXT5M8n/d3aaaOcidmaMUGxQblWd8yLThNo1Qj2BPnQCzWkS1m9iHPgohlPDb+2oykKmeAYv2EDvOkr1LAsuXRKIxghWucTgwV8pbbM+/QRGelqB3PXOOg5ZUlL5ljq3ZhOJSW7QfASgVoyAOVUPDeMIQ+xItonf7xHHvUfqQq+v9NHWyBEGzaqyAvluBz2Ocfaukpr+EG5/Wy2EpTIp1QjT31LMtyDoECTGlPUlCiz08gF0t4rXXCdROozfeahUqV5vA2tUKpgpjCgmTpcIm1tqqRunk4S7DwjN/CNWSyhQ6/uqgoQA7EVtmC6g6TFhYwWzNKJAvN7aFbTWxf8Qm7F0gSxFSrTCJqEc/CS668XEKkKXUAR+IXPGEkNPp4k6fUwh1ydzqm8i8KtAPhx/R003I0fANCXV+TYEZmC6RBIn9Ad4O2+hZw6rA74WyGH4aRxFNyyTkFi41QFXtkpCmZSpk0SOK7grF/H8Nub4aXURFXK2K270lIXhC3k3QyBUbi1Q20Bx50beNoy+iL+7ihHfwSqcxpeec2+TKCeb603cXp/k8DFF5tb0LP7uNbS4Dqkp5X00hWopUxUBgTVuK21EmD9DqvYmQeUZ4rW/U/pA0ZDpfgvPHFGxSd3yiVLzKjJj+TsExhiGrqu+qGEUCIIGeAX8aFdNWcVjTkbo+xdAosNZcW4uEyQmsKwKbv+hYhrEQmGPu0TWNJGzjSUXm+SoeuiYZqQO5b5Mrry2+v/XBhsERhJTnLT9BqG4ukU5ZdhEsa+ipX7sKcJxorZOvP85gqBKtLesOkF4fQZuC9vdg9JB7PQoXv2G6q1a8gVrbyqlkZ4cJZLvjy7T0i40N5SlQUif4aCGUSgpgAdCuW1KxSGLPnqCqL1J0H1AIj+rEiW6TLwEHNnfVV5U0evY+UnC7hahgAdlyyhbB7dDQuihVpegtk7mA7/Iv/jJz/K1v7nA88+N0q0PuLs24OmTI/TdPn/23QEbXz1E9kQZ70GWqF5Fy5bwNu8ga+XMvtO4jbvEUYlAQIb9FtruLYLCHOnEMGE6TVI3WLv8Cru1PSaPHKBfbeF2eqRyPhPPPkM8SGIOenjeJtHCZwjufJ6k/FgnnsK7/VeYxVGS058gjpvEG2/Sl8HQzDzuw1Wqt9/FHB4mKXFcf8Du0gbHfuIX0LsP0doJfH1T6e0GEqkabGPOvEzv9isqSjpIzzE6J7j5mMNPv8pTjw1xYqHIW1dWGZ1Mcm2lSX/V5crGRcKVb9DYrZGUDaUkEgRol5Ch3A6aKEGdprrohXGaUJQ1k08qV7k+WKWvrBZ5lfqJ1t/GmnmWODmB//CPSYw+q8jLuqz+rIhgd5EoJxdDYVwkiUsnMNo3VE+X/HF02yHqSfxqXDE+kAuJXKgTosSZQevfVwRoWybjMQqOpg89S9BbwxKCvkyshYgr/ezkJGbcxUqP4jaXiFqX0CovQj6Nvv4uYdTDHn8cb3cJLZEl4a/TKzyJ1rqL0a1iH/ox3JWvo3ceEE/+KJa2qwaJ4pCOXUFU9hWbIOytk85N0gkcMgIdzS8Q9gXCmMTO7yMOO3j9ACMSloKA87YJDTmYp9GiNEE+jy7pKumWOTGhHaPLoFN4HmLniAy0XIk4TGAmQhJ6Rrl7XQEfGiV0I1CkfXdEuaoAAAAgAElEQVTzrzFKp9Bt+U3ff0SM1y2MXoNAl/ihpDTlBXAArb+o/O4ytPHXvom5/+N4ep5MIsDbvoBWOadSRu7WGyQjiO2iivLppf3o2f1E3hr+zhrW2FHVPRQ+SyAb+bCDmZwgHqwor3psD6O1r6rKj7AiRKkYxAnSuqYOTxLxk6SEJy+1VovCMz/A1z7/B/z0577IRz8gNRaXQbXH6RMj/PaXl/mfX5zkf/tPP83exTtonS7x6DCd1QdkSxWM0Smar32boedfxtttEro9ECDnocP06+uk+ibexl38ygSVI0+z/LX/wsTwJPkf/yxPv/grrK0FvPhknqWHXc6d3oeVMfjK39ynm4DF5mX8y1/CG5gK5CRpL6uzgetUgQJWZRS3FWJoUh0TQrCjhpiZdJJB8RhxfxdadzBkMG2Ookktpr2EIcOkbImo/oBQDm9m4REBWtIBvT4DbRvT1dCstCIhx/0dpb0VwnAs9TnZfOf3U0pp7O5tMX7+p6B5n8zCZzgxYTI/nWdnd0ChLDFQl+/c8Lnwb3IUixmu32qRSfhEoUFlbojuep2DTzzBw/duKNjZkePHqe/WaTe7jI6W2d3ZQddkkOCQzeUYn51m8ZaAnDyKxQk2q+tYVhormWRqqsL6UoNK3uF23+Jnf6fGb/3ICP/nNzYYKaX56Pkp3rq6x3+/usGD3/0+SkMVfLlgHJynH6Qx2lv0tlZJTcwT1zdUTSv9xPvpX38Lv7nB6Id/moHYM2r3lZZYT2UwnDbdm5cZfulHqL3xVazZOVIkcTtbxLPnseSS++53CAs5sqc/infzNbWxt0s52vfukSoWSC4cJ3IjoqEK0Y3XVPKMcoEkCdzqAxXnLoiy7upXSD31KQZiirnyGsmz78NpdbC6dTQ7wpw4Q3ewRqb6EPPkB+gt3cO7f4Xk+z9FcO89xYvQfdl97GHP7Cd76nmctUtYPYOg38YxfYzMEIZs/6cmKR46z84bf4PZ6kJjl+RLP4B78TUF9TX3HaG/eofE+z6EvrFK99Z31ZBIKlt2dgiv+oDU9Ax+p42uJ/A764/ixXmBkybo33+Ximy76zsK3qoldHp+gcwTZ7G21mg1mhh7NZJjRezheejtoJviBw/ZvnaDibPP09fXSW+LdWgFOxY4n0+U8ckfPkSr5zDYCvnK31zgzYbDX1/tYZkmC0WfE9MVXG/AdsdkfH+G6uoOl1cCdf740r9/mbNljepai8T0JJar0RfLwPQESLp0dZHcUx9jsLtB59JXGD71Ms7IMPHSHdKzpxnUlnEe3Cd/+DC9B+9hFIokK6P4rQGDjbukzSTdkTkScn7ULbzyFIlenbAyhL2yiJvLkzh0jODWZeLyJO61i1iTaaK6Q+b8R9BtDWflGr233yB98CxBdQXz5HlVgWqvrVM+dZretXdg+gDJQROn3cOe3q94DrpuqUG0EekYoiLc28aaP47pOypNNbh3E2tqH2Yyy9bf/y2j507jNC0mn5njrW9f59l/9TY///w0tW5TkeXdls+7ux2++YujZPSIe+t97GzAiYMVvnepw2/+vcfGQCxQMdNDKWX3ChwdkhrLrR4TWQs/dLi5lqKkd/nLXxllspCg4zhU5ifZ26izsdFkeDilQITN7W1SpRzNepuJsRHW16uceuwEq4sr9PsdcsNDeHKGTiboOS6VoQrtvTqNRhPLsiiPiR3I4e7dVY4dnWXm2CEe3rrN1npD1e1ExXVw/z5W1taYn9vP6sM1VtfXmZgeU1VfgTi263VGp2a5d/suZ889hud5rCytUhkfYm9nl0PHj7K3tYPjDJiYnMFIRLz29beZmB7n4JF5HqytMGj3yGfSnHp2gc9/4Rb/9I+a/MJHptls1uXVQTqZYM/r88rlLlf/26c49oM/y97Vt5VD3SzNguupy7KWyRBtXsUuz+GmpzFqF9SZ3JBBbSqNaY1g+DJ40VVyQGDKcmEzxDYmum7NQyssIIeaoPoWMQOs8acIanexKkcZ9BZJ9QeKxRY130UvzRHqBro7wCrtJ/AedeItsRyFLfxejVz5IL5n4jnL6r+P7qIbQ4ThhqoshzKEFilAMkHYWsfIHsZr3idq3CA5dp546CTmrnDe9oh0SSpK6k44ZCW8bAl763uEZhajck4tTiO7SFy7iB57WJWTj8xohkCDTZWCNByXMDekEpJht04w/hTZpHBvFrHnP6Ti7L7Xw04UCbrLOH6GdKlI3NsmLu5Hk6R3bwczmVLDlViWJK5CpSsjk2GJMnFXLf+UdSE9ROSIDr2lFHsJ6e2L0SZy0YOQMBURNnexkiOKoaQAinFSpYr1sEucOoYe1pXKXBNKvjVPZPTw3V3FPlOdVlPOZ2UMc6BSvaJXTgh8Tzr521eI4gw6HZW2ITlC3L+jqqndxh7J6WOY2cPgVvEbdzAlRaslMETRbFgYwvqRz0L+bqT+rMwAom++BLlhNSCI/UhVZHFNdEkoiC0hECvQBnZhhtATu4+LEbTVnUsMVZJklXRGql+n1+uq2rNuFdRZmd4eWufyv4/jIFLgBk0ck0YSLbuPcPsdpfkzR8+Q0FxFkFeRWHFeSwRSaIP9FeUt94wMZnsdJCUgXxIDImdXbXA12RD6HSzBTKVKRJFsrEXHNUPcfo/IMzCFHeCsocfDaPkCTqeJOTRN1HMw3G28wgy6XgHvkdYAITzKpbpQIer20WRKG3Qf/VP6ePKQdeWr4hH1twlkM77vR9QF1ZdpW7ipXOYy9XHaA9LFCi6yhZCDe6gi0HHYwrJ0AjfGCFsYZhnyFTqN+yQFDuEPFPyCyuPoq6+p2kKqMK4Iz7FEgKQr7/cxpDcv5PJkGV8uM8V5QiHyDtaIPAfDTOAJmyBVQsvMowd1QhlQJMaVjzPs7hAnU8ShRjKdx+lXseMMvhmhuRsErTWS5dNq6p0SMnbYwyoew61dVjRxRw9JGEWCSC4QXYzQUcMAcYpKZ9vs3yeQL1/uGEF3TfVFYtV7lX5rllgOKdGKiqmQOwZRHa25rdRiQiSPvBpRHKJHjvqnZEcV7E/o9BsXMcWjncjj9mSjZWNJ9FC213r4KAaXHCXYeE1dHqxCWfm2TenT9Gtog01CAYvJBtePHl1Mc2MKHOkOHpLMHCCK2uolsbf0GlNHniQqz1EZ/VFeOJtX9NBcAkrZJIvVRxeUctTnD3/jMJrdY7cNlX3n6O4ukurs0AobZMafxnJq6gKORHSdPol0RsXjBchhZSao3brBXs0lJwMNrcfA8TE9l4VP/LiAqBXIy9Sy+J0qWPLQPo+RyuLc/QrJpPkIikdMbuoMnuMopUn97iXqD99F68Wki2mlumrUNjnxqZ/DX/4HIk/IpH1iz4DiLJ48uAtz9JYvkMxMEGWHyDw2we6V+xz8wZv82Pftw2nWWN7o8+EXp/nLv7tHJa3x9QdX8BYv40rG1+mpnrnfWJbiiJosY6Tx3YCE/CYGXeLGIqmJo8RxhkBgMSHQvo6ZOUTYq6rtvl85i1G/gSeXzeYypvS0BAgpBovJ80r9Yrk9XNX3l0OPQzI18khxRwbab6JPfALf66p4k2UcIPaX8DWpfCWIfAsyGn6UxRYwwiDE0z10sXK4e0TiE5/6CFF3CU2qFmEJQzboky8rS0Y0uEUkm7Phx9Ab74K7iz78Mqbt4ezexxg+jNF4iN+Vbp5UUKRr5mAnxnEaD7GHjuHHPYyWpDi2lBdeEi6ms0qUGiHafUAk3bX8PPpgA0Mbxw/uYYcecW4aEscJexcxOgKBKaj+vG70iPtVNHLoSOJDGB3St04qTY8hiR4tS0AXTQaaMqwZbKlOvUES3zBJJobw27ewcuIHlsFArNRL8ruK0xllmtD6249MJ1K76W9iOaBZAZ3qNbJzPwreMt7WHeyJx3GdHdLB/8fSe4dZep51mveXT051KldXV1d1VXd1bkktyYqWLBtjAzZ4WAaMPUOYYXdgBpaZWRbYmeFiAkPYCbDLXszFLLuw2CTjgHGULVup1Wqp1TlXV85VJ5/znS/v9bzNX/qjdSlUnfN97/s8v999e7i9OkahiiGwm+4Cvmw4pOIRdLAzcpGXdFaRRPp1YmPRHbxQIxFjQnFMkbYdR0jIYoj3FdE+Fo9t/gg0l4mcBCcqYFRdeuVHmRn9KE/MlqhkdAWUnT5e4QvfXWIua/PX/+lF2gLlu3uVpN4jO3GYxt3L8jHFmTurptz9S1+G0igp2a4YOrYR04ksYtPF29igNH0YqxuwsrzJ/JPDfPOV+/yj//KAp45laUUBVSeh7Qecmprg1z//gI0rv0H18NPUXvsTouY18uIe7uwTOHkKg8cI6sKPWCOxTkK8jib1m9wgZn4ebfc9ktY1GH4K3cgRCh8i1ok2v6AiuJnKSQIZ/pBGz1TxvQ5G0sOOI6Xps608se6ipaTTu4gdZzHKB+luixpzmEg2yvvLitBcOfMBbn71d3nxf/gzfuSjR7i6uI3bDZifLlLb7nJ9o8W3/90wdmGIjZUuQ6M5pczsux3uXrzJiSdOKNVhbWcHx7SpNWuK2ByKgjaMmJ6bo9dpkPgJTXGn50t4boP6XlsNBOcfP6b6upfefo+UVebx54bZ2/A4+I9v86kndWotDTdM8fTxEl94c4O7Gz5f/qWzPPm//DS9Vy+put/urbcZmJhVl67+3gp2p6O4Dn51GLY26O3vMjh9mOaSuJ8N7LPPE26u0a83sKM26Q/+fdp/8zksSc8cmH/ITCgfINpcxazmaG/tky9Vad5+Fz2OyD3/Q6rusPOdL1OcnsXoN3EbHgPPfC/d5XvqO9vxeyopISmbzvoNckmJzIk53DAiuPY6uTMfotndxql3SJ8TT3efztWLeDv3lLo49bEfJX75c7hBn9LMUdziHE6lQO/1P0f3MjAxhXfnMrljp9l/89uky2UGPvFTNL/8BTIzB6itrZDL5FTCoPGNlyl+4GnSZprmnVsUH32BzsVvE/R7ZGaOoVXLpIfnaJ3/GqYVYtpClN5Bz+UwRAs4OkdfLBUy5F69S2pomE4uTxA5FOyQ1luvYx47g9336AvA8MUXab72der31jn4qZ+md+kSYbGEnUkpJk5rb5P9u2tMn5jDaOzhPXKEwkCJpNNmccnlf/uX/52/XZNNGRwdL+DoEc/PDbDb7pEOLFzbUHDCzX2fx2fyeH7I+Xs9dldbfOevfxRt6jjNv3kFBgpksin6TVHPdXCcItaZp+l/80vYIwfRRgaU3cTcXGfnzkWK3/c/YndaD1N7mk68vYZWHFHx/rC3g1GdxHZy1L72Z6QHxkgfO0LYFG+4j+8KB+AhpFWrVNUZMGl1CTIWyc4SFoPEhTypoSF6UYy2cgdNrDUlUW4ZWKUh2ncvkdRraEMjlMZP4EVdgp01HFFpj08TL9xRfvfu5j300jiZ2Vn0VpPO/j52eRJz/hjcvk3Q3McoZdE6HXJHC/zzX/hzXtnQePSgw70tl0zGZnYozYWbHp/5CZ93lnXOnT7EzmqNTCnisfeN0Fja54+/UeP+Hiw2TFYbkrKMOHnA5taex4m5IRyvxaOTPj/zqTMsXXlAkLbZXIoZmyiiDznK8ixR+zvXr3H01DyWYyoqf7PZVoDQbCHH8t0HPPns+7h29TLlgUHGJsdZXVzA1G32tmtK1ddqNHCcDKmcSaVcYvXBBpXhAdK5Irdv3VWaQCuV4dj8KI1mnZWFbUZHhzl8YkYlFVcXlui5EUngky7mSTsW6XSajfVtLDNmYmqO3Z0NUqLODWJquzUkTCVWE6/Vx9MD3N0eQ4cGVdJQtLFzh0q8fmOTT/7eFu877LBfh2wqRTPo8cTxMf7wSyv8/CeG+Y0/+zzuxS/gy1IqL+C1DtruO1gHPkLkiQnLRezDbmsDy5E4+Q5GcQ63t0VK6qCGQbh7FT1bRZPFXrep0pTO4AF69S2cYlWdy5HUjyxVlNwsVBWC2GgQ7TbQDr8fU6+gLf8xnnjb86cxzbrq9RuFEbTevkpHh7Idl6GnZmKoxY1c8g+SpAsy0cds3qPvreEMf+Chr969p+wWeqepaP7p8Y8SuLfxezWc0iNoSRtv/z0scxi9IvpBn6TbJsnkoL8CnoU+cQZ//S30pIBRKD8874ZdnNJhpYWWO5o6J2iRUrzqhSn66+dJTb1fkP8kPTEeCACvptTQQsN3NHmlBxiKbp9RSZJgb0HVZpz8HHFvmUhsZ/mDWHGeuH2dMAiwj38af/0ClrBG8geVjSoMbPSZ59TzMHF3cAbOEFkmWl003WIxSqmLuIrcOwV1Mda6u/TlEu7vo1kDGFIZklKonsK0Jb+kqxqUwA9l8Yzv4fe7WPlBjCTCr90gqTyPzZ4aYiT9PWVJ01MHMXMV4kTSpqJ43lTnb5ySKBLUMIB+HSMx0OROuPsuZnmewM4pnaBGpACBAvjVA5sgqSuluyRSNF3D02P0QCeSAKofKEBjkq+owYkdC5tplKB+RS2zo9JxjLCvUtta6+LvJWEoF1UUnMh1qui+9PBtUnKRlYhFqkQicLDMIbTmdQLZbsz9JGbaxt+9hm5ViWOPJNggEb2D1iU2pKOlEwncrbmCJlEFUU54fUWVDCVy0r5HVD4KwSpaXFQwoDjoYQlkL2pAr00Y7ivwl7v+MpY9jD74+ENqfnYKvX6PQABf2gRmRicUGEYiQbsI3Qnw602c0bP0u/ewty4R5Gcf+r9lC186jCb6N1GYhS0IDcy0SVB7DypP4Ogl5ZU0vDrR8AxJa1t9UbXCOE53E793m7j6ovKPG+TxBeDh+eSGDuKJ/zk1rqZ/4tv0ex2M3Djh9nsgFPLqE2jeIkkkikFx4VZIIotIDwhbiziZw8TRvuo4aV0PO5+m2++QMYpqEh+Gvop+sPo68cgpLEvUFlskehlNQHsZIafXMfJHSLobJEZC2GxjIpUH8TxrGNaQSgAY2QlcbxtHtGtba0RFk6T0hHJ2Cgmf9AB6d0X5JsO8AP42SZrbCk5oOwWi3n2iyFZpBYn5iPFBKwwRde7ipI6SFCdwN17Djjzs6qzqT0eN68o/LD1dskNkM1VcTEWZT/bv4WmxiocLREXczPgttLhOEMU46UmIO+ognIQO+aiFlxohY2jUt25ReeHH+bV/+GP8zp/c4sdeyNDsCFWzxNyUr7pvf/qVNg++8kNoYzvUv/VARRXNVJ7O/Tcwy3NY46eVOrJfr6lpHqVZrMoRfL9Dzt5XUKZOI2Dj7i6FoTwmBWyjT213h5mP/gDq4760gjN5SpkmRFdi1rfR4238yqxKL7QWvkFuYBr0EZLdd7HLQ+wv36e52cIplxV8aW/lnho6Hv/Uz9G59RfEfZ/0xGnczTWKsy/gem3YuY49VMFrauh7G2Q/cISbf/YtfvEPGzzzxBSvX9xj/tgYm1sb/M0bTf7JDx3itz/3MrU3/hJ7aBwtyuM3r4HA8CLprVcwClP4/VuYQVYBB2O5oEfLamhgjZ8iSU+RNBdJOwlhohMFAYlhkNSuP0yYJB3Mygfxwk2QTlz6JO7uRfV5tmTDnTuu1EyEdXQBeaWHae/dUIoaq7mOnnXQc8ceQkb7a+pimS7MomdHiFvvoWtDROLFDVpYUUupXKzusmJUSM0kJodTmaa3d1cNbrTCIfz1+2j+NezUDFFxVpQlxHLJr91QcMlUfh7S8uZx1WHRyh4mTI2oTaxWe5tE9H1eDT10CeT7LjwQa5jA21YQQ3lRWVaHoOuqB22SNvHuy8F+jCDMoltlzHyOuLWgptdRZgI9bOJJksGuIkQcA0eRdqVKkXISApl4Jw5aZ58w3sEuHCGKY7TOsko+xdlTmN0F+rFs2MTIoGHEMh1PiKWHHnbRRZvpNhQYUIvTylziycux3ybZe4dYc0gdeIGgLTUaqbOUFBAnitsk6XHsXp1QEz1pgTiTUsPQsLtGKjuooHZCOY66G+rSaA8cJAg0ZSSw0yXlJA5r17Gq03g9DzPsYIw+Ap1FdejRJWUQL1M5+XH+9d/7YS4vuTw6W+Xr5+/xg+8/rrqhv/u5W3z5V45y8sMvcfdrFxg7dhQ/2Hton5E+YFSks/g6ubPPY43NEu4u0F26hRNpRF5A5rHncVfv4y3fJTs0Tt/OUdEDUodH+cVf+it1UakkLlPVKsvNJs+enOCLL9/jqTN5/tsbV/He/T2SwFKVFBnayTvSkGGbbuIHfbJpUTF6BGQwGpdwA4PU2KMqoaJlZkh235E3t6rJ0V5QtTo9PUmSy2LG0vVLg7v4kMBfPSa4O/zQR9u7gZEfJa7dRi+fIjJj/NoD7CGp2zQVZCls1Rl++oN85f/4Kz76b7/D9x7LEOgWgwOyyWtxbSVSW5DrnznH/pbDoijdRvNUigN4vZAHN+8wdfgALc8j9PqMjx9gt7bD1IFDKvK/urjI8PAQdj7D/vo+3U6L6khV+cidVIVbVxc4fOKgGoLfvbnIcGWAgyfGqJZCnvoHV1ns2jw/Z3F73WduxGF2JM+l1Sbmfpsvv/zLbJ//Ol57iOHhErXdLazhGcydu8rSoY2dpPPG58iOjJN9/EV6S4tqGJAMDYAX4G2tk58+Qnf/PsZuD+f5H4D1O/T7bbKz76P9nT9Hl7TO2AzZmWPijyW+v6j0SNbBE7RvvKFilOmhSbRSmv72DsapZ0jee1MtLRJTwwtCCrkR2vs1cgcG6a7fUvH7nm5Qefx7VN3EffdlMiNzuPsPSASylLZxTjyLWSji3nsbM3RIP/YBmjcuYAlb49BhDFOjdeUa1tiEAoTR2icz8xTR7oqqg6UOzdK6fY3icx+ld+0KUcogNzdP4xufw6oMkzv1Ip3Ne6Q0nW59CTom1qEJkvoWxbn3UX/rG/SCFqUXP03vlb9RGkTf1UkNVuhs38IcOIYxnsHa2KIveP7mFtbJR7BNn86SVMCmcJc2yIyksPb2WFnbJnPojGIeBE6WSuyTn54keuxpkqVFHrx1hYs31/jjb23w1mKHiYk8hysBBdKUB2Bj22PP0ymLQjA2cLSIYhp2XTl7wekRg+u7HpcetLnx/32M0sxZtr74WQoDU1Aq4e3XFIPJGj9M4u7i19qkJoboLi2RnzhAv+cJlYhw6BD6rQsEw+Okh4RVsErS1/DMNEa7iZ7PY5dztF57ldSHfphUAtt/89/JjIxSOnGOwEvRvfAlUoePEQnXanSUBEd53d3la2oYZJspTKmJiAFn8zbx0j2Mw8dhR5gT4yStPZKgoyoy0XD1YcJycwN9ZATHLuBvL6MPTGBaBuHeKnF5iFSno2w6vf2H5ypn5gzdbpMDU4eI3BrlT/w1z86leWS+wM2VHpkg5E4jpuubfOdfZNntpKh3tynlCtT3ekS9Itmix4lZg/RgkdtX2riWT9KJyeYsjFBj5tEqC+ddVjv7fPZv2xgli9/+Dye48K3bmIUS04OD2CmdRrejjESBH+F2O0qjl8oImV2jsbvHyIExMoUS77x+gfljR3HdPs1WjZTtkCuXyRfS7G/J+yum2wuYn59m8e4C1bFxrr13l5nZAwyOD2FqEQ8eLJK2UxSKI3SV6i5QQ4aoF3D7+nXOPv6oiv4v3l9gbGICzw2ojhbY2dkjm8pSGCiTxBph6FHf3qZcGaDribFgD023mT1+lN2VbdbWtzh+usrObp+Xfn2fx89UGBNIbcnindt1njszwcU7dWp7dW6uf5v6658n7LVJDZ8gSDJoO6+hDZyDdIpo+w0ssb7YAcnmHRKpyEpacfO76LK9FeuTVPUEAmsU8ZvLqucvOt5++76qGtvmKFougx87BFIzDttoKTHv9FUcPL73VSKpPA8/jyUGAD0gsEYVjDKIQgWSi/Q8Qb+NLVC5yCNUUXUxWW0/hDGnympJlvSbBFoPW85dqSKeQP9GjmIIsytoKhubFacJIx9Nkgr5WYLOPrrRJCmeUrpCqVQLzVGGoTIQjLUIxZCzRCHeVdXwMJaUc0gsS9rRk0RL7yoNsjV0Qt1pBHonOnS1aE6kvigVQxkYbGNYI5B0iXqr6LIo0TV1NhTLSCRq846vYvRRSQxR01BfxDMdTLHzhJJ4HiJ2pLZoEAYJZtRR8HUr6mL2O3i5IsRlzLSmlqumJTH8gJTYXtQiRi75OQWo9+WNnKpAuKpq1TKUN3t1lXbQ9a5i2gm7zUx07KEzxGtvkHQWYPL7IF0k3L5GIivM4lH69dcwyRIKWD43oEDtUhvQ5IzaquNLhUAXPLqDVZh6aHtyMmgC7QvkTJaoWmpkRqTMkrof+2GCIc8YWQpFvtIRG9kMfnsVw+2BgBeDmMgWqGSigNQq5dBtqSqFLPC1znv/JfEbdfRCFt1IEW9ewRew0dhjxGaWZOc2ekqslzqGxKXzx9G2rmJuvoI/+oy60MjAAC0NcYsw6aoPg2UMK7qxXr+vLoeRkVGAPnP/EoEAFwQqZQ6pmIKuGQqyJ+RktYEuPoIe7IKlo/V94sFJEuk4tO5A5gTa3pfRB79H9RsidwFblHPSJQ7W0eTgbg8QbL5JFPXJDp8j6OwgImqB+IVul1S+qgYdZvcBhgAK/Qjdk7pBgJYfQuts4DYXMEvHVecZUY0172DK5rZ8hFRrA18ma7kSwYNvYBTP4UjvSyB8jqb0DGIqSKQwI1ALp0y/v4khfXjpfOoxSaqEnhlG77eIZdggDwm3jiOAKOchkFAXHQdNzNJpjMYV+v0OTurv/J/pMtGWbGJHiY0QIQyK35kwoFN/k7RwAKonSHYWSMbmH1I15RIvXzwrhWYEGLqjJlICd4zloq+liHffwMweJMoMYIQufmoE011R6QUhkGsd2Xg5hEldTXoN8xCJ3VIvSy2Q2tUyaenPx10CSzqrsgETonoHbfgY3tZd2P0uufGn6ImENO7gGHl80ZnIcMFNoxeGMeKu8jr7mbIa9Oijp0nMcczWKr7WIVuZxu3UVBSsPCCR3D36rXWqjzxDv1Bh1voQP6Txa88AACAASURBVPjiJKl8h82dgLFqjoW1Bm/fd/mZ50f51T/8IN7NVfVlNvSy6uPJ9ibe20fLpbBL0ySaRdDYREtLdDmvNnfZ0Q/S3nyLO9/9LsXhwxi2TCsT2uvbTBwfIzd3it7CHUyzTTz0HNkkIGgt4DYekB6cwBh8gV7tDnaqSm/5ZaxMkdTMUyx86Qskfp/iwSFWb60zMJohnc5QPfcc0fpdYqEKC1l0401KI4+xLZGu3esUjjyLu7OIOTaNPTXOH/zKl/hXf63xkZMyeU9zb6lNnDZZXgj5y9//BGd+6t/jvfqHGPkDit1hpFL0kc+rTZLoxImFJi9g8ZcLzb9YJWACvfkWSduDQo5MVg5ebZKwg14ZRN+9SuCcQB8+hSZe2P07RNJvLB1Fd7dxty5jlkaxqt9DHC5DVEezj0B7VU19jWwKX34P0icvzxF31yBXwZENeNgnZp+o7asXhF2WXqaGLcNB3VEubwM5+NRUH070JmHSQI/30foaRmEMP4qIu03FHTFGnoP6AyJ/C7N0EtortNffpDD/aWKZ4nfvo/U2iaNEHeDIThNGe1gqOSMt1hRW3FFxcF2onupnNIy5ewtPzADVWYz6HaL2Lsb0D8PuJWJaMPgsyHdxcBzDXVcOW6+/qSJwsSim5EIoyalA+CmPEtWuYGdkg+wQ9eo4qQMktIjdNTUgieIOSe0W+sBREmVKkDpVR11II72LHqf/jtqeVt5kdQAVINH610jP/QSJaHB0l8SsEEjnvzSGmRl7qDRKyQvZQmvdJIyFf5DDkKSPUSVOywHWwt/5NnbhEfQoIhJGiJMmMqvKE2zmBnBbEYblkvRb2GZELM+pVgM9XaAfBehJl0xhkvRQhtU3r/CJH/0dilMZ5scHWNlo8vbdFrPjJZ6smvzWb32E2qaGH+7hLz0gPTOP1QsIhSWSHqdz+WUK517AiHRCqZ55Lk7KlPm4IuvavT0CsTr0dwgSk4HRQepdnaf/8Z9z5MgQowMJtWbE0QN5lu6s89r1kAf7n8FyAxr74cP6kvys/K5i0ugSS63M0KtdIl2cJ5ZLdLBLvPU26cM/osw1iQzEu/cxy4NEQYLlVImNUXT5HAWbD/88lNlPgTDqEzXWVB/fFrBPqoBdPExYW6FbWyFbGkIrj4PXw28tk84ViOo18s88ya//+L/ld1++zvsPlan5AccPlXnl2g5ruzHfd7bIn/xfx3j7M3cZmRig5YakLHEEh2yt7arDvG2Z5Mt5KgOD3Lt+k529BlMHJyiWC+zV62TSDm7LI502KA2P0WnX6DQDFhZWcRyHkaE8Q0MF7FyFxXtbnDyq85O/ucWb+xHTZsiBoQq5ssGDB3vs+Sk8r8Obv/khynOD7F8QRoZBL7HJ6RatxStUzn2Q1v2bpAt5AtEAvnOe9LMvqpRPtHAJvAhjYIDsqafwalu4D25iPfYC+s13iBt7JINDJFoKJ5Ond+M8w+eeZ7dWI45i8rYiCNFT3UiHbGqQ9v2b6HLJNqCdzZAqHSCRGs3ekkpKDBTH2I+l9Zh++G6Wz/ZeDWMgxgl1/HuXMSZOEeWyaPV9nOOP0rn0Jv7mCuXHnsZvNGndeZViZRJ/cArv9mXSM9PoaXFUZ/AkwmmXab/xVbIzk6QmpOPawqyOKZgULRf7fS/hXvgyYaeN/ehTJLvrOFpC0ElU0k7erZnpo/jyTvnWZ6h86Efxu9t41y/SX9+ndPoMDE3SWrmmhoWF4+cIN5fprCxQmp1S/BcZYMh2KWdadNqb6NYgzb0NMoFO6UCBjPCSnnqOeOoU9/7zf+XCSsh7m3v8v9/YUnT3c5PwyPwoy7ttcpkUyzsuk7kitdY2Rj5LVswXMdiaxt2tLk/MVtneF0iqST5v8qXzDb74T09w8uNP0fnuyyq+L0rguLtDfeM+WiqrLsvm1EG6197BrEwQDA5RTGfwE9nOyYYyIOnUcaOYlICpHVF7DdG7dw36fXW57149j1U6qPhJEoJzVxYpHTlFXMgR37+NVh6G6Tm0O1fp1DbJiXbwwS3scoFQz5HuNJRqmeFxku1dYsdC21rEOHSUwNKx5LDd2CbSbPVsDZevkj3+OG5jR11qM6efJFhcxLvwTczHzuH4MX6rQzQ8DEu3FEjROnKKSsXg83/6Kj/6+7f4obMl3K5PYBgMZB3eWunx0iT88oc1+laOm8t9Rst5YiOgUNIJ3JC1DY/VxYAzp3OMjlgK6NdqdRlKpfjC+Rpfes9lasxidlA67C2ee1KqgIOMHZ1m6dpV2i0fO5tW59hMKk2v67K+scoTTz7J+t4mjpNldHRUdfwbezU8t8fObovjJ+ZxhVZvpTFSJmv3VzlyYopGP+K985eYPzqBYVvkcwW+/Z1FPM/j9JkDlDJZNrdXOTQxxl5jR1HWtza3mT0xrZhTe/t7FColdbbOWAa9bp/N3T3yuZQ6ezu2xfbmprJN5bIOmWKeVr1Ou+Fx+OgkDxa2GK2m6PZ07FTI3LMHGPjgO7Q7fX7xI2MSwmdxtUMrcKm3PMzY4N3bf07czuM21+jvr5FEHVXtMjMjmMPPE25dQsvbxFpV8Xf83iaWXMJSErkXFtoGjkDO9Tyx62K490i0tPpZZctjxFlZimrQWieOWlhFuRBLpWxPVdqswhzx0l/hOwXSRz9Ff+UtLEcnSR1GdxeJZIGXqqozhhbrBJkSpj0su2JMSZpKD10UhpIgqAjIsETs1zCELyCLVK9L2NpCt8QGsExsDSIbLEkt43WV6i9uSXK2jmYdVZA7TdgsibzPB9QyV1TDUmmOzCy6wLlTRZLmCkZpWp1JBDTnrH2NoHhKwaO73QVyA2cIhHcQNNFL82jBMl5XkrwGZkmghl0C0TMbBfrtBWmuEIodQZIO2VEsqTt724oFFwUaVrpMuHMJXaDwlpjaAjRr+GHNWCDJxQNoXVfdWWQLbZi2ugOFe9cwnCJG6SBBc5Noe0Vt6Tn4pPr/FyC5LDP95h6G2JiMLL5E+/0mpiTNheEgZ0s5l5DBGXuUaOcueimL5QX0ds7jVJ8hdMpYtbcJUkegew1TkuNFWZjIJV8GNV30xCayC9i6RywLMDEV2Cll8RBQul48gdZ9QFxbQqscQ5PzumOS7O2oe6tZnMCXO66cegTy5xwgEItV465aHDnpElFajFeyVJWhmKj9ErTmW7+ZkJb4+xQGGwRr59FkO26OEbkraNJfMXUFCIwkziJACOlw118jcGbUDz/YvYZTKmMMP0HQ2oduF3I2fus+qcBWvzRD66r4r5YaVSqIWFzrTg5dNx9uqnw5ZGsExoACamnywaKHXTiEJwOK3AhO6yqBwMX6DzDFfz5yBqS/bAjwawktFWOnR4n0rHopJY1VhB0jSkBRbElsWaZJQVyHMEXUeoC38y7lx/8p7so3sHPHMdIlAr9Pooj0bYzyMfrtB6R279AffOxhTGf3OhTOYoXbJKFLNHhIRUEkjhN7whHoE2cmsdw2QfcGulNCy82q/r+v1bF7ffqRiZERj2eiXhaIfis1Tt9rY/X3VO9Z/PDR7j30gWNoWMoZacR7BKZM6dJYSRvdEWBjoPr+gb9NMnAWU6SlzVv0hEgqcevcOFpSVHGZwMkpGnmctLGKcvlwiMV9nqo8jCa7As6pEfhNpU+SYYAA+GzdJ7TTyrMumpIwM/yQoJzOEe5fxDTLRKUTaK1rRPUt0kNn8YPOw2GCbJBXv0Vq+EW14dTyE2jZE4oyHnRW0VJVBYHs9rZwStM42QG6K2/gJQ2KBz+giP+mGxJVJvC3vwvWGOhlFYGhs0bf0DHkc+XtK+VW5ZlP8m9+7Pv5vz+3wT/7wcN859qyImNv3m+wGxoUWj5//H+eJTNgsfbWDfKVIlapojaZArxJj51U6ZBw64KiJPeLhzB726rDTbyN266zedOFASGsQ6GYwa9tMnD6COXpp2i11yiQobn8BrnKEMbER3GbNfK9RfxggzBTIYlF47FBYCbkJk6z/srf0qzJF9jAKRfVRsYpDzP0yBOE67foNl3yo0N4y+/iBR2cySdweh5umKhLbL+WZuiRFJdX8jz2qXf4hx8aRyegG2iqCvPmq1u8/KV/yYEX/x6NW28Ra33SvkekGfSlmlKdk5QXtITiOgf1G6ojGto5jIEnMAUkZzuqXhMGOvibBPoYqahDHO+DKGF6W6pDpdNFG31eTViD5oqyXWhDp5UHPa7fUFFILTVI7K1idrtElSE0gSLKhXjgmYfmC9noFw5htVZVRysU/WFjhaRVxxg9RuzVVUVDd9v4wbZSANo5h1h6kqKgCwP6hugmu9jBEvHQ+1U3LWlcVeAeyywrJ7UoPB1/jaBwDoR6LzrMuEs2M65MB6ZoaCT+FuiqrxVYLshmxEwTOyV51eJ37+BvrpOefkypW5JeRNoKEI+AOXicqC32hB62k8IzwIgGMGSS35EKBXihKPCk/+aii3I0f5ikvYWWzqnKlBEX0CW1YFcxXOm0GESbV5Rm1ijOq+eYJQCqtvR1Bx7yUbw9NXzUhaLbXUcXjovUITpLJMVzaJqLLf/tfkNVnMTqEusGUb9G3O6jFyoKBKi5DWL589xxgs4ljCAF+XHi1gOlIxSOify/aOYIURChuUtQGFcdP0WklaFoexs7l8fTJHKXVodxd/M6A8d+DCvXJiwNcKT8/RQnKvzcx2ZZ3Ktx63Kdx85W+MOv3OXWl/4RyeI2d24uMPXIYzS2F0gNTGBpWTqrlzFFcSqMExlUTE4TbWxgjI3i3XkHc/AA7V6P8pFH1Na0duuKggsNvPA9/Idf+G3+6D2b+QMBy+s60xMGEwcd/vRbHX7hwwf515/7b3SvXVM6QQHFOsOHVA3IX34PZ/IFvHAXQ6CsTgrdGCby1mXJTNJYICrOkCpNEMnOY/cemgxI7YdKvcAXdICJTp4o3FVx/tj3cPKH1CBUhgGB0cXOnMLKDuJuv4kpKEr554mNwLIwOi3S576fn/3Ak1zY6PLpl45w/sIyb9/e48PPHmKn7vLkVMwv/mSW177T5Ykn57l9ZZHF+yvMn5xhfOqA8msfODRBs9VR7u3p6cMs3r2PKbabrqui3a3aPr2ux/TcDDvb+6xtbOHYeUpyccBlcGQEz9XZ393BT1xe+OA8P/9vbvDdOz4/9ZEJ/uI7m0wUhO5nc+5Ihd/6yyXO/9dnOTht09owiXo9XKkSZaro+QGcI7O079xC395GF8K/lcEeHad+5wr5/Q7RqXMKQtlZFihjUUXro50ecVWGdwKXzBFHtqrEZRIPT0vQN5dInXkfnaUtxY5Jj00RX3+XZP4RNC/Bay4SLG+QeuQJojvX8IKIwaefp/nK18lNDuNnR6G2Txjtkj36IuHtt+lLJc2xFaE6OzyBnRskWL5Mp97HGhjCyEgUfwvLN+nbXYzDT5INerR31tU7u7X4KlZ1guzYNFqtQT8MsUsVkqyFe+0ycS+g+NxL9N/6FonAOt/3vcRum2T5DnE2r1ggYlpp7m5SPnJaLRf8a29QeN8n6Ha31QW2X5FhxR5l0XHNThDXXbq3b9DvbjH+Qz8FO6u0H6yRq4zQr93D1eqUU3MEZYvS2BQM5NRSh/QkF7/0Cp/7/Gu8s2nx+mJDbdAHDxZ4elCjVHW4u9FhVBtkpb7PocNpvIaYCbKKWr/jm6rCODxokgl1UobGjucpMNsHj1TlbcF/+uou7/3Rxzh6eJrtmzWyc1k68js5MIu9eh+3sUrmqe+jde9tdMoKfln/+l+RGjtAsHIfbWQaQamIiaRw9Gnal7+LI1va7EEMGc6NHiYlQE4vZPu1v2JofJLMx/8Fndf+QqV7opaweKYxdhYJ0yUoD9K/8S6Z+bMEWkpVU0KthxEH9FpNHIFO9j2C7jr+6jKFY49jVw+zd+krGEaG9NA0HBwmXNkQ9RP6/XcV8FIfrJI6dQb3Oy+rxIgAuNMnzsLEHJo8a9I+OdHnHUzzyKcv8uSsRr2fsLDR5cxMSkXmb9YsfvcTeWYmNHZ2OxRLJRYXtuh6PrGv0fbSPPVEnu1dgVubrOy0uHe/ySPHqzzxZJlf+t/vI7/Ajzw+xFu3Wzx/MsOjzx2nWdtht9aimM5iSvKh5dJo7jE0Nk7aNKlt7NGNXHrtPsdOzdPqtth6sM3gZJVKscTSg1VyuSydXptyuaQAubs7dUanR+l3+lQqZQWw7XdbbGw1+aPP7PPIaR1Lt5g5nGW45FAsy3fXUDH4RnOXSrVEp9aj2W1TLYtKMBELKYW8bG4FLLpDuVJlY3uTQi5LPpNldWVLpVwnJsfpNr2HNeXmDp4RM3vmLLfeuM0zHx3iyR+/xF6vxJmjsLsdUc4YHJ2rKHPEn3xlnY2dz5JOMmy+82XM0lFymUFVa4ySBphlzN4mbu0eqZHn0NKairKHYiNKXMzqEcK2/L0aZnoA6BBIHVt0ov0tNTyw0jMkI/OYUjnxd0gs+fs0NGGDiYLbl4XIEFb+NMneVSLpzOfEcuKjGz4YBQJvDctxwJnHb13Fzh9GCxp4rVWs7EFVkdTkolk6RN/fJCuMJLNA2N7HEo6Y1Bm1FERrJM5B9KiL276BoY+TKRzAtyFav0IY1kiNf0hF+6VWrXkNBQ2NfB+tcx+teBYzkyfcvUsQ1bELYyrl5wr4T4DI2ZNoI1PoK28R5k9iFitEq1/DGj1H2KkT1RcxNYt4WKDyMVZoECWRAogTuYphZMsQcectIj2NOfmCGk7IUkjmFRLBF0ig6TWJ4hZJPyEplVX/XyUj01ILbxN6cuk21H1BEsuhWFFyB0iVjhFtXVTnf2fgMFH7Gkn2sLK3RO4SkTOCZRaIWvvoWY3EniLWu1hWgnbzC3iFnNK5x40+cS6N124og0Fk+cQrb6qFYpwuKh21JJ+Tyizs30fX5L+tiiZ1UntSDaNlQWh21pTxSuwOkaQnZHg6+CiB1lbGOyudJxTwtl3BMQuqLhtsXcbODEIqj79/E2PguBpUiBHLlmao2Bdai2oIIvUAqQxotTf+fWIT4Ev3X0imA4fQfBd/4zzmwBhaZkptgjV/lyi20YJdFV1PRp5G6+8RxU20xoLahEVen2x5lrC/SyJRllYNv3AQ04pIti4TVZ5WfRJ97xKJWSLyV4hFcadi+eIFLKNLz1jiHPlDBJ01kCiII/5pnVRSglRIkprEEI+1XJf6awpa4SUetkRLi8OEtQ2S7gLO4Fncbp1UaYzAiND2t5WKTDRX9si8isYEe0tYpSna7/w26ekfw7LlxV4gcnfUBlAmKQlraBtXCbKHMKSQIfWDxCdym5iV4wT77yoSt5U/pCiduDWlxhNitGHmVRJB1F5+ZwOtehiLLL58QaMtkvJxElFxhSFG6gB6vEZf4q3OCFrUwpALekaDTu1hbFa0YVYRPZUnsQt4jTfJmBP4SRo9XHw4kcrOESc+jvAIaregv0k09hJa+zxBlMGULq5EvnstoKvUXIaTUpfCSM8QxoaEYUi0LkmUEMdpklQR3ZRpVILW3SMWGrxQj2MfR/RjjW0pF5OSC1PcIYxk62VhGlV6e7dJMtOkjIb6mUtUK9BsLInzeh5BKqVgHkIVlc2vWZoj6LSwkw59gYZMvkjsbqHX7mJUZlUn2t+8iJEeoe+tUJj8QTyxDFg+7s4qg7mEZGqaocl/zvc8qZOL8wyWLW5udhgtZPnTV7f5vZ8c5Md/5iS9TprE84mWLmCPPU63sUlaNHapObzeMqlCSU3qsukxAok29a5jpIa4f2WddNFRUzTDigh6csEbZezx0ySrV4hnP6kehMm9z+JTJmUbxPkCtF2SoItZGlFRnMzsS4TdNtvnP0PY18CBgaEx9jaFhJtjaHYM8tME3o7SOZrSy7ZNeuvXoL2FWR5Hyxeo1yImzAecv9Hn5/6owSdfmuSbry+Ry1i0uiGvXuuxfevXKVSfYu/uLcyMhRm7CvwYNmtkykN4vqdMGfaAQBazaJIICGtkCgfprbxGt7NK6cRPELgt9M2XMbPDxIlJkD2JrrcJ/B3ScZpAHJC5AnpqQunfNONhB0wcqmZmHjsV4Ta20Y0shnKX7uAUx0lEL6fbBKHE7WVCKcRBAVQ6GPlxTHdHTX1VLMroomlF1XsLNI2ku6UefrGZUc+qUDa1TgXdTNDiAEKdUDb03X0SeUa5y+juPmG+RNTukJEHdH+VUB9RdH0t2SdIikRahBPViRvrSlGV2MMk8mKONbTUgALhCT/ESeXRwnUM0d0Zk1B/F1/SPfkCVpjHHjiA39t5qDC0BzCSNqYo9ozMwyiXnF6dCUynQLL0/0DmFFH5MJZwXqSnF+xhGl2idh9n4jm1xdWkYy/ATMQG4qOlDXVYJ2jjh9tY6SNosn3fv/WwgiWuctyHwNfAwxSWQqaAZVcgdtETYZ/EBHsXiPsu5vgZNVUXnov8VTaT2Bm81h0c01KVGYkI9vfuk87l0AZPEfaEZSDPojVi+fcVJnB3XscwZQOR4G18E3viByHpqaihJItGXvwhfvmjP8Ar10PS2ZjmTofHjpdp9WK+8E6H7/zHp3nyzBj3Lzxg8tw5+m4b+j36tQ2M6Tkcz6X2zmX0gRROTjzSLm5Nenoltu+8zcxLP4JvRuxdPs/sBz/B2sXvMjmepWZkOfrJv+bvP3uArgyKg4RubU+p9Fwv5lbjJtSvs7e0A03peVZIDMGY6limgd8RvkKAOThHr36VlKh4hr6XuPE28d4NqLyE6e8TmgHW8HG01gaBDL/Sclntq5ihRP2kEy3u4SBsYxTOkkoC+u27aPJuO/gRBeOVRJtoG/PpHM0wRAu3KZ7+JGemTvCgFvN95/K4Ham/WRydT/Pbf7nMT56M+I2fLXNndYD8sInma0rBJTaejfvrFAryXvVVt353d5cjR+foKphXinanQz6XpbHXRFQvBQE0RdIBbtH3UvR9j2Iu4uRjT3DxuxcJe7scnJ5neCBmM4h47p+sMJEPmD81yIXLuzwyl2GwWOb3v7TMZ37lHB//vnl2bnTIljLU77yHOTpLVHbIbK3S7zgkUYtidQLv8CGShWWS3jrx+CimEKfzefxvfYN4a5nM4aMYjz1JeOsOCPyrs09c3yEpZDCnTqPlSkQXXiYSOryjkRsZoecMEC3fUwkrz0xIjx0ithyi1ftQzpMuDNFfWsTr1dR3c/TZ72d/8QKFwjRafYX6zgqlpz5O781vkJ0+hhe0idsNcH3syhjNlQXS1TGy2TSN3SX1HDXdgO7OIsXHniF2GzjZCdr33kGfnCNVKCvAmMrrahnaG3ew5cDa8cifOUvz6gWcoWEKM6forC0qwr88i+JOQFiAbHObRjMkJb3ZAwcxPAMzqhNWxshKvPz+feJ0TGXupOQM2X/5K/S0HNnDo9BpUpo6htlbwww1zOc+htHZYO/yJT7319dxzSr/+avvsNqAQ0WZCWR49NQQjfU2odFjzCngah6Lez11WD4+bHC9nmFm0OL+Rp0DhSIV2+PdVblAw9GJtFIjt/s2k2WT1laHnUyWL767z+ofPMNY4PLAtRl65sO4b72BNT6stpfRyl28/W2SrHRkM0RL18gdfx+G1JDqO2hZnf5uj87iRaqPfhC916GXSZMpVujdvIg/MEymsUaYGcSZO0Xc9PFf/QKpx99HaKLMTCR9vHtX8XSTytlTuFfeJWk06I+NUzBz+O0GRiWHURnDW1nGCH3smcN4C7dUZTYZmlTGLG1nDa0jF6bDqpKUO/cRutfexCxlyJSnaO4tovd8stNH8O7fx5p/hOjmW2zc22Dg+ARjjx3lne9c58lffYdPPZHFLmRZ2tzl3FCe7+4KdLDF1//dOEtLCSvLoqeMePT0CJvrLiubPcaHC2C4LC2GHDuSIe/keOPiGh/50CSh0+Gn/tUeZ06lqe+FvLkQ8Af/rMLBA0U2djw1SDj5xDGCnsvG6hYHJ0fVALVVbzM2OsKG2B90k/xgha3VLaZmDuH2Wyo9WEhlub+wwOBIlWKxzHuX3uPksaM02p5KD7z40tNcvvKAE0cGuXRri9UdnaGChdvvUms1GXQsTj8ui4iEze11dAHfxRrNZp1ivsih+RmWF5dp11ryOmf+5CllxXqwdA/HtikPSKI4Zm11lfHJA2TzFTq1uvr9pp0cq3cWGZypQF9j5sQIP/+rr/DAm1DpwdBxmBwI2doKWK3D4laflYu/QbWaY/OtlynNThJGD2uBrkT59QKxmWAkgYL1mUTq3uR2NzC66xjDj2LkhpVOWrdj7PIplULD6CvgZ7x3TTnuE72A4Ygu3Eega2KDUaDsoK+2uZoziB53cRuXSeVniEOp2TWVClDeI5I+k+FqbHjYYlzTLTw5Z+gZ6K0RmAVSCgjXUefcQM/9XUU6ptuRz85hDKngbso7WqLpGZUeEHacnh4h2b+m+ASJVaTfWVKw4vTQCRIBVa9dVLYGrTSFJoYnt6/gtoShovrrYtYQnky6irF/g0gvEg0+gb7+ZRJh3ew8wB6eJDHKmEMHCVbfJdF1rLFnSNpraEaOSBYMki6X75fwp3r7ih8mi6mMXcDdvU5oBGQGzpEIMDnaVWkm2y4pXbzelqXsA6VylvMa7UVlWokqM/TbG9BtYIvqOzdIf+eyupvYMjTIHVBMrMC0Mdv38UXdPPUcSCWi30AfPEl//zp65ayyAaTTo3hrl0j6V9GHHkdr1DCHJaHu0F/7BnZ+Ql36BRZthTtI+Dnx0yRZUUw3H95zS3MYoYW39Q7axKPYXpdYEu3uBklwDz1zFr+9R7T7hvqdiWZck6FffwNTEhftTbTcKGFtGSuXx8+NYMrHI5MnassQQ8wKAqWWtLeNJUvz5ju/k6j4vkTMO+JSfo5IOlOGAPQaCB9A4uoCVkkZeTVd8IKe8sxbKYlVTGFEm5iyqW/11ObclG2xNYGgBc3WMlZKI2yvogsdevcWgTOJXZ4gar6NaRzCKNpEfNnZfgAAIABJREFUQRZ/48skucOkJ17Cr19X/fpQvhSi9fJbKtbnux5WepQ4nSdy1yEpYoTrRImjyNeBbiuthC0fyEwB3Tch2lEaI+kEe1YeUzqye5fw3QhLIn/FWRx/gWh3W0Xy9IHTymEv6hm5qBsFoTdPKiWELjrD0pjqe+nZMbWNlW6zJtyE0kH1IVW9EdnkCA2xtiJ+KrR8Fb1VU7FlU2LM/Q2lzYh7G4RGFStuql6r6cjXuKQib7rA6ARymIrRBAommyLp3QiQbfvbqidq6UOYjkmUHlbqCrkg4deIrbJSXES5OdUzkY2gkeRIBCjm7hHKzzRy0MVJm69gRjZ+0MTw9tAyg8pbGfTWMTJTxOyAvPysgrINSCwliLuYdplo/Rp6sUIidQ3fJRHSbWkcPxTa7gD0b5HogxiZSWLROVo61K8S21MkAsgKt5WyzCjPK9q6IbGXSGKFJZJslmTj25jjL4BsevcukR77sILRyRtAqPXd1lUKwz9CaO4QNtexBg+TLF2m8MyP88e/8r/yP//BN/nFTwzy3s0+pw8OEsc9vnanzfcesfm133ye+q01Fe0M9TSZoeP0l14hjFo4Qyfpb9/CmPp+UlpXbU0cpaLMk5gBd/70C+i5CTKVCC/waO3UKOeyHHxyhp4nipA8lp5Br8zTf3AeWz4DA3NqqBJFCWZ+Bkcu2JkKznCZzVf+hM2FBqlyBtu0WL2/SXWwyNz3foyovoJWnCTeXqDr1slUxlQHXrrOcpgPWjWyh86gjQd8+LkvUqhUcZMmk9UsxBlafsT6rVW+8uq/IlU4QvfOA/TKMP2gg14YQ+vKAXtN6aji9CCpgUeV4lF0KxLRFJNETo/VAU76Zd7+glJa6k4RpHdl6eheQiL1krxE8FNo9TfQkhJJUdgQNYzmDYKDLyIVK611hcAvoItpQaa8wn/oiO85R+LpKmoWSSyqs4FensGU6HtfJ4o0QsfFjC00WQOYY8Tda0TZkxjSZ9J8ovQB5bONO7JpkyFZhcStKb2k9KQ8b4+0XlaXa4k8aAL/dO+gIQaODJEwwAMNf/dVZbmwB86p6HzcWsKRBIRQ7/WeipMb6QphR+KQZeLUAUVclSGC9N/jynFSjk5Qu4MlA7l0hWTvNlphgFA25WFMkssrgFhKLtVhgCZqm7GzeI01rLJoND3FSQj6i9jyfZGY4d4FIvsYZrkAQRYS2TjEaEmWKJVW33/T30JLqnhOFavxDpE5AAIilQGJ6MgElhV0VMy6HwqhPENUuwzlKdKapaCggfTmrKoiFvedLFaU4Lt1dE3HSg3gRS5xbZH08BlFcU4k5WAXVcQ6kfqDWSFJZQg62xjeBlSeJZKoZniZwJ94qHJt3yWVqpKaP8LO+S/xiZ/4LPPHxREc8u6DXQrFNAsrTZ6eLfKZv/yf8F69zeJ+i5GRLI2FG+SPPotRzuFeuYDWC7Hn5xWoVgbR4gKWjTKdLvrEBP2bV+gsX2X05DPsr/RotFY58YmP88KHf5sr3S4/eCbLcH6Id9d2GSo5vP72Pl/87M9y6uM/xdbrn6dcGifw6ni7t7GHZtSWShfvb+sBTuUsUXMR369hlWewtQLdrVdIehuYY08R9XZJF2eJpQcaeTgC4pMKSiKJjxF12HPS47hRk2j7TYyxp7D1QZXAk+l/OpFUyCid/fuknQztvku1AubBUwzlP8ZjxwfJZ2MerPd5/yMVNjZ2+exFk5d/bZoPfDDNq199gG0lVKrDahMrLun11XWGh0eVmkhR0ftdNlY2Hjq6BwfxZDOZyVAdrlCv12nuNDn5vhm++vkrrKx6FAY1js1UFVEZGRbGrqTVOXN8gp7T4MmfXsTKWByvmjSCLt/z6FF2ek3+7JtrzA5bvPb6r7H1x9/AGBvEnJwjuP4Keh9SZ59mf+FdysOH6GxtY9RX1CDUOPk0/u0LxO0a2cOPEesx8fYm/ogk7eokYosxDHriOtcdHC2kd/eeZM4fDomwVFw3WLyDMX6UWI/wr53HPvQorC9gDY/Q2tsmUx0liF0F4S0emqVdW6G/38Vdv03S00mGi6QPP0HO0PBluxUKyXudfmTQre1y8EMfJUmZNBbeU2eTnNZh8+IVyo89RZJ6OODs1+tonQbZceEFNUmqRbw7K/hZg4HcCFG7TkyHTqNF+rHnKI3O457/Mp0gwkkZyhAUCkC4tUMsdgQh0Xz0HygFaHDvAlb2EFtXXqE6PoEtIMqzZ+gsr+Cub1AaGcOupggbO1RmzsABUYRpNG8vs766x5+8vMKffesGkaax1k4o6Tbz4zGfPjvBu/v/P0vvHW1ZetZnPjufHG/Ooereyl2hIyV1ktWthISMDLIEMxjDGhuPsRnPGPDCCS+WZzyDweAB4zBDsBE2QqaFQEJqlLpb1bGqK97KN4dzz7n35LDzzPsV/2lpqWqp7j1n7+9739/veRoM0jYHqy28lEm6r+FlYDGXUcyRw3bE5FiW33qvxjPjoyr1udUI+f5jaf7bSo3zRYOi5VAzbYbCPluuznMCrOy0+OVveWz/8acpe11WXn2LuR//X1h771Vyq3cwH3tMpqbKBqQFOn6njj/wyJ1/mk5lm2D9LoVn/xp6u4onquGEgznwCRJJrOompIcJHYNwbZt+b5/MBz6Jk81Q/crvYI9NKkNNbnKcQfUQr1nHnj2KVSzjr0hd1SWu7JBcOI05M0/n1nW0wy2V3gjKWbQwjTM0paBupujMBgH6wjl0y6In3dzVm1hHTuMfVgm27lE8+yHaG/fUUNw5cpLWq1+nXyxR1jxVnfRTHpmPvsjnf/B38LprDJVLVJo6G/UBx0Yi3jlI8clZj5/9AZtaX6fRsen2Gpw+OkWt3lfd9fGxAvXWgJ39A6YmRlnfaJNJxjz13AzvvL3NP/ztHp94NsXN600O2vCLf8NgcmyUWick6aSxbR0zlyNpG/Q6HcUxae1J79lGKG1Dw8N0m232d6uMTo3R7w3IlDI09w/Y3a1y7vwZdaGPB30FG7ZNm0IxqZYNb3z3On/1Bz7IvfV93n5nV1VRh8tZ1jdcMk6Hlz5xms2bWzQ7Lc48doae5+G5fXTbYtDqMT49ymvffIsjxxbVNvryW+s89dQiRsIgkU5QqewzPjRCp9tVHI/Y9SkMj2I6qOdiIRVRqUWcOiVa5AM+/29rPDGR4OiycHLSfO/9XZ54PMWb7x7yf/78j/LS5y6yv9LBKdoMvAF2fUOdSax0gf76FeyhcaIgQSAa0OYd9NwRvCCDobcw7GEMS2ewfRnPWye38CkCL41mV9H8DH5fAH5NDNGPhxpa7BLJtltPy49cMS80gQwPNrGcEWUliQxHgdoDz8WK+iDVZ1vOEVXCUHgOC4R9FyczgVt5E7lpGqVFvAdfJj31MpEV0/MqJKO0YqLEyRl8qVyK0USgwemkUv7Jxj+2hjH2L2GlJtDHn6Zz5begOIE2+WEMXyjy62iGTZw8gt+9jy02ImsYXUxBiRG67Q0ynV2iEWGebRMfXsGc/0HczW8R2SnMzCk0KySsv41Vega/08QQ+KpcVqUOYJX+0rCUwnFMer1DBUMW/bScT00xRUU9TKGAyJI5jIj8FgkyuLGP0XyAceSvEgi0sFNX9ifEDCd1xdjEKZ5QVictFHCo9+gybVmY5XMMNl8hZvzRwrdwDrMn4Pi7qhYe5caImnsqPS56SFMAys117MIpdRbSBpL4DBQ3LJGdUvwDtUyzRFPp4YqFTQD6snQ3cgpK66VG0FptwtY1EsOnMDOLdF1hV+VU1F/MBFLn1mWJKlYCbQzbihg0bymuRzTxpFr2+kEdKwyxh5/CbdzFlIpmSqDTdYzkaYLObQW4N6wjhIMVtOrlX4/FUW7mi4T1Bkh/1M4ycHsErU1MO6sowhLfD/yM0jyYnVX01CxaYRwqbzIIYqz8CdX58XoV0naertsn3F8jOX1KEY99AUVFXeVCjgsTCtziiyKlOMOgc52sc0y5EqWb5QZdEtJPmH6aSPq6tkEicuhnp9EP7hK2N7BmXsAc7OKRxBjUiGwHMzOhtl2eEGdnTjII2lhtcXV7RNEOTuK86tvBHpqWJPIHmAxo16skh2YxNVu5XMNWXU01raRJ5CeV+ggrjWMkGHT2H02kkrK1KWFZAX4kUdkaelInFtKhqMxSOubApadZ6C0xFhwlSuUx67fwu0L/trEnnsZtiyovT7+6gmMlCMtn0Ad7Sh+m60IItwhat3G7DUiNkk1m8ZPDRL0mJq4CE0bjp4kE9jcQLZeAR2RiF0D7IW4U4GSmiEW56HuEVlqBDTEttHyZ+OBA/U6j7qNeqlM+SSBZcPmC93rocmntPlRgjIgGYeU2Zuk4jpPD02MVO5EvhXh0435dvUzlgBJGHoadxRSFULeCIdtbQy7QC+ph4xkmll9VMEfsooKOxL0ueJsE8uekY2TmCZ1JtPY9ItNRlz5v+zL22Bkip4hxeB89imnX3sQunVBDqkL5GId7aww//Thrd7aYv/AP+ZlPlqj0NOobh7zwxAgHusbXf3+Nb7+yTCa3RO3um+SmThI297HMFP3MELYRw/5DDuqbpI0U1vkfJlp9F61xn+z5l7j15a8pOqwQnIWQPOhFBPurTFw4Q275BRpXv0JS3pfTLzJor2GPL6lem1u7qaBsAlaU7WmAjTP3OI13vk17V4ZKWZLlLK29bUpjBYoXf5zOd35FRfT13DDB/j0FsUuOP4Hn9TA6PZr1XQrjJYyFo1x89hXmjjlsb8D4ZIJa45B7W6Gc87h0+dfBOkW/vkWncU9NB82SpEqE4N5WPAaJnyWKS/T3V5RGJU4tkS6X6W+/izH2xCOP/ep3CHJlDFsUaTmiIKX+nD9YQzfz6OllFQ8OG5sYY6fR+i26jR1S0oNtbWFqmnJRm4UjxGYGKzKUg3bg1nF0C1+UhDSIXFvR8t1WBb2wgDnw0CRVkZlTXAVLKjIC7VNwmQJu7S3VAbVHH8Pvr5PMnsFPjhFt/AFWYUn1zcLmOvpgF4ZPgGzQJOlTOELQW8WWbpZwO7IFTHOEbuWyiqxLp0pL5KStqrp6uAGhYap4lUTXQrOLVngMzRRPdxVf3NMT8nI5JDrYwHDAyMzDoE0UD1QMMo5CRekfNK9hjj6DnZimt/tdwQCTGHuCoN/CDxtqsJic/BB+fQ/fXcVOlsCwiPbfxSldIE6W8DvbmBJPrN0jtkNsGS4ETQKVQBL12QfxDt9GE11oalQNL0wFHcwreKuwF4RWq48dR6sfKuVpLL9b4bBIJSto4dUfqt6nbDV0P2CQyWN3K3iiirEcTC2J190kYWkESfnuFgkFeOP1iB2HaFAlSg5h9raJ9YLqTBvb13BsH3fyI6SOHeP7ihdZOhYxNDTPXq3OkwtyIa/x9de73PpP5xieOkOn41J/93ukpucwZqaIVm4SJDNoMgTRZPNg4xw5S/Pa1xWIKTUxR219k7Lh0rKTwt4nPT2HVhzCmTS5+Rt/xKlfesjfeTHPyoMaC9N5gijFf7+0wyeeTPK7b75P8xu/qQacibFJBczTm9uEMhB2xqCzhi4VFz16pM1NJIhjE0O3ifs1dfHQPfl5uvidHVKZIqHEE82AyJEYYouw9T5h4TSOJRuLh+j5owQ7X1U0Yas8Rvf2F3AmnsPwZYMTELUGlD9wlte+9Aqf+an/zKfPj9DuxNxZa5AvxUxlC/zRlQFX//1JJsotvvf1fUpFndnjR7h57TaDVpuFE4vqsy1GlStXrzExPsTo8DBbmxXGZ2WwbHPj6k3mFidptrp0G21Onj/Cn/zpbUbHJqjuV/nUp45y9fo9+pWAY+eXlL2kd9CiVOzzN//lPW5VCzwlH/sBrO33FMF8KJfnu+9s8+5//AT5Ykzj+gHhsEOqNK2gwv2DtgJf2mOL9O+/gWWV6KfTJMdn4IEMyJaU3SFoDdRhzhqfIapWMJ2ESuZYIyOPIFgjJ2i++l9IjZZJz51VceLowUNMYZbMzmA1G7TX7pOePU7ncBtbhlMZm9rVa5ROniXO5jEufxtdWCZzc2Se+Sze7W9jLx2D3QZ7X/tjRl76GNHMHO7+Ibrv0V7dIKzs4A088pND6kIxGCnh71fIzC4Sbu4rRlIiW6L94DLWokT3A5KDFu1uV+mFMyeeRTO69C69jlYoEW6vEcUx5tgQpgCsxmQwOGBw9zJGqkBGFLKk8Ou3qN96yNy553E9n353U/m0/epNChc+jLmxgzZjo5UFcBphbtzhYLXP//yr3+LtzR6bjYAJqTf6MD6i8cmLk0RmgdrOtkoabjVdKpUaR4p51utt0jmT8ZTFaLHAVqPNG+sterbNyXSKpAy2dIMX5nI82KpxvRszokX8+Pkh/tGbewyVRnhqKOQr1w/46Y9M8ZXLh9x82OXmn3yO5l2fUP6OnLT7NtDmT5L0OjTe+zbh8rPkixm8bhuz0YTDu3ihRtzvY544r753ttTWyjPYgy5ur60GkW7JghvvkD39QcJmB795j26nT250Dq9WgZEJ+vfuY9HCnDxC0KySlGSBnIvMFFbGwdN1hAfuNrq4hSyOxHhbXbRckUAiuYUi4YPbj9JsFz+Cdu8evXuXyZ56HO9gB69VJ5UpES6dx6w8wHXKaLUNoq5L/rlnYeeQrcNdZkYi/GaSMz/1h/zQ89Pc2mizsdXn1FxKVQHeWmvwpZ8cZnIk4uZ2qJZCxXSK7e0K+XyGKAjJZRIMlfMcdHwqew0KuRxOxsP2Qv7kcp+bFZsPLg+4uQMLBZ2f+ftPUtnY4+b1bZ55/gLXLl1lYmEMz/XZWd1mbmkWty8MHlcp/WQQ/+DhKsV0lkIpx+b6NrPLi7idNt1Oh2JpVNraeJ2uiv33+gO6rTa2DKiDSCncGo2QV75a5ehyntHhiOXjk9y6scYHnj3L/sYeuzuSPhim1fKJ4oDxyTF2tiqMTQyxt3PAkRMLSusnFYPZ5VlWV+6qZcXo+BCVrV0ODuqcPH2G1fsPSSRtSiMF6s0u2aTO7kaP00/kaTQTHPlbN/jJF6dV5elhrUutGXBiPssbNw/53Adn+Ndf+I807qxgJFw1rDf1FK6ktZpb2OkymrzL+rfRnVlVPwp7fYJkCn3/pgJ2p0SbJwak2jUMSUmLjjg1RJAZQjvYwUpPqzSuXFhN+Rck8kQyuIh7xO4u1syHiXZv4wYxptfCymQI/Qa+VKJ14VJklWJWkk6mpPfkDJ1KYKWGGexdIZEVJkBRmS4s+opeLwOBsHmXuFHFGJlUHADTTqp6dxjqinfm6ElcvU1EHscw6LTvYOs2CXlnOVP0uysK+CcDioEfErkbWM48sQC8tSahMYZu6WqJHCUcBV4P7XGCndfRIg09MUQylacTBIqGbyYtIkkOJIfxOpI4tJAjuNippCpu28Jh20SzdbT0Mvgt4rCrLtcCftYsDcuVSraGb1rEyVkMb5WgF2Jkh9FIEMmAxMqpmkUopp7cPFF3G80V9pVGIp2ju/sWqcXPErVvE2gxhmj+pILtu1C9iZafU/cwo72KHpuQNjG6IT1vHU1MDHqGMDEBctaIAwZxF9MSg1eB8PBtBT8UiKgh/DqpJgjvIZCAg43vCoBWTX6IpUqSmsLdfR174jy6VkbXG4pxpwcD3I7or8X6UsLtNx+lCcWa5YYMZGBuRkovKOYTOUsaomdUd96IoH0Lyxh5xK1pvvXLcSiEY9luSdRDIoE9Ua9oWCkdv1lT1G2hx1uZcaLeIQw2VQdbL02hdXfpOSOkxHuemQMhtdbWsYbmVEQ7EMe7rpHNzdGvSXzaUJcKzRNi6gDDKeI2bj+KUjSvoSdn0dJlzMObkBhn4B+qeDyyzeqvMNCnSeotQquowHXh+79JbOdJT32IvsClSkJPvk/Q3SE9fRH/cFu5us04ItTqRJ2BUiCY5QUCiY0nsmoaFB6uozkWVmGRePctYolfHvlRzMo7qhMYB6IhGcU/3EKfeUJBiYSkbQw/rnr/cfcddAFCEWLENjourlyGV19VTnutcJp4/QuQO6n6IP2d17GHzyritmEWlN6LfoUgMHHSQvUuQO82QaDjFJZVlDkUvYNcooMEvfpdLAH1iSO0U0dvXkYffkFdiP3+XdVH0oYeU25Jb3cVPdHDkoeVwAP7h2DJF8LHkNSAlcFK2EQ90U8JZBCCg4fqwyM6QPkwe1EB2wkx7Qk6zU3Mg9cxik8Qp8tq4+oZKfTWbdX5D4Rs6q6oeJKVHWJw8BAzv4Qu7slBhygrE9thfNk6Smwjkh2wruK0EocSj6d8K2RwoIs/1ykSth9gDl9Q/ndfKNjNPfWATZdOEzbWZBCq0iJ2wqPZy5LLFEgtTfDc9/1tVu53+KEPFrm73+XCRIY7mwd87WaWnS+Nkj3zOO33H2BbA/avrzJx5jFI6HTW3iE3+RixG9IPDkge+wTBvbeInUMp49BdeUBlq8XQkSF29+rkEimatV0u/NjPEXjbRGvvYcx+nGDj24om6pgGoZ6gs/UW2bEnCBlgawP6YZnk1Cjb3/iyQmc4xTGsVI/dB4ccu3Cc7NyiGlCURhblaoilSbikQn/nFunv+ztQeY3a+7eY+pGfYnvlLhe//xWOPlbCb/Y4Np1Ey4/zzT+7zWc+Pskv/f6v0r38Ln4ngS4u06Fp5SkNmrvoySxG1FdO1sBIYmbPKAhisPUNrFwZLbGAlTBxBxGOY+GXTmJWXmdAgoSVxo8FsjkKgxvEXorQTmBbGmFgYyZ09RCKJRbmdoj0JLq3j+6MoMvDWpgdYsNw22qaHQ4EOpNXE9ugcQMjtUSQGMbwdon9JrYtkJ1VdVo18scIRI8n03FzAlNi28JtMGwcJ4uRnMSr38ZJ5vAluq94pnli0yQKqxi+XAlDBasTNgm52UdO+SAglId8qoQmQMhuFa2+iZYtKe5Jp7aLnhCKb4koKQMDUYZGChho+2InGFJDPq3bwh9so+WWIDhUVgIxOuji9y0dVzH+SPOUBjTubIAhFFuT4PAmmlbEGpa0kKf0VinTYWCPY4c9em0hNh8h3F/BlFjF8HNojRtqfhEVFjE7onS1VD0qMENMV57bVQVeJT9DIICioE6UHwMtTyzKTeEEaClorRBmzmBEFeStEjtFbIHRWBm83hr6wSbx2GlMO0EkiiZ5b/TugyafK4E/DeH2muqrnZDLeRgQRNLHDrD/skbgZU5jdN6if+dVQv0EUx9/gZ/++I/ze28GfPQZE7ORxCxlKSS6fPNak889keNn/rcfonn5PkbewfB0Bq1DwkyBwdYquSeexJo8Su8Pfg9jLIe19DhEEf7GNaLDfYyj54g6EXrOIq3llVYPz6f4/OO89Fd+hTifwR91SB82efbMCS7du8fWNry+9gVSTTloamSTGoO9q7imRSElvdZNlYgz5OcqKsDyMlrYU/UwdajJL6nnlgxjBr0As5DHlFpMa08angr4RSh/fksdcsNkCTOZIgpN9L7EPBNovkmQFhChQ8LsKX/xzvo6yx/+FF//3X/GR3/yG7z8TI5apUfaTPDsssHdXYev3ahRf+1lDt5f4b07dY4ujbH7cIep+VmSxRyGGXPr3ZtkMgVOnjvO/Tu3lZNbDuk769vMH13g5vVbjE2MsnB0nu2NHQ4PDrm1UmXh2Lyiez92fJqRuVGajTYbmw+VMlamihdfnucPvrjLj/ybXZ5blGRKgGUmOTjwKScHvL7j8BufKPE3/odncQchtf2uYsz0WwK5bDFaGmZ/d4fSY2fptVtE+02cI1P0Nraw5Xs7XMY2isTvfwtt+WkGa5fxBnL4rTDx8o/QvHMLJ2UIaAG9c6AsPloUE1x9g9QLP6Auc8aD+3Q279Ize4x/8DO42/eJooBUcZrW7hq9g22OnL+oBv2H6xUuvXqLrb5LXpd4rjQeu+SzZZZPzjH1/AUG8tkeniZ681X06gG19BjF8qz6tzdWdjBFext52Nkirf1tOvsVrGwave+TmylDkEQXZVy/TmMQUEpkVELELk5Qb3dxDYfh8RK1O9fpSgx7YoHi5CypVBs9O0mwd590bgKW5onKebU8YO8eQWUPs2/Q9AZceW+b1y6t8MatCnu+ztqeRpOQzz4xwlA2pNeXy6TJ3HCW33t9gxNjBXQr4sp2m+G0RTqKOTmZoeUGrFe7dEObQexTbUY8N+lQ0kM+MKRzaiFgPDfL2n6dphVhGTlu7LZ5rxbwzV2X7x8xSDtZLtU7HC0P850bD5mYGObL//plqpeuo4+PcXDjJqWnL6r6E8VZEs09+vk8VkMiuAMoDOFLKjU/xMHXv0Bp7gQ90yKdTOKGcpESVkmRqFPHXDiHe/868fYdUqefpnfnXYLtNexzL5KeX6J1/btkSlN09tfInbhIePs9qqsrFJ//AZVw07wkbFynb+mkRY/b8/GDAxzPI55cRpfkWLWKt1ujcPIEA7dDsLuGd1ghd1SMV02CQQejOKJgZEYpTdwZEAiA2e2SmpwiiALi7U3yzz/D3/nr/44rnT6zQ3lWq31OTmW4MG3xX9/bp92Mef/fjHLjqkcncNnc7DAzP6YG5Wbk0JNXQcFia6tFZAbMzZZpd12azQHHxnL85jfq/PE7ff7uxwtcXm0zV7T51PM2oZMnmXLo1Xx2q9ssHF2kedggk7LZqx0wPzOPbuvcu32X4fEJUskkD+7eYen4CRr1OgeVCkePHsXOJNRzo5TNq7NwpjDE6sp9NNukkEszMzdHpLns7zV590abB6tdHn88STmT4/76Dh/72CnuP9imnCwwPjPFu997nXQ6w8TcBNsPttQ5Y2J6UsGfD3cqDE+M0xfwrVQqMkkyhSzewCebz9Opt9nd3+OYMgDssba2yfLpZR7uV7kwm2f7oMtf+SddHjsRMGoYVNyA2eEcK3dd0iMu6ysBt+pfpf3ud2iL+UpLkMiNqUSD79dUxzqu3sByxoi0QKnm9NQ0oV3G8u6VgcfPAAAgAElEQVRD31UKa98eQQtqRF1hj/nooshNzhObEbGUt5v3CGwb2yzT62yQGTqn3pcCV47yR1UVLBCzWXIeLWwQBgdY2bPQFij6DGH7vuJxRZbYdcaxLB9XUlGBi+n30ItzmHYer72hTDRynrdiX1UJpE5teocEZobQNKBxoD4HgSGXVlT6Ouj2MIfnCMX8U3+AmUgT2TlVWzCSwyqpGLT3FQDZbT7EsOTzXcGQYUFekslbSsMcii3HFe3yk/i9HQzpcSDJ0T2l7LNzRWJJCnt1BTMW5bYw1nzR1UmEI/CJZXGUO4LbfAujGcDwDKbhiC8NXVTdwo5r70LhFDq7BN0ButwfdRstmSTq3iMqXSRqrRC3NknmjxHK/SIS84QE8/vguxjiPTaTaKKOl8XQ9ndVilk9U7w2dn5G1X+FU+f1YqVJNhELXVdBg83sJEbrIVFxgai5hiFDhF4fv30HTZn29onTE9jZU4QDqW4PcHs1jNI5Be4LBMpYOKGWR5pdQNNLiksg0GU9c1Tp2N2BVELvYsZpoty0AtWKajK2dXAmkEhH3N0k1FLYcYR3sKLgrvK5VcAvbxet/tovxIbo/oyEoixqToo48NX0TrQzca+hFAKR4WH7JmF6Qm2iYldcz2PqsuOn5rEOV9RkSej1dvEcICCKXXVgNvS8gtH1Nt8kIx/Y7JCCXDDwiFMGYe0Bhp4A0V6IL14fwkqOoPU26XgB9sg8Vu+AfuUeqaWP0m1vkQzbeFGA1xUfYoZk8QSBfsigv4XjFTDFsSnjFHdHbVTipmyxI8Kwix4cENlHSds6PctCiwTmtkHUrmOMnSeSuP7GVzBL51UE14v6GNYoseERN+6p+KEpXkeBaOgZpQDUrAJ2ZkbBIiJdQ69eQsudRG/eZiBKOxVHrRG7LcySmAxuYmWn8N0BntdSzlMhRQdxkyAxhBNbStOltBKiffB2lS1AlwqBbeDV75IsHX8EU5SqQFoIjxGaKxAnUZ1F+P0KemmJROcuDcoYhw/Q8yMYhvwdOTSJfsqFbO8NtJmPYRkN/PAvdXzdddXZNZPTeG5VbXHt8hmCxnV1yDUzR3HToh2soXsVInNWxUDl0B+npwgaNxXXIUxMEdRvkiyfViA0I6zjS0RIDs3ZGTWxE91VZIU4+cVH4LjuIbYMaOKB6uMIz8AdiJImqdIj3vof4hSfxpSIclbo5g0FrxNICtaoukQO4goTFz/FH/7ab/P5v/c7/MRLYwz6Se5VdjiymGf9XpOf+8kjvPTSNBtfv8LMs88w6HVob62RK0YEsrUTwq/j4FcbDPob5Gc+QCQKkJEsemGIN3/ji0wfH0F2A/JSa+xsMHPqOLn5uUeKz2ROHSpsoZUbk6QmjuL7TcLDLZz4kFCmlE4Sw7LZevULtFoS75TERhpdj7BNnakzM/QHaWJrBDOt4wuLworQm03M4WfQ5aEWtUnNzvL2l/49n/mnAT/xQxP8tzc2eWK8wCC0uXyjwt/90af46V/6MfyrK4TlYWprNzCNcRKjcrH2CGKHSFIuomYszkFnl87OG9hWQaVK/OgQJz1H0B+gCQtCQHuJnEp7RG5VRUqNrLhuN7BlECYgSr+BVPmN5CyRdNKl72xPENDG1DKqChEF+yD0+LCtFDOBPYJx8IYi4ccSdZNLuTODXv02Xkp81HOYgwZu2FYvRBzjEXiwU8EcO0kUShd/j1hI9e0D7NycAqsE3Q7BoXQ10yRyEwSxRM2uQv4oodvEGLQJUpPY6WGi3bfRS8sQl4gGV4iTS5iRT2jqmJpB3N5Hy6fQByauxLvCJlGviy7U5PQy/qCqwDSavNxaW2piHKaKGPKfVf9fHuo6mpXDE+q/qowIsy9DGPlEzgiaGA+CNv30klIP2ZlR+qUzOM27RPK2kW5Y6CrAoGynhUWiD9p4lTdw8ifx5SUtVYJ8GU10rO5DgsQCtvQGOxtYoc8AGfxOY+oS3JfJdAKCDKZexdWSWLJdMHwFW9JatzEyC4RiMhGVkFmA5n28sIOVmCHIlNU22Y914vYt9G5VgZNczcGUiGPQwa2+TbJwFhzZXIVq25DSLLpGldzyx9l+8//h/Iv/kX/wP57mD197wOmxBKdmx/ni3Tq1azWu/8XfVl7x6o5PLu5z0KyQExd63VWgPVdPEyddtIFohi1le3CGjqrBhWi2TBnelop4gz6NW/cZffoZhj7wJF/+L3/Cj/zvt/jMh2eYL+f41tU1zs9b/Ie/qPI7P/shXv6FX2Rw/VWlJU15LgPPwyjO4zVXCA/2SCx/lEhMM0Jkl+93dhEzqBGbSfzqPWzTUYOkIHca3d9XKRSEXG4Jt2Ee8QCGjStoFPAsHUcuqOlZvN4WWnsVe/yi8v12t7+NKb8/bMoXP8KXf/UX+czPvsonniny4E6fs8tFygX42ts9ypkBX/mVOVavSDquQCbjkHAsHty7SyaVxklkqOxUMTIW+UyGfqfJ9PQsN2+tKGDhsx/+AA/v3pf6Pz3fVz+zudlp7q7Vqe0dKlbDSC6h7ED9gc/cwgR3Vu4zPj3N0SNjXHnzFp/6NZcPP5PB6AmR+lE67MxCnku3Kqxu6rz9B59EC1P4LY3+/dcwxs4RLS+jVXeV597u+GjVFXqyFRsaxpHvnWBBFk4SH+4qSr8zdRxLLCDbm4TFUQzLJKjXGDy8Q/rs0zRuXWboQ58muH+bvuj/xLCwfJy431Mq4pSWVwN+MTA448N4D9fo+j6J2QWCXsynfuYV9vyY2NBpuhFzUxatOsxkAh72TLqtgFzS5K9Mm/zNTyxQa/uc+9hJZk8dY9Dvk5CEzHBZwRtVMlHMBb0mlvz+3ZBuzcUcy0Kvg7m4QFyrsHrlIVNPPI5TsOjfXSHOemREpxUbGMIEkcOmL+DVImFeQFcRvSt3+OqfvaO6zBOWxWtfu8zEhXFe+c4e71Y0enpIvROS1lNcWM5y6B9wtJTmSMKi3wnoWwZtz6NvyIHcYK/Zo5xIMlvSCCXN4ntsNftkBiE3dYONasTZosbTYxpPFDM8Maqz2vY4Wi7ypbsVjo8VuN+qUVmPef7xLIcDg594pc5HTiZZSkpyTKPdaHG1HVDu6vzKv/wQU/MnqN15H2t4RgEbHYnJFyy8kXkStTZh6KvqQXjzdTw/Qf780/gyQO0fYGQK6EPzxKtX8ZodUsuncYXWv3mVoA/5D/0Qja1VrHe/gXH0CQalIZITUyRzc+z/7i+Qnj2GLmDH6TH8/Z4if5dPLnLwziWS5z8CNVn8TBMd1nHfeY3Muccxpx+jL7yftqQlDzAcE3ldeXGMc+QY/a01nOKksiBIurN59zrJ2SmiVgu3WUeXSsnQNEFrA9M0GXv8aXrbN5j74VdYGovo+jbnjuVpHbRZyJj8yVqE4fa58R/m+N57A1VzkXRIq+HTG3R55uIyr3/zHtlMzPLxae7cqSgQreYkcAYB49MOf/BWl8u3fJ57xmF1rcvFqRQvf3qeu3cPiWOXuZkZNcgeRAN1RrfNFLtbW7g9j+m5KTzfw3Ycuv0uQ4UhGp2uik7v12rkhgo4CZtkKsPO6jq6aZAuFlU1RxZT3VYTK5HB8wZksin+8xfu4AU2n/qhBV750h3yWZOf+vELdIVnY2n02n26jS7pZEJVNnY31imUhiiVR9jeWqfVlLrDNANJAiXT7O/ukZENuex7U8lHPXrNVEDD3a09kskEpy6eZG/tkNV3b/HUX1vg+/5WjbTd5/RYmtVaxNK4RrPrcmPTY3VDIIj/DSobNN1JLKtPWF0lTkjCTRJvO0rnS2IR3ejgNQ9UJTNhZ+m27ytonGLG2GV1znD6Ffz+HkFGoMd/OfgVRe7wUfyenLF30HJjmN0ertbFSC6gSXffj+QwqTR3nvCQ7DKx5qrLsNQrNUlQyqKtsYMzMk+w+xD0HlZxgV6jgSELgNQIYXsTJ7dI4ItevYkpCxNJcLJB5BxR0XVd/n/Yw0rpJ0MA0aRHcQtr4mm0tW/ixjpGdoqk/H2BXH63lLpPk+pyKLBuC98OEYkeXhdv7yZmeQnbKhKYKSKjp4YUoq9zN7+BPXRamXkkzSNLELs0h+9V0aR+mxgjzklFzlNQVzNVJOxtKPimlluAoK2GfYnyNGGzps6iotjzGu+hh8VHyYGi2HRWiCNhDqXQG+9jz3+UfvUyTmpEDRz03jqBlsSUdHQU0ZckupD7nTJRZwUtc0Tx0axOEz9XUucAt7lJHPokUrMYZo9AFuOqol1QhgE9dIlEvdesYVoBnjOPMVjHdw8xJ54FSUQ3NtDzR1SKNu5sqnqHulvqCZUQFVq/KSwDf4AliaPkorJx+e09KJ/FSAlLYh09aaJnJ9D8vko9ae4epCWBMQpOCboPVF1VzFYCWtTEfnJwBV04c823/1X8aGuh0BP06utYEy+oPom295rqFkjUPO5Ll76Ol1/Gat/DNiJct4EuCqrycejJoTJDO2zj+AKpmVeAPVOIqv0HeHKZTQyRGnkMb+9d9FDHHr2AX7tCOHxM0RqFoh92amj128SjZ1UPTTomZv8BRv5x1U0VYmaQm8KqXsHVc9ilJdz6ClpnT8UAbWcWzxcSeBrdbyiwmAy2BnJQzc+h+XLJMnHdVZKWkMi7qjuLU/7LasMokWEQ7QphcR87/xi+5iizgFP5Lr4uE6hTBM4CtnTVvR5BooRlzhD3rqkLkF44qjzZwaCPPfI0sXcf42CDYOgsxJJokEO1hmMPE1kufv0OlhyI8wsEvoslFgIBvBVGZO5HMLSItnsdTRSCI49jRy16+1cwk8tQsJS5wS5fVJsm6fpG2eM4tk5YE4VjRlkQhKoaGyPYjo57cFtRs4PUPLo4xn2X7tDTmP0KlqgmwpjAymCmhtRkSiZ5nitRGdnW95UfXn7fSEdctn21O1iFUXRnHE24DdJn7u9gpyaFAoEx2CHOLBIZsaJdqyRAq4qZGcaLfRIydKKEe3gDLek8qg0I4E0O8QJIlM9mdhyjs67++9g/JHI72ImcitvEvVV0ARiGo5gJG3SpbtjkT01zsH6LM6f+PqdOJUjKBj7yOTedZmd7wKWNAQ9ffYHOzT10J6bjxWrgIJczNd10IsyhBSlr0KuKtzVPr75POpUjM3WCd3//jzBGc6qXqcvlo99Ql7aFz/40nWqXqPUWljEJtTfRyueJNB1dct+dFqHADgUeuHETLym++S6NlkZ30CJbECCf+OUDpk9I1y1H5DYwvH26kUP+2IfAd+jd/e+kRwt4mxnSL83T3Dhk5OJX+YUfmWCzGnHz/QrJcoL7G23+7c9+lo/+9OfZf/e7ZEvz9A5WSZXL6KFQvB8qYF4s/w6vT9AWTZ/5qBNWnAGh2zZ2sIaPqt+JbOfj1i0VCzRSeWSASPsuXpyR4TKRDL58ccbLQzyDHhcULKZ/uIKZGVLKGOFHiDoyjJuYvaZKcPR3V8hMXaS7fwtLrA6mpEIOHz3o/AaWPa3UaZ4o7JpXVQLITAsjIMBrP4RA+lGjCiwZiULHr6Mf3iCa+QRG810cX7bQRUiLBaCE33gXU6j3kcBPn1BJHKHqhgghP4efHlGx+fDwIYmcwILuE+6vo899XAbKKqYltRSB5BE7angayuBUgHjCeuj5Cr4jLzw5hMXy2aKH6/bU9lyeETLY0fu36NdvYU//VVWd0PwAz8jgmD28dgUzP07kGRjdKroATXt7xAIdHb5AKHT59jph5waaKFKpEYraZ+QMRr9N9+A2qdGzRMJOKS3gC6Snt6/6aNILF/tHKDG93i52dkhd9klliYTiH+romWn1zJKDRqxnlI4uOqg8sr7Gcrl7qIZ/ujlQqQIrNa86hL7EBwdNVT1ydFfFZHW/hy9DwOEn8fwHpMrHCT0Hv/k2uROfh/qfsnTiH1PIGYxOpjg9Xuag0eDOfof6ZsSXfv4kyx8+y+F+gnZ9i9RBF2e8TOxGeOUCTtBXEdg4MPEO12FgUvzAszQvv6Y2xsaZUwRra0SpNHq1hrl0Cqe/S2d7k4m/9Wc8vmhzJp/izc0Bz51dYHNnj9h3+eLVy7Qv/V/0wzyWsYBWirCiErG7rzYLcumKa5cxss8S7/w+g25EduHjuJaL1m0ry4spJGSpCvS7+GafRHFZDXgjpSrKYiRGMUINz3Ax+nv0/QNS45/AiA7oHwrPIq/gZ0H/IQk7g3XkaX78oz/Md1cafP+5Iex0qLq+d6uBMhZ87nyBf/SPz7Hx9kPaPY+jx2a5fXONTqNNsZzFSqcZHxXTjsb22qoiZy8ty4AoiZV02F7fULH/kckx1je2uXDhLPcf7nLprYeMDQ9z7WqVf/APz7P7oEl7MGB4VLbYTXptG82JOPmBIj/x03d55X2fD59Ns1Frc2R8jJbX5UPnjvJzv3uJy//8OZaXbDbX+qSURWgeq3PA/vvvkBwqKCCVYWhY6aJgitHNFPbkNHG7R/PeVQWBo7NJ794aZqGMM1Kkd+sm1tI5ONggzJbxtjextD5ObhLfNnBGR1XvXjNlgVEiWDyGfvs9gr09oqCNHxgUj10gdSTF1Vde5wf/yXf5iZdHubnRV5fiTz97jJvrLW5tVnBScrnQ0esD7oQ2Dza6TCdNhiwYRCHHMzHHyhZtK0k+leTITJrHl8eYnp/AKpqYAgDtHZDIDRGkB5jxNKQEkiI9wkhpcN3DmIP3LuMXM+yKhaFn4egOzYMmt9Zr/NFbNeEWcr8OkaFR0mI2epDOOEwOJwhaAYuTITNlGfL4TI2lqFZa+FFK8VdW26LSipnMavTMJFuVBs8uF/Fdk/VKjQEhFyaLfGfXY7UT8cGJAlm3zVw55oWjw2TCJrWeRq3ZZ6sbkk8atGUxZ+qMpi3eWW/x6VNFar2YT78e8H+/UOS33lqn19f4n54a583NmHdWtvneH38ONxjGvXaVYMQhs/QSra/9mtLMGmNH1Pco2L5HauEsfa9OZvyMSnlGrTaJ8y9S/e1fJnvhAvr0IsH+Id7WXRKTiyrdZulFGg+/iVNaoHDuWRpvf4PE/KIyO7iTi+i33iIePYre3MdrSN//MbU5dEZG8PUERmOPSC4dMoCQA/TMJFrokNBNvLBFqhfg6RH66By9178M5TFSZz9A93uvYstQINAYdLfIPfVxWnt7GAcVnKyp+DSSYCqNlji48h6jz5zin/3s73OjbjNRNriyVWMkm+LWvTovPpHjylbMzz0d8/xjJd572KKQddTvJ6nHNNsR+bROuxVw0A04cXSE2m5DLLsEus78cJK37nV55fUWP/HJo1y/9oBv3o751X90hHIxy+aqLDnEGJWm327jRhGmpVMslgj9gMOtCofdFqfPnqbd7tLtdpVas7JbYWlpgdL4iDo33r5xk+MnTrJf2SFbKLO/vUWmXCahG6yubrAwP0ev22B6aYrf+e0rtAcW7qDJuSfmuXptn899YohcaZR2vUu1eqC6/FMTkySySR7evkc+J9Bah54M/2SQhMb922scP3+ctG3x8MEqQyVZIDr0el2K5XEO9jfwPJ/Zo8vsPbyn3jmbe1U+/WNP8qv//ja/9IcDXjiTYbvRQItjpkaGmC5b/MGXV7l37b9glqB5/V2Mcha/IypVYQ2V1SJHkkVSPRawruxO1CVdgMETz+LYJl5rF4OYvpg53HU0s4A5/qz63wUHN+nHAfnJD+JX3iKwc5jl8/iV9zA0cY8KIL1PpAdYhkkQWUqrh1vH6NzFmfuUcr4jtrbEDHp2GhpruLU3iEZfxNEkTbmOZWgY5SP0Dx+o4bjck7Tko4SlUO1jJ0av3iO0Mmi5aexUUYGpZWlja3JpDwjtYfTWGlrmGL4sLYIqukAJxcxk2xipWcKdm4RRBWf6PKErpP003vobGKWzaFFVMaRIThFW38PKjCmrkyzw/NSs2sYnLBtXhjZSCU4dIdr7c+zJc7jtAZpXxxp+HC+sK3hyKLrq/DhG0AVfdOBgppKYiQX8QUX9faYZEeUEiizDFjFfpAm1nEqve1tfU+chAR+H/U2coYtqYSopsChRVMtnO4Ywt/iouhn10FypR45hOgVVw4j6m2ite4TFpzAFCC0MiGwWPXUSv7tJbCcIokgZboLqHRzNx09OEylV8hymv0N//XXM5U89Ytn1d+iuvkp26WUicsT+gWJ/IefLwztQXMaPPaLWBpnkFHFmXEZ0aFodry7JjRJBukBYr6gKAL6oHMcJhLcUtNEFXCkpxuqG0n7LsFyrv/1vY2qvoReOEebPE/VuYwVdInFohxV8uUjHRfS4QSQb4bTQuj202FS+3XBQRS8vK72XHGjs/BiD+98iM/EErhmhbV/Dl6h6dk5tuGjfUjFVOcDKRkBPDhMXFokO30drbmIc/Un8na9hd3fxS8tqMOE3qxhDJzF7t9SBGa9Ju/ptHOnOpkfw9lbUBdCRH25yGl/AVqJ6iHqEUZ9Ql5i67Kd0Yr9FmBpDzr5e9R3s5BS+ZWNJJEI0EckFTF0ObSnoyoc2QI8NTPEoOLNqYKCZAaFcMgnxdl8nPf1Josa7aEEWTaJ+bv/RQXlwQCAqvf4OjJxXE7GwdlkRY3Gm0UrihU6p3rsmcY7kmILdSQzF0lqP9GzOUbThOURaq8wMCRMtM0ZUr6iqRCxwkIN3sYrL2HJlbN5SHtZM7hxe1JW2EilrFH/3HczFF1QMOjqUGE8Ws71Bz87hpKYxgwNau5dwimcwMjMMWhskCmMMWvvYw2N/WZ3oqItOYEQkEkUGspGo38caO03UkwjLTUyxRthZpdyQHn/U2SXW2mrLG3sBCa9Bf7CDLZYHexRNRZEOsSVWjlyKbUjIwe0bGO4+sVbCLM0TCjG1K95yFCAtlA1y4yaJ9BDd5m3sIKl6y6ZsUzMGg5ZJZiZNYvqDnJ98jvGZJKPZhCLDbmw/5MziGF/6i0Pe/pPHSJdOEdx4gzDwYPY4Zq+leqHinM6e+BTN219Uhgw7lccNBqTnzhDv3uD+pXvopQlSJUNd+JNCcz1oM/Pxp9HMBdzahorA1feukE6PkUyMcrj/ZxRHPkY8c4rKpV/DcnOUX/wY9e/+MXsPazhjwxhGxOq1Dc4+fYLC2VP0dmRDXKW9u05x5oMweEB7fQNnbJbA3SWqRAx/5uP81//0XT77i/f40ecnOTYhL/4MDw7q/OlX9/nen/8sS8++ROXSn5ItThF5pvI+h55ExQ5wCicUKDNp2gR+hbjdJigfwZTKjtRj7CJuUMeWaXYsA54akVNSAK6+U1Q1gEAoo16DuHuTUKbC5pCi1JvuHnpxVn0Xkv0qfQGLdncw5XJp5TCFeRFpuIMdEoWThNnjGINVjMEhvpFFKkoCVvO9TTWhprSk0gKaRLSkvy6TTpkV1VdJFI7hmS7moM8gMtC6eyTL8/Trd7FTYvToE3k+cSqJJno9AXa6WwTiVx3sos18GHwDv/IX2PkFzPQM/dYadnIOQ2vQufMFEsc/p7q7rh5gins8U8AqPo1XeQ09EJjhMobbIywuYAgFNwwxLYHmNQgTQvHtqy2Bnp7G23uDQJ4vosLMTqpIXNjbJiwuEcshrHGDIHNEEXpZ+xJRYQkzfwT/4e+hjb6oNiua1lPdSnkhh9KjM5rEQawATLpskVMpjL4O/W3ChQ9hddvojW8yyDxJMqjjpWaID28QZ4WDIqaLXQXbCSQ9lZwg1mRwIZfPA6UmNLUyWAP8RhUrP6Wi/0FjBWvkHIG8S7QEUWqOODSV6cQXxU9qCl2sAbtfxZj4QXyZrO+uoCkGxQHJ8Y+RLu3yU5//RV67Y3JmWadsZHnlzS1m5wsUXI1nzuv8/D/5+1S/+OtUBxoTx15UxHSvVWX49DnaWxUsTSc1O053fQdOPkamMEXzylfVMEtSGN7WTUaf+RgD6e822o8SMPsVfvmPr/OvvvOAH35sjJ2Oz36jzalFh9/9Zpve9u+pDV3z6nXMqTlFqY5lyi/S0cEhKQGt+T2c3CheY1dpoARUaoUydJXP2hz9vbuYB3+OOfWS+v4IACiQSGhmEkvvieNPTeYVHdh3iAe7mNlhBl6blAy0wjZR8ZjqXDpRC218iBPFlxgUdaZTCQq5mEw2Q6PV49Jdl3/6cZv/9Ree4v2vr1HKmvi6wX5ln4RlMjo1xebaJm6vR7qQY6hcUNTnjdWHzC4tUy4VefvNtxgfHiFdyOL2fRZPTvD1P7/Gyq0uzz9/lMtX7vHXP3uWxn6fhONQa1VxWy6xl6DnNrj4iXP83L94jf/j2zGfOZfH1mOq7Q5x36Pnmmwcxry8ZPPrf/qvaPz2/0tsZEg+cZ729/6CfGkIQ2DDYhCZO0bv7mWVpqLZVMP59upt9VxKnHiS5vtvUZqdxxySTZHMv/fQZ6S+0qG3ep/M1Di9WgN95ojStaVNS2mYyOeIN7cgmccesgj7EfrAY2C5RPYYY8WYX/h33+Prl6v8zecm+c61fa4dtsl6BjMzJdyoyf3dmJGSTSaEZx4f59LbNRLZLgvZJH90w6cZdJgrpNiqdpleyHLrZodkkkfWD12yEzpZI2IQiuQXGm6s6OZZDeoaipViWtJU0Qi9iDGBC3oB7QgVzdZ1j9NDCXJy0ejDsaUsdspQXea0/N2xwa39No/PJ+kGQ9zf2kYJheQdapmUUgn26n2l/RwdskkUshwcDgQrRC5rs9uQ6pFJ0G9SKtgs0uNHjpW4XnF5ZsFk+9BFUAwtsb5oGsf+/zj5lT2PnGXwzGKBt9c7DJVCLs4O89kvb/JmHV4uW/S0iMcmc9zf8PiKJPFenuPnf+1z7P3pt2jfus3MR/4aweQC3vXXCWt19Vk3ek169QGZC09BV9KgVeg0lA2J0ghm0iGOLdz717CKeQwriy5VsmQRpqbwtjcI126Q+fBnqb/6+5jDRzA6beKU/CJKmJNCKq/grd0n+dSLBKKmXbvHwG1hbWwQPX0Rsz0geOO/E82ekbyvUsO6MWQWT5TPhHgAACAASURBVBLdvowxPo2muSTkArteUXWjhLSBahswOoNmDUgkxyQ5zOGdq5Tml3ArW2qIPDw/zd7hDsuf/y7f97iLeZhiuOhQC0K6HZemH9Ef6Lz7Lxa4+XCFpD5OpdWksjHgYz+8yNrdNjtbHc49OcS3vr6BaZl88ANjbG+6HDQDFpYtXnmzz6UrPUZyAecW01xa9/kXf3eZu+/fwnaKzCyOs3FnjWyhiIdH0O5RHJFUakTo+rRbbabnZ2kcHpBM2IpZIgmDTruBqdtkiwV2N1ZptnrMLMyoame33kaEuBm5uKeTSudsJE2aLZevvLqOGxkcmcqzcCTLG9/b50PPZ5TBRdiDj3/gFPsb23SkepPLUNndZ2JqCsvUeXj3HkOTI5TzZfaqe+r5XB4aorK9S65U5LB2wMT0OFv391k6O8fK5RUmpsdo1PoYTsDihceIDu7z9r2IH/uNNovpFqcWxnC9kOvb+5xdHufP/mKNV7749zh/8QWa3/4yLdsklbbQnWGVnNP794nS42gSUxeeSmjjiqKu/j4+8n5IE4cuifHjBJuX8OUd76Qx5V5ilfDDNgm5R5kpPIlyO6NqMy5WI1Oqt3KmknNCp4omLCL50LV3cUbPKm25KYnj0ceJqpdAai+TT6J1NZUI1b0qbl0WO2mM8llwW4o0L9C50Ja6YoOEI0yCAM0aV5tpZ/gocb+tUrhh7PL/0fTeUZKlZ53mc/0N79L7rMyqrKqurmrfaivXaqkbCSGNWAkNjGCZw4pl5sAAYs7ADKNdDe4wDBwNZoUAIRBCDEYe+Zbam+ou76uyKr2NzPBxI67dfb9i/+3TXV0ZGRH3+97393sexxlCOqdxN8I2fHoSk1emJllwRIrBInp20Z5HgaiSpUq5iZ6bUTNMGS4L7Bg7xAt0HH9XAQKxBoiDDYz0IKFU5YTlJH9uLMuMJUI3wszfTdS5evueqYtG1MOOHfp2FidbwN++iubKQF6g4RphIl36EE3sCFYKy8wQxmILakChQrx2ESuVVYw1AV6bhiwOpHLdw8wMoXdrBJGl+BShXcYKPKJ0Eeqr6HpCmJ/G6dcJpFYYJ2ooLenOWCL5qeLtZUncVcBsWf4gpQQBO2YLqiIuAwP5uxlGQrD8LezhR4hSeSKpxdv/wm8oH1Lg96S5RCSpQQJiM4fuCwR+QKXAdb2MkZMza0woLIVgnSD0sSwXzWvTSzRsqcHvLWNkcvT3b6lzpTVwjP72OVwnR+jklCEpql9Fa5z83UQjJWFQdXgX7RauOLktpXWJ/TpmcZKwX8UKtoitYwRuhLZxEnvkPuL2HmSHiavfgX4Gxu4mCBIs6oqGrfmi1UsrQFacmVKRfIF+BakUZqDhrX2fVGaKuDwCDeEC7KGNP06UpEmu/RHG4N3ouVn07jW6WpGUeK+vfoV4YBx3UKB+XbS2HFY9MESHtYwRbGMM3UXgWwSNJWzLJZFNZZiQ9OqEuhC4y0qjFhpFLL+m+rHiyoycQQXfiPsNpWpLOl0FlxO4k9aV/24c16+q2FloZ9A6O0rVELRuYjjZ23A86b/kxtQmXH4mY3wOQ6i00Q5meuG2cmj7NKQn0GyBV1lEvTZ20CFEDAyDIBGfksD9LhLXNjAH30SiJ0TV/1/pVcSQbVFzS23rtfy4iqDYnS0VyzWtCkFQQ4v124Cw9hr28IOQNNXv1IgttWWSi5wmgDLbUb2XUKZdrVvKIZqqDKtpkfSh0QP0lMBdNGhdV1Ei6R/RvEDgTKh4t3yI5cRidFvEto0pPU15rWWStndWHWgTvUCQdG73vfuN27E7O6brDJNyCsQdifMNEzXWboNM/IYi70sYPAjlllelV1snPXwCXYsIOrsY9rCC8QncLhbnaSpNr7qtgF2V9/w8f/zLH+PTn/4aH3zfAi++sYMZ+ORGU3zztQ7/+GtjvO3H3079jVNkc3k60qdeWlRf7Oyu48w/INpMEhn8hB30XIkkN6reZ3vnzrB93Wf4TgF7WdT3d6lvdDnx1CHSk1O0Ll4mdeztmNkjdC9/VR0OjN4e8fBDZHs3lSLKT+UYOPphtl/6LM3tlpoYloZyVNdrFHMWhdkJDL2DI6rG8oLaiDdvnCZ77C2Kju11q6R2LmIsTPJXnzzN351qk89VyGgBTsZgp+7znZMNTv3dTzF+YJqbl5cYPXgMTR4SqQyGCGwC0QFm1UMj6mnqn4s+znTzJLJ5kVRL+SAyVJTfsUDnxE0tXyp05Dshwgw9wvQh9R6N11/CzQ6p6avwNmJhw8t7MdHRisL/WKe79H3Mmfdihm11OXdL96Jpe6qGw+D9KjUi0Se9fAfa1uv4WkOpdyzDUgdiPTOFYTmE0oXPjBPL91evDek0fmCgd84SBiZGYUwBqUSb01t/HTMrDwyDuHmDpHQPZq5y++/X30Crb6ENHVNbRS2y0Mp3KL6AEUki5xbmxNvB36NXF+BNQSSktDdfJXfgPcS7p+jvv0bq2Mfw+zvq+8PWLAKh0UrEXtJLkTygholEr+nVMMqHFNzPTJVUvceQWkhzWQEGnfyU0kTKQS4MWyTloxiNK2qgZgy9haiziLZzir5wPoysAoLhb0EslpACsXcFLXExJJkTJvgy3Ny7SHriUcJOFT2WGoGhvPOSrIglwZUVOr9DFO6oGCBeFbswRGdL2C05DCenqO9SpxDasTjVw9oG1sC0GuBauTvpIzWCNaV0lWGe3xRAW0HZRwhrmFqeXusyuvBdNs5TmH4nthwIl1cpPHwXr/31J/mZ/3Gaw5U+acOhGplqe5MLEp7Z6FE9+wl4+Rk22lnK41P4114jiDVyR04QBCHtpbNki+N0m1XK88dUN7R16zSZ0WGirjxSpR53gOjWWSytR/fAg5SODPAPv/B7fPqKxsN3DfPci0vccdBlYX6CX/70Rf7m44/xof/yG6x+7a8oTUoUu03Q3iEtdTFJx0g6KnOEsLqJ4UToYhURoKgC83hgjmALwNNKozlj9PdfJ+0M0glqZDVLmJLEcmCQz4iMqYdOoPcbJLunSWSolp8lqJ9Fbnl+e53K/T+Bpyc8eueH+OHH59ncbnFlr8ZovsRUVuezr/T59Eci3vv0XXz5SydZODhMJ+oze+AAO2tbRGFERijoO7sMDw1Qa7To933sJCElHu9WG7eQwrZTJGFIdadJuWwrjdOzL17j4HRWTHQ8/tgMl95YZObQMIVyhpXNfVJaRG3PZ2Y6g8xg3vP7t3hkYVgN5GpS+YkSHDviwECRVy43eOmvfhJt+wztPZOUodGWStTIQSwnS/faSdIzcyRXTuH5PVIHF+hvb4JsfzIFIstWXd/9pUtU5o7RXrqC78UK1Cf0dyE0CwhTts06TbKmyfbplyk/8KhStO29/G3cOMC49wkwXaLFV9VAUhglzuYKX7pwk49+qcFTMxkevm+a5dUqK42AUloWBDleWanzrjtGqda63FhvszBVwQp7Som22PKITZ2jZZNax8fNlNnYrDNYSdHyA0bLNhtbIXWJAJs64+Nlajs1nEyKVD9kp+uTH3Kpb3qkhtJsrTXVe3Mg5XBtd58sGcZLGcZzMX//+jqDZZcr12vMDtocnihzdqXBfQcHOLXRYspJWOvE9PwuedPl0HiJM0tVGj4MmRGZTJrVdpOD5QK+AHLP7zE5MUjcrPPIsMmbZtNMab4adnz+jM9YOSCdtnj1So+3H0wTaTopO2DAzbPV7OJ7BroZshnE3JHXOLer88lzTf7tXWVS+YS9wOG5qxvcN5znCxcjXvvkWxibzlJ94wb24AJ+tEdtd4/B0QMkAxU0r0dw+TXi0iBhEKt4vRX4+JfOwOwEwdYeublDdFfXSKoruMMjBLkKYXVbaXx7gYZbzt5muyQZtOExDKtPePYkpiT1Ds7D4DDx6hJWtkJHUqPbKyQFi6BaQ08XSJXLKvJrSAJrv4rWr2GNzNFZu4SmZ8gcup/29Veg7ZE9+gC9Cy9gjM+rXnb3wvOkjj9GsimA2FWcsbvQt1eJsin8moD1BrHe+3Z+9a3/iS9ca/FTP3YXt25sMVRI+PbrTR6Ysnl2pcPhUZ1/+ndTnDzjURdThGYwVHFI52xu3NoT9huT40PkMg4rW/vk0qbSA4+OSiw/xb//nVscOuxSSbs05TWN4WMfmsVzAna3QkrZFNtrVeaOztCNPJauLGHYFocOHlL6z0qpwM7uLvVGHUsz2K/WGRwfxTJ0VldXmTowTbE4wN72OuPT03z9Sy9w7I4xNNsily8yOFRkdWWVYibNym6db31ri8pQloHhAUZyTf75uSYffHqMqakM2+tdMuU0extbakCSEmNOFDAxNc2Lzz6v0kvloQE6nTaFwQpJEHLm9fNMTgwze+wol86c5o5jxzn5wusMjxZxHZd6y1Ock0rF4cLiLscPDfLKlTof+P0OH7onhZf4ClbqOgkzowM8d2qLX//o4/wfv/tJes//E03NoZDK0Wotk8pO05M7Q6aI5vWJHYHLxST9upic6fXWVLUylmdmcZK410KT6p7cdVa+B+kybukEkQFRfVHptiWm7ScdbGeGUFKzmsBkY6VDT9KDpEyJhsugyyEKrmCEturGh0mAlZkg3jtPooORO0AkScZ+hD36NjStRW/vKobcyq0ChtjHmqvEdgXTCIiDLobE4b0dkuYiyIY7P4dlDEDnqmJaOE6K2Jal5mXiXg9LHyFOqiTpUQwy9KImpr+JWThCkvRIOjXiqIuWH1MJTq2XJu5vgr+mYIO6XaC/exUzbpFYAyTZQXRvW/3McaxheXskhQXiRMDUnqrAhdsvoWXKpMr30E9qaP1dkr6jlKk90QbKsyM/jiZRfWEsDTykdJxijDPzo3jXvklqaEYlGWOpO6Zua6E9cwaje0kZjqIki+nG9JtbSnWc2EMqHRlXjqjklVh/ErkHDBwiaq9jDct5apuoexM6DUypNXvbik8VW4PKXGJKtRlf6YvdsEaUk3tfgXDnEroApit3kuz/QMG0ndwRkrBKYBRwaRFEfXqdTZz8PSSmRrD1Ok68QzLyFuLtMyppoI+8hXQ2oyrxcd8T8Q1BV85wlkqmR2L0yi2g6228vVsYkopwB7HE4lB/7fcTPeMq2r3VvYGRiN5mkyBVwBTFU/MWeuQTulOw9yqYoxjlGZLqS1A+DnGgdB+RHmGlJgl3T2IOyUXTQRNglDuA52+R1JZxBUol/YfqWTV5FzVg5AzhFIbUpdRKjdHdvoKhWdiVMRXzNoSqqCUKwhdlZzD2ZIOeRhcwXa+moBVuJYOfFOSdj0GXoHqFKLFxDjyE3txWei+6gl2LsOXyLVT+0pzSNBhhEyfx6SIVhQqOFtPbOonVaaBN3g1+U0XbI0k9tG/ii9t64C609jaagPZch8QaVQmJMImwRPEUhNipMUzERx4SRhaO1lZbTgGJJNLnd6ZwUln6G68qwrmsf8w4JAg6ClCW+B11yQgDDU2iHNo+hmzndVcRLINEw5FuqxzWKkNqeyFUeiG327ZD7MVC4FJgoWTvKrp4wytHCTUNvbaBn3iYpYPQ3yJqrqFbU2hFoeeuEFspERkQNwXiV1JDoX64h2EUMCITJ2zTFNWXFmAOHaMXdcm0bxGKntHMoO+vEvsbWNlpIom5SzS8u6rYAAoy5pYIdk9jyhYxKeAKbbf8CHr7Ikm3R9y5Sd9wcSsS37FI5AvEbymlmPg8U1ZAs7pGJhXhZaaVISKMWiqVIVsTTUuw9ARv6yblR96tYBmVkQ9y4qBobQw5MxD0s1xab/PARJG//cI9rL94g8HxcXbWFpk4/CZqYYXkynfRUx1yI4dp9Dv41V2KE8P0/Cy5O5/GP/cXXHxlCTNXoOA4eKFPb2uXg295kNT4MfqNLr3dF9C8EMspYok2SJ+gvfYKmeEpzPIC4ZV/wNMSgp7L2pUmWilmeOIQ7UaLsN7iwGMH6AoEy9CJBQqmtTCiEth5rILE9UK06mXSb36YP/7Vb/CJf9znf3t8iMVFAdD0qAzO8sr5q/zpf3mSt/77TxDuvgBrIft7MU7epdffxaGOYwzg2YMqCRM70vmvSh8Io1vHKc4QhCG6k8XvtTC0LprEuvavkVh5DFdX5HsjjImSPRAmiFEhFOBJeoxEaizL31eX1LB4kLwtJaQu3aSDVbmLaPM0YW8Na+79mNsvK5dsMni3eojI7lkgkHanQVicQjdi/NpJFd3SnHmSnvS1cpAfVdEouTRL9USc33gCNxT/vAtGmqj6Dcg/qLZDsXrYiJ5FolIyQJfKh0yzdeK4oRgfkdFWak3p6AeVGdhbUurBVCpSFybRWrqjd9Grn1Mbcj0zLSRK4r0zaoiCIT7mGC0WnkdAnJlU3XhLPnNOgcAsYfT3/kW52kUzEnTnDhLvourIy8Oz7Xdx5bMYm+iudAf7ymIgYKFIUoKZQfpJiBXWCcJdYoF1xlIz8Em5Yu7w8SMLSyoMWy+QuCkcGaJKektUoJLUybokcklyCkTtNaVxDVJlNBkAt1pYYZOoePB2Tal2Dj0zTpgu4K28THrkCHHqIHbzFSLPUIcHo7ODPnIHvhBvZdAhajMnq4Cj0tO3audvJ6zsPLbEFg2pQW1ROJTFW71B9q7/yY8+MMjkRImzV1Y4MFpgc6fF92/0+OZ/OMwD73ySarVBqVxWDJhkfYXa1fMMveP9tDauY3k9kkAYNhOE24s0dxoU3/EefEle7G6AW6B+6yqZmQX0nS3Kx6Y5dfoKv/wnryhDQdrRmJ9w6HkxPzizw1DF5flb36F75qqiM7fboiOrkRo8QWjoOLvnoXSQQPqS7WX03AKmHAqkwuSOk/hV/OYZnMIEiTtN2Foh9AOlIUr6W2jCVZGBamqKsLOIJQctMZ/oJuSOYGUGsQUwpbXp7FygeN/TvPCd53jXBz/J2+8qMFYocLO6p2K5s+NFXrzc4+U/fhCtvcGzz67wwEMH1dZNhgv1/S4tSY9p0pMt0Jdndxhw4NA822sbeN0ue802d91/D9evXGW4VFE053zW4evfFqtMwuH5ItV2i0fvO8DS9S2COOTI8YNcP7eMnrYop1I4bkR+xGX+J6+Tdxx++IE8N5f2aHgxk9ODZA2fz7+4z399qszHfv8XWPrLz+LrRUbunKZ18RpGZgB7dIj2zUVymYR+dlBB9FwZKA8dRE9lCc+exjkyQ295Q7GENC/COXiMeHuJ1uINMgfmCOtbZA4+SHv1Mu7IBKEwKqR/vV+FgWHs2QWiy69JZp5uu6f4K/2bKxSniriDh/jwL/41X728y92zFjPFQTJmDSI58Fq0ww6eZuO1ujT7AffOVbi122ZkMMOxiUE+/8xNMq7Jk8dL3FptExsx+bRNO4KtnTbdMOJtdx/k9JXr6LrwREJ2vJiDk0NqE28nHhUnxUQlw/M36uTMmO1Wi/zICB2/jebF9ONIPeum3DT5nM7pHY+MY/HwsRGu3lihkMpybaXK+FiRaTdNnO7TrkVsrre599gw9STkmaWIvWoDMyt58ZA3FyJ+850TXFvfYiqf5txOD4sYySb2uhqPzWe4sN7h3HJbAecSo0/Zls9zmqgXqM3mSHkIG597J0t8/Fu7nHZcpuN9XFlW6Ch17lJHVxfPS2/8Ct7JFWpnzmI//lY006N/5QymKLnGZ4mWd2C4giHE79YeiZnDmj1IePOcMii1pSO7sox17yPomQFaF59R9Q79yHGS0MAO6/QXr6sKogxXJRHZXHyV9KFjWNNHaHzzb8nNHyUODPqah1Esker2iSRhZhs0Tr1Iek64Sjp+YGGPlYh3asT7myqOHkrSVVgU/S5xp0UyMqk2jsbIMXpXX1NwMNP0iEyXuONjj4xIDltxn9qX32D86Xdz/exF7vyZ7/ILTxa5suUzmXfIljI8d2mF44MF/te5Lp/6cI7HZrus+0NMFGO+/+ouE1MukRdRKGSwMwYri02yRZtMyuHmjRqdbp8nnjpA7CV84jO7FAd7LEy4fOvlDlNTKX7+vQWlxe6FIc32Dt5+qP5e5YEi+2J7yKYYHihz/uxVGs22UgyOzEzSaXTZ2VxnemZGbR+3NjcYGx+lXm/S2N8nUywwNCwbZEnahVw+d452s8XMzBzlosNmdY+zlwV+m+G559f54HtH+d4LVT7w9AiTE1m2t9tkswVVhdTRKJTLLN9YxO/3SafTqp7QbHQlL0dxYJBSOUur1qTb6HD43hPsrK3x/IuXePq9j9Dab7O7s87s/AIvfP91piaK9LoG990vw6GId/zSGtlyASPYI59OqYHz5OQgn/3uEgfGUpxffp7owkm2Ns6Qy4yqFJIAfn0tJmWmiFpb9M0QJ1WB2gVi8yBkCujeCpSPQRCoinMU72FID74hLAA5Oywoe5TmXccsHcJODdKvX0KPbRLdwrQcklDAyMISGCAKthTYNGiuKqW4Pnrstl1LuEXWGOHmVzHiEfShw6pyKTA6gdvJAF44AaJ6tWTx6tfp+03s0lFiv6PqlYYhF/QGoeViSe23Vydwc2iaTqg56AK1ygxhSyJTNN6OkPVlcDBJEDSxnAzJ/nWoHIewR+CtYGQOoesh0f4tol6TVGWUJLLoN3exhyaIzIK6FyLqwtZ19cw0hBWmBYTdHYgkyT2IJq9fOo/f2sEQtadRoGdaOJLYpYfX1zD6NxRDLEwdRvN3FDRV3zp5W1MrEOeBh4lvfYU45WI5MyThtrpjST3PTY+qhWXU2lO0fLpy8RbzWxE77xLoFpqARwVGGHkY9ijkRvDaGzjVc2ipYQLDRHcGSKccWvtXFNw3WyjQ3H6J9ODD9NttrLTcQ9eI06NoZgajIxd9XXGnpLtvJh0SUTD6bUX3j3s3sYTBN3KcpC3P6dbtOoGY7OS+U72OMfQgprdCf/sNtNGH0CxLVZHVQCcOVXpLp05ojGCpM2+EnZ9TYEMjrqM1nv9EQti+/cbMpPD0YfTOOnZfNnsp4siB/j6GJeqGCdVHkU2EbvXQ8sdUbD7auYCWnUArTeLtyEYuJZQBInLY5ePEVz6HMfVmtd0VUFzopLADX3VNRWMhX9p66xbh5mmMmbeTdOokmoc5cC/R7iVi+phWTsUsBQKRGnwHvpNg7Z+R8zZBfR1n+ChWukwibw7pTHRrWHoT3ZonpC3odBXPN7OzxK0NFeGMmouKKKnJDTfRibR9RXOOE9FdLdDdfQZLPKaViX+5tN5SURniLunRB/A725ihvLgC/zpCoveIFdFZrAAd9HwZQ6LKQZrQyqH1paszSRxXcYwMfYlpDBwgFupkIg8nQ20IE9tAa20rJoOKmplppZDz6xdV94bC3SSmQxIH6FIvKC5gaw5hXIPWotJMxaUJxQqI4gIEklbIo/U83NjDdwfwu8sYYg8YOU7GHaK/9zxBp4o5/T6BYJLUTpIqTBOXZDtYw/B76gvJ69aI64sYxQUVaw4CC2voQaL6BZyggeeksLQBoqSLIUMTFbcuKMp6LOaB7TdI7AyGRGqsKQI7JKhew7IlBiVb2bswJfbSXVM1AHv6h9FkQiibWH9JgfPIz6ihTb9exXQseq1tkiQh1izcuIc1MEngFuitrZMfKOEevIMDubdxz2OTHMnE7AR9hoo6py+3OLXpceMrT5Letah1bxB3HbJ330+/WlcsCqc0Q18gVC2f1uLXqYzeiSe5zN4mbmWQM188x+DsAIHXpDQ2RW17i1Zrl3uefjdR/ijhte8Rmn0ytkvPHMZyy2h2k7CjQ+M0oXsv7mSZ9vJL9C/WCAoZep262l5bTp+Zx56k3/7/RvWdTXzLxqVEsH8J0o7iDXRWGvS0mImf+lH+8uPP89t/vsR//ugUX/neMoUBaO9k2d7ZYWQ6x6e/8Bl2zz3P7FufgEwZdq/RX1+n1aiSHZoDY0L19mMZhu3LZdeCwji6LtvLLpY8xDq7JHEKM1qj1fXIjj2M37iBWZxWtNXYWyMxJCY3TdLbUCwR08iSmBZhdx0tNU+ih3IvVs7UMHRwWgJhCXEr0mlvEtauouXvRq+/Dt1tkqknif0e2v5JwvQRzMwIpr9E7Ej03yXYPqtUbPIFHMey4/VJ9JSyhxjpNElnX9WN4tIChmjXhFrry8NY1JKDaMk+Zr9P2G+qw6x01KWnrzVuYBiRisiRP07n3H9Gz8zhjjxOsP+68sk6SYrG2qsMPfAr9CTxVD+DVp4kEYCZmyPpVEm0BE26pIbAbNqSAcbIyxQqpB942Hl5jTXCjdMkdgcjM6oGRn2poWSyWLmjRO2rStUYCvgyqGGmx25XqboyUT+oOAj9bh0riZR9RVJGgfTWmnXi3jpmakrR+OVgkiQGUec0ljmktgBaEhK0d0kVC/ie1GyEpaETC6vCW8MdfZBAj6FxC21/g2jgfnVB1RpvEA8+jh316CUuumNi9hJ6O99EL1Rwyk+S0MMQi4wW4e+cItQsnIET6PU3iLPzhH1wJVro+KSMMeLRAe66+yeYKbuMFU2Wqz3uv2teRUl/cH6NI5U0n//Mz7P17Ddxjz6q+v250Rl622ukTjyA0Wkq3kAyMU/9+S/hHr4T1wR9v01UW6bb8Si/7cfonjuNXtBVHaIdlRl+35v5kft+kd3E5D3vnuUb31siUzDVNu2LL9epX/sd0qPvp/bSH5IdmlZaWyM7ga9n6Zz+E9JDQzgLP0m49hx9IXtLDLAoqQTRhV1Cs3IqvSLxX73vYWo9fOk+WtJzjwml0+nOEks6pXOZMDOEYw0TRm3clEVjp0m6XFaMlcyhw3z+//41PvY7zzI/nmFqNocVwbl1X1XJerWEs197B7XN66zc7OOkDLqtuqrMjE1McevKVZycy8HDR+j2BIYXUKtu0W50GZ+bZWdzh4Fykf0dOTC4dEONOw+X+co3LzF3dA6v3eHU68t8+H3H6AuNu9ZUmi07MgkdsXqI6KDGifsG+fgnV/nUix7vv9fh5PUmg2WbYiqHBingeAAAIABJREFU1/JY9PrYUZ/Xz/4/dF+7Qnf9FpnCGN76aXVZyh18kN7mIs0rr1J++N3097cIPB995zrG6Cx9cZ3qkH3iJ/DOv0i8t4M1J73UHQKJnGZKdJpVMpkMxvQhes//M9lDR/BCSd3Z9Go7aLlRLK1NWk9od2OK0/O0rp4nNZ7HmrsTN2lz8R9f4R3/7UXKBTg6N0C1UVUHUvwuQego/VjKDdSw2slGavM2knLYa0Vs9jTySZdsxWFnX6PkJGQrebqtXWw7y37HZrAYqyFMdS9gfNDC0iO6uk2n2lHx79HJCnOTAyxvb7C0LhvKPLYttGqTUECxhYi8ppNxSnx/pUmtXud/f+wA6+ttMZqysRszXrH47mKLm/uJglK5poaRzbC2VeNfzea5s+AzXTYww5g3DzvsaQbP36xTLGfI9jp4Tp7Tyx2enC+w1AkZsmIWpgv8zSubTKZNLC1is+FzaDKLoZmc2vApWR57SYovr/V4dG6QqxsNJosFhq2AVqDzRy9V+dMfm+IjP/oAtb197AMzxE2N/uWbBAN5Uq6OYRh4m0uq4iEKyHCvSix2hKBHXzcJGnVS+6IOzuBMHyQU8xIWuhzpqnU665coHruHxuYtcn5AEPtE5SmMQp7g1jXs6SPKs+2trTAwMc3+yecoLNxHfPf9eK89Ryx1t0gns3CC+vNfU4DC1PwCXDpLt13DGh0GdfHvkMgXchARihq42cAWJaUpfKksZqlE/9LLlB57D97NDfbPf4fSfW8l3q5ReOc8P/Kv/ohXTjV47wNjXNtqkXZ03DimkQRUA4tmw+fGHyzwykurbDUj7jicJ5vKcPHGNvMzeTXQ87yAmzf3GRpLk3ItVWHcrSdMz2aUdvRnf2eDDz5S4vixQV69tM6Nmx6/+at3s7ZWZ/HCIve8+UHyhQyXzl7EtVwV+ZcB4eDkMEQ6++tbVEYHcfI5It9nYmyCy1evKLiedNQ31zYpDhRUKmfp4jVmDh9mv7GPIcPGTEbpG0VkJcmryuQ4f/s3FylNDpCyWuQrk3zxn5b52Q/lmJmd4eKFRUaGKnSlgmG6FAeKNPb28Xo+Bw/Os7qywcBAmUarqf589dSXM7ems7K6zqNvfzO3rt6g126QzlUoj2aoV+uqihD1PLarAaMDCfOPzfNDP3aaK+00ZXOPEwtDBIlNfXuXaqCzu9ri8vpX8S4/Qyp/J52wQdzZVTrfxJ7AcSp4Su/mYA6dAPHFuwmxDBlt0QYH6lImZiIBXtO5AqlR9NQMoS/3KkeZgMTA5As3SOxroov0TRxZKoYuDM0Qrb2GbqfRC7fP4+nMFH0BsPe6mLmj6vlpNdvKLBCK5jc9S9hbJZDktrCBpCKzJ8tVTQ0XYhmEJl0F4jUn78Vo7JL4GwpYmDjDCnyuV6+SDN+NFbWJ++uYfSmGmJjlQ4RJjWB3BTc1QNjeRJMFV+kQvfZNrP1LhJV7sDIVgpWTIIlSWwYsOyTF4/jNWyRbL+EO3o9WOUTYq2HIQ0PSDIZoAbvoTopIAIIjRxS0nF5IbPVAy6JLOiBzgCSKFU8s6os9aZ44P4DVPU+wt409/NDt5ZuwDvQySWtNMdWQKnGcUeeRWLcUFV9ryPN2BFvL4FdfQx+4F7s0roYWkaQ9rRGCeENZCAQo2WsHWJVDBM0V9fsT45swB4Q/JZVsy5ZKg0fck39fNKG3iBobWLk8ceE+rO4y8d4ioYIlDqFZ8j0n4aQ5tMRXtdlIN7A6W1iZKTqOiy7mNU+Gzx6BWJdIYWdctPxx2H+JyK8TGFO3bTOiEtQtDEmWtmto3W300iSBJEr1rOKdCYhT7pda7YX/miAQL8OkX7tBXnyNhaK6vGMKwKtFEpfw66+THnqQMCNquxdUnN+WC2JrjVj6JVaRQPfIaCkS06bX21MvWFwYx+7uE9gWpi+dKQ9HgCmpAXXYCbcvo5dGiSzpk1/BGH4nWrhIr+3hJAmhK222UH0BJY6NI1He5iZhdxtX3O+2RWgMoO+/iiGO5uFH6e29qnydgTh8s8O4mXH6O28QxwauaOPiuoowG0kXXzZTvo4m25a4R5IZIGntKkCD9OcTfxh3YFDR+vX+LubgYaK1MwSZCk5+hEgrkfRX0Tub6oAlukI1HeucQw9d1SdM2CUyctCvKncozizB3ilMiRUf+CF68ubQwfelqFpX8Uch/8tykkhivWkSVzRhAujTMYsLhPJB020CM8GyKkS164RmDlM6Q0ZE4ke3VRZZ+Xk2iDPDJM0tjLhBmJ9DM3O4+y8QWKOE9gha2sQ/9Q30gSGlaiR0VU8u2Re9V1rR9wV6pjap3UXV1ZbNVmftebKHPky3Lqo1gboV1caKnkccCfgqpy6MJG3MbIn+2ssKomGl52mvfw1Xei9CF5cJY28Vy9YInVnIDRFsncaWnnTSwOiHxAIREU2lDDtcoaJ2Cb0Iw2zgFA8r+JXQ84MG6LmY3sbt16jw6BPcP/IOGr7GB949pJzl27Uml5fbvHHdpPado7jD87RXLpEdup/1098iPzSEG9o0W2vKf9qPPFK5IeyZx0m61/G2lskceYgX/ujzjM+UQEBTVoVqq4UbtJh7aEpRn7vdFsUTP0Pj5GexCjppiS81l9XGR7MSkqG7SJfvZPMHf6AostILr62v4RQK2InP0MIIsTGtdF2B1YfmJt7aVdL3/ChOp8r6tZdxy3nKD93BL/ybLzGYGWdyNub8Wp/97ZChco71VsjOSo3lrS5rMsgt6PzHD83xc7/+BySFMvXv/yGmdLnTM7g0iM0CftginSoT9YT30SeII/SoozrLMkgiXMHQMoooq5kjxG6C7tvKnBB3bqHpBQyJl9VXSfJ3YAzegbn1IkF+Gj1KCKQz7ZoE3i6x+HULx6F9Ft8ZxCocR2tdpd/YUYAs1dkVf23rlqLMG5kSUSQVE0v5b3s3vkQkEfrKIVxLKidZNZSwu5v0Jx/DrG2pKLY7eCfRzlmidBmkuxXfZpEkw8eUp7bXqpES0GnoowvYxjeI0sNo1Ajb2+gdUSAGdPNHVQrHEV9r9iiWlSUO1olkS5+bIA4Doq1XVTQtcCZV143OGoH05AfvVmqZUKj6UaAm0LKF1zMHIZtC77ZUn47sEJakA5wSHRmQpbMYlmi5InrbZ7BwCWybsOvhFEbR3aLqmCVxm7BVx5bKjnx2BOzYC1TiwbB0/HYXKzuvOmmmIZf9EeKopwZaEQlW+YhSzXRbN3FNWw1zwto2VjqlQJeRLT25FH4S44pyxs0SNC6qGKBeOEqUzqEJHFT6fMGOos76ipgYENdW1ObWLB2G/bPEmQlS2SKNtVOYia66pgOP/Rv+4ud/mp/5kzP8Xz9+iHNLNZYXm8yNGFzYlwKSy5nPvpfatTZtO8Ta2ECbmVJ91PrlywxNTNCxM6SGx4hunUM7LGmtNv7OOlpplKAh9aN9or0dim//YfwLL+MOj2IfOcgf/Opf8tvfXuWRcRkCx/hhirnDE3zhi5f5s/96F+/8+D/QfubPcWVwULiT3u4Z9NII8fYakWmiSYVs5zLWwAFCiViGAbYcQKRrmB7DoKggTqYwZNpiqhAvbxs7fwJD6ytrjmkZ6AIHE4dE5zpJ6KLlxtTB0rA9Gp1Bxt76BL/x/rfxmRc6/NRbjvO9c4sYRo+3PTLFsy9tc36xx6lPHcUKmmw35bmmU5etXDpFZaSo6P8yiJg/cpALb5xjaHqUQr7IjQuXmJ6bUckNW2pUnZ7q186OTFAay/D1r5wXAAs9r8ZeJ+anP3SMi6cWSWcLOEWH9ZvbjIwMUygZKrJ+/MExzjy/wzv/+woPzqWYGC+ri+7aRk0ZNfJhlpPb+7zxZ+9h5Oi9LH3p6+THy3TXt3BHD9CorZPVTXQ5JAsvSCwvpSmMYppg9ZpSpjYunMIsuLgDk0RODt+KcS6eoy/ptNED2PUdYjl4mZaiw+uGj5YexTkwSfN7X6M4PUG3Mk4qgM7SFbIH7iDOFdBXl+l4mzikKbzpfozRQX7xff+NT14K+dhTC5y+fJ125ND02syULEqZPPVOTDHtcWNHI5+yOTyfJq4FvLHZZTyvU84XCPsttvoJBwcsJkoFrq/X2OlCwRatZcI9x4doNhs8u7jPkfFhWu0O+602Dxye5NStGllTWk4xGxseB2bH6HpNYulnY9ERPaEXsdHpqsSNHTXY8cXpC5M5i4utLvcPGXxgKkehkBAkCW6jx5tmLXKkubBVJ8yYBJHDty/WODRuMZp2MW0Hxwuphj6FtMs33thlbibLvaMpPvXSLh99dBQ3FfPtU1UOVLIMFxMur8H8tMvvvlonX85zRybipVsNHlgY4e6SyWfPt/jB9Rr7Fz5G46Xr7LxwhrH3vYvtm9cZLOfoCTxYvOkpnfD6VfyVq7j3vk3BU8OoS3z5Evm3CUtkl87Zk2Tf8xHY26T6V7+NPX8nucefIjj1Anq2QFAcJ7oqsK3HyE7N0Vs5j2aW0Gp7dK+/Sv74A0SJTn9ng8zICHtXL2GPTZOSeLakhk68hdaVF3AafYyRCXy/Q0AOY2+Zfl8jtbAAkXjiAxLhWI0cor+6SOTVsCen0PbqxAMHiJauYI3JEiCv6o9iwSrMlti7ucUD/+FlPnRPkcWmT0eLKLouFUdnYNDmr0/WeHq6y3//8UGeeR3mjrosXt4mn0/jZkw6bR/bkHpTQHW9z+NPzvDqK+sKChjGLgsLNmtbPv/xz1u8456A1674LEyX8cM+P//jY4rJIcq6jiSnDIuBoQLdjk9jp0a2mGd0apT11XX13E7n08pbLsDAWr1GxkmRzefo9bpKE3rH8RPcuHFDwVPHJ2ZotPbo1GWj6RD0AkYmx9FTEbmMyRe/ucmFa7scOZjn0nIHWhG/8u+OsbNTw4gsiiMD9NotWu0e2yur3HnPcZZXV8nncuTyWdY2NhkfHGJ/f5+JySma7S6mHivWyejoMCvXVyDlKDaAm9dZurTC/Pwsi4s3GJ2apruzx8KDZX7pE0t8ecfkwVKWrNXj/EZAJaszM5HnH767webZ3yTlVFm92CI79SBm1FLA7cTKKGaLq3UINZuQLHp/U71nxPtuZnIqQRnJdl3695l55Z13xyaJghSdC39OZuZR4qGHSNo1EMieJDuzI/T7VcU/04QJJnec/SsqzWiPPUC49k36mUO4WkzsN2VDCI7APFEmsSTx0DITBN099NoSkVtSnJ2c6PO0voI4W06eINYx/A2S+i08LU2uMI4feir1gjVJsndabZpF7xxlSlhamsDbVNpDsfoYmk7sivpOg+YyWiKf1zzUrkBuANOWrn+LYG+R1PST9DsbGO1b6rmv5w4Qd5ZUkjqOexhyPyELwa5iRxmFQfytq5jZIVmDKh28HekYhWH6G6/g5MeIxXzWbRD1tjAHT6jBX//y50iX76CfG8VEnmE3SBWPEG4+i5adUvaGMJXGlJSFnSWunlcpByS9KYp1ifGXD+GtfE/dY8QaJQYYSVBIpF8TK5IA+VIlLK+JNiSA5S1F7Vfw482LaJk0enFWVRH0TIUwuQ3Zl82q1HYSr3o7jZGXdIOo1yuEspEX7bXfUfBCLXEwrWH8/jK6srfNkYhKuvoyvV6Ck8+guRmMbpeeDDW8HrZrE/p9rKwM7AxiX/TTsyBLJ8nR2GWC9hK2LJvSM+jNa2j7Zz6dGGEb3ffpta6p/qSPgKtsbCtNZGZJYon3huhx+zaFEBOtW7sNZwg8rOF7iP0QXYAREhbrXFUHwrDvYyWysT5OGDVxjRSB9BhWX1F6Dn30KKFMvASKZJWU+zHWIwU80i3REmr47RBrYEJp/CTW4IkWKa4R2rM4AmMYuJP23gVFwlaAKqErkyYOlhWYzkwNKcWPkCI1zUWTCVdUI5FoudZS0LioNENCgaR9RUVlxeHmB00cZ0ZtC4XGrnootoPwEqKOOLYFTlFGS2kkMhnztrCUoi9DIBfvqIutu/gyjen10KOY0EyUskdz0+AJjlPHSJcA2X6fIxHvt98jjpro6UEV9wh02eDv4Ne2cbNpIn1S5jLEwktIqujmKH57F71QxNXKhFqDqC+VDIeUmaMv+ozeBn72EI62SVC9rsBeeuYAvhgJSGHqBrqMjSSWXD2PLh0RPY3uL6kPf7z9Iv7Y4xjdGk60T5i5W/aNmJ2r6MWjSgMTSaRGDvpBQ2nSjJG3EmsdtG4TT/rmRoq0M0ws3YJQICMNdOcAyeYzRFNP3e52b7yMkz9Ev3sVzRrBckfwm4to8oUm5G6rQixMA7OM713D0gr4soXVPLyVZ4lzD5KVE5LXJhg4QsqI6G+ukH/4vfzxv30Pv/m5FT7yvimeeWObzd2Epx4u8N2zHb78e/dy9LE8y1+4SnauoCCSmcoUDg06/iClgRKtzfM4ZoGwXcePbqIZC+QOLLD66rPsbGyRqYwTeC3G5w6g7S3hTEyQOng33vIt1e/VPQ8jL6/vJeLyACYj6rOzu3SWobx8IZos31pVari0nRHUPaHTZ/zoCRorZ1UPTlIe/a0G5mSGrDNDe/U6esUgMzYgjRve969fIZWX2FwLLcxgWhodPyRyE7yuQSELI+VBmp0OP3h5m6mZLC999y8xBtPsPvMZHG0ARg9gNFdIcmms7Cz+5gV0BSBpoZtdLGsKb+01jLHj2IUZ1X/CGiJoXsGRL8niNI4wu1tbRPkxddkyElcIEQiCVrpjoS89Xvk+yRLLpVc8TRLTj9uqMiCJJGSwKABS0W+G62jaMElhimj3FElqBF16+bun4cDTqrYU+fs4hk0skTgzS+htY2oJRlaAKDdJ0mX1ME2yIxg49LrncbJTxM4A/tLXVTQ7lZsn1DYhzqKZutqQS7XJu/4lrMIBjLl3QV+SCIuErin0BPrdhJQVEng7Sl+apG00qUmI/zfpYcaWovfahnBVltGEPC4kYAEOyoDVThF0lrHy4kfOkLSuCP5DqeuEGYG45KsvYbS6JNNvxm5dIkzkcxZgFQ8SS3KmfkNF/swood1vkpXo6eoL6jVypx7C6wZYAiSVRI4j2/iSYo+IqVFUQrKlVypLiQKWD6HtnoXOKky+DaPboxvLYKRDEmkEWowW7WFnDuGXZlUUMd76GnrhTaoqEtZOEsbSuRtQFS5hDxiW1FWEJ1EntgfQ/H2S9h6arCfjNH4kF6YOzc0qA4/9CCe//VWeeP/v8QvvnuLq0j4bfsR7jk9ys+7zZ9+7SfuffhLnyGEufe5vGBydwLrvrfgvfRVv6wqlN/9r+isXQV6inT0ycwdoXV5CC1s4B48qNVC8fhlDc9CyeaKb56mlDGbe+RG2vvZ1HvitN5idSJFz+jhWmSfeNMVffuMcWz2b7Zufx1u8hBek0TUfR+vT60sv+A5sf4VO9RZmeQzfjzGEqaJnQXgxQvs3RtB7l9B6TYzynQTN65jpo/jhBo6YKHJSD9nGz5RxskeJNr6Lnp9Wg1I/vILX79Jf3SWXNii98z/x1sMTrGzBwlSGltfj6HSRfqDzD2eb/NZTFT76c9M01trsbMnWxKAh23E7RWVsiO2NLQg88oPD5N00G5ubFLJ5EvndmuKjluelz+5uB83R1aaxOJTijz91hoMHMlgZh+0tnw//yCGuX1lhbHaUUmWAsy+/zsyhGVUzu/zCed7+7gew8j5P/swFzrUMHh4y6cU+qXyejKkrC8WXT+3ykTsG+R+f+Qhbf/p32DOzOOUsumGwu7pJ4cidOOmCYrogaZxOC8ZP0F++gNuvsdPoUpw4QOS18K7fIvvYm0hkqPaDL5GePUZ/YAazfhNfjzBK8xj7myrKnbr3AWqvPkvhTT+Mt3SSztlTOEOjmGML9G6dRNtvkZqZwypN0gv3KU0MYgyP8KlP/C9++XPX+enHs0ykilxst1nb9iinHeUo93sRHQE0pTUV5T42ajGQdun7jlKFLbck3qpzIGdjFm2SRp1tT+OhmXHObFbZ7ceUDKiUHDrdmK2mRE5NWn3o9vp84HCOs/WEaq/D1m7CwkSWxBdFn/C5EuYGNe7P2swMRiztGex22jxSsZkq6LRii4fns+zWenzjepun5gqc3fHYrDWZH81h2xabay2kzjyVE7uNx2s3E27sC/SvyGzRZH3PY7kXMJ93lP6wKamwQKp8KSbzLvWwxZCW4ZWtJisx7HllCuzwkUcP8lvf2uK11X0++uQEv/7NDX52ocDvf/IjNG68TquuUbzzLlpnTmKIZq2YoXf5FMbCUZKNdVUNTL/1A0RblwnrNdheJ3Poblrb61iOg1mq0NhepqAZWMVRqmf+mdSRJ7APH6d55iXy24vwrveTRC7RG1+n0w/IiF3ACPBWN6g88ji9/Rbt86/gjI2TdStUF18ic+A4WpLHb6xh59KE2zWc8VGC4hDJxhW0QJgfGbzuHnZgYVaK6vxnTi8QXz6pUo9hq0fu2APsv/RFcukczvHH6bRqNN94jtmf/hCf+sPv8bd/f5EffcdhvnF9Db3VZKxc4OJGyFsOGXz25X3+zx9K8WtPT/KN728zMpxwq+aj7ScMT6RUrac0nFUd5UgoLHbCqTeErD/K9maL0VLErX2DT3+9zgd+aJgv/nON4emAiVKOn3v/NDuNtqL/12sd0qLMW12n3enxxLue4OLF85hCDDdESiFnU2FW2BQLFZZu3aQyWGZ7a5cjx48QRAm7AuETsOjwELvrG+zVG2QzruIrbW+u0WmbHFwYY2TK5C/+4rpiII1UdC5faLLbTfipp2aYm3PZ3G3Tbfk4tkFlqEi70aTbEVNSm+N3n+DkSydVom14bJRspUhnf49SeZDE0li+tkxuIIvf6qvF3cDYMEEYYVlyqTIojVTYWVqh2fa57/HD/P2XL/BLn0/x1OEaa7s9bqyFzJTTTM2n+dz3qvzGTx7mF//s42x/9UtU5u6hJuT8vk5ePPVJB/QIzRkmqF4GbxlbgMqj92J1btGt7+COHiepb2K6t3vvlm1i5oVNYikmVK91ndTMj0H3sjpDam4ZU7TkxcOYmRJhs4ZRP0Vs5dFH71I8FW/jJLpjoZePEciF0GipAbppFpWK3bAL+KlpkrVvq/uZIR3w/jK9sINlT9DvrJKSekZ2mNbGN8nmH8fI5OnuXsQKN9Gy46pSHcc+oSwdRZ5Gn0gvqTqQ6Iel7ivsFLlfxe19XPl8UERzxfy2S3/9FdLTj9EO2ui9DYzUnKoXEDVIBN4u6H6vhqOH+Pt7JFkTbfwJnOYKQWcTvXInWvMSYXMLc/zNxL0lkMW0bkF7RS0XyY8TblzAzDgYmcMEjfNoxoBKVQbRLnp6AlPLqWq63GXdQpne2rNohfvVHS6W4QWyia+hGWOEAlSWcxAlBU3Wykch2lcXbLlGRgIuNz0SMc/pwgMTxXFXVV2M9v7tc2ZYQ4uyxKV5/PolTLqqUirnAKN1Ht8YRJPUjICae1sYssC20vi9OhaydJLDi08si6q9a0SuhduT2u2CunMm/j5RIMBjGahvEhklrFhX6mv142iStt1Q9XbDKaJrRSLbUIt5TVhmAcS5HEa7gdZ69X8mQbiEZY0SRfJl7ilHsCHub9FLpEcIa7sqkpGYZazGKpHpQfkukl6VSOK/5aMK+GB0lxVEQf2PUkVF/vVkE9RcR7cTtFBX/1ym+SqCbs8TRdtouobZ8UmyOaJ+D8NOoXtt5bvVuxtQOazesKIGi+prOAOHSJxxunvP4RaPYHRvETbl0vkovc2T2I6QRo8pcJ9AeXwZWrR3FfhBJqVJYQbxo8Rb59Fsl8gsYQabhHIRri8R9rdJxp9W+kM99mQvhqHbxP2+Uo2FlTnShkbz5ndIV04QSfRL9GZ7i7c9zWaKpCkXbenmNxXQwRo5CvUrJFoeLV1BF3WFaPviFI6R4DekyzOJ65oq3aA5EtmtKlhb2N4FZwJNeh3NK2CMEZWy6LtChfx/WXrvKMvSsz732XmfnCrn6lCdw3RPzsoCFDDI18YI5HsJAnx9ScbYi3sxGJt8gWWM77KNQbYsgcUIW0gaJI1Go8mpZ6anp3OorurKdU6dnHa+fr/2mjV/zayq7qpzzv6+9/39nicG3cFKl+gHPm5UJei00IUamsopmFkiv8PhJmldQBGCLhtgiENTDuNyWNICtQ3VBdzWv0UYlTFN+buG+FFGQejSxTl629fRok2l2bNT84Sx+OBdrE6LqDiGLi9CZ4xE72F2Vuj1OjjCX+jtMcxNktJl89olCQdE0hXW00TtZYyJh/BbF5XmzJYBjCZd/WUVKRdyu54/SBiFyqEtG0B/sIyJqCYfJhQ9XGqRKFzBDqfwrQ5xY1mlAdK5Q/i7L1G69zN0dr7NgVO/xY9+cJRsyWG1WWfezPNvnl3jY8cr/PnXv5/mF55WhzhnalxtCN1CFv3AIwrSMhDt1OEHiZpVgtAllQ7wajdZuTkgiARyOcRI5zEGBl57l5mTJ5g89SjV956lMOoSpA4QCRhRtuh+Gy0pYxRnqF/+W8Yf/ggr33qKzk6L0fF5NDuk0R2idZrMnjmLE7QZGgJ5A0tvos0fore7gdW8SPbgPhif5NXPX+Uf/tYNTh1J0/c09i+mOLN0gFev3aGzB3PzI7z87nX6rYBPfPhBzl+8zjferHPyWJ5XLr4Ot77Bzo1buBMLaPUVLCHSZyuE7SoUp7G7GwwFFpiex9UiooHE09YxzREifQSMHrokA6QPJT2nzk2cuY+rnrzA8Hp7z2MNq9jj34NvRcSNmxi5uzqlWCLiUnVpLytfbdjfw5TXpUAvBVCTO03U+I6q5RhuWYEeSWcIOjV0vYOROkTSk3QApALRrGVUlEq0KfHaK4qqm5l8HK93Xk2eve0LWFYKu3QPgWtj710gkJqClsUMV0jSp1WFRXSTGrK53UaXtI0fEZsxTqfBsH8Ju3xW6UP9/hZOZgRtuEtoW+haBSMzQ691E13geqNC4Q0glN+oy6VYAAAgAElEQVR7DWJx1BbRkp6aKuudW2imRmzNQ/1lNehURpaN7xAJT3jyEeJgD10SVM03sEY+ArkCWv8mWpKV8STaoIpmpIhi0eU8RDTYxRDqyWAPBEIodQhLYIEz9Nur6vNLNhNa3BayI0lvmygS3kKZOFNBSwlpdlPVFHRdaM8hhug6uz7D218iXbqHlG3QcUQdWSFJ1u5+3llF0CoEAjqMpBs4Slx7Hi11gsSUr6IrDoIkHBwzT2vvCrZexpo+pPgNuUxH2TiWHvx/mMvrPH56EiddZHljmUxpkq+9scFnT1n83H/8p/Se/i5W5KEvHKP+7P+gfN+jgk6ncfkS5RMP0Gqsk5K4o8TcO0Oi5hrp0XmM2Un8nZoaRqcmpvHubFNeOoZl7nH8U/8NK5fh7LzLje02bvougfilawE73/1l8vd+H/WbNwn31tBKedWNNGUg404wuPF57MkHcMdOEfpNwto7GNYMZiarDnZKW9lfJkrvx0mPM5S+cO8OcTqt6lNxHOP4bfp6Gkfo5dkKmp7DW34Gu7hE4PfIjLokB7+X2ewZHjqd4vBMkdWdWHmOZ7MWf/xcg3/3wzk+/dNH+e7n3mb+wDSBEWLJP45Jzk1x/fotBYQ6ePQYK7dWKBWz3FnbVJ3rifFx1RO8fu0mKSfL8dNnaDV3yZR0/vD3LvLxTx3j+p0tdu90+Nmfup9BL+LWreu0WkMqajOXww8Cqs06WSvP/Z88xM/94gv8+3MGj+8vMlX2yeezvH65wXTR5uJGnaSf4pl/8ygjIwX619uEdBTMKTUtryWLxqvfUgqpkmxW+xHO3AT96xfUUsJZPKKGa03ZhN1cwakUsc6chVqM529jFooMN9cpjS/QvHOL7NiEis1Hm6sMNmvkH/ko3YsvqeedO3sCvVzBW7+hiNvBzibFI2ep31zD3L7I+JEjaA/fz6/+7J/y+W+t8wNnbN7aQj2zy1mb21seE6MpJhyfiUzCl64aPDJncmtPotQ6hUKMrVsKEnipFRHoJofTMaV8wlpN/h2QzmqMpVJsD2PaXsJcweF03mStH+DqCdlsgueFPFh2qNiA1yNXTrG6G5DPmxxNO2x1PB5dghtrA7YCR8HLFsdcajtNNgZSV0gIOoGK17eHnoKyyfb08EyFSiZmbW/Ad9/rc+pIliMZi11dxoMt+nGJqjAOKhojBYeXr/Q4MJPjerWtwKr37R9hbatJqeIybUb80Ts9nq5GfHKmxO1Bh6nMKCN5X13Sf/P5Ld74nUdZGs9Q71qMfvAJOi+ew6nk1UBGNqEpGeTaLqZ83guQry8M1m3c8Qq9OEvKTPDWRQFpI662zOQ88XiRMCrQ++//lvTEAunREZoC9MqNKw5Ur7tGbv9ZtNgE4Z1MTtFvD+k/+xXcMw8Rd1uY0zPQbKMVC7R2tijIgVouORtbuMfvwehJJehtnKlDJGOj6PUNAnRSqTJGqUDz0tsU5/bfPe/K+2ntuloo0Qpx9h9iGHgMg4TKY2cYvv63PPzZd8lXAkp2QC8pMedG7AUDdnsux6Zczi1X+d0fyXD/RJob6zGOG1Oq5KnWhhSLJpcv7XDyzCIrN9do7A45uDRGEIU0mn2K2RwHllJ84Tt7PP1WyKcezJE4Eddut/nQ8RE+/In9nDt3nVw6y8zcImu3b5PKpKjt7pHIaLg/ZGp+isDz6bZ7pNwMVkpXME+x1EgybOv2mmIFuJmssjl5vR53VrcZGy2pyL6833PlvKTg2d5oknHSTC6l+NyfXuf2XsCBmbLiOa3utDk2N873fGSMjbU+lmtRXV/HSLsEvSGWaXHq/vu4dfkG7cYuJx+6j3MvvaKqcHZis7ba4tR9+9QWe2Jqhlq1ij8YkimVFJun0WgrrkIQeCqt191q8cRHD7FyfYfTv9bhkQWfgSw6tRRBx+fE8RJfe32PRxcKfOGNr9J56TUCzbvLyIl0LDtHqCXoQQ0jlyNubit6PoUzGEOBF4oVRcMIIuKUDqHDsPa2WjIaYw8R713Ekg57c43U7EfxmhdIpUbw5Qy9d4Wk8Tb69MMY5cMEjXUMSeT5XeJQWKUl/H4IRh1Tapf2YfX5LQNuqU1KbTpYewl7/gNo7gyD218jPXaGaLiOnl7AtjJ4/U1V8dbSwmtLiIUFFA9kzoreXSeSjXcmjSZGH/HUh100ewQj6RLLOcuX57uouCfVAlaXc4tYWGRaNHoIfesC5MZJcosku+8Rq/h5SJLkSARy3t1CL0yrJaEsWvX8kuLNCYQ+GQ7Rwj38RhO7aJDEOWUQCAfXIXuUVLiD11gnFA1j6ZTiick9T7b+Yf86mmhR0mcw8wX8zW+jxUOonMJ0j5I031JnayOfI7ZGQOvR37yGO7aAZoyqdKSeLYEfqWe/Sh535QxoQmGRqF/D9NvEUmVOFcA38PpbaP1NnLmPkjTPKeWiwPn09m0FUNZL+9Si1pD65sghZRAY1m5ipySdJkvgPtg5nOwM3tYtwuFl7EM/rfR/Sfc6Ua+FNXoA3TYJOv2797vIJ+o1cSrzJGaKWGqYulTRIpL+KqFZxkznFFhaKqPClpPddNyVZR4KJqk1X/7lJBLwXuEoxtgSsUxFButom+eJCqdxSnNE698iEIpz9gCp3Dz+1lsYlTEi63/1wBvLMJQX+y5aZg5rdJJgdwWMcQVUSRrn0YQaLREIueALDNDNq8tQUL2Blh1TcBYtirBKo3ihxLvlAGuTJDGJeOWTDqE+jZHsEocD9EgASRMqVh8HAs+yFTl74PmqU5IRbZJmEpghiV3BjYQj3yHZvozvVkhnXbwwLfYaiDvYhsFQDmtyQQ3amKP3EvZW0QMJYw4IvCp2Zkp1Og08DF0nqJzG2HkZjAK6gNPEDSkAQD1UAA2JzAbeAAdJDxjKSy0XX1H1mfLelX5vdgG/vaImd5ER4Hlt0hnZrNYIdemfeepQbqRH8PeukchFOJvFsUbFjKw2j5ZEeSNXdW1jxFogHtQswdZ5yKQwyKlunCnDD3kFtJeJRGXllO4yBfLzKiaiyWZVd0jaF4mNcZKohZHKQW4fWu0d/H4dZ+xe9KiPv3sByvuUfoREMiOaOvyb8ZDhzgXs0cPE8o9MJ+2EpHwPVv8Sfm9IkJHvk4a98xgFSVmk0bZfwZ44ycDOYiYmUeeSAimKWH7QqWPlZrAH63gyFNB1QqOELjrHaI1g4JEIC0Euj+40+uASkYC6zDniaJvM5IOkFg5SzDzGkf1pxvImrV6PUrGsYIfitL784kfJ5D36t+Qi2sGcq9C6sqbirFJP8SiQmTrAsH+HpLZFoVyg7xxn47tfwS0UScyEuKMx0Lpohsf04SVyuSL97VWM/KzqIpp6qHSbtsSYZEOdmWGw/hLZEx/C7LR46wt/QZQrM1ooMDBaRF2f+fd9iHR5lm7tOu2VKuNGldSpJ6BYYHDzBTZWBnznUsJ/+cIWx++dRN4W3319i/kxn0MHF9hdq1OeGGG8nOG11y4xOzNF2xtQSZkU8y6/++Wb/Odf/RSf/vV/ROOlr2OZE4QySQw3JBGFVppRkXoBKQ1ENRNHhGkHSz60pXlupzGaVzFLx9TDI4l6xFpasSmM9H7l1pbXWTSMcdMRXhKTskv09zZxCiliqaBU38IQEOZAAJC3FVhQmALy3owba+rDc7j7Jk7sEsjUPdzAFCDk1JPE3ZtqiGXIQ1NdU4W7J1JY2SLK5a1FnNhE3R56eVylVLTWKokpl7dtkCl7YqB7m/hxHi1ZJxElWyKB+ATSWbReU1VYYi2HbWgERpHELaJ7Oyr6lqTnlNIwDKronvQRO+gyfPQths1zKj2ANkrs72DnJgi1HEnzEmZ+hsRvEMpDT75XLKR1R1Fck0TYA5ZKG4W5gypdgRgBfOmPdxVEMG7v3P1sdGQLeBeYahkxUW+bJD2GlhmTIDl+YxmjeAJd75G01hWPINZtlRqQjiKprKLWak4JvX5TkdNJPMzGJQJzDE16foGHWZnADqUYVVFEbmP1ZeJCCd0Qb/BtDFH2+C31wNRluCjDDQHUCKgsPUnSWUN35YLZQxd9T2DS7m1iB9eI9dNkZo7TvfFlRj/5S/zME5/kzSvbHDk4wXq7i9+N2NvrMZbJMPB7vPnsr5D0THorb9K+va4c8PHIfkXbD66+TmhapIUFIn/fYUj21D0EnR7d7W3S46O0v/M02Q9/Pw3p/qYtzPw01uMH+J0f+C2euVHjyfvuoR3ssby6SSYx+fbVLr/7j0/yw7/97+i99k1SUx+ku/sS3u1XcKbmMfJnCHavYTohWmm/igTqvRaBnmBlR/A3L6DlcthWGb/bQbPEwlDGFDCsrqsYoBpoebcxBQTk1RSB3504Ra+1SW7sFENvh+L4DO2d60wc/0U+/WSZE1NF/viZVcp2zMJUke9ea/PNf77I0pkKl79zBb1YppCWnY2O5w9o1josHDtIr9Zkd3eXXCmn0l+GqVEqFWk3e3Q6bUX0vrOyRmV0hGzJwB/o/PG/O8fopAuJi631+b4PTeH5OqlMWn2OzkxNcu3SDVIFl/37F3j12Tc5eWCE7UDj7/3+GrMzBTqNDrWdvjL0FMs+c6MVXrlc459/YpGf/L1/THjuHEHPorW2Q7os8f+AuFa9m5Y7cT+Dazewhj306QWsUom40cFrrGJWRshWFtj4+lcwpGP8sR+iv7eLLhDLrEtQr2M4BsPdPaKUTaY8x2DnMkaSxjJCjId/kMFzf4HvpikcOkP/8qt415cpnBSlYIWBvav0jOmzD5LPwSc+9i+pDbJ8+HSWp87V2VdK49qiyBqwvqHx238nS7854NTsGF9/S3glBh9bGuNbN6qkNYtj5RzvVbcZOhnOjJX55uVd7p0pUHIjZstpbrf7PPXOHp84lFVgqfVqndP7Rvji6y0eX8oSDUMmxnOstZpc2or40IEK1YHHsBHzbsNjfjTF5VqPMUun4cXM5F3K+YjrOwPmXIfFSVslAmQ4Owyk5xyrP/9s0WCvE1IsZTi/ustDBwr8+bMNji6m+N4zJT73dIOTB1xVWaz3ekSxzoGJNHkzxeXtKmvtmMhOuK+c4q+3XaoDn5wdMZrSGRlJMWpk+ZNXV5kydL7+xx8g3mzTTleU1jjaWUWLbbTFJfSJWZLGOoX8JF1Jhoq2TFgOuVk6515AM33MyiyOk6YTecStDoV5saqsqvpopjxGPDnJ4OZ1nFwZbWSS6NqbuPKaKczh79zAv3GRzNgU5iN/h3B3lf7FVwjTJSqLx2itXKZw6Chhx1ODS33gE6bzDHduqfflyNGHadU2VJxWa+8ySFUw/A5Wu4M+uUhkavRW19WFX/Pb+G+8SPbjP0Tc9jF33sEZxJhnH+a3f/Nz/Mrf7HLPuMVH75tnc63Ky5ttPnq8wtAP+fJbe+Qsm5t/to/1CzVeWw3IpgYkbZvRKZtSPsvqWp25hQy+NySKM8oG0Op1SFtFJpfknNXid5+qsRNEHB3JUWsMuLoW8Os/Mc++Q2nOvVOlU6tz8MgsdTFMZHNMzk1w+8oNymOSmEtIZ9JsbG8zNTtLxnV46/U3KVUqnLrnNLduXKdWrTO7OKvST1KHqFcbjI6NoUssOQjoNHrkcjYrdzYo5Mrc++gsTz11meffHTKdzTE1p7F8p8OIDT/86UMMegY7O5tkc0UKIwVWronXHXZ3d1jcdwDb1Kk2WhRzOTK5DG46w3e++QJPfOgRNldv02n3GBkfJVMo0O21KRbL7G1sUSoWee/iFY4cPcT00jy1G9cpjaY48lMrVMoh2SRmrFSm0xuQcmLeXG9RrWl0Gq9gNbdoXPkG5twpwr0WBrcJpeI3aCnTmZndR9jbww2H9DaehbHHsQrjd5+/mqUWRFFD+Fknleo7DqpqM+uah/CSFqZfV5VhhnskTqKSk7qRU6kprbONI9wKcxyjt06k34XR6Z5PYplEoUaS0bGTEbzBquILOFEFY2oW7/aLBH5AdvoEISGmXiEMdwmrV7FHHkDzavii4hbzkC6sgi4oC9o4/RtPk5p8TD3HtFBSh9NEO5fU0kbBBVOTJN07yl4lkEBZSNB9UdVChU3g3fyvoIekJ9/HUPTs2pBYm1af0WIPiaMeuvTlvSZ6+TGire+g9e5gLnxC3e1koTporCmemJE7hld/DnvsCYLGBoYpNWMde+I0mjVFtPLfSPQ0sS1a0Dyh/IzQlB7akoSGXYbaRZKDH8Zcf0fxaoTlYoWGUrFKlTEtP//SpIIwh4OuuqNomVlVfY29HWXkEVteGMXEYlQQNlVGbAl38Nur2COnlfkjvPMCZrZ8N+UpjKWgjZY/ii7aavlTmRFafwiOAELTeP4OlrDGcPDW38DKjGFWDtNZ+R9kJj+IZRj4ogsyxQCxJiQGyCyg+Q0iBSfUSWxRDgrQUZNrEwPvLntB9++ogYpAhY1UhcgXzfcGjjOFVn3115OsPUms9/GGTdVViPtN1YO35u5VkKzQk+54imC4g5UbV6R6SQkafpdQYinpcWJvjWjgk/Rr6PnDaGYfM11AF5K3bIb1DLHwWYY9DK+qoAtae+cuZKUkWrKBivSalf1gT9LbfQXHLqIXjxAPbqNnpjAHErXfUNGNwCxjWxUEtOzvXlRTfdMUGEpyd/MnIECpBhT2Y2kJXn0V03RAIjVeH7skPlGHoH6VKDTUJUM5uw2bSCZdWqAGEDJJCsU1G/awY/ASFzOsMth+BWPiQzjZMnFYI2xuKGe4lpkiEsXYQOInB9CsiES6M9f/RnVQjeknCavv4uQKd9/sQY1Bs4pjZcAxMYKExJ0gksuElcXUU4RxF0vomwLiSKWVZseIe0SZcQUZNJOEwUAqAhLrdxU9eKi56IMVNVzprb1NfuwBBRkxBSRiFQiqV5RPNXJnMBMfvy1pCPmZ2PiGeRcW0pAo7bhyrEbrb8PMURJnhsCdwPDqxLpPuPUGqamzBM0VUmP3Eg16BDvPYI4+BvJgR2AWK3TtSdxYYv8TJOIXH0iaJ6M4B8Iz0Gs3VORYBkNa/bICnhmjj6BRI+ysYKSXCMKWMjFYUx8gHjbxm2/gpE4oEvdg+atUFh+h5x7AthMyRpV61ceuVck/elpNIt9/8JOYxSyjRZN2J2DohSwdneHFl1d54kGLP/7zTzJ85W0G/RJep4bhtyiffYxh38PxG/R2a4SVRdygS3vrPcYe/d/Z+PYX2duKGN8/rjQzI1mH+l6H6ROHaDfWqJSniXwPbWSRpL6quAC6DJS0GoXyCbob7xGn5rCPPEjy3JeoNg308RJBs4uVjxmbO0qjV6VcniR9MK0YAHfe3uR3vlTly6/47HRsRlJ9zhwrq++bzdrs7fqUSxnWa12mRyvc2qjh/U9/9C/+H09y5cJF6u2YbCnLpz7+ML/377/KlVs91q/8JzJam8bekJSm0dpdpTgzjaS0dMNByy+oOJMuCq7cpNrgi95EKPZeRya5s6rqkBgZ7GGXcFjHdmwGcvkb7BGn9mFUDhJuPIeWHcVMtLvqUXeEuPoaWukUsbx3PQ9NYvQyNXeEGuuhpzPE668RqvFlj1xlP75RIpIPZPlgb99RUE0xlwigNB42sIszRH4fI66rdEu/u4sTDRQBdliexLBKGLV3SQyTSECDoulb+D6Cfg1DmBe9FRJ/j5TAUxihH7ZJRaKkXLzLPBH676BB3JNO3CgGywRZAdaUSJqXSZwcRmaUsNUg6d/EmX2A4d5txR4Rmr+l1UlSS0otpclU3ymSBFVMUf0ggJq8qhzpfhvHdPECofVKJCpCG2xDaQnEIx93iN0iRpwh7l0k0Bz1/yfYClTkiq6oeQldG1GJk7C9iuVm8QQoqBm4IksTHoJ8oDuWUmfK0EAUaonvkUiSS2oSnevEstESfY3fRI+aIGoce0TVgcQUag43iHWJOd7CcXdxJv8+/dWvopfvQ9N3MWKdODVNXLtwl2PSX0dLxjCcGj1Pg3qNtBuT++D/xRd+7bP88q+/zCc+OEVr0CQTFUhcH7+v8+qlHZ7703+g2BudZkJcH1K9+Sz2xCHyYyP0X3ya9Ps+CT2NXq9KYXo//todBuvvYcyfwh4p4l15h9ThU1TfeZXZA8fY3qwy98ADVFfP833/4iXChs+B+QyjkwXarZhvn98mX5Kt6ku03vkW6CWi9h01fLJHDjGsva42K6I31OoXiZOOSj2ICDxobZE2BRCkq9+PJKDoSYpJIyrNk8iAM5vGqZySWjD61vP0/T5W4Sy66RP194hdeXDHjJ09wpt/8UWe/In/yI88so9aa1vFCUdSFtc2B3z3Upd3/2QfZTPCsNPq57p+a5VmtcOJB46zt7mjQEiFkSKdeod8Ic2W/N0P7MOydfrdAUEYqHimVET2Gm3crMvU5AhPPbNFyo4YNELOnM1y38lRbl5eI1cZJVss8N5r75DOuLj5HIVKBsdw2NxocvbRg3z6l1/j/LbB44dSJLFJJ4hZHMmwsllnuTVgTi/xhT84grc+QGtodEsjJP0NSuU5/Jnj2HmLxI9p/u1/xZiegDiPJdRq18AcP4HpaPTffQnTkf6lmEmkZWQhtwaxyMQDSd5ouPY4XvsaSaODXxght+8E+qCO997bdNIO0wIJ9GOGG7tkH3gE/+IbeCk5B8RYrT719UvMPvQk9vF7+czHfp7zO3B6Nkdc0FUV4EAlz+pmj5XE4ZfmY0ZLHZxUmffWOxQSEzuTxrc1Bc7MGdAYRBwoWdzuRtza9bj/QIW+8HD6GrPTaXYaQ2oDgYfGHJ/K0Rl6CnjnRglvrm6zrzKLnRqy166zXE14cj7DzGiRVtLnmff6nJgxydoG760POL1/nK31OqMVi4vrQ6YKJkO9Qz6dZaMVc6wcs95M0ewHPD5n882rAu41+bHHSnzx+T3F53ngQIqVPbi2N+T9s1lu7HZIpaDZt5nMJIwVHeZLKT7z9Ca7hsVnTo2x5Q25fa3Haj/kg6dm+KtvLnPp6Z/ADao06uII7rP5wmss/PgvsfvVz5EbmcC+52F6F57Hv3UJFhcZeeQzhJdeZOj72EvHCC+ewxqfwQ9jjNY6vsB1mzvKRJO+5xE8IWzXaiSlErlcmcZrXyc/uZ9g7gThxlUS0QnOL6ptmKTJzGYDbyDVUwdrfJqg0WBw6XmK3/uTDFYuYNWrROVprEyGwExjBG30dp/BxlX0Q6ewJ5Ywb73OoNUmtXQ/sWvgrdwSwim2pxNOT4uAlPZX/5rsmTOkJ1KE1Sr7fuQbvP9UCTNqkRudIe4H1LwhBVsqYx2e3/R5cl+KP/k/p3jhuVXuObaPar1Lt+czNZNl9fomR09O8d7b27gFg4xb4PrVdR56ZA5Ni3n1rSqHDmb49jvy2S08kAH1TshG1ePn/rejWHaV/MgUxbTNW6+/y9KRgypqv7pyh6npafKFPLV6VYGyZfBh2ibVnSrFQpG2ABgzWYw4Ij85gW1pisxfGqmwubJCpTJKnEQ0WvIMM3Fdh0w2qwCgQ2+X9S2H717ok83EjI3q1FsZVcn99Cdn2OvErNxc5uS9h+i0BwoSOTc/zWDQY/nKGifvPcXt28ukHJvpfQcIBi22t3bJF0dxXIt2s0Zv4HFg6SDVjQ36gwGhHzMxM0W/3qRPyN5anWwxw+kPLPLZX17hxdsdPvlQEa+pMxTjDQHX9wzOXa/Reu3XyE8tsP7ui5QW9+P1bHUJzsiCqnGHxJSL4AG0q/8R7cAPYFszRIMrDHZ3SU3dgyY/ei8k1IYq3TVYew6ndJhQnqlyjh9KbLxFlJkh6W1iWTGBO8awcVuZTzQBM8s5Mi8D+WnixIDuCuHGi1jTj8oXV1wkz7UpODl0r0Gvs4aTO0wSykLgCMGdv8UozBG7JazIUq56YQI4umTbPVXPVSw04+4ZJJGtcb+NmRL93frds1jppEoBa1GFsH9b1TA01yTKjKE3txWrTKrQniTa5IK9exkjdohG7kdvXQLp+guWZOctMof/Pvg6vlItd0AsR8M6XvUS5twTRLJsjbdIRAKepBQsOhHg38yHVE0cZxazXyPovQMCwEsExbVJmB9Xl/OwdYvcyBH13Jelmy9VZDKYhWmC2y+gT4iyUO5dknKWH0FTaa1FGmsXDhLFfcLGOkg1jDJx66bq0cumXqrqRtgjGLbRZDiSHoNhFy0ZoptjBMKgEQuURPrpKdaALcwfdxrsUCX7hDsiA4Ckepu4v4tVOaYSpvpgA9sp0779AqnxowQTjxFUr6qkuy2mAyuDIWpIqY16e1jJKJrZIx6sKcNVP4hwTEctpWX4QWGMRMsRd6+hCZhwZAld6sReG6374j9LpBuhFQ4oCKCR9NDkh6CPYYwdJOpvYZkputtXcCv7iPwOphkpJV9SexfLHWeoy6bnFoagiCW3P3ovce1NFRmNSUF6Qm2WouIIcaNGHDdIj7+fYfs9EoFHyOVAYIOypygsqXh64g3x5VKu6TjSyU+6EHRJ7BK6ELXVwELAVosEm18hM/4EntCvV76lYFQylNCCdVVlGN76Gvr095Cki6oPnC2I8qxMtPkG1rhsxmI8IeIbMVZ7A1+geVOPqL4+YV1tomV6JN8Tp6QObEPRaLgBSWPzrvvSKWNKrH7neYzcAQXvklqEUmt5IabRIR7aGK50BQVCuU2QWoTqBaXGS5rv4sw9gu7M4MUBVuOGYE3Vm0jeeIw/TtTcUOoGN7cPXw7gRkjY7WBaU2iFMcL6ddVvFhBbMKwrIKDAwLzIxokbJM4EnkyihENQWsSIevgrz2BNPY5mWCSdOyRywXAPEkUDtGiX0C1jybauJRv2cbThHr4RYw5ResWw72E7OULl8xxVPSfNtdD8IWEwxNETvGufJ3ROY8zfgxatYHjiCq8TONM4eloBT0SDpYmTWY/VAMWwR4nH74X6beLGa5hWUVUZomETI5VGT4ni6x01ZFCXz26blCIptvDjFpE+BhvncSf34x5O87UthOAAACAASURBVPR/eIpf+J3XefLkFKOpPitdg1qzQ2Kk1YPrzQtNnjyT5y8+/wgMNTa/+w6IonDhBHrrHHquTOhZZLIOfremtC7OzAEGO2u88s0LFEbSqmNWKmXYuLnF3Nw4E/dNEDWGWKJyPPEJ+svP0l27xuS9H2d75VXSZp782EE8UYuFLivf/jrLV0NmDpUwB20O7jMVb6NyqgLZWW6+3OQf/eHbPHvT5GAh4fT94xwasTn/7hoj41M0mj1GxnQC3WV5tUoxU2CjWmPf3AQpx+Ltd9eYXsio2H2/26fvB+hByDvrCd/6Dx/jiR/5Ebrnb6Hl83jd9t2IUNLH8qoExX3IY8FPJKkjl+xNDHcSLIPEKCnAph0Je2JAGOyihynlqJXOczyoEpptzLGPQes9ReyXKWgUdBD6RGJNYAi0TmJV0tHXDYLmHaUPtKRLHg7RBglhpow+XCeyZzDcEnSuElHCzeWJOtcYtDexi2fV4SwUH65bVI5cxxHNyiZOPETTHYL+LeLUSRJ/AyOJMXJTxIGLHu8SDvawRu/Dl3RA+ypJawetcBRt/HG0nW8qhoioTb32JcUJsMunCTs7d6ss+X3EEkMT4KdAO3srythgl48SOnmlRhTITdipqam9m8qrTpl8LXGwB/ZBbH9D1Q8oHlN9rai7ptIMceruQcuKEwaNy1iVOYykRJCZxkqkk3cJLWqiF88qxYs23MEWNoNy0kbEYYQ7dohg2FRpAdHziFNbDXcs+Sz8huJvhGOnCfcukc4fYChDRhl2dDbRLBczKz/Pgqp2da9+kVR+gWT8BLaRJhHYX3NFmVbiJItbnmXQ3wLpzlYOEseJggfK+z6KY0xr7O7k2iritZsK3hgEm2ry7QjHIthh/4nf4PHjFmcPz3Btx0MQI8ZgyOee3+FffP8+fuVXP8zeOyvEfgojY+NOLOF379B5W9SqeeWOju7cpJ8fpXzqEZpvP0MqN44+u6Ri7oZsJMyAwZV1YppKTTbzg/+Q7/+h35RZBGdOVnj58i737S/jez5PvVKnuvsXpHSD5u0bpFJFBoM97Mqj+K23oLMNoyeVklVpJqWO55Rw9B6hk8Vrt7Ek3aEJZG9csUqS/DTULjGor6phgJzRFeE36aiIoaQ1+ts3MY2EoDjP6Knv5c9/42f47G+9yk99dIGN7Rqx6dBvtpkZy/LNcw1uffkharsxazc3GRnLEmuqeIGuG6xcv8Hc3CJuMcvq1ZuEkUcqJ8qiPBursp1LUR4pq4iyJK3EGGG5Idvbfb70N9vs25/GcELOnphlfiZDr9VWv//uoEOv3WR+4QADX+Py5fe45+xRmq2Eo4dzvH15h/t+6SafOjlJYsFo1lNJmnOX15Rf/pULHn/04yf5sX/yQV7/k89x+Ad/FPa6VF/9CumRGdJPfJjwpecY+AHFhx/FX7mhDpvR8iaDzmUyH/4HaLeuEORc3LH9JFdvMdh4VSXNso/+PXo7V3GHPTxRgEY9cqkRuuUKKTtPeOV59LFR7Ln7WPvrz1HJJaROPMZeo0VeBnlzWRrPvkHBCbBPP4TVWFcap1Zjh6M/+Qyn9tk8csBhI3BwZCCV99kaJNxja/zd+QwvrDTYjTVmXJ1D0wW+dWWbgu3i5ixavRBd9MF2itks7HYjljs+BTfhxKiDlrJV5WmzZjFSMNk3anJzfZd+7FDvBphBxKmFDN3IVYO7oTfAF5NR4JGTy5YX0vMj8ik5c0Rst0P+7qNT/NUbUvkJifs285Mppbv16yb13pC58TKre3UOzRRZ2xgwOWaz1xsyGJho2YSFnMm+XIr//G6VU9Nldc7xY4ONvsYTeYebQZd/dT6k4FjsyyQcWyhTSDQuNWL+y4vr/Ph9Fv/v13+T6pf+Gj2yMJdOYVQm6V59g+zIND25fNy6RXb/EaU17r7xLFGrg/XB78FeEe7QKAMZDKQy6BMTaA1RJttE5Qkiv4axN0TrNfDEfpIdR8tMk1ghxtwp4mvnMIdNNOkOZ4qEq+9ijZTVn1+ToX95imi3hXHgGFZ9A2N2id7Fl7EX99O++g658UXCsXG8N5+l8vgP0Hj5q7jHH8fN5+nceEuZnwSW5914k0xxkmhimp2XX2PyoYcJCxkS2bBrPTIPfoyn/uxp/u///ALvPzvLpctbTE647NRDZooFAgYMu0NuDC0+diDms++DK9ccstMWXstnZi7Dzcs9ZfqZGs9w5WqV+x9cYHNtm35fJ+W6dPpdOk1TXTi+8rrP/gWbnKnTNUKWl0N+9lMTpAo61WpfXXqEmTO2MIPt6GysbpPLpOk2O+RHCqzeWmFmZoa+wLN1i1K5QKPeUv76TlcSQ4sSWyNUsOaQrTubjE6M02o1iLwANyuANw8nU1Cx7YP3jPPtr13j81+r8qFHiuxtDekmGjMlix/9e0tUt026nXVVb93c3GR6dhonbePaOfW+63QDbN0knXMJBVw+6LG+ssWRe44ws28/b770kmIpdcQDHyRMTI4p8r0nry1/yNjEDFtra6QSk0MPTvNn//02v/bVHrO5IQdG5rizuk6hbDJRGOO/vbrBf/qFw/zd3/gTGpevESx/g6R0lPTME+jtKwxqFzAqR7El2bj8l5gzHxBxIfjb6EFbReaj8kPQu0XYXscYexI9EAhsUVUXyS2gC6NHj0iaq7j5U0RJlXivija+hKYMAvIM30UT6LiVw7ASAmGbDIdkRg8RyzO4vwaSbtQLWOUlosEqQbuJVahgOgKdXmQQdjEHktg8SaDlMfsranGjmVLV7RAlcrGWc52jOEOaXORb15S9KDNxVsF/pRYdUFSVDsPvE0aOOo9JRVcMA3oQM+zvqAWIMHFibZJ462toArETpWG/ihGFJF6TSH42poNdOUUS7BAONFKGT+LFxKkyoeEqRpx8rrmuppbTVnYOf+8NtPwx9Tu1bB99+xrh3IfQ6u8Q7K1iz31IARKtuMMw8e5qDlPTaAIz6LQwU2KBkcSRjyNL5nCPZFAnERadWaS/9RzpkeOYtqSsW1LExJWhnsD6kpRKzEWRh5ufZdhcg2SIHdgElqUg6lEYExsZHFNXC3Sk3imLv24LO1dRQ30VacnNE9fOY8oSqngaLdgmykxjGHMMNv6WbGZEnRFNvY8v4FBRM6dmMTVZBAmA30cbO0HUWUcPeyTFI0T9HkYg3CxRT8rSyFJgQFVt6d5S2kLdHiPpraP1X//dpC/qg8wRLLeoLmNyADfKB5VSSmBSSalC3O5htK8SFU9j5qYx0+MkrTvESVNBEOTQG1guuruEkWwTehqaEauv5xYmoOPjmxIHL6CFLUJnEn1YJ4m6BHsCVAgxc5NErvh+u2T8gH72MLQuogtpetDBzI2hy8G0eYdUEuBLLaHbR0+l1WZKVAh23CUatDAyU4TSo+z7mOVJ5ZU0vHWicAS7PILf3VA6EMlKZDKLDPauERoSGTGwfYjG7oHeJSLZ+PdWcSZO0gtFm7CLLr20VI5IesF7F7DH71FeT1HZCTBDTGS6kBb0OnrqCGYskRHZfPTQXB2t0ydunsfKHyB0MmDZmI0OA7uHLr0qUyJ+Eg1OYxWLGKSUqibyOkqrF3d2sPJFtZ2PZLQY+RhRG1/efPTR4jSWYnqHROlF9O5NouyiglNEe7exxo9BsMlwc0XpEyV2LL35vl8nP/mAmmgF3TtoZgVq19HTDpQextNCUrqO0b1FYBcV/MOMXAXbMLUMyMUrnSGJUhiepyCLQvgP5A0vEIpBDX3teRj/AFqhSNC6o5RYuiXx4nuQKoou6Q23SNK8RVB9l2TyNIYQtAfSy8xjpsZVxNjbflF525XOMYrJFI7SuvMCbmEOuzJCWNvDPXQUZ3Scc//f7/O9P/MVphZdDpahPbQU3G2sZHDh5oBD4xYLS5P827+qcmw84ou/PsbhDx8HbYR46waNC1fp7ULh9AOKshk13sV0yqROfID4xpucf/UtZhcPEmsRuys7RGZIXveYe/h+3NF91N56Af3QRzCDDv3b31A/Y1Et2vY6O+tdSnu3KX7s/VRfu8HkyQpkIvbe2aNbbyrN0POXDf7xH20SazGn57Mc3JfDb/eYmsry5nmhu+rYKZ8oSNNtGVy+U1cH+9/4hY9TGZPD+hlK5X189uf+GW9dqbO0mKOcL3LrVp2JhRE2tzY4MlnkP/zNX9G7cZ5G/Qql8e/DsXcYNLeIJG4vW4/MPjTpQ0Y9tKSltmJBIJs1YXtUsKKAWECYpUVF0jeDNkl7F100mr0Ow+EWlis9q4hQLvWO0GhLik8hALvQKhM0b5LI5TW9SOIMMQSQaaVwBVjTaxO7WSIGRLvbuIYoLSskmqY27zLRlocogy10s4AhSYVBT3lhlb3CHAH5YEwyaCNL6r2keQ3CpIeVniPceYFE0kazH8bUywTCIejewRqsCRYVc+Rewm4NBD6jDVQHzSkvioeUJCkp2Es4HKA5eRULM9orDP0h1txZ/N1lrPKsguNY/+uA7jXfwc3OqWFbnBrDTu0jDLfuVrD0FHZqjsCvEg2lcydDxDZG4QP4/SsKxCN+Wltp/6Qm46kUlS0kfvk7edfIFCU23lGxZCigDRr4dFWySfy6ujisJVXTEojoFKREFVMj8W+RSk8Rytc2skQCwDGFguvcrQq0tomdAklqDENqX8JYMcbwZSBLh9hwlHbQEP9voYDfrStgq5do2DJ8yd97V8nqCOiwRb/ZuQsslRRC4RHy+i3MWY+PnPlphnGKQ+M5nr+8y/5Cmn1zGaJ8itdf2+aFP/ggmUqave094sgmO71E/b1XSR04hZ5OE7z3ErgpBQ5N3/MAbO7QWT2PGfq4xx8hlGeHC4PdddK5cbZv3uLw93+In//sn/HcVofvOTXL+eV1iX2RKmb4zrk63/zCP+DeH/wMe2++wahQrlfeQJfqxfzD+LefIZHXYyqPZVZUYk5ee2buNF79MrqlE+fmMHZF9zhOIrAh0R1172CXj6EZLkFiYhXuHkiC7qo6uCS5ybvGhf5tUice5xd/5p/xX770Fj/xiSWeevY6j52cxE7HfP2lKvePpnnqT0+wue5T32gp5aZs5Gw3xc2rNylVMhRzI1y8cpGZ0XGGQUA2n2ZsfJJOq8XO9jaaZpLLZuh5PUqlHK1qF980+e/P7PKpj8zyredrXLpQ5V/9yhEqY6NcubjMsNdjcnIGz+8xfWCWtRsb3Fhe5fSBQwS0WfrIcU587GVubQ94aF7n0GyBb51vU7Z0ZiYdYtvn2jWNt772aczVNYaVs7TxKe0s09+6oQbhrp2nNayqnqxsTpyFg/Q6LYxL7+AePKmWBl7YIeWZhOUSmiQ/vvtlertr5N739zGlHvLMX6JXRvFcF61cxO226TU9jIOHcZavkJqeYZAuondqBKvX0UujkHPV2SNutEmsAn7jBkarSfEDP8jGV7/K6d97ixOjUlXUiXIWs1rCu92QnOXyT+5xmbJMvnp7l3HLojqIWZofw+73eW65xSdPVigkDi+td5nIx3hhzERRFyAPl5ZrLM2keGPZ42NLsBFKJNngg9MG5XGTnXWfLd1k2rUpZ4c8d6HP1FSZcjLktWrE6fGMorVLdzhjxLSDiMlRl1rVw0h73DstXfEuz9+KaHd86mHCPZNpxhyL3cSmPexxrOzw6o0uKRM+8dAk15abrAQBZq9HW0szU9DZ3G6TL8pGyeeJg2N87kqD1zdtBoHP/bM5HDtSXe+F0QxPvbLDtc//AM1WG31sRnVtk4tvEnYGeFGV4vHHiXLT6NdexRNd4cy9YOsMLr5JSs4pC0sEl15BP3U/UX1HcS2M1Djeyrs40/Lf3qXXrqItHCd/9DTN57+M7WRxxiew3bxy1BvDnkq4OqLVffijeHfWFERW94bKPjHY28bKFQklDt1cwZJq1tQSuvSIV5cZihFmqJM6c5bulXdIn7hXmLYK3CW0NEPeq16C9Dxl2C2p1l5rj8HydYqnjpM7vsCVL/8Np//pm/zCR/czHHT49uUaDx8s0I0jrm0GFN2YDzwwwx/9zQ4/9nDIb/7EOE//bYPuIOTRs2PcXq2xvt7l6OFZRdrfrelMTIeU8uPkCwYXL2wRBj5njsnGMeIP/rJBPQqYK+p88w2PkwsW//rn5+lHOsOe6Jpj1qs1Zufn8YfyrDEoFFNcevcyB48cY/nadebmZ9BUMkFK6DqlUol+u0t1Z5vpiQmuXb+mbEET49PstWqMlyssHNnPe+fOMzo2SmtXLnyJSg3MLJR4+9w13lhOK8PLN7+9xpGTE2TY4+zJsoKidZseC4vjOJpJrdWi2W4wHPQ4dUpMA7dp7rV4/H2PcvHKVfU8HB+ZZ7O+QRSIdtnBykgNV1fViFwxw6ArHByDxm6V5l6NqcUFEq/P5EyFdj1k6R9dpFQ2OTMr2/ZQqQ0feegkf/b0q3xgIcWfPP0t6udfYNC9RsnJM8jm7vatDQNHNuiaSzL1BFFjGe/2Fyke/AyBgNRb1zAKM/jVJng3cd28snRIGjoxB9iJS+hnsSaPMNx8Bit/nMjI3E1ODrbwCpOkjJyqJIauDdXzWKFFVDhIEnXu+uTTOUwZEmRGSYwB/RsC4HtIgeVcuXPJXSWUOouj0kde9S0cqTlHkm66o2p+cnSKRDluRWitBpoZKGW3LuBmfai4HLrfIJaUt6SznZQamsudJW5cQS8cwjEsho2raLkJzNQkRhDQ9bYwhjXFXIr620RWCssqqbufYZcJB1KxFBWzQVwYwdu+qBalZmEcRPuZz5AkAqLevVt3FMYUZfRSBTfO4ekJdGSQMolcCaPWqqrUaZkCenubJCt/1pKqhsZ+j6i9dtes09lW1H0rP4VmayqhEYU2ZjZFGEREfhXHtIncRWxLlq1NxW2S884gyZNKl1TCBbFBDRtq6RNrBSw6RK0VxRNzpx4gqS4rHh2IbWkIqREF1Qx7MZHZw3bGkK1w2Lwq4Tz00nF8QyPt76nns2mkiA1dgfOlAm5oAYEt97kdlUA13KwadhiZRaXFFbCzr2fQGss4Y2eUBlrSisIRkmR8KPa5wkH8yEOrv/77id+4iSaKOHNA9sBHRMNI5Avpso1pVdDSBZAJUfc2UWkRs71NWLuCtv/jBO3bZCRBYmQZdjfRjYzqkNuyLR45Ba2beE4eI/CJ6hdIjZ4hkJ65AcYwJBR3o3gkNYlHlIn1NqYxxnD1JXSzg15+QNHp9cEqepQi9FcxSycUTDCW6GT1FfzKKTS9iCk3d7NC587LmFEdvfIQYcZS1Mxo83nsxSfU1jLu1kj2LhONnUReO3JRpnOLUM/jpI8R7j1PXJzDEj1DOARf+uSj6P4Oce1tQnsSXAcnPUM8aOGHAa5Q8MWpXVpC332RbvoYWfFES8xVfqkS8xXCedyDqIcRW/jtOkZlHE3PQFfUhj7mzGGSfg8tI77LDnosG3z5wC1hUCfQLMzeNkZ6kl5/DyeokTjiWPUoTj3IYOdtjJQYMe7qnNKazyBqqA2cfB+bLom2SJxsE9tFNcEzKocJNr+B5Rtok48Ry8SxfRHam1jjDxNU30R38yAbtdodYruANXKKYfVV3Mp+gvoKSbOOlhtFLx/GSFrqTRaJs9xxcGOPvife1DTmyKm7XaKdFwky94C2LkpOFa3x9m7g5vfhORpWIAfjt4isaZzMhIJBaf0twkEDLT9118QQtIjsOdLFeXy/ihbX8Hsuw+4e0499D/zPr/XPf+gT/PZfXufwYoFjFRNbJuNBqJIE2WyFptfA75kcni+zsrHK8k6FXr3Bx9+n8S9++iEmH1+CxjmQeHo0rbZSXr9DHDhoIzOEzSprz15lq11j/8EFBj2P5nbI/IEx3IUU6fklwuuvkt6/hGYFJPkjaNWbUOxBagG8XfnUxe9EdN7awhux+NU/uMK3L/WF3UaroxOns2SjFp96ch8Die702uy2hvT7fRVhP7U0Q7PX4duvblPMmOybzPETP/x+tIH09S1eP3eeX/ypT/HChff4l7/zLMf2jbK8ssJjD55laSnHH/6n11jZCmms/BGEBeL1F1Sv0hSia7mE6eVUtyqxZRNfJ8oeUl5Vv7tOSuCPQhO1IqJEeBH7iYRkH0rt4TC63/n/SXrvcE3Pu77z8/S319P7OdO7ZtSLZcm9YbANrLGNIZCFJLuBJJsEsldggZRlE1OSJYVdCBgTbAcbsHADWbZ614xmNOXMOdNOr29vT392f/f8p0uXRpf0tue+f7/v9/NRF8DU0AJxX6pEpqAwSCUpkv4OgTOGbXbxAl9dNq3cAnHjRSLpo6cm8ZsbpC2TgVB8dUmV6BgSxc8KqMdDrx7C6l7D67fIHPgkwd47aJ2bMPSoGsJFUR935btkRh/FczJou6INO0EoAw3TV/1+2donxQPE/Tq52MMzhJiaQXCZgVXB0kKS0FeR6rDXvEu4j1LE9RtkRsfYu/51cgufAJnqhl2lSJWDTty+TXr0PpLBNSKBSkkF4tY30CsnFOTM6/k4uvBMYuJUXjFLtKSr2AmSjAoNsQeY6EYOX36HW68Rez2MyfeS+Al+95bqYoeBSexAOvHwgrvfM7FoaKIZbN3CmbgfPWwQStSseBD0NKa/rSCeYlvR3E0o3kd8/YtE+RLG0A8RNl7GTo0ohWFQv4RVvU9F0OOoqUjT6fQwrjyUmhsK2mmVpwhFOVQ6hROt4Da3FZzTSGfxhH4bS9ysTmIahL6LXb+KN3Icsah7UUIqM0V791ky5dPEhQVK8xN85/d+h4/9k6/xk4+XGHTTjFXSbK/tIuvM77/RpvadjyIPklowQnTrNaJ2l/TMPFZ5nEG7o/zKFCfQupsErT6YAalKlaQ0zWD5dTWsyZ58EmdoiNbrz2JWR5US73tPfYuf+fdLPPnwLFMzDleX9rACj6euuPyzzx7nX33pj3Ff/lMCZxSa6ypxlJp8L2F3FzOdxfV1zLCu0m/iWg93L2NKkssWba2s+OUZYBA238GsTIE5rr4nxmBFVVuEdxNFHVLlI8j5Qja7At2U3+vS0SmOz/2k2oh8+KEF1vdqTI+YDAKb//bMFv/hp4b4+c8s8OLzt5SaLps2WLm5ytHTx2g2WoyNjZDYOivLK1JAUDHfjc0N5W7vewELB+bw+n3q9RpDo6PUay6VikarGfCfv3SDH/3kHH/45Tt85PEKn//ps1z4wRX0dIqwH1AsFykMl7j+zhWBQHD4+AFatSZ3rq/znieO8sY72zzxa/s8ftYiZ5ns7rT52U+c4ot/fYuZyQx//dI2f/lLJ3jysx/i8u/9JVOnJNrbh4kpUhOH6e/fRL92BfPgKcLlixgC3jx5jKBRJ5ae+M3LEt5EO/4wduwSbtwiOXQ/+vJLpCaOEPZa+KUCDGSjVKNq5egsvYN+7F4cMcbURBFoEK3cJBCcVHWcyI7J5Yv0CrOY/m36r7yFsXACp1giL1u4osNjH/5j+hMxnz4yriLq12o+Z0sRbWOc7vpt/sF75/gfr9ziXacnWd5tY4cJ1ZLGlTWfxEg4UU3h6wl3ah5ZqSDGESN5k1I6zbXVGifGMry86XJ0IqMullNjebGY8sq1Xep9qORhdjLL8nqHH71vnlp7h+1OzFBB9G8ezaDP4YlRltfrnDmQZ1AbUOtrWCmbK/UeD87lGZWUkG3y1mqHeqhzOB9RsDO0fNgKB9w/WSIZeNxsR+RtncjVaGkhbqDxMw9N8u2r68yXM3z1WpM7XYd9fM7lC2x02lzdD/nMuw/w+9++ySdO5/mdL/4v9N5YI+y5eHFLooQkSYPC6CT9xTsEIxWc2Vm4s0XrraexT95L4cSDBFLrbHRx79xU3Wbp91IZgnYb784lUvNnQDaC+bTSXFphh34QY6UF0Pk2ZvsOzkM/Qtjfg35Is7ZNfmRCbV07K7sUP/45rMCls3qVlHT683nCxQv4fp/81FE8JyXHPrztGvb8DIO3XsGRLX/OUY5to9eD6iTO2BiuDJMOnmGwfIXU/e8iXF0mvvQ6+WMHoVLlUz/7R1zqwqdOTtLyOspksLi8Tz9v89hUkUE7Zq3n8eaey6+9t8Cn7o3529cSRic1hqtp+h2b+n6NkQmBbnrkUgmNdozbizhxaoQb1/eoDmUYHspw/c4WT71l4lgRjlyAuwF50+NXfu40t/ebpNNFuo0urW5bXZz7g77SAM7OT+KFATNzC+xtbrC/s8/C8QNcu7yskpoCxS1Xy2Qyeer1XaJBTKaQViDQdr2uYvepfJrmfovR4REGoqxNW7TqLkNjBsH/nyb7t3+8wngpZnq6hGU4dBqb/M+feZjWfo07q1uUhgoiMMNre8wdm2V7e4eUbasEwq3FVQbugOP3HcNtdrhza43pQwvU17fZ3tjnyNkjZLN5avu7Kp3Zb7QYRB7DQ2Xa+12coSLrS1vce26M4vg4Cz/xEnPzJeYzPtNTo1y50WB6osD56zWurwxo+t/Eu/oi27sW1bEqwX6XuJxXl1BXUo6DHdIjR9A2LtGqr1F88LPEt18jyknEXPKTsl4M6G29iFl5iJTw1YQx1l1n0Ngie+QD6lkhkO7Elve4I0U+9Pzo3WdCLMDdANxVfGdaVaxc0yDl10ESLHYOw0nh9vvqzJ4ef4wwLZf2AZaZJRDoZbZArBUImpdwKmcJwz6aFMZV7TmtOG1m4qqOuyZLXdpYwg/aOg+0oXSSWMxOTkU9owy7wKC9jR1uoxdOKN1c7O5Btkq8cxEjM6P0eoY1rFhHkjBP7EmixsuQmUULM+gjWaKNKwTOFJYwAlo3sUceIMkdhM4V/NoFjNEH0NMV4maDqL1MXD1KxqoSNBeJ5RwnZHu/Q3r8NIHrkgS7GFI7l8i/u42Xky58oM6lCIct1olWvoY5/gCJ5pBx5om1Dp63g2nl0HHQwj5BqoIRbpDY83i1NexCAc2UVLahkhn+7hUyw1JndAn7K2jFUQzHIR44xL1lcgnOEwAAIABJREFUjOxxtHSoKs1aJIynjrrLRIM+pjbAyIqGOYudtXHrV9BS82hBk2BwGzMS3vv7VGJQ7FaaLQp24WRt4pSnSQTALQYpMaj1N1UqGs1X72WSmsCSJEa4S0rLERXKd19/AbGHAqRuoPfraLXz/yHJpKv4MsEQCrYeq8t95FRJF0fwgphosIbW7+NMH1eHQOk0xuKxn3hMQahsyyZwd4miRIGlpNgdewIEu9sP0Xp76NlJ5UDGD7GNiCA3RlxfJlM5SV+3MOKAJOjiJF3cuICZTYj9hNgwMHOzIGqypIeemiZpryoXrFM5xqBXJ1s+RHf/VTRvj1TlCSL3EkkvJC6JAuwGmfGz9CMDKxa3ch0zFcj3BYIsfrSDkz2EEfTVxVNABSmtS9zrEEjEJT1ELJEKuQBaw8TyQQ9MwkQSDjIpFR6Bji1bZUey/TZRZwk9O0/SXVdKMl3gg5KIyC9AuK9iyFFuHHP/KuTzMEjoy4EvHmCmS3idNqbAIfQsXiK9FU1tOWUDaowcJbIKIB/k7ooaZqQKxwhLZcLGdTSzqMjUYW8Xa/wM0WBbTfZkiJI4AqQw1KUzqW+qqHciXfrcUYzBNma6QpJ49OlRdMYYbF+D8cP4bpuM7+EUp+jtLGMWxkkEHhiJS7OsVGtR522ivokuKYfiHHqmercjLffmre9ijr6bdNBkkJTublX6uyShsJZdwtQsmtCRwx1FEs/4TfrOiNqsaXvPEqUqINyC2mVSeqT0JvbYI+j+PkHrDiY5+sYAJztDqn8Nv7lK7slf4Qu/8DF+5f++zL/4mXv529eucs90ldGJCV5/6woDP8G2HE7ND/Pm4pKC3XR7PcbKOhOpYZ4+v8nFLZdsUWconeezj2X5xA9NMj6kUS5kMAsW8cQx9JIHb77D7ReuYpYcRidG6HkDsnqIndchZ+P7JYw9l/07l8gdOE19f5e92oC/+Msa4dgsbTPPD755mWXPIrIiilmTKT1m6MQsR4wUh48EPP3yBgO5OQd97n14gktXBgyiLpOFFK16l445hNnv8PlPn+L+++7njTcvo0UpBkGLtCL8TjM3McG//Ff/kYEAY5IcQdTGkw1afpzr1/e5+sIvky4foXH9CgnbpAQcefADBM0lEjdG14SKKt7yMbyta+qv09NP4IkntXmHRNyo4lbdeUXR8a3iQfqdmxh6GkM0qAocU5akoErDhO2rWFYBrXw/dhzi3vwKyYH/CV3c3cESdlHcrj5Br4PhCDh0ArQYXcjupoPjefhJgpY0iDsrRJnjOEK3lxSQUm92MIrTRF15GCTEWbF/mGqY6IrWcfgQiQxRElM9ZOX1MJCh3jUFkdFkw92+ziA7rmocsWx0w4AkdPE0i5wTEOeO4fdbypzihcLYKDHYeol0toox9BC+TGiVQi9Bj+pozjCBdO1yFaTgEcUWhmkSNpdUJDXnzDLo3VGgTmf0EeXIlb5boudJYg3DTJR+VW9cVg8AiclpgYvQK7XpH8Hv7KKt/pWqPUg6wpBp/9C9mI1LmKJ5GzqtQIJCuk2FPfxUCXOwSZw9qxIs8eCO0rWKuSMQ7Wkc4w0a6jNC9xZOeoakPK9eN9xt5bW1nCyRWyeSLYKmocsGoHI/Cbu0VyQ2ewoEJimaLN3H2zpPtP0c9sjHCcrT+P07FMtTxPUNXNn2Lb/MxKOfpOEOOHru1/innxjnnc2OJOgYHc5ya2mDp257fO/ffJB3Hy/T2O1jFRy6ly/jHHuAJKwrdVjmzOP0Lz8vwlIKY2MEvYDYNMgeOgF3llS9prH4lkJHxnqGiUdOkrKH8R2Lf/TP/4DNTobtxj4ToxmOTpZ47mKN2q7H8uANomuvsONZFPq1u0YTM02vfwmzo5OaPkPibirIoV49TvvGU+QEitq6rWL4UgfRhVcj5phYR5cHsqTtOkvYchiLLKL+BrpTUSpZAWeaRpf8xD1oE6OM5D7AyYWMAiD14pDJUgZTM/jOxRp/9LMTfPj9wtAJefXKEvOzw2RMUxlwBB+9t7mDZukcOnKM28vXVZpNLs8HDixwe3Udt90lm8vT6oiRZATLMhidLPD1r19jrxkxPVPmm89u8o9/6iALBywuv7bKkdNH6bTb1HZbmLZGJmOTr4zR2N7CilNkKhWW3rnNkx8c5dhP36JjaDx+1KLXSbGx0aLnRmTtgP04x4jR4bWnPo++doduMkTQN4g64o/ex5o+R7JwiODiG7hZg5zhKF2qdDWNAycJNm+StUv04j728Czh0jvqguaGTeK9FVKpEvbDH6H9V19CH6mijR3DyaUwhqcILz3DQAb5M8fov/BdspMLJGNF/GaXeG8DrTRK/vAR6osrVMZiBmsDnJyDtTDPrW/8OZ/9oxrFYopjxTbVVJZjoxV+9YU1To9n+cB4jiEnxo+Elm+Tzul0+hHllI0vz0cjwe0lqi43PmTzwo09HpgewjFj6gOf+aEM377QBUfj8JjDoaLDD1YGbO+2eORwQf22ZktZLt3YYWwkwzOXejw4nmJiRFNR3t5AV8Niw3TYaQ/UsEWEXet7Pq6MOnyTmqvxkbMF9gRk246ZH4HlVsRQ1uCtmwHloYhbNwaMjDpMZy0u7DcZy+apZOTPehwsmdyoW/zeYsBcKSRj6jx+qMRKra/AdG9ubrK2ErH89r+k+/QLeHaR3GSV7defQy9PMjQzTdfvw9Ii+sIpjEqVcPE8qeExBrKNtCx1HivNnaL17LfJjUwRVLIMVlYVkNAYHSZ35sOEa+/gvvoD7Cc/hnf1VSwri3b0IbTtS2jtmKSYF5kO6ZSwniS1EWLPn6Dx/LexSxniZoJdccgfOcPKc9+jeuQ4etgnGcREcvjfXyY0JiGv4bghsWnh5Ep0pZqQz6rhqGkPYxVSKhXQ3d1Dl0Fr2iCsbzP1kU/xZ7/7Z/yDP13h/SctIjNFwcoznnXZ9jxurHY5NVlR78vFHZfVTZd/8fAQn/+Exm43z9hIii9/5TIz86MsTMbUtj2GRjPKACGwurWVLU6dHufVV9dJ5fKcPZaj1TT4nW8Lnd3kyJQEN3NcWmzxSz9TIJ3Os1UbMDU+SnlihKvn3+bg8aNs3Fil0dzn8KFD7Nb2yGRzdIST0PVUMuzgCXm2DzBNi63dHSbGhtWlaGt7k1KlTCaXZ3N1ndnD8/SafW4v3mRqYYzR8VHWV/bUYHX5Zptf/8Mtfux9w3S6HTa3XRZmSzx2RiLW8vrpalMqbCVhF5jZPCeOHeft8xeIfZehcpXbt+5w+PRxGru7NJs9jp06SmOvjh+FjE9Nsr+1owaTtcY+nVqL2dlZAnnORQGj47OsriyRijym7p3kc/90icVdjeNTGerNDscPj7F+4wZv7afZ2dFovvUPMY9+iLXvfJ3yzBTtTpNsJsYpzqPpBehuErfWGVhVUk6KyNbR6jXC8qiCxQlYT2jtyaCLWV4giqR2nCfZX1QVSG3iQTxR3nlSYZStYQlb6om960RaGks0GJ5LaDvYxSkGcrbwA5LsMHqQYMgirHsduvtknRwdzcSKmnc5Q9kZEk3HlDO7fGEEIJ40cBLpqKdIfKkKyjheEuNiE5KEqlyCE2UWCjGxE52gJryDGGvyAeLa8l3weEqGDDGJmAEcDTMeIrZdopVniEvzOJNPQkvUfndUosCKC2r5MnD7OFL5zR5C666hZwVkNwqBS9xZV+pB367iZKfw9xexgxpBYR5TOAKBcCkSAq1KShLloUXSWrq7qBk/RijAu613iKRCMdAwUxFRe48oO6zAnWF5Dnvnlvq++tlpTNG8u6tKfR0HkUrvmUkaLZMi3FtWgEM7WyYWAKBRwNJ94s62Us4rLaHUFpqr6IV5NLn7iT3I7aO3RPs3otIoUkmNtm+otKykp5NAau8ORq6A197E0RzFgYu2r+PMfgive1V9NpLcAmSHMBNh6UUk3boaAlE4iiEWO0ljiK6+tQH5aZKgjy4LfEe4QZKsl/p6rDTYntfFEKZNGDIQ/kTtjX+X6HGiNjNau06kSyreUl7HyJkhEWWZ1sIu36fiCsnuVaL8rIqVGb0GerpI2NtSOhqpBnixhzHoow+dBveWggRagwGuu4mdH8WKdAbtDazhBTWIkA+lgYXmLhFJJ3nofhIrjd7YIPBuYppldYgSon12+AC9QY209GgzJ4iMHoYcTg2TUPq17jZBZgInEeKhHKJaSFHFkBfD3SERErUEYDPjxH5DqU0sy8VLCliyodIgdNtQXMCUrZwpHRjRKkic3SKxclh6SnUtRE+DEBVrF0mlxnBl0oyGa4SkYovIdojDNklsYaYyahsVabJIln9fG2ITz29gjN2H3e4QaC0y2Xm8vhxMBfKXAieHGcfSBlOgP6E7evs30SbO3O2S9mP0pK26kFqqQLB5USmzukYOQ+jauSESu0Qivsr6S+iZA+hl2X79req2WBIPEcobffzuJmb+EHF3Ccsqqi6MofXxhQLu9RRdl6yNVTyqgDVJcHe7KlEgpPvTT9RQw3Zi4jAgMgskrV3sXIp+Y13xBezUqDps+d02Vq5K0F5Hy08qRU/U2FZ0cOnfDG4/jSldm7n3E0pVYuIJ9MQh6q/I1wUvd5Bk/zUyqSpuUlA/UEGQUBoeo7fdpHKgyOqdXU498av8+EfP0m2sUWtIAiJibq7C1eu71BoB2UyaQ/N5VcmQbtjU4SqLy9v0ejYPH8rT7HVphhmubQwUNGh5w1X9atF0ysNusuDwwDmT3dU6p46UGCml8To9Wp7H6HCZty/XqLVCPL3EeNXhaj3GrTXoAh85Nku/v89zyxGarXNq1mS4kiVlhrz/oVmefWWZXqQxOTZBFAS8tbiO55scGXM4dmyO6zdX2d5POL9cx/NcPvfBeX78R9/Lfffcyxf/7Gu4gzbjYwdxsileevllztx7itlqlutrO3zhP3+XE0dG8d2YWLNVfPO//+0qS9/8KQ58+BPsvHyB0mgVtx8RdmsYnQ0FrzFzRzErYlYICGs3sTJD6IUxos6yunhKKiTqbmKHfZXmEdikX7uCNXqcsH4N3ZCNclUBZqTyI9R7qTVoSY1In8MYrBLraRA9oL9C3GtBepKkfe3ulJMMTraCa49iDW4SRxFO2KVffxvz8D/AcrfwwuhuFG3vRbwkq7gfhiZAvBpJkFbTaaM0j2WFJC3hiGxh5mQrmiIRoJr4b8MecXtTPZBtX/pffcLYxGhcUwcRLT2BGZuEuQpRd0912xKxcRSk97+pYKiGnSWS3wgtwqJEnMljbb+KL6RXIeRHTTSvQ5B0cKQ2MHq/6tmJRUMm8ZoeE+vS9UszcLexpHoiQ8f0LJg9tPoGWvUe4niAFW3i92pYsj3vXIdeQiLaVRmU5E6SDC6CllWqM18MK1FXqVe11DC6XiTsnsfdXcE+9nns7g36/QZObobEq5G0N2D4KI5oEaMIT0th9KW/mEJ3JpUhwwoH+O0NkvQ4ZuSpQ4hZPoLuTCugquMYeOuvgqQpRk8TdRfRU3MKPuQLN0VtKGwG3a7yNEvSKlueRz96js+dfh/n1xNOnxplsqTh93t0owKXNzaZLmd56qv/G7Xlt+l8503Gf+hDdFsDCGPCO+cJM0UKJx7Fv7moBmdOuUhve5t+Ywcnb1CYuRfhKkrlTSw2/fV1KDmMnTjFr/7y7/Ot6zr50UQ9eM8emqe+s8N/e7XG7sXfpHD8Y/SvPIPt3sAzDmNUpkiHe3TXbxD075CfeEQNG4K981j5k+r7Q6eBJgyCTE5xZPSkQWiM3D3cykbF3cXVSuSK1buHtli0cTIPsGht7TJy30la77zB0CO/zifuLzIxWiaJXa7f6TNUsnn6hs9//3yZBx8tYERj7HV26ex2mDm2wPLb19TwoTpcYm11FbfrUSgVqYyPqoRNq91QpOih4WGWLl9nfGqWTr/F6NwYpWyJP/nqq2xv+zzw8DBX3vTJZ+r80EeOEyQJDYGjSopDXaqSuwfu/X069S52ViOdHSHpd7nv4SG+9NUd/s7XAz51KsHRiizv13j48Bhtv8czl7rsdwZ84+/ez/t//h62vruoQG12PktzdVGRt2WYkchv0vFzBP02xuoK5qMfILm1jL+3h3X/I0Rrl0mPnVbbrd47L5I4KbKnHyJ480WsQ2cJd+QgmlLAuMhvMdhrUTx2msRK0HoRPj0sN1FpM/loWCefJLp5me7OTUrnPsRg4yL9qzfI3XMSZ9CleOa9/Pv//Uv82htrfOa+ouq+L+3us7Qb89iYxoywYQohK/2YE9kMO17AfN7gdiMk6EfMD+mstTRGslCppPnmxQ4PzTsM5TXubMf0vJixSsLR4RKbfZedWkhLjzghQ+i0xXOX6hyacThYTLPStHhmscFv/vAwV9Z6XN/s8tiJEn91vsds0VAGg2v7EceGHHZ7CQtDhiL331nrc2hGvssaW/sGcxMOi9tt/tcPTvH0+T26RPzI8Wn+6M2bnJseZ2nf474Rja9e6fDe6QznFjI88sV13ndslOG8T70Rqs/Yo0+e5vKbb/O1t0O++Xsf59xD76H//F/Q0hLyZ+/DmrgH93t/jN92sUfmaTVuU0yLgecCmWOncfJlutcvoI2MYgcR5CoE+xL3LVE+/i6lUvZuLWKKLSo7jNvtYOse9twD+FuX1DMkaQ5IjhxDW7+jODN9M01u7IiqiknPOcxU6L/5AloqQ+70/RLXxF/fIT1UwZw/Rvv5b6EnJs7CQZV0SR07zf6FH5CTeuj8AuG2sAPKyoKk9VcJVuSSFMGJh8k2d1m7eptSpcDw/ceJW5uc/cz38IcCfujEKKJFb/Xa5JwK6/UmwyMZLq/uMiYJBDxeWunzH380y0cfr/JX39ng5IEMVjrPjbU6p49W2Nzuq1rH2laL9ZUeQ0M5pudMypUy25sC9GzwjVe6bOznyWQG3Hd8iEvLeyxejfjrLz1G1zW4+OoipaEUhUJWwf6a9RaZQhZHLgqxydLly4xPT1MqFdjZ3VM64NHRUa68cZWhsTIPPf4Yzz7zEmPjVQa9HomuUy0L5Myg3WgyPjHB7VvLVIbGMBypBfukDZvqZIE/+fIqruey0xwoE9fbVwb84t8d5pH7DvHyD95hdGyY6kyFxItYW7rNzJE51em/uXiNyYV5UoZBs9WjNFyktdug1WoyMjZKLLahVJqrV26QyWcYmxhRw4o48mns1chVS2xtbLMwN0Nj0OfMkQJ//r0m//rrLY6OGqxvdZify4BRxokafPXVFr/xc4/zz37vXxO+/gyuVNwMqQ+OYcQdBre+gUeB0tGPgFG5C8bduIiRK6vEarK/TOwuYVTOEXeamEPzBNtvKWZWZJcxRffauKQuvqkDH1W/S/HABWH1ydK0epKov6lqx5lMUQH+LOnQO3lMLyLUAtKZEfrNZZXa06xRqL9NXDqhEgWRP0BPZ4mF7DrooVu2Gj5JrFz3ewR9AbwfIE4JrVB6/G3oNglkYSIDhtjC23udtAwSsgX12yvMLrN0CPpSrfZUpx85EwpMeOM6dn6IeOSE2qS7t58jVT5AmCoqnaPf3iKVLhNaRSJJ5Eh6uN9SnXwtW8HsttVgVOwyUmHwogFIjWD4MH67T9y6poCCYtISoLk9PElYF/23TXb6QZC7pLuCZ6QJtpbIzN6D194nal8gPf/jqtdv9GqEuQLG9mto2cMKTh3Vb6JVZnE0XS2XJVpvypIqO4K7fxnHKeEUj9PtLKrUjuY3FeAPST+UD2O6NVXpCzMjWKkJjGBLLdGd/JxKhEZaD0oPkwSbGLUVVW3ThBWQGaLfuEkiZge9o1gPwnnqXPo6qeETJH4dQ+rdU4+r72S8+hRJ9gRx1Fack8gVJ9cufnGGxPWx+sI0WEOTBEP+AG5rBTM1TOJuqcGDUjvKGbD58m8muiF9zGE8f1dF4mNrjMS/owiNUTwgFbnE2aPQlinnKHFmiiDqYQnOUUiJ3U2MnAVxFiPy0UrzeM0ltZUQcJyyCgzW8HoN0qVxkuxBBRzpe7dJMQ6OQ9RYhdQwVjZD1N0WNx+B5aiYC/Y0QfM8pnOAOKhjS59cxfZbBCmhjzfFEqRiykZuHrxbKgKCc0SBGnRX9EohUeUAWm+JQMYAhSMKMCi9QdnK60mGWIAN9WvY1eNoQlBsb2BIcqF/VU1v9VSJ2K1hCiVTnK/ZObz9y2gjxzCigMSVA6xGHEf4dgUrXYDWstq4ObFP5EjPtkjkbtztKFsVdL1FJPCI9g2c0WMMlv4GZ+I+ReJUADXfQ69MKDiZdEEkNmNGMom9hRHHRLqFWTyLt/sOSf0trIMfU5FczCG8a/8PmbmPkgj4rP46ll4iyU8jqGl39/tkph5VGjfZ+A12V3CqIwT1VYKkiZ07rsiiiIoxP4TV28APNUKBpglrIFvB7q7j6mNYMu3qb9zdtA4fwzNHsN2b6HoZX/Rk6VGlNRSlnOV1iW5/DWPmh9HtPP7WRagcxvCkDyUXwyK+ACXFujD5MLFsYMyeijhFSQ9n0CAaOYe//Q7pTJGgOE4qCfGDBGcwwJ4aJbK6nD3591Vv+/F7Fnj96iaVcsT81Ay3N9scW7D5xMee5It/9jTff2GLH/3EQXr1Ltdudjh3+ghvXl1kZqTE9BjUxY8ahFjpDmPZEUXOlgv+xMgInXbIy5ek/zbCVq1NvmLQbkdEWormbpdDB0r03D5XVnt87vE8pUqO//E3exxbyHFiLq8uM+XhUS4t3SEJNcYqBTa2Guj5Inv7Pv1wQCkjmqYE27Z48PQ0l6+tcH7FR5cJnutz5kCOH/ngET79Y5/ktdcv8tILF1jZ2uMnP/1xri0uY2ZTjFVLfOtbL/GhD55Vr8Ev/B9/xv3njhBHA27t1Ljn+AF++w9e4ku/9C4+9W+/wMbTX6RQHUePdfqSoBk+oWKTQrbX4o760Q2TkDBMSGvDeMEt1U8zKOJ6G6RSaTBlsLJJXDylyKRhKPyKPVU5EWBNFOwq56kQXqPeDWKh1JfHCVs3sLQcsWUQ9ruky0eJNAEJDoidKtpgQ23248yk2rpG++cx5HeofBJd+lr9JUy7ov6701PSfzIIBldJWSOEcZqkewVNprxioujskMgPt+hroj6au0KIRLxsdG9LmQGs7CFicd1qBXWBkjhN4t5WNaCU6AUlbqUPSJprymigFxZAAG5eTLj96t2HQmEMv7WJ1l3FHDqk9KhxsKPsIBLb8+rLZOU1ElWwEF6dafDX0D2p20hEvIRt9ogGYo8QzdIAJ0kThzfQrVH1ENVkyuwt06/fxJj+yF0fbOu2ij5GsShC80RI57+J5stgRXy+LqFMsAdrCixjpwySXlepZRJJqptFEtlGR8I9SMsOQD04RXMqU/JIVKeRf3ci77VVN4/ymbsdtO0XyRTn8fIncbQEd/ct9X4Zw0cJtl9Ft8p3I4ACnC0MK40NMnUvLuCKI3jtMpUPfIov/9qv8bO/8Ry/+KPH8d0u3395lU98UF7jmN/68m2u/7+PUTl3kt7zK8Tj+buDJRkwOkU6KyukKkVwA7p+nfTUEcLbizhnHsEZPULjhb8mVXDAyJF2u/S9Jp49xtTxYZ7+i6f58H/d5GefmFJbl5WtHc4eHuMrz23yO3/vAT7+7/4A/5Wv0m9tYFWPYwhYtraD7fiEe7fQRh5S8Dx/8wbxyEH0XhOjOosIeDWh+jdlqGbgFI8Rdq6hZQrEUmPTe3i129iVo+hBHV+2OIFOnNQpnH4vX/k/f4PP/Kvnef+5KQ6M6bx+fY2ZQpXb9S4rDYuVPzlEb7fN9dUG+ZLJ+NAMe7s1wrDL5Ngse+0WodslrzzSPVLFAt29Gp5crnSDkUqFrfVVqqOjxHbM+mqLStnhmVda9PoxE+M6nXbC8QM57n9ohsa+S0rXVdd8u7bLyXvP0u91efuFN5mZnSU/ViVptZg6e5rzz75B2uzy+d8dUBpNGC+nWVnrcs+hCRWJvNNKeGGxxuxQwtXn/iHedy/TXLmCfuo92KWcOEaUU7u3t6F0k6mGpyL42ZGDuImNf/HrWOkZ9MMn1TZEAKMy4JLupRCPg/wQadtUm6DM3En8RDaMJu6y1PqyVIeH6e/LoHsc00oYtH2Cfp3U3GmS5r5SGzvThxRrxOx2MeYPs/XU9xh+3zj59DhHPvIn3Hc4IasVIZslHbfIOGleWuvwCyeKjKRb/O1NjTNjOayUT6PtMJzrKf7Fm+tNxioWhpdltNBX3exae0BGxXoH9DsSmRa6c6DSKDKUNm0Yz2aJjJgrqwPmRmB2NM3inaZ6fj391j5b3RT3H9N4/+Ex/usP1pkq65ybK+L5EWNlg799p00hm6Jga3R9D180pCKb2WuTcnSevxVxbjbHx09V2Njr8advN/iZewq8vtFVCmAzb/HBmSqf+06LCx2Pf/PICPXmgKvNHgdKRa52a7xwM+ShvMkzr/1zdv/iWzjVGdzCOK0LbzB8/4MkO3cYNHYxhyZxJIJ+5yr29AGM+ZMEq8tYgY8+tYD7zNeJ545gaRFhPKQc2frQHIPuNiYRhbnTuLt38HpN7InDGNVhkq0Noo3bWPMHsPIj9FeuE7ZqpE5JtTSHd+FV7IUzOONV3M0ltDiNMVqGxWVljwnkuSALnEqBXm2fdL+H3++TOfIA2vQC7oVv4Qs8813vwb21imYlpA6epvncU1TufS+d3Zu0128zdeaDpOYtfuOf/D5/eD7m8aNZyrJ7tRJu13qs9Q2VHEnpPQ5OlMiVMry5uMNtt8D/9aTHu8/lWVwxaLs1XFfj0GyF195codVO+NhHDrKytqVMLIePzvHyS8scOT5CzowZqzq8fcPn5cstFjddZscd5mYrvP7WGr/9797N4ktXub3W5MTJebY2dwnDkND1qY5UCaKEqQNzdGu7bG/vUSmX1XN+cmaWQbtFvz9gZ2ObTLEARsJwZYj1tXWltJV6iaz25M8Njw3TabY5fPzTuXkgAAAgAElEQVQE+xurdHouw8NjHD5X4ff/8wUu3vIpFRzO3lPkK1/b55MfLvC5T5/jr778LIcOTTE6NcSbr77N7OwMqVyaeBDSarYYmRxn484dtjbrnH3kLMVchqXF62QLGQIvxLZNcqUhLEOj1xB4nM3W+g7depcHnniIrfVtxS/b2gx4z6dO8v1vX+ZDv93iiYWEY+Nl3ljZY2ykjG6GPP18k/tO2Hz/0tdpvHITLZvC6dUZeHewimdUjdXzNxV4LZDNdvkwSesKhlVUDAu328eyh9GMhEiG/+Kfj5s4uUOEMrCWPrwj5i3R700pb30yqKnzuR76Knau1IH7e1hz9xP0d9Hqdwg0YTNVMO0curtJEMrr7qHJhln9mSyJDJbjmIxU9rILhPK8t0pY6Spx/TZhehg7lyfwGxDEmL5HbEjnfwzdF21fDYxxosEmpvALpD4ZB8S9HmZpjP72BWyBdtsmevGoUgo6/TqhANzVRn2NwfY7ZGceZ9BrYYo+eeyMYprZjS0i+Y3LjaNrcrHfxNdzd9lCTgkzP4Pfkd8AT7ECkupZlXaUNIVuV0liOU8K72EO39vHkTSVF0P3Gkb5jKqVevV3yIycoJsUsBsX0ItFDEOWoyboM2gCH9y9hGam0UoHlEkq2H8LvXoAW8vjO0M4to239SZmJotWPIy39TKp8kk8UmidFayhY6oSMNg8j52Rbb+856IEdzBEz9epEUWb2NkR4tS0Ui8akUeo2WrBEDoVYm+XFC6x1DzEDqTp6F6dyJgkMCL09mWsXhsvP64g5Fp6WIGq5cwUKK38OJos68wOZvEB9P4dvPoO5tAoer+JmBojK0VslrBSDnp/H6352m8lshnVnKq63EqEU9m2Bgbx4BKI2oiM8tjG9UUoHsa2R9DbVxiELk5pAq/TxCicRPfX7m7Z68toO68QVY9g2kX8zDSpdAUGG8R+nYg5NNtFTwKC2i00AU0UiyStLZI4T6o4gtu+iZk7ovz0kelhmFWi+sskzgLG2CnC9i62kO3lw5gIVbzNoLmievkSUZJhgHxoEpGipuZAPsTNDnqmpGL7UV0SB3W13TJEexQFOIVDhOvPkRRnCekpKIwcwozqOTWNlcFBHJrozYuKIos5ida9Jj479Ow4oWzlpVPTuaV68rZRJBTg/eBu3056keLY1KQPki4R9jdJnBEMReHMY0gEP/SJQgFLtFQ/OcmVMc1h/N4mcTDAzs+Q9BaJ4gQ9O0QShGgSETUzqnYRCa9h43WckXnc7AmM9gVwJpWlIO7L+9sDf19dKiJdqOqrJFqCllrAFtK06P3iCKd8EFcuLe0trHyZ0BZoiagRBYRUuNuRDjw0+bBksyT9bYLGDdCKGNXD0FwEp0Dc62OMzODuXyFTvYdBbUlMl2hDJ9ESg87a01iVA6QK9xB5a4r+ma9O0fA1MmGNTuhiy4e9v0xii/v57pfJFRCiTBQFbpEU0CYO4G9fozg9jadFzN3zy3z4nincoI4lFwzN5OK1DbY2+vzqP3wv73/8CLVOly995UVurdYV1dPO6gT9LkcWplnfC2k0G6ToU0iVuXy7yfRCinLWZmvb5f33DlEZNvnei5scPTyEo4MZw9vvbDA0O0pKBlLSq0wctusuU9mI2Cpwe73FzEKFqzf26HSlDqiTRC69vkkmlyabgoyVo1DQyeQ1mj2fpet1tuoaQdgjb5mUKhofePQgB6anWDg6y0ipyBd+6w+Zm51ldHqcxn6X+fkqpcIoO+K9VqFHqJYrTFWy/P1f/RKuO+DQfIH17Q4TlVG+eX6Ff/TZQ/z6H3yDvR98Gc3IYRtZopw4W1wMIyYeeCqCH+9eIUkGOJOPEEhtI9EwM0eVTikZSD0ni5LZN1YVPyRYfYnU0MNE2Rz015Tv3EoV1MPENwuKoGpYOejsEosqcxCqwV2Sm0RvXlEHkXR5EvlaxK1tHHmfrAqaLcM/Hd2Uzf6ighMJ1dYOdWJ5wDRvqYtgkJ1CG+xjpIXo2kfrS4KngFUeQu+sq0O+wGjITKgEQ1rfJci9h7gj4Ekh1afQ994hsSdIqieRXKIpUe7ORTWE1Kvn0LSBUlT6qVF0PUE3x9C9Owz2rpOdeD9R5wZ+agZLzGTRHpob4fn72KMPYYgppHaZOD8Hu68TBl30wmGMVBa328LJpUlCg0j0YPkRksBFs2w0GeoJMEYTPsuu6r2m5dLdeYfYj9QWX2wGZuUktG+qQVbsd9FSYmgYQu8uETQuYY28C3Pi3fi3v0ZYOq1SNgKhE0Kebmh3X1c7IY4twtZ1rMIsevYgUeuS0tyoS638u3UZzOqkC3n6rR4JTSzFjjDURJvebWJzVD0nxGmbmjhJFGgkhk7SvqV+HzXpw6eEcLxB9cT99LptHnr07zGW0dDlshP5HB7PkjZ9/uS7TX7+fQv8m3//SXa+/R304jiFMw9Sf/ZvSMZtKjOPsv3GNykefQTT93FlKNLsojfXCWeOY2/eQJ89ROP8a+SmJ0jNn+Dmi29w/IdO0r+4xfzPPcNnnqjgo7PW9Hj4SJ4vfG2Xjzyo85UXnmH/ua+TFCfJWEX69UU1mI2r96uUWyJDXqmCCa/BEsL4Ln5zXfFahLht5SfUBF7eSxLvrsZs9x3M8iFM8YYPljHKjxPJRF6SKUmf/COf4jd/6sf53a9t8ORDw+xu7uI4OabHDV653qLTDLj5tTPUl/sE5QrbdzbU8CWKArqhj+4njM/MKHDT0PAYu+tr6IbB0uISjz7xGI39JouLixw8vKAqURdffI3J+QnMnMMX/tN1Dsxn6HQ9+j2Hn/rMFJPjOc6/co3JySqZVIm92g5j05OEcXR3dkxEa6+talRxP8GPTe752Bz/5Quv8Yt/Dj/xrhKtXZcbO3XGqwU+cG6Y84t7PPVWi+f+y6e591NnWPlvXyE3P09zs6litKWDhwn39wi0hOzEAoH0v7eXFU2+dPYh/HaXbn2FtNhlandI3fOESia033iDzIPvVk7pcGlJKaP01hbWqUeUMm6wu0ray8JUAbM4S5J0MPsxnu/iTE/Tf/NZrLEZjEKZwfXb2FL/mTuGpVu4+2uMZ1z+61+s8evfuMW7jzjkR4fIhF2WVgIOjfRphyYPOjlShT6DnknPjuj1dWazCZFmsN7z5ZvEg7MFQi/gTj2mkDVo9Qa4kcn8qEgjDVwvYW7c5vvXmqS8hB9+bJg7zR5J1ySO4OpKnfc+OM03Xtvkg6fKtL2YGxsh88MGRtLnwNwQl261iNw+z61D1tD4uUeEhePznYsdPn5/FdO2+Zs3tvj46VGeXq1jDkQpaTM3anP+Vp97JtO8uBfy6ITFvVMZPvOlPV7qwk/fkyHnWDyz3GUkE7HU8CiEsFJLsfXqj5G0DHZXBXxp4G7cJjcxgre6rkj71tC4OCdh/hCdF76FPjREduIwQeO2Ot/FtR38bgP7wXcTrlwnny9TW75A7sjDWGZEb2uD7KkHVRe4felVctPTuNel3mOROfcemi88Ren0Q5hTR+g++9+xhicInDKDrZsUR+aJxqqEl14nbjYpPvwhBvUG/d1LmEmG1Ows4YbwhjTyk+O0Fy+SOvU4kRWj3V5CL0riRiNYv0Ny4JAalDqlLL2NbXwjS3VuBGP+IG/+l//EZ79wm5P3FMgHEQvTaXodn/bAo+6n6IQD1VM+MJzj8p4oeQN2Y4ff/2GN+08M89qFLSbHK8hkYmx8iK29Dp1+h8kCClhrGUWCsM7StTYnT42zs9OgWEgR5dP8xh9uUEmZfPqjo3zr+V1MO+aXfvqAUsJubglszmNyZopWv0PKTrG7v0+v2WL2wDxX3rnK3Nw4paERbN3ipRdfo1pMce497+btH7ysovZeEuENJFVpMzwxRrveYHdnj5n5ObWIae63yaRy+GGPlaUN9c9+8Cce5o//9ApvvVXj0JE8/brH28t9Pvtjxzg13ebOeoyje4xNVAgTm9buPp1ul3w+jR/4Cly6cnOFex9/UBkAep2a+nu9bpfScJl2p6OSG2JIWV/dYmJ2mLnDh7h5eZHh8SrNRpfK6AQbN25THK5waM7i+N9Z4tQ9FSYMjVs7fezCXcCaJNuurERcvfE0RmOdGy99iQMPvZ9e37sLy06Pk3S2oHMdPbCIhg6pM6cT93DFqCX0dmsEx9skNgR8vaAGBUlnicjbwq6eUOdx+Q4TrqI7o+jdOkZeKtQuoeq55IlufBNdTDOFMaUKNkUtK4nqdFlVauPMmKpLCxzOnPkASbSPv3cZS+Czmq2Gv5owthy5j8X4g1X04hy+wL6NEGforKpC2dEuZGfxb38XrXIEW7hgckZqbxCmM5iJoQYXAro0kdq3ix+HOFpaVZR1GZwN+kT5KuxdgJEzIEsSGYCYaXTR4lqBWiBIBU0nR6CGnQJLdzAbbxDrIUnqKJG7JvMlZczRNRvNbeF2l0mXDuPGntrWJ3GEkZ8jaq+jy8BDBg2ZghqOeGvnsUojxPnDpMvz9Je+q8C66ZLcq/oKxqsFdyF+pqQgdt5SIPqkcARN6hDeHjbCaPKVYSEKGpiNG3gVsc1VFbsntqZJBtdVytVMVYgG10ncAH3iEXAHxK3Xsabej9sPSAebhFJDkUVXfwstk0HrNNGa68TFYZKJx7E664Td24rnRL+PXlpACtNm97Y6y/rZI1ilMoE5gS5VcrOGOfoo8eoLRGFTmaxiqXz4+8rckS6OEot5oSmpA1E7j+MHO8KV+vXE3b+OZhTIjJ0mEPWDv4lZOIzbbmHHO8opb2UqWG5TRa3jpIER26rDmMjl8s5XMOY+RdBZx+4tKlVWEJewjTSe6aKL+qPfwJIPoDfA7Cyjlw6SFKeI3BU0cxbDcPCiHo4hkWCHwO+jWQ5m0iUQyvfAU6mDdOUQYWOJROhIlXMkUrTqbxFtXMbMSry4SVI5haWHKs6hD50iTkKi1rryyav+emSDlcVKm2qC5mgyMWyqWGwy6KBVFhQUUKBgmqOTFO5R3m+jdZNEvpjCEkj5JFqFRHXZe+qwbGfz+H6IUbuiaMFxpoAp32fZPiQ+2copIs3HDSwciT7Xr0BuQgEcMpVTDBr7GHaEXsiih0WC/jK6M0s42MBy0hjpcdzaZehuYIy9B1IFkq2X1fYpycwqzzymQ+yuocuBUojpNaGPH8XzW1iCKJAUgfw/CJRk689JnCm0jEzDRtVlKujdQt+5gTnzAAjkcO91NRAQSjUDiemn7saHDUMZCLTuCp5eJiXd4ExE3Olj6DW8/Q1SleME4qksz+GvfRfDnoTqUWJNw+zcIJA4cm4cmtdA1F/2LJbM8tf/h8zzceY+rKBuMt7xy0fRaxeIyjOYmWmCzQuYqTyRb6DHO2hGkX5vg+rDP8lTv/fr/OyvPMs//nv38uqrK5SrKWq7fa6tNvnIg5P86i//HC/84BVKwzlsG772V2/x2qUNnnj0GM+/fl05PJ98QLprXWod2ZJCNZVis93jULnKxRubeH7AiUMHWN3YVIqVoYrFft1nfEKgMCGFUoU76w2lthwZkk1Xg54BFdOh1eoyMlFkOJ+wuZuh06lx8OAoe/WI8QmHi5eWSVkplld77HdM0qmQ+4+WOHlqhL//U5+hVduhnCvw/BsXuHT5Bj/80Y/z/AuvMT5dYnZ0iKU7onjy6Lo95saniKUiE/psbdR46N4D/O4fPcN2s8d7HjjAa2/doFoe4nsv3uCT7xvjd/7ym0QX/1KBk5o1mebL7+IssV0gFltHqnL3PZVIViJe9ynMrI5782UFgbRFk2enEXNtmJpQnlKZniYSlRcFpl5RnVVN6+P1a6RLY5AEJM0aXphgC4dDYre544TyUNm7iJmeVnqUxBlSD9JEL2H0LqtoNP0eri3x/NukRh8mTCwMO694F+LJ1fpraKWzeKGPLSkd6UtFO2AU1cXOkQGWaA7lN8YeI4l9knBXPYBlwJC0L5EYaULZJ/avoVffhTm4pYaNSWqcjNYjNIeJUzLdjwg338DMTWCmx1TMS6o0YSypGfH9juHf/B6ZodN4Mr3uX8HUpItnYNkVNQzUxLqi94gnH1dmA79xHT1pYuSOEHZuoOu2MrQEvRAjCdDyBZLennqIiV9eEw99uIduF0niFHHzHfTMpHKhi0JUoIp28YhSCUWtq2pApRXGlHue4lHi4YPY7W08awxLWAphg6R4DLMhEKAJDG2N0EuRDB8h2b+GKcOLSMCDDpgFdE/sEA0C4Q/4KOVbLPwDI0AbtPn/WHrvsE3Psz7zfOrb+9f7903vM5JGI6tZljs2xsQHjjEbCDGG7CaUBJaSsiEx4VhIHEIOkoUshMASsAO2sYWLJNtItkZtNKPpmvr1/n5vb09/dq979j/LhzTSzPe+z3Pf1/X7nafXWSW78EmC1nX81g7GyAmlS4zdBnrlaYLBLZK26GNNcKpkHnsfv/iRT/Ll77X4yR85zflXr9MbeJx9aIFGo8bOSpPnv/BZWlsDusvrymVvD8nBfkcRvd2NWxTOvo/qG18n58Roz3yc7jf+FPPQGdVf9Jo7SiMp+i6kg9foKChl5vg0P/vTf8CtXsC+So6eOUo50eT7NxvsVAes7XwDvafTXL6CXaowqK6R0BPouRmc3p4adEETXSvgOw2M8bOwd1WBrlRfsTiqUk5hFKAXZxSo1tl7lcTc38H3PYLFL1I8+BO0OzWyqZwCq1qHp/nBY5/g7pbHs4+Pc/3mHvMHJ1nfafLO5oDPPpbjV358iNfe2CSTyrBTb3Pw2CRJK6Her2tL90maKcYWxtnd2GN9bU2RvSdmZ9ne3GLQbZOW97wVUByb4PaVa5x97AyvXHyHbz5f5+GTBfSkwyuv9/jJT84yP1niztU1NTgVv30ykcIfDOg5DqMj44pOjgzMrRTXX73GE88cJTmepnV/nf3/ssOxoYh95TS+wPTCkLQEBm2TGyt9lrYGdK7/Y/YubaPVakSJSFmKhKKsjY3giVp10KEwc5i9N76FObWfxNRDeCsX0UaLWHGKwf1r9O+9Q+rhd5HMlQhXrxBYReWElkG9v7tJlMurnm5i9gD61FGaX/lj7JMHSKfHce9ewy5lcQpzmJIWksSMJPOko9rtM0hYjJ75KOH6XZzdtxg9/ig/8y+/wMVqxJEQ7Ik048mYR4tJ/vBOlZFEhmM5gf11qWSSjEqPzzYop2P2HJNgMOCxhQIvL3V5e2XAZx4tUskneOlOh4WJMrs763xvR9SCwqBJs9VqMV+RSo/BmzttBl6asbJNUeKQ4krpDTh7oMh6w+XFuy3OTaT58s02P7Avy/HZPP/7c5v8s/cXafQtdqpd8iNJbt5q8eTBAhd2AzZrA56eNzg2keP8na6yDL37cIrv3uxwv+rwy+8e4oUNn+/VdAYBTGgON3eg5jv8Lw+Ps7UT8bsXtvjaL5zmg7/wSba+/ALpqRPEa2/hFLLkpo7RuP0qtl7CyCTQ7Qyt5ctkD5zGru3S8zwylTG6dy9hzcwRj+1Hq+3g3l8nNzOCNzEjSh+4e5FoeApn4y6p4QWS81PQ6dPzHFK5EnEyg3/3bfpbWww9/h4at6+TTqfRJ6bpL98HYdkUFrDTYlPZJIh1UsNjRIMmoWuSOXiEnYsXSLYb2CfPoEmNYH0FrdVEP35OGXVqLz9H7qkPM4h9wptXyE1M07xzk7RmUXroXXT0Jo9/6i8J0zoPz5XI5VPMDic4f32XqYJBveOx0YMjlSSaHXJvx+XQSJFX7le59Ecn8Da6XLrTZGY8y+pqj0TGZdC26Dt95uaG8NyYm3e3efzcPtq9JrtrXYZHcqzca7AXGvztdZOj+3UWxlP8xfNbPH1ylJ/9uQM0tly6/QFuz2F9ZYPx+QkKuYLiIaUyGSKBIjYGWJZGt9NjZGyMXr9Dq9ES+Q+ZVJJiscjyyhInHjpLbW2T24uLzM1N43outmWQyVbotUSzGjA8UsTxPZKpNFMTST7/B1eotnUOzwosMFTcl9mpLA/P2aQLojcdMHBc9h09zM7GurpUZ/MZ9rZrTC9MUt3dY3bfHLev36bXa3P06GH1LBP2hQwmWrt11ZvO5vIKBij/X6/TVeq7WrXD7Pxh9qobLN1e48OfOslP/pPLfGdFZyzl8PjJYZZXO6SzkBsa4s+e2+Erf/ABPvTjP8f2C18iM3kAv1tT3DQ9XcBt3UOXJF16Cs9fxXRaeNLdzx1AE5hv3MEbDIhjTZ2RxE4RiDp574Y608giL5HL4GxfJ1meUQA6d+USduUwdraMGxqKvK/ZCeKW2GlWlXUGMYzJptlt4kcD9PIBEoMdPK+DZY8TxB5GdhKvu4bd3iAUMHFv5YFtKDWHHjZURcBKTqvKpS/6wv6S4gYIvDwUuHn3HqTG0A2xCQzQREmcSOOHGpFfQ3P6GIXj6ELENzSi3jJu4x1SoyeJmMUQRefum0TC3MjP4e1cQS8KqNhSPKjIlEFoAa11F6M4hZF7VA0XZEmr9boq6WzrzQf3yMopXFEvdqtYlSNqeSvQeqmym/l5QrFJ7bxMYupZgm4Ly6sSF8rEW9dVukIYVHJ3iaXK2biFJ6pGWegaZeKoTdS4gzX6KJGcEOOsSjMaooPVDHwjScKUincJLxZThK4qkb6eQpOfj9bFMHNKjaiJmtTbQfcdzP4ewdAxtEhTFbOU3HF9SXbE6JLaHDmDJ5v9xiJhahitdodkcQgn8jAdh1ABRkfRc7OE1TuYeOq8bQ361FZfI3/oI4RRiqi/qtLCXmKcZHudgeGhS21TMvV6Vg02dKm8+lJr7koC4D/EEi2RvqdMED0BB4jWIga3eZ+E0KnNMlqUQOteIszsg/Q49N7BKp3A6HZpXf0tsgc/Rj89h91ZRCscx6tdxyhNowk8ryV++QS6iq8P6EsMw86RIITcETyZWIhz2AuJJT4h2pVoj1DPoTm76MMfIX7nN9AmPoJemCXavKA0T4LX1+SqYeZwapfR5Qvl+SRTKRyjQkZLEgnJX74Y3hLpxGFi28bxNrCLZ4gdF91bJAx8ov6u0sSE4qnUx9SXFSEzyyTImsBrSXR4VMU2ovQopiGaCBfdkO2cwNGaaEYaI1XB37pCMHmOZF8iVfKwnsNvXVU9+sTIwwTqd+5jCRk69vCbDpm8QMSkl7yCJk70ifcSdpax0knl8pS4mmgeguZtNfEK5ZDcfkeRMTWJ0kodYLCFpRfUgTtMpgWRga1J56pBQjfVJi8MqxhmnsjKPlC79ZoEmbza4oZBR1VB4p3rhMWxBzqvgTgl19CL78LXeopuLsoVgYM4fo1sMocnDxH5ArfW0Mw8phy23K6aVPmDgGRhFk8UZq5ES2p4jSYJcTUrB7zA1f5/32jQfdBX2XhVQSOT48eUUiV0pZN2AM+vE7eX8bIzWOISL86ghRqefwc9HiVsR+SffIrv/Om/5+M/9Rc8dswm1Gza7UBN2g/Olfnj//TzvPS3r7K2WiNTzjJUyjI9M0yt4XHt8g1W15t849UV5ibyJBM227vyuTCZKOZZaw04s29UPXBq3QFDOZ2Pvf8s//EPX+DMoVGOHtrHn331VWbGS4xWbG6v9diuujxyZIyu6zBWll6cqxQ9c/tLKp69ud0gl52mPdjllUt7TAyb5FMmcxMl+oHGI0fKPPuuh1k4OkO/7fL1b52n13PI5bLcXVpiYrjMIw8/xMWr13j3uYdp9h2++eKLlIslisUyR48d4K03rrG9vc773v80hXSaz33+yzS9iJG8wXbd46knT/Ddl95k31yKv/qb5+hvXBGqFK1r3yFXWiAWO4fRh0jQUTGJVEZdsOVy7dd2MYunifpvEZszKvofbDyPnp8jM/EEvr+N7+eVRiXubajPnIDjRK8pRobI3cLduIZdmIOhsxjd6/jiOzUn0eOaiuNrov5sbwqyDT3KE5mizRH+xxaa9NhKUsEZEJk5RYq24ja+lsGKO/hBCV2Xm2hLpgoQZbG0Bn4gVR1p2hTRMiX1OdPjHkZcIBRgWiLAEFjpwCLsbZIaOUyvs43te9imQZjJq7SLTIhj8ee2rmKWH8II2jixMD5sND1NorzAYO8djGCAkRqRmQlxb4tQN4mDCC2VVRfRMB5AZwMzdxQ9lWcgF3W3ip4cwu0LUd9G14bp+7Kh6StNYlcGAJ0dRRi2M4cY7H6N2Chj5/cTS4VBdIfFElprA79wluRgTcX8dHmmB9IDrAiG8EGXv3cRQ/pnYZbIvaf8v+7AQB89htZ4W0UO07M/jNdeVYcDPTOGJk8Cp49VPqT4BbGzrtzAmjkPKbE03MfUs0SBVBcgmZnEkxhbchq3epWEGAnKj+DuvaqGSbYQ+70argvJdI7u1itUnvkZvvUb/4LP/odX+fDZArQ1urbB5u6AH3pygl/5wi02Pv9uhn7o79H+7gvYcUuCSjRvXSVbymONzmLNHlXPPjv26d/6PpmZk7hCW9+8QmunzcRT72WwsY1z5ypj7/8Q23fuMPPUaV74z9/gp766ybPzJtutUG2dBk7IzY2Q5/7w4zz5k/+ExuvPkyjsQ1M+ZB1N1F9xg97uNtmxh/Fjl2j7AvbYQwRaBl2MNp3LuK2mYiIIFVtAgKFZxPRbBGaEmZ3E6m4rrW5z66aqko3Ovx+Nawyd/iXOHjpC0t4lE2g44t52Il683uYLv36A9x2I+PqXttj3+AyTo6LpauL05BAdkEhodJp9yqMlet0BmWxW+cIbtTorK8scO3qMXrdHppCm0euRT6ZJ2wZ/+9o6r10ZsH9/Ai22aezU+d9++gQbG3US2BgpjWypQtAdcPnKNUYqRXLlIlEcMzc1yuXrm2RMSSCleOGlNX7mnz/En//lGj/2WzU+9XSSpB9wfd0nk7SZGddoDpI8d2GLv/7HJ/mhX/wUne9dwxEV1NpNPNckUUjQ3VzGypbJTM3Tau6Q2N4mGh0imS4Srq0o1o6AAc1Ehv6i1IIS6KNj+DY8WEMAACAASURBVNtbaFPzaLJAcF1MifEOepjzh0iaAjMd0K/ukCgaxMUZ3KosDnZITR1RMKXB3g6GbGzuLqIfWqC/vUY5m6LthIwVktzaaPPEP32ZX/7AKM/f2SKjW2imzlov5B+eGGXa7lBKJ/nq/T0OpCymJnK8cqfOIyMlul5PGVKsfkyxkGW13SCdFu+7xuSkTSmwuNByeWosy2K7w3pHYzQV0+hDvRPxI6dzPHe9ydEhODiZ5XffaLGvbJGOXQ4OZVjpGYq833R19k/I7CFBZAbcXQ7RTYe8aZMVbabhKpK2nc7T7AnB2+XYRJmbayGtsMe1PZ3PPT3Ev3lzi/9+LeLcmM7p+SIJI8XdvQ4pK2Y6NPi/rjT4Nx8f5xd/68eoXd8msb6IXxjDHR4iZxRwd3bQJR0y8Ahr2/hbiyoKm3nyWdyrr5KcPqrqhc6F1wnKBQXttYeH8SqTWI5GfPttfFGcHjqFc+37pKoug+Es2ad+GOe5PyNwayQFmnzmMeKdHVJisKmMqT5xLk4QFEYwI5/u9j24f4ugUCJ38inizVt0F5dJjg5jRHJm0tHf/3eIX3+B7rXXSBw8jRWaqq6qFydpvP5XWOURUlOn8OqLDMw0hUpRVSIzoh/bP8vP/YP/yoUBPL1vQlVF110Hb9MnyMNIOsv0pM2d+11VMStkMzihJBDbXP//hklf/Ifj5Nw+1uQQd25t4YUaaUtTA47Z8TKdVkddqM1kwOZmyM56i2c/vMDWcp/pkZBX7micX+yofyZvRRTHhqit7fCrv/goV1+5SX6kzGAwoLHb4sTZU9y9elOlERYWFsikkywvraraSyqVVWaiyvg03qCH53n4zoD1zSqTk8Pqvdjr9On0XI6fPkqjUVfPitn5Wa5evEGmmCZhGozPT7KxtMPosM1uPeD3v7xFLhlweKLIrhNwb6XHv/3FU3hOh63VJvlKjmwmxfb6HhUBDJZzXH39CrMH5/C8Hm7PxU7ZjE1McuvKDfbtO0jT6Sr+QKlUoL5XZ25+H5s7q4yMT+I6Lp29OoWhMgkzTcftU8ya5MsGv/f79/itl0M+8USSpKFTbwsjJqne15KS/Ln3ZvmXf/E82vXvqx68vJvtkVMKShh7YuSqYJiR4vj49RsqAR1lSiqGr9tTKh0o3fVQ+v62cBlm6HXqRP4ihjGJnZ3Ab90Gt4tVXiDsNwg7SxjJCfShWZz6PcxEBdOwCfwBfv1tzOFnSIqFu1sj1kZUZUHrLxHK8DUzqu4gdkqWk0302CaZ3Ue3fhU7OUyULWGL6rl0hLh9A80TSn6JIGhjZiaIG4tQPICp9emKVi47i2UnCEVRKMvi/ILi3JjZMZVKjCX61WwRaz7GxKPEuxfxM7OYhk/gJ7GEs+LUCOTCnJwk6N0hVdynLuWmW8frCVfBUUntePMq5vghjMQUfXebRPdBXXvgtUkvfEyxv9zVV1VyO7JL6K4MoydwZDK1e5VINIS2DD/mcbtVbKdGFDuERgUrO/GAkRQ8WAZphqUSeXqso8UxscClgy6eJAwEQB77ih9hyzLLMxUQ22vfUd1+3yphS9w+OUGwfR49NYSZHiXsLRM4PeyRI1jWNF7rijrPxnaWmBwJLYvbeJvI6mJPPI2/8Q5R3CFVOU1fbFVWFiM/hxYOVKpO9INm9hSGGTDYeJ5YFPNxDaHP6aJYXPsbpYImO0vY7ZMZmmQQmZI3JI7qanlmqIHPDoPuHobcr9uXfi9WndpIJxYlhUCRUjn87gZx7R5a5SS0l1T8wnC3CFLyIS6iBZtoyVFMs8Bg52+x5BcePonrNDEEfJQ+hBfvgpXHtCtKaaU88LKts4fpa5BqrD5QcJl9DHuWeNAmSgwwEvPQuI8etBTkyM+fxNL2FCfA61XJHP4pAnbQG1v4dh4NDVsziFKT6MEeXn2ZKHcI3WyitXbQK49hDbZxgxVCY5xErki8exkHj0ThOL7bJhHWiEtHFNws1jwVcdVFG9Zr4MhlufoSVuWcmt5FsiEMTeUxj/obGHJwkEFGr44V9/F6i2iTH4XtC2ihB+kEtjGB666orZ0jbk6zRJiZwLJzCkIV+MtoiKJoQGAZGEEXXS5KEt2szGE2tuhLD8QQldlVovJBzLR4w1voAiuSh3PkE6SyKi5sD3bVli82hBNQwAylCyzx35z6YMqOQDZ26sKuubitZaJ4gC2TsUyZONQU6I7Rx0i4Gzhr31IbT610FFP+28QkoGUJ5KAlDzm/R9S8qP4c9NQ82D1Cif9LfDzs4OZPwd55BfpLlx/CDdPo3iae56jBStKqQPc+obuLnj6JaQU48tAMBmpYYXhd3MwIVrqA0anhy7TPgm7LIZOVaVua3r03GXvve/nSf/4j/ulvvs17z1aoycMksqhvRco3/Uu/+lG++uevkCvaJHWT8dlp9EAnlbUZGk4xPT3Kd777Fl9+7k06PZ9HH5pnfW2X71/dJZ82SAqBVY/Y6kU06g4LM2lFVB3Kpzm8f5Qvfv06n/jYI6zfXWK77uIHEvELmRnL0m+Js91Q/dKVrS6TQ2WSscN6s8PpAzPM7atwcH6K0dE86ZRNVjztusHGap1Xz5/nwx//GK+ff0Udyg8cOEF70MASv3NDbAU2iVSWm9fucOrUaVbWFrl/d5FHH3uUfqOr0i4nTx9hdW2dX/23X2Z6ukzeslkf+Ni9HulkyHs/eIRf+O3fZu2v/xCtdIJsoo6dmsVx1zEDDT21j7C7iJCLtOwhDNvHFfinkVNbaj1RVIrEpK4xkI1u4y6+XIJnnkULawS1bSgMqSmoZkoQ2sRrLpJK2Dj5o0rjErcWsRNFYqHTJxJ4nboCfYbE2FPvwtm+RkJ3MEaexK3dRhfYkudjFEfA7RMYMZbQaqMsBE0VXRXCa2APKWOJTECRhIBs5P0+oehMS/tJ5PapiGncW8TIFoi8gYLwJEYOEOy8gTEkAzAHrb5CKKBCWz4/YlIYKOBn2F0mac4RFSvE62+iDU1i5caJG8sEEtkXToFUdKaOoVUvEfkp9NJ+4s4ytjjGRZ8qVg9x9tq2Sut4blvZL6zIwAvq2ISE8v2XwWL6IJbh4Dk17NQIgbct1TW16Yxlaq8nSMhQMDtN3LyJnh5W339d/LiDPeJWDWPqHGHzJUytSJg7rQ4A0knTtUgxOaQrppy/mqgPTxALmVk0P5GLFgq80iB2WsQCGOqtqjh8yDC6qYG7h56ZwQj79DZeJZWfxAu6mKNPEro7qsOmOs0SFZw8SW/jDnZrBWPirDIehLaN3rlEcXyB+s468498jof2pXjo9BSLi9tUCjZHKwX+2Vfv86WfP8WH3zXO6qJH+cgBahe/h24mqTzyNH23j9asEt27jPXYMzjbTaLNeww/8Qyt5W2c+grpXBlrchKrN2B35R0ydo7Ksx9kcPMCCz/+NT77sQXu3G2RK+eZm07wla/f5r1nRvntr/wPmu+8jJWbJ6hfI7LL6AkbjZLixEitI7BirLGP4tVeJm7fxrDG0a1xjEKJeNDCb9/Ays2h+028uKLqFVFvCa+3hz56hkToEFaXyR+bYenyayx88I/50MNl+ntdHj45znazy06tyZWVLK/+zggLQxZbO1myM1nW76ywvrjGQw8fZ1eB+kLy+TztRlvFdDu1NnY6oZIApx86zVuvXiCdyFAaKdKXz7/rs//wNOcvrvDnX97jsYeK7HUjEv6AX/ylZ7l99QahG5AfrnD/nXsUCkWK5ZwaZOeSNtdvLGKaBk9+4N006nXceo2VnSZPPT5NlB0m/f7vcHI2RznpcHxmnGqzpxS0t3ca1KoJLKvP0v3fovo3L5PuBLQch8ScbKhM0nffRBubp7V+l8LJRzErYzTf+h6pY4/hr78DqSL+dh371CnixSt0ex3KD3+Q8MILeLkidqZA2Ngg6Lgkp+exMik2v/oXDH/40yQOHWblf/wesx/4pCRb6d79HrGnYaWSJKYP0hVI6K23yf/Apwk21um3qgq8WUp3SJ14Fz//s7/PZq/Lu2eH+MY7VY4OJVU6rCmgZc/hpw4aKpFxtQmZMOROrcvj80Wag4CEGTKW0fDjBJ1ByJtbA85NjNFobDIzb7OQL/L8tW0WhsrcqA5IGSiV2OOH09Qb8J37bSaLGQ6M2Ox1+/QdeP/hHH95pUYcmjx5RNJofcaGbTIS9b/WYGbM4snjZS5c3yM0dGw9zXTFZLfeYbpS5N5eSHWnSjaX4kjBIjeS5Z2NPudbDlGcUwDHjZrP2ekkJ0tJ7jRjru/63Lnb4/riv8K/cIXN+5ukZ0XVPIMvIONujCPMoDAif+oRutt76OkIY6tKXKwQhnIOzBLqki4pEo+Mot++jNdsEOeK6GMzDN74Gwrv+mH8tE107wbaycexBSK2tk5fDu5hhFvfIL//FN3Va8SSelxdJfHwe3B3l9D2tkmfeQ+DRIi21cZrLZNeOIqxukY38kk88jSDb/9PQrdPangaR9Oo7D+MI0myO9dpb21hjc0yfPoJGtUV/N11CqPThJtL9LwkiflZyk8e5sKfv8BHf+N1npnIseU2mC+XqfXEtpEmGw9Y2XD50cem+dOr68wXy6y16/hANoCXN+EPfyzPE1MaF9f7pAOYPTRKOWuzuFil2vcYytjMTOUwcxl2Vrt4wYCRcpK7600OzeT5wvd77HZd9o2McHt7h91qyOlpnc98+iC3rq6QKRWJccjmhmg3q8ShzuHjR7l65TKplCj3htRFyOk69Lot9h85webqPaLQxDZNZhbm6PYdGgoQ6JDN55lf2M+r3zuPbescOXqEt9+8TGWsxPy+BVbuL3PrnW3edXaSjXqHf/OHNT7zyQMsLm+hhREX3+nzGz97DM9tUcyPodkxN6/eoDI0qiqIpnT7Uxls0+LunUUKhZxKQkwvzHPl1UsUKnlGpyeVHnFsbJT71+4xNjfB2tIShXyebneglijDQ3m2tzsceeIYwZ6Hs3eX/OQkH/3cLhOFiI7rkAHGJkust1rcvNXnobECz91/kfbLf6qg3FHpAHTXcYOiqjSKyF2gd7r06CX+myqg+TF+Q1Tak5CdRHMdovZtpYKVfXCivF8t4bRuX70TEc7a7h3MwhiGVcKT80dmAk0WmrJ4DUVj2id94IP4W9dUnD1u7agzsFS0RbccO3UFXZfuv8T3DYmh50cUWyys3sQS+5Y9jN+vqcG71AtlASIpHNksR8uShO2hpQUGLkru+ySHTxJYJaXp09MlBRcXJpP8/vXKGTwBqXs+Zq5IJEAjv024c520sM0kzl4+raqxXmsXTf5cNClVyxIwS1RfRc8W0cREFzjEuQLR2msPdOx2Gk+g0yOniQWG3F8mSI8rFlm8/jqpyhR+boGw3UfL5FRtVKo7TnkSK0AR9vWogT18lsDfwhALj5BhVr+DYY3A5ONoLYGUW/iS+tHyaghi9BcJE/sxjRoII07uvqt/gWMvkJh5D1Htshpy26U5ot59NEvqOWWlodbNtHoP5s0kbS2FLtp1fURpl5F6Zb9OOHIQq7NFKOeFwjzR8l8RRIY6A5m1Vbz8OFZsYPSXcdJDhG6I1rlKQu6dpUcVw0uXQY2dZdC6g+HHmOU5QrtMtPUKAvTTcvsxbVnwurj1dcjNETfvYYl9zhxGq1/4fBx1VzDNDJo1rIAVeHVi6cppFkaqgB40ITuNLioH6SFUDuP2qhgChMsWoXhMXX7T7SsE9gTB5nexhkUrlcMUfqzE4tM5IqFWimciN48u2ijR/0nvqSgx+HVMiazKH4CdxI9l6NhS/kh9cBcvNapUW06nii0RvPw0WhBhpFIErVWi1g7kh1VMxWwtYVYOErYuoYWyWd9El65ERqiMHQa9NZIyocqfJRBthWbjdnfVNlETIGFzU11o5LIbOPIiEQezQDukbxwRxX2ijsDayig3TSIkljg0cunYwwp6aHoOf/d7kDlMmBECqaQTmkrBZ2YX0NLS3XidgcQyXDmY59UEzfB9pWyIraKa2JmDLnFlH7rfI45aGPY0Xm9bQfh0iawK0THuqS+cbC7lwx31WwooIaAH0gvoAkFa/EsSpXPKgS2doYSAzVIVYi0i7jWIBFA2+WH0QPoze9jFA3i7V4m9dZKVc4ThjuoqP4iw+ni1a1jFU4R+58E20Sij9dYwpp5A93dwtl7HLp3El5RHr0tcGMZoLRJFNqaqjkhM75baHCaTCRyrTDIzj9+/T9C4qxIL2vA5wtY10EroMhX3dfLFUZz6GmTHGFRvKNdlsvxgKx/116ic/Si/8vc/y//99XV+4gPHSGTSdAZdvvX8LZ59cpyf/18/zfpqTUWF33rjVVK5MplMiqmpSV4//yaZZIqDRw9y6sxR+rU1Vtf3lKotlcvT7TV57dXrlEdKrKzucmdxj06njW3HnDhxkkuX75HPWew2HRY3PE4fKnLsWJnb99rsnx9nb+MeCzMLnHn4ENX6phpa7Zs8oGoDu1s9RqZyXL18m9hKMFwuc/78JbLZJJOTI1y8do2nH3+EvDxcw5irb19meHxSTVR31rZJZrMUh8pUdxpk5EAwPcbu3i7ffO5lfuozP6YGRC9885s8+/Q5vvLiG3zn/C2eOXeA7a02uaTF29d2ePJMlv/04tepff3z6GOPo2kOYWsLMzeGFWbxo10h3RBIRD05iaEKLhoJiQq2W3ixj50ZJUrkFB3fGCxBnFIudkkZmaEkCETdJWrKHp49jpnNEddXscqjipLuOsJ2OKFejm5QxZYBn+h1ZCufHsfbeQ3LyGAPSfTLAenneQ0GeoZs8Riuu4wmndVgk6B8GoIOUW0RvbKALjAp6ZsLrC/yVLwxlgh8NCDQfax0TgHC7DhFkM4RiDGgdARt5esPQDWZechP4deXCZqb2FNnMZuXCLLHsdkl3r6kOl7W+FHM0hO47VX87Rewhw5hRQXlrGXoqEjnsLNC6q0Q17+P214nW3oMx+9j5ktq4BWuXcIeOU0olZzkiGIWxKuvEmouyeHjKokjoFRxucuwTgtkVTGEns2qyoIrB4LGRVKz76W/d5NEdpowttAGyxj5k/i9VQwxEojvVyJ0fo1kuEdgHlAT6hRb9M1JQr9LMptW2wTVb0zuh2Iet76kLrKWnlAHFPmMGOlRVXXw+/eI2w3VW5PECLjYQuvtCfk+S6xXFWDIE4pw6wax/JryzHNr2G4NTWKI8nPfXCIq5Cg88oN85NhTtCKHc8cP8aWXb/OPPnWIUpzjZ/77W/zaRyb4zX/6FK9/7fvsXzhLYt+46hIOtjtY5oD23eskS2XsyUOY5WHaf/Mn6EcfQh+egtV1zJkZNXTxanXY2yQ/WlTR/PhghlPn/h9ylRwj9oB0VufA4WleeX2D3qDPlb2b+Be+SC8QXVJbfScI2mid22jjH1QQKC05QMu8G3/rW+r9I+DL/vZLWCOPYmpZvEGVOLOgaiVCt7aK+x9Uv2QoXThI3RFvfIvKw+e49NxXefJTv8cnn5lia6mBE8UcW8jz0o0Gq3suN//gECm3yxtLGkcPjLC6tMnwUI52tUF+qECr2WB6Zpbr1+5w/NhBLl28zMT4CMMTU9gJi8UrNwksk3375bIT01yVrqJUvnzeuhWrn1+cGWJzcZcf/5ikvCyyIwWSmbR6Xt9fXmZ8XFzEAgrco1IZUZeReq1GxiqqJUPDaVHbjvnBHx7i1393ic99w+HvPpJkbLTC9y/tMTOZwWm3yQ6b/NX32/z+3z/FZ//+u1h5/RaV+TkGgxZmJqPI2oHvwo2XsE+/n7C9I2dvnLqD19ikuHAUp79H1O1hJ3NYIxWal17DypZInH0Cf3WZeNAnue84bqvO4OLLlCb30XWEbh2QHponyIFfbxJubJI7cAJ3sMdgp0bu8BGln/Pru3TbDQozs2TnjpLstpXD+V//l5f58t2AHzmUpCXz/4xEjUzOL/fpOAZnhtMcKPS5vgs/ejxN3fVJ9HyKlTRXV3oPQMKxUJ0tjh5McXO1z3v2DfHVm03cbo9DEwWmCxrvrLmMlSGR0lm+7zE1YZItp6juegwnXI4fH+XFSy3yWZ1uHJAZwG5kUTQSLNbalFM+ZxeyXFsNqfcdntpfYnVP/t4GJ2ZH+LPvV6mUfJW2DJsaR6cj3jtd4rcvbfONuyFPDtukR8sUYoe390z2dtv88FPj3Ntt8yffbVL79g/gzZ7B+fYbuEu3sOfm1FBx5/4tJp99H+37t6HdJTU5pRY3WnKG6psvkp+eJrHvFP1rb5I8cJRwbYlgYhpj4BDlKli1qroAhdV1khMLBL0NwsoEKSMHjSq1nTXGDx8lPPk0zr3r6LubakPulieJ9jaw+1UCOYekMzgJEysySaR19PQIveVbWIMGjB1Vml1bDap1NTwWno0Wm2qgG2zeJvuuH8SRqPWdm1SGDtLR+qQSBv21dQLdY/zoQyrO/8xH/whjyObI9DA9fHbWuxyfTpGdKPOt527wX//Zh7h89Rb//PkdPn64wNsbDSp5i0I6wdeud3nzcxOUcVltGAx6Lo4bMDSSpVnrUCjm8AOfRr1LNpfENmO1jb98cZVM1uTw8VE+83/epZRP8r5HCly912V13eezP1JmfDSJ4weMlEapVrcYG59UajbZ3Au5v9frU8jleOP8Wxw+cojSSJmV1bvMzR1k9f59svkhTD3k/v1FVQmtFMukMim6/S6DTl9BA0WxWt2qMTMzqzbWsizzAp3rl+/xvg8cJ+73+OX/skTCTjJVMciPZXjz7R3+xc+cYHbCoLodsby0TC6b4tijD/G9F15icnJc/Tx3drfIpTIUy8N4sau2t2vLa8zvm1Eqwu31Te7dvc+BgwfQEiY7azLE0snnhgnlIqJF+IMe240+xeEhnK0tzv7QcfZ/6BXypRKPzPksVWFhaoTtepVelOXK21usvP0rSontNBtohXME62+g++to4w+jOQ7O8vPoQwexxh4huPcy2uTDiq/mdRexRTmOhpnQlDpQDD/JRAXfaRI5Ah0u4A/2COq3ldXHkEpWJkPQW4GuT5QXnWsZw45VQkIgc5Zh4+xeeZAuM7JY6QR+nCOWd2h/B7M0T3ftdTJDs7j6BFb1BVWRIL+A5UZ4cu/pyLngAHF6WNmQZKGgyXB67KPEwZpKqYkSHaevwJiJVJ5AVMmNHWIBBmoZ4mSOhNvBcX313Qp9E9Mc4EjlwaljJCrqDiW1p0BAdDIgkBpcexXD38UYPadAwLE9RmDlMJ1d4vQ0QfUtzMppBXV1O1cxyo+ht24qtbNfPAqyqDYy6DTxE0PYVpJw/RquYZKceIK4eUktgiO5w6ZlyHEQPx5Bb15VPCQ7NURPgI2pWUJZZDbukhk7jG+NE0cdtOZdpeoNRDtdv4U1fAJ7+Ai+LG9b0r+fQBNgb6+qLFVBVqqqY4T+Bj4+mUQGt7ZC0ioTujLAnEHX5Py5R5Q/hdHdEFc6Uel9JGrnGdQvo6WOwtA0cX0JUxdm2gk0bZh49StqAJ0ffxw/CtSw1vfX8PaWSVSOEw+fEVKMqvxqzqYapoRmQaUJnF4dM2koPbGhqHY9YQD8u9iyi+pF7w+uYzKiCNBCnLazaQKBMyVmlF9QovxkpHPiK4q/9DHYvYg59QRhMoO+d1HpvMjEGF6P0POUz1NRWYcXHhAbO1tEmQlSkY7vbOO0b5MY/yRWUMUTEENmTJHCVedD4nuRTdZo4+7cwyqKO9NDd7bUtiWMbUzLVJspAYEFO68SyAU6XUQvH0FzpYhnYQn9urdKYITY6RGCrhAus4RCFDcKGPqAQBP4RBtTVGX5GXpLX0GXbq78oXp1IjldSOQlYWAaJaLOHXwjp+L3if41tdGWiGDc3UDPHcaLq+DmMHVHvu7EcRfMArpc0IXQKSCqxj309Ch2cRgtMUUo8RktIBaQRX5O0bQ1Pam0gJrE/l0P05JdqMoRY/ZauOkpbCNUF3m5a4NPFDgqFmImM0SatNDzUL8LqbSiZ5uxBvk5gvYGduw+IEwaMv3yMQwdf/UFUpVDBLqNt3uZeOwJkilxW6aUL1SqGrqRUAMTAVzEqaLqAZtB44H+TRfN1T3FFhjsbmIND2EI7MqS32eCQWebjGwTJbURys8or/63TMaMOImvFQi8RawwxC5MS4mYsN3DShp03TZa8yr28EOEpVlKZo765mVBYKL7CYpPP8nf/sFv88lf+ApnjpXVv1dPWmxut/nIkyc4eXwSz3W5cXuJudFpKuMlGu0qQ+UhGvU+27UdJitlLl64y9y+WU6cmOHm/VVszaI76HB8/zRWIkt5uMTkyAi9oMf2aoN6q0nKihTFuN1t40Y+6XyRA/sW2F68x9Zuj0fOnWR5ucqX/udf89mf/gRanOLz/+mPePTcKTVJl2m1HKLk0CxqHCNh0au3OX36KDOzC1y+8jarKyu8/wMf5MVvvciBI/uVxuXO3TtIhmp6epog8qjXWhRzWap7DWbnFjATBm++foH3Pn0W3czws7/+p6p/9PH3PcTa5jrdts93L9f56Q+P8u++8W0Grz+nBixCXdekR5ZIMohCTL+temFC8Y93X8EqHgSBuDgNotSI+n4kkzGDfhe7dBiveZdkuqRUZ5G//mDiLcMxa5hosKO0NMrcIUOwwQqubLNHzuBWL2MaDoY+DqkRIndDTbeN9OSD3nhYJ7SGiK0Mer+G27hMduIJHLeO7gmJ0yfSBli5g0RaClIWNO4o2IxWPo1Ru4Inkcr8FIj+TyBstTXSxTmlM4uk+x4NSLsu/vT7CQWkJw/u3UWYOo3t7eAJDyMuots6Ufm42oirBM7OCoaxgZlZwN+6CmOH0dMzhP1Vwt4GqdQ4AzOL1VuCsgwDKhiSyBE4jqQEdAfTT+K4kkTYhyFVn/6m6t7JX/vyssRBi2I8q4AhVP7KjJrgD/ZukMrI76mAFrXw/SqJ8ffhbL/1oJsnzt/2NvrwETSh/Ad9bCtD7l1LaQAAIABJREFUrJn4jTUojKjOYCgWg9WXMIRDoJl4PSHupiQLib97jUigOPs+TioMGbRvYVh5HBKqGiR+0sAzSIcdAiHeCt3YcfFrN6E0oX7/LqaiFEvFQ+97uImCArPKMFVR/O0BeAkGvU36eyFzH/wR7lz8Jmee+U1+7cf28+LrazQaLn/vmX3c7Ps8/61NNt74SXrNKsaGzV5rS4HbwkadaNAnIQd4w8Se3Ue8tU7X6atusAxK2ztVioU0jmFj+h6pkWnikXHaV28w/cGH+c1f/xK//a1Vfu1TJ7i1tM31q/K5TbLZ7bHWfAvq6+zdeJv00Azu6gU00yWwpsFMkmYX15oi9jx0dwlmPgEy0KldIy4cgChWgxfdBDt7CF+4KGFAyhAPszjGdXRxEg9qVJ78u/z0Jz7Ln3x9kU8/IT5gi7VakpNzCV7f9sl2q/zN7z7O1vIWKztCUAkpTuVJ6Gmuv32V6YVZhkZKrK6sUymNki6k2Vxex5Z/R16AuQ+MP3vNLrlMiq3NGidPzmPlLF785i1u7+YVeLfjwnhR59OfPKg8yZt7daVg6zvSlwzJykBP1+l32uo9kSqVSCcMmo224ppIgurO6hLPPL0AQxMc+ch30O0EZ6ZDYrtEr9cjk7UoRymu1XrcWunQvvCP6d+6yPqFJuUPPE1ia5O95hp26QTpSkw8CKh/64sk9h2m/OTfobt+jcHty9iFPPboHF6tQ6pUwd+4Bak8yaOncFfuoe9t489Mozd91QPN7D8OXUkICZB0G7cxID0zQ3dtmfz8HH1Pw6/tUDx0HOfWRSJDJzkxR7zVwhjW2Hqnxv5DSa5dWufX/uIax6dK3Ki6REHMoYRGTfP45P4iX77hUIt9fucxk3v9iCtbAStdn1NiAdAsbrU8poo+lVSeatPhZNFCS/m8smYoGv960+Wdd/aYPDiCOfCwsxrVpmwFHaaLSboRrFd7RKTIJzxWtjzO7CtxeMRkrRXidwZUNZ3thsZ7TqS5t9xnq+8wNZ5SHvqMZXB6YZSby1scmiuztuaw2nf5hSfGeGl7wOcuDvgHhyp4NPnKeh+rIb5snwU59Ec+37zR5s5/exb76Q/jfecL6I6HH41j7hslrvUgW8CUIeLlS0SpBMlDZxhcfYnUqScJPVl0SMpIVxYZdU5b3yLW2gStHtmjD9NvVsmMThOs3sZ3NKyDB+l/+zuknz5H3A1Ijo/TeOMbWJkprIlJlTxz3A6ZXAXz8HEGF85jzuzHlGTB6g0GDQdj3z70TpN49R7W+z+Bc+G75EqjBOUx+rt3EUWLZdv4nkfc6pA99Qhxt81g6QbR7ib6whmCYEAhk6O+tvzg8j+W4Fd/7c/547daPDpRptZp8JFHR9ne6+NYSc6/0+Gjc/Afn//n/NwP/BaXN2F8XGp5HcYTFkcOzvDvnl/lT/5emtOliCtVjcfPDRH0I1arO/Q7KQ7vy3Lx8haNWsTZc0NcvritbB2Pnhvm4KEyV85v8flv+0zN6pTcPmNTI7yz0eNDT2T50N99F3e/fZnbd9Y5+cgJHG9AfVeYIyk6nT6RHlIZKjPo9snm0upS19pr0KjucfKhM9y+eQcjCtXyQfgJleEyWxsbjE9OsXTvntpAjo0NKxNApVBht1ojn02z/9Q+Lr+2wsKcTSaV58vf3+LalT0mxzQabYOxOZs7Fzv87KcLtLykSjdGDuxs7Co9cS6f4e6dZQol0SYniA2B7sYMlUZo9fv0my16zQHpXILmboPx+WnFGCkWCmzvbKtlz/Ur10lmkkxOzdPeWmd0sszmrsfZs1P8g399npdX0zw9m1Fnn7vLdeaP5eluOvzV5QZ//n+8jx/9hZ9g5dsvMHzqA/jbkti6iWlPg2x4PVmaSMppgbB6jaRokLtVtdzUkwXi3hqRwLrNEUw9xuvdRa/eURA7LS1R/aRinxmGjddewxp6SFlPIuGlFQU4LDF1n6BzE01PECeE0L+NmZ9A6wkrbZOEWVQWIz1VwpX3z+6r2IXDxGMHiHsPKoq61GprbxHKxbU4htuuY4Zt9OIsZBbQZGEnlV/RYmaEByaL4hp68jBYwk6q43a2MSoniDUXQ93tisrYpAuxX5P1e4SWFrBvRJiZQpfy89ZVlXywRh5Ry4tIb2FoJSK52Ug6MLeA118jbNwjWTqG19nElOEDbZWQJllWTCNdNMt7d5WqWgYuhmGpJUVozqAXJKmwSuzsYc79AGHzHoZXBXue0DbR2iuqlkgiR1oAjWZZ3dGinfOYEx9QIOZ++yaJyMIYOa6MSmFsYiZKxN1tArHBWUninCTF/Qc1FKmTBk10p4sbOEptHBVOEdVeQc/uw0wPE7WvKouWp1WIt76nUuZk9xM0bmOnSkTl/SSdbeqNBlbcJJWfVWrFMIwJqrcI9AB75Gl0f0PBggf2GKbU9/Mz6s7n772GFrlEqUNYyRjNM/Ei0dmWFSMi8jtQWlCWCU3uUo3zvykCX0XkjwKNpHywchX8voslEQhKxAVRxaXxPJ/I66M7VczcqOo7UTqE1ljFF91GaEE2jxnq6qIuEL94746iDmeHF2g1bpPNTRK5LqF4JjN5LHOISNfUhURI4BJv8YXKmB1XHeMoEluARZx74NqmvYMxNotvTGBtfRc9OYEvm3XRSuErlYZmTqhJiya0MQFMyOVTN7Gy82p7HbfuEqYPkKChNmBB45aKdyRkY9V+R3VVncZ1VV+whXTeWEbzNKVxEu0XnSUVr9etDP7e2+jIdumM6i4rmqQ6Xeto4pkVaKHbx6wtw8Q5dYA3EfVfRKJyFD/y1BYzmZxgMOhimiHhoAp6DlmWBgNRWuWJtAS20JWF5GhI96qJZRWJ7SGCnZfRh89gi+qsu4SwuCMhfUvMtrlElEqRKJ8Fb1eBIGTwIL0Se2iBsLmEkTuJ093ANpsw+j7ivTdUPNUceRZfiN31uyRy48r7Kb3mQC6CySzIRtXdRcscRhO/u/wcWneIJdIa7GCY0ziSiEAeWJbyiycLkyQ0jU57Q/0aVnoKp/qWqh6I81xejGlrGNe5jxYWsXJjIkJVEy2pB8iLOE5nSaTn6G+dh9Z9Soc+hGOUGOwsM/r4h/j67/wyP/Gv/pbHjozjhw6eF1Nrdam2fD7zwyfYt2+cQrrE9s4Wx48d4Y2LFyiU8pw78QivXHqdfbPzaqN1/fZNpiemWFpdYWh4iLGxCu7Awxv4pDMpFhfXWd3cYFzitO0GD585ydLiMuXCEPlSmrX1TbqdB106GUxJX63Z6pMpZMhm81S3tml2+6QMk6OnTvC1r3+D+Ylx9u2fZXN9j1anw+nThxh0A7Zqu9TbLYZKZc6de5Sv/OUXeeLpZ1RqYWhkhPGxCtXqLpXyKLVGncBzOHJkP3Yixf/84nP8+I9+kHrD4ff+x/PcXmnz5PGD7HarrNdb/Mh7TvEf/vQyr//1P+LAez9E67WLeKL7S0QE5hB2PFCWEJDu/TaaZqvhVEIuc7qN3rtHoBeVT9bMZQncAKswjla7QOAKvdZSXUm2byj9jDH5FIE8/CS67m9iZY6qIZvAwrTCHPG9LxIXzhBnR5UmLpQqkJHCFK9qf5dQfL6JkoqYRe0qWl4ALUVFPbXCPmEoBPo0UdgnmR2j53dJ6H1UrChTwNtexDSaGMPvAadBKDUTO4eZHEFz16G/CukDxKJpkc93agY7cvECR1V61MHRN3CcbRIC7hMXtWFiVR5Fb7yO21pSLzEiTT1sxflueMvEKeked1XMLQhraKGNKapQPY3XFmNBhqh6HS1XQhNfsL8Fjpgk0pjihrUnCPVAPcjl2SMvZ7weenIMr3YRvXhQgXAkwRUVZmFQV1pBWw5JrtSpNMywo4SNvpFVQweB7xl2hshx8GUAJ9q5xDyhUSUMUurP0A76xE4DinPqvzXqLmOlysq5G9sCVxzF87fRDVP9jPzuPSypEXkRfncRPXWAQBSehoGnGw/USG4XIzNGJOyF/hoDo0hCFG2pkrKiSGopNkbQ5CKZapE5/C72jX2cjz0+xMR4hW++scKxsQLjUxX+/Vdvsfxf308yjNi9ch8KSRKpItn5w8TtHaVkjYUDYehEjke/vUFxZALXCXGuX8R8+GnKmqMgV0IGL6UTrL75PQ597CPce+MuP/S55/nR907xtZeqzJ7MMpe3+YOvbvGZjx/md77w+9TfehU7bNILBqSl/pRO4zfvqwOKXjlN1L5LJMPwnAxCA/zujmLA2LkFgrhNIiHa3ZCotwiFWbQwjcaSOETQSJPJTeHPlXj37IdYrdo882ie5Y02I/kcY5WAb15u8+zJLP/tl+Z5+3KdybEpVtaXCCODqdlR1pfWyeezlMdGqG1v0Gn3SCRs8oUKrXqdsckxev8vSe8dbmd61ufeX/9WX2uv3bvKVtnq0zRN9nhsbOOC7eCGCRBizkVOqCFwcRI4QAiJCSkkAZJATnLiACZwwH1csD0znhlpRtLMqLe9JW3t3lbv66snz6v/RnNdqqt87/s8v999d5si+6BU3mFkfFj9d7VUZni8yLdf3eXaYo2nT+ao9iwcr8JP/8K7eOXbV8maMeMH9lDe2iWZkbqfzvKtB8pGsnj9LnPH9mDqFktLD5idmVCd/H6rThh3mD/zBL/5my/yuW/1+fF3DXF3s0zbN7DxGBRLx4DO375R44efc/l///MvUfvy16mZY4ykTcpWTLi+TLe0w+DTP4CVdqi8+l2sTJ706JhaUmgzYr/YxG+0VGLOl8j35D4ab76EOTyK4dcIEjnszCShGWL0+/Qd4QCEuGED33QxMhni6hadUhtnch+Jffvx717Eb/aw83ka9S6FiTSdrRapgXF2r77M3n/0q3zhX/4p/+cfvs6PnU6SdSyuPZD6haH60Y/sG+LS8hZPTuTJ9bv0YygUHcJGAyuh4zgpBYEbSPosV+Bjp5Osb8P6To+5mRyV7aoaajbaBp1+j8GsxaOzKdqdgPWKpww6/a5O1+urNMGhcZO9ooK9vobvpxnOwql9af7dC5s8sz/BUweKqoZ27q7PDx1MM5TX+dLlMruezckRk7GCzYAD377f5X/d9Jg+kuBAJaCZs5lK5vmLy0ucnM4wOZjjt19Y5y8/O84n/96H6Qj4Vuvj3blHcmKKVqtFdnofzfW7ahGRPfEUWmWTQB+kf+e8Gh7aY+NozSrKSikq2iAmzGTpvvINkvOPCaZYKZn95Cjm0g3MZ38A02vROX+ecGwYOxJa+CBofUwnowZBmmVije7FsCS9OkhopQluXaZd2iJ16mksWaq4GTovfQlr31H04ghBeYfswf34N+7iZbNEK5fpO+MMnX4nu69+mczkHvobGxQm99KobeLuPY7j6WzXF+GtJSZ+9Dl+719/lW+/2WBsLEm15VHQNabzNo6b4k+ubzHTC/jK7/8Io8/O8SPP/Ut6RZNhx+KNBy0eP1ykWW3wymKH//ELs4z0N9kOC/RrTTrNLice28ebF5bZfyBDvuiQcmxu3dpUMfEnnhnj4rkt5g9l+d4rNb696vOOuQLXbm0zMmpz8e0+zz4R8yv/6J1cPnsby7LU5VTA2+LTFmtIsTiE4Yr2Vb43NfrtDo6TJJVMsrJyj+LgEFubuwzmhkgMJLl/8x6Hjx+i5/WUBrQ4NEyjXmfl7hKPvOMZMskEr7/4GgPFPAlRfftw7c1bfOQnHuPzn7/Btfsupw7K8a6HY2dY2o750KMpDh4b5e69XbqlOrEec+DUPEv319gvAOYH99lZ3Wb+yGGWHtyX4z9uMk12KEMqkWFp8Q6jw2NMH5jlxuVbVEtbDA4MYWYz6H6k/p6pQpZ2s0vQb7Gy02L/jI2RGuYdP7fAJ949yu2lbeodn5UWfOjRWf70W0vMTzq8tfIKvct/TZ+DRNomWmuHqCv1WRszdZDIq6O37ilGmC+Mn/YWTna/2uj3Nt9SylXN1zBHRjHMafqVS4o5pqcncFTS8RxR7iD024SiPp96hqguw+IqUZRV0e/IEX1u9yGV3n84XJDBgtZYI9A0vHaDVCZPKMnF+gNiU5IHRfzmKrZdeEjjr9wkoIKefIRAD7Hk2evv0kmMkdAKhK1LRLEkNVMEUYwjl1pJvQiQWXcxug8UGN7Oj6mlcK9WR5f0ZBCid9ZU51wTkHy3Tjo3RbdbITYMtHYDXRIkqVH89g5xewNDhuWOpc7DYpgz5XyjSe1Rw9AT+FESw98k9DvqPGrYRfr9PoneA3xR4qUlLd7AiGuEyb3EYiWqiibvEH6vrJbSAkkUBhqahS4qPncMzxTrXU1pizsbb+KMzRNFYkuT+6NLpG8SOtO4Ym1IFAijOrqkmhMZVQ3Tq28SpYaV3t6QBbUA2GUBI7w4SdaLXU8UcfI+EAtE/R7WwH4oHFFpDy3MYPXuy/oEyx0hqi0SZUbVWUjfvKZsCI4sPP0a/W4da2AMpwed/rZanHe7EUm5ZyZyBJUlEpa8imll7tM7beKUhmmOEG3fIp48rpYimt9VyU+teeFfx6ImCpslkAmIk8Ux0/i9uvLnCt3ajg24/xL94Sm0/BH0nUtoqVkQj3foYbRuECVmBO2t1BCuLz7KkDgjpJlhovIlXC1FlJ8k6JSQcZ6gCfTsQfrRJrYXEXVqhFI/kH2NncRKT9HdvIYjaQRRbDSWSDgWHW1IOcKt5jpRtKbeNKJQSjry5fgA3cmoS39QWcGYfFwND8JelcBvYiXHMU1NxQXJTaDrojaLicWNHe4q0n3X95Rz3uwuEtRqmPveSdBcVioGQyjmoYYprg7DUT9PHiq+PYAla5woxJd0hFCsEinCnmgHx7CigObGt3DdSUiPqQ+k2V9XWzFNJjxCiZResRYQRaIEHMA0Avx+D63+AGPkkLqkyJBDTxUJW00M2oRKuxVjGdINKhN5MuHpYeb3KAJ47G0qFZ/4O43MYXX5EGBh2F7Gzu5TOjMaO0SZAaUetO1RIttClwRG4wZkDqk3sMTlxYMc9LbREmPo4rzTTUKvheH3iUQpEmzhhCZ9iVxn9qLXFmHwELYxRrf3AEwNS1IWzWXioI+VmyVobauLl2xxSRQVgNJqPFAuWic/QSwfFqG6y5TTTKPrCUWulI6y9IkJm2h9HSvrUCt5Cu6Wf/Kj+LuXOTn/a0zsTbNvNocXyFAoSa/Z5cc++Syd2gblTp/JEZmaQSzgyHSC2zdusmffHN2urybXly+9SaYoWzSTvXsP0O62uXjhilLiPfPUk7z6/dd4/4fez52bt1laW2FqRuA4HtlEggcra5RrbQ7OTSvC7uyBPdi6ie3a1EoVqo0aQQwz09Nsb27R7nmUq2UO7D1Ar9tlZ3cbN+GQcJNks3k2Nre5e3+J40cPKx99s9lWf+a1lTX27ZVUQ4+dSp/BvEWxMMy+uT28/upLpPJFMkkhPXd4+fuvcfLkcf7gv7/MEwcHmZwY5vodiUO2OX+vzc7Nz+NmEzx47QUm9h6l1uxiWCm0aJMoNLA1h9CQREkSNzeJ136gACmhkSWqLRNqAYZYNjyNWHpOwpMI20Tb59H3/BhaUsepLxIxRBRsEianlWoz7j0gzo1jMYq3fZY4k8YwJ4j8bazUHiIjROvZhMLwaEh/aR/k9io6bCSckcQscXMLUgV1CaWygqZ7xOKnl4uNO0AiO4JfXSeqXCDOPYeWzxM3F1XiRIslwiZVJQ9LvLHWqKLXm+1l9TkyhVorrA3JEpkGfuk+ZnEC3xkgXL+s9HZCszfNhKqN2GNPqe8Hq7dIv7yNUZhQFSsZPsoAUT6XZvoIupXFr12F4dOY0gXTAty4T7v1QG3BROPXr93BlH/H5KhSxpjDxzBih17rDmbyIJHeQu/11HeHaFNDmZKLnic0MPx10JIq+SR6mri7RSi6SquA5m0J/k8lf6TGId/TssEyahcI8yeUcSTeeRlN+A7JGSL5pHS20dNF1TlUyZ/2joIURv1VwtDGHnsC2lt40lM09uO1lzFlYDT0JKSGCOq3cRIz+KLIEzaIsBokcm0lCcwGdujgy2Gl38byqsS2S2AUSTTv4j7zHJ8485N8940dfvXT+7m2VmFp2+d9R4q8fLnMP39fnjMfPUOp6ZPbc4jK5QvEg6I+7ZIzRbHlw/I98k89R+PSeRgroksHfv5Z4jAgvPES3aFDuF4Dq7GliLq5uSI9O82+9/0pJw4myebSuKZGwjX44isrnNif4LuXXqC7skS73lEAOnndNG+NyHEJWy3FUNCoY40+S+f2l3AK+7Dyc/jNCmE+S9gQxWIbJz1Lb+01bMsG6WYGXXXoq9/4HhNnPkKndIGJ/f+U9z5TxDJ8HFujVDVI2T5vLQa8ay7BH/3mDN/56g2GZyfoNKpMTE+QSCS5dfUa0+PjlGp1kokEna5sJyxyuSSeJHt0i0qzzuT4KI6V5O3LV3jiyce49tbbzO6Z4vKDJi+/WObZpwqcvbzGp99/gn0CYPd1UlqaV155jeMnDivSt2ynkuksXqg8gCRSBSqbGxRGpLJmsLO7RbPUUge60aGIA8ePM/Ujr5FMZXn+qMP6tq/0XYemiwrmeG63y73FKm/+xlEeff+7uPXyG4wOTZAQ5ejwKMHOLv3tq5hGFi+OiNJFjGwSL3RweltopTrWsx/GO/8N+kIDHz+kWCHtOCKdyCrNprg5rVYbY3xcuZdbF14myuWUP9kdmyEQcGC1jGn7eHYGv1bD8rpoo9OY+WGMXJHNF7/F/o98hMob18gcyGDNHWByz6/zjjmTJw4NcvNeQwHtpK+dS2t85VqFxY7Bfz1jMPu/N5m/e67MoYzDo2MOa3WPVhAxYOs8NudQqnkYrsviYo/EsEveNvGaEddE95rVeWsrwAsNnp6Rx7JNxg0ZzCfY3hXAbJqNSkzSMrixW+fx0SS7fhszSjIzkmZps87oaEpt6i6sNZnMpri11uT0fI7SboOJdJI9kz6/82KPG2WDDz0xxKwW85eXSviGxunhLPfDPmMZk6+9UuPXf2SIn/y9X6H9F19j9cENCoeeILlnkKDUplOvY4/tQ7/3BoaAxgZTmIVZ/E6PaOltXNF8yuVb4KPqOBRJmwStsUUvTGDPTNLv9Imun8ed3kuQm1Ab4HZ5ibQucfYudsKl323SLVcYfPRpvPouZj+isrlJ9vBJ+mtXlWbXs3Qcy8aae4LmpZfw9BR2Vi4FHlatQS8nZzAdc2iA3p2b+GYSt1PBEhJ4cS/OyBCdrTsqpRr2dDqtOrlHTmOsVLBOjmMsL/LMZ/4nzz46xOF9I7x+a4uFtS4TGYNWt6F6up/7gUFO/uxPEbz613zwn15mwwv50JOTXLlTYs9okmqny+VyzCcP6PzqZwYp9yzeenWLoTGbXC5FSqodQY+gHDM4YbFbM6ju7pKwHcrbfR55JMVGNcnfvl7FyHroHYNSYPPt1yv8yscH+ciPH2T14jpONsvm6vJD5aeeZGtjQ4HQZIknXfqNlXV6UqWxLVUZODh/WCnf4tCnUWtSL5UpDAyQGczTrjTVxllSAc1KXUHQimPD1Bptwl6XobEhdWYNBKQW99n36DRvv73Fv/rPDzh1TCdr5Lm12mWk4PPeJzPMTk9R77RwPJ+W71EYLrD1YE1VMtMZsYsJpBJKpTJDwwP4gY7ndxkdG2dzeUUNUVOpND0vUKk/AUmOTE3RalbUeXBidpZrb91iYrygFpFTg0Uiu8Kxf7DEoBtycP8wQ26K2ztlKT9Trje5stpj/a1/T37PKI03L2IMHCfobKmFhJYVoF0Dv7KkQKNmZg+RJzDjJJpAAt0pQtfAaVVVypn8FAhXKJLN7BHsVonAtoiau2qITmqMsHEZ05Uk0usknCTOxHMEjTtE7iBGz6ddu44zdorADzGEIaCFGMLvEhtIHBLIsF9o9HKG6DcJgwquOaIu0orhZWn4rQ6aHaj6nfS0DUkCJGbQBTQo9bj2prKlaXTwe32iyFeQuUDc8/VttTDUkkP02w+wUkN4QYwpy2I3gUES37QwOmtqMCBVPyN/CE1UeP0KWmIUy2sQuGliLUfcWSXubmLaBeLEGF5zAcsdguw0erNJ7AtZf1Op9wI9iZ0u0l3+KuawDIJdBa83ZDElC8vcMeLeBlpvmyg1IaE79PYOoVjVQo1ADCDJaYJ4GzoNkLSEZeHZ02ohGbZvoccFDMMjNHWMOK1StgIJ1HtdtMww/eWvYQ/MYw8/QtheVIlJMz+Dbg8pq0jKFBG3gV8tk8gOEZoaRhSjtTbRs2KuS+HrAgOWOldSqfok561l5uhJCsEuPkyfmxZWqkC/1wXRN+oJdYeVwYCRPKwGRcJksnJHiI0+Wr9FEGkEWhfHHUTzRHcov45NP+hiWhm08oXfjw0h3Ug8RejajRW0qKM2Nen8SbzkFN7C75OUfvbBH8Vc/xZRp/lQ49evk3JHaQQrmLqAJHbxN76HOfIOzMQQUbiE3pUtmOi0FogTowRxhB05BMkiVrdJWyKk+VkSQkdsNPFD6f0LmXuEyN+BVhUtvxev9Bpu/lH8SKaUJoaACCOTnlciIVOZ1ia0ZQKqQ/5hWiCWCZsdEuaFfOgTdoSSaSq3skQ5DNE5dOXBXiSMA2K/SZyawrRy9O5/UT1cgoFTmAmB/W1hSLRCSykNh2Y6eBvnSU69l5502XtdkkKMlX/UuEZABtPJ4pXfxt77UYKtt9Ha2+hjJwlqFYwB6SHrhLUFQXupgzR6FiNuEZJGS+Shs64GJX4AfmcJ15WJ2QBBT+Bg4t4UoKJsNt4gcqYwskL6t5UiIgqr2LKhs4aIg4aibRriCNWzKuqiycVq/QKIp7PXxM5OEA6dQFv5Llrx0EMYhvSQ0hOKAxFJzCpO0q8tYQrUbGAfBAG6KAHdQXwroUB9flDCCKQ1FxKnhpQPOu6v4m0u4E6dUlHxuHQDS0jk7ihx8x5aqogmLnNRYjkGfidU6jpLIrLSqU2mMe0UcbtBoavKAAAgAElEQVROJMkRGRjlhYC5SRiGGEYeL4xx4iZhv0vu8Y/xOz//k/zB56/zEz98mIWVbXK5BL1qlbNv1fj8H/4DBYN7/dxNDsxPk0rLNtXi5vUryifabHQo5DOkUkWSSdHwuVy/cYV3vuNdXHr7KvnCIPvn9vDauXMcOrgH3dS5f3+DqYlxKqUSjmORSkp8zMC2E9y8vaDUicfn59ne3lSX1IU7dxXUxjJj+p2eqhAcO3mEQi7P/XvLjI8PM1CQKfsW9WadvQcOcef6TZVUeOPiG7zvPe9ifXWTza0684cP0KhvqF7j46f2UWuFrK7Jz2tw8eoi21s9NnZq/K8//r+RCtmTn/znvPP0HtbXqhw+McrtSyu8eq9D6ep/JD8xwtrL3yadGyNVmJUFNGYkW9RhpeNJO0KfLROFrnrwij2i27iFGTgYhSJanFF6yqi2hJYYADE2VN/Ad+bwen2M9g204dPEvRWs1GFCrUlUuqMGB97uHVwBqqSPQveBYgVoyXnC5g0c0bvI1DLwH1JXBUQXbBInpuj36hhhFd0ZULRU084TdzZUZUAuucjlryNshVHkmRuniuhdizh4gCePdYHC9APVl+oIjT1RQOvdJZKkzMyHMVr3VdImMjJEvRU1vRZ9ZSRKvsZ9ejE4uRnarQ2cqIOVnKUnQy+ZVPc99NFDaigS1u6oXr+AjmKZbPpSpXhRDdCkp2cIMSMW4nASqtcUP0RMIX5jlchIYMtwI6oSWsNo1iCaDAGby5hC+g0trKCG33xAVHhMXf795jru0KN4lbdwI5vAtOiZDq6VRhetWeGQEBwIaWP1BTwles+EAth5MsyRCO7wETVMtfN7CLw6nX6TpB8QtXfRGncIkgm04iNYwjXxqvRqS1jZCTQzRxBWMPQCQfsuWqwrIKiVH8P3BDhbIxbrgmzIpaYjqQZ3hH79jvKQi1FCs7u47W3qvs3w0x/mv/3WL/ELv/0dfvj0KD3P49DhWTYePODrbzd4fDLiq1/9XVZfex03tgjEJmCYZKImQZxEGx3HqW5QvXOD/Ol3K9tL+9zXcA4+hl0uE0R1zLl52isLKgou/IDMRJ7M3ASjBz7H0Tmbjz02zfdurlCqR7hJh9XlJlcX/x1mq81uSYbQTTpeiGOI4aZLvdvGTZoYarAxi95YAK2tNjeEooKypWSuBqNdocVLnDI7jt5fJ+55MHCUtfPfZP5TP8/CGy8w//5/xQ8/O8zaWp9Th5J87/IO7z2W5b/9bYN/9pkc//iT01y+WSOXSbO1soZuOkzsH8frhVR2d2jUauw5sFcxRJYfLKsorETz+/0G49N7KW/v4CYsNtc3OHTkOAPFFI1ukz/7s/v0NZ1Dc3nW1+ocm8syNmmRSA+wsbCE5WgksxmajZbSDxYGBKLp0ekHlMplhocHcNJCjo7Z2d3gwIED7G63SNhVxk5O8PpLm7zrNxt88h05ol6Ty0st3nl4mKW1OsePFvnO1Tq1apO1s79G9dXzBLaLt7VB8fCj9CWWfPsNsvsEJHmfhHzeRdspG7bykoJr2scexV+8S/qw1JLKtBbu4MrhNJcicoVLkiA1kqO7vKESU4GjY4/uI9pdo3frOuZ4AXP8KFHcINjaAtPG2jNPb/k+WrOObXlk5p+lbes0l3YJVm+z54MnWHj5bZ79xfM8dzLP7CBqyDpXSChn+oCZohG3ub3l81uPOoy5ES+sREy6Jld2mzx9cJiw7/PWcpcjszb9jsfado93z49ydXuboUSSdgDLFY8PzCc5u9hlsxlyaCrFraUm73lsmLduNjkya7AtQqNeF9dKMFNIq5j+ZrvNTC6PZ/t881qJQjrFE5OGspKsl9tUd3vMj6SoFQ3OXarxtpflg6Mmr640+NjcIG/WajIzwO5LSMngSzdq/M5HJvmlf/MTVL74PbTHTpHoJuncP09ja5l0tog1dZjm6g3yj76XXr9E/9XvkTx6BiaGCe5eVh1jxRpxTQQPlmh0CYsFettSwephDORJjU5TvXcdUwxM4+P07lzCmT5I6vEP0n35i3Qr66SPPIPWqiiWUzQ0jZsfxqtsou2sqWdYcno/cXaE9rWzivsxcOZ9aJKMqtbpPpD+7xhBfoi40yFyksSlFezZOQy7QP3221hFUUjn8O6tY02Mok0ewFy8xGptnanxOXJPH+bTH/8DXrnb5sCoyVNzk7RDj7BSQisM8sVza/ynv3uCj372Kapv3CQ9FPP5r23wK19a48SES6tV58zxQXZaEZeW+5wc6fKF39jPN7+7yp7CBNFwiNsPWFlvquqfoekEQYfId5idy9Go98B2mB0wWa6EfOvNNtdvVzi5J0V+TOP7FwM+/V6DD37qac5/47JKoxZGBxgoDlBaLylwZzKdoLRTI5EwqVRquNkU06MjrG/uUK3uMDY+zejshBoMiGpvt7xLJpunkM8rq0hXNtOtPgknTcdrkcxlmBifYuHGbXLFDLVag/3Tk4oDc/aNbf7y5TofeNco9UaDRt+mW/H4tV+dprRS595qi+Pzs1iOnI0WcDWdgaEiNYEXJ106chGTxIi8ZzIFBXhbWb7H8PCIqlnV6jVFzT988hjl3V1uXb3O9J5xGpUOxaEi9XqF0ZFxyo0mvVbIQGqHX/szi9uVHiePFemW29QbPlPjAr4z+KvvlPjdnznJz/zBb9N++Sv0nHEcO8Jr1zAFsibqXElDaqJ8vkd26r0qtRoufBlz6hl6eh6zfEXZjYLuFpb/AIICDM6h9SpKmUy6qJhpUWFWJS+8WoN45yyaM4w9NI8nf+F+Q23BJSkt6Umv3XyYFJZzd/wQEBfhYscRXW8dPSHWrBRCGNa6q2iZKQw7i1+RKoGFIeyg1pqqLxp4xJZJiAtyH1v7G+LYJDLymAOPEsqFsnGFOG6iewZRb5vQKZIYfVJt82OtgtfqqIGElt6v0iRxXZJLaTQ9old9gC5p0NhXy2Zn5jSesKD8BnFqAs2WdEGJQFKisgS1HQxnGL+7qSraUg/ueBsqwWDnz6gFr5mx8eNBtI5UdjyVgHMkQRxFRL2dhxv1wFOweEsgx90NIjn1SHo5LqhzrRF0FNRQquL9VgnNb2HMPqP0ymGrRrjxXZJTzyutehxVMQffQVi/ROj3lUVPdi+GFqthd6BHWFZE0JSzTZqwV1N1Zy1ysTSPQGxQmRFMWaKUbuCLlWZgr2LB6cJCys5hhj36WgIjOYS38wZGgDrXxpJeFwXl0KMEpdfQzQKRwLUTcj8dxy+/hSNKJlE+VxbxJR2bG3lYi+h3VaVfDVdrb/7HOGxsostRuDiNV7qv4iGB0O7FNRj0HzoDdQNbLs0Jme6U8TVHRbl1UzQ1Cyqqau97Fm1nkdAdwfPqiD07siI0Rw5sGmbtptoga05CbbX6/XUS6Rn1QnTNAo6Ww2tcUQMAKzmkOhpyadbaa0SFo8RuGqP8Nnpqn2JJSIQ2tg0Mr6sGAXZ2r/LSRxL/iOsYzSpeMoclU6qOdPq2sFPSNWmANqKSBOLhljhQIP8vcrD8XRWzMHOzKu3gl17BMIVYaagvWd0Ur3ESTc8RtNZALgv9JpqYFk2TKDODJroZqQOkC1iNVRh6jGj3PpEVYwjd8sEbxNIBGnsXpkwOO5uqq6M4DJXrmHZS0Rp1T+BcAoqYwum26IfSC9GVXiYa2IvtdWlXb+KIAzQt6QL5YPQIdVvFoMNAVy+4NXYKv7WA6QygmYPo7Qf46QOKcqn3agSNB6pXow0fR199FW3wCL6Ak7wevu4oYETUWiJyc5iy2fIsYon8ahZRehS7t00gEMXRZxS/IapdQS8cIerV6C1/FTv3BJp0kLPjRLk9mPW79L0Qe+gANJfRsofVe4Ddm2h7P6E2wv7qi9iT7yW2BtC9NYL2Bnp6hm7lPqlkXl1UQtPGq+6QtBN0MLCUz7RHfv69dN2AE+MfZXjCwTFNBgdyDI9m+dJXbvNTf/dpPvOp07z11hLDgzkerGySkM9KIUfCyZDOZXjjlXNK5ZN0HEXyHxgYYnt3l/tLd5idmiJfHKRWrXP57Rvkcjn275vhyIl5bl67SiKdJZVIkki4NFsdXj37BsdPPMLu9hr1Wp2nnjqtdDprm0InFR6Lrhy58qZOJBKksy4PltcZHx5XKrqN7Sq5lE25VlZAm7t3hHw7SDqdIIh6SDjk8SeO0osDvv/KBf7XX57l6ceP8I3zD+i1Q/6vn/sA1do6g/ksQbvBF77+NjtNm6Tj89zpA8xMjfCbv/89Xvqzn+LkD32Q8hvfxykO0q/VsYqzBN1NHGExiM6tXkeXKHe3QqI4h2hD4tZNYmtMGSWCfh07KV+Wi2BB353C2b2ALgYNmVg2rqo4v2yi9cAgTOcwPF1BHuPyEr5fwhg5gx5UCWpbSu0pkXJ5sOIOoRviJvbQ17+MJxNjhjHE1pETAFsGU2si+F1RX6oOXVhRfnbEkZrLY/STKmZoS/QqLV/6kUocaS1RxIjF0EHrtPBkS1Y8ogZ/Xn1JfQcYmq+ovlGQJix/G2v8Y+pBG/kdBeQMBGQjtSG5ROjSWxS9ZQNNevxhgObqhL0YOz1MKIO+lqQKbOz8CF5HrBm3Mcyi0pF6ciFOjdJvV9H9Kq7mQfEZZWEIq3cIU6NYQrh3U4TyvSgArFYJukvoyf0qZeXbBo7u4kmntnQbc/wIhjuh4nBxV6wNNrpfRzNn6Je/j24WMYYfeUiQzc0+7AiufQvDSEL+OFrvKp4+QqK5ovQ0QXIf0epfYKbnCYaeRNv4uhqgxfnTmJXzxIVZDHuSsHkVIkluWRCVMDKPELeuqxioM3gIv3SFfrtEYvp90LiOJj07IQ/XbtBpbWE5+8k9+QH80nkeO/5LnH7iAL3KBp5pMywqzdjk5vlVbp3/+5g7fUrXFvEGh0lYjtKRGoMT0GmBlaJ5+zyZvSdBi/Hq25ixT+X6JQpPvAdj9gDm7jZWrkDp3HcVYCv73KN88Y9e5HPfXmQwa+CaCUZGizSbdb7wxi6bb/4uQ2MZ+uU2/VKT0HXUA52KKM2SGG5BgDoqUaHTJexKN75C7BSwksPKXyzpF+PeV4gGniM0fTTLVc9OGejRqpN85FH+/J99jp/+3Lf5zIemeXCnTKZosLwa8uzxAl+42OTWHx0kEbf4xveWSTgaB6eL2PlBEkmT21dvqe/AYmEQN5ek02uroXK/02Z0fJxaucbkzARXL18DDA7N72dns0S7UWGrovHVV5vMzSS4c6/GqcdGmcmG/MB79vLWxXX1rDxydB45mcSBxsr6Gq16i9GxUbqdHo6jk0xm2N7dwZajua4zNjHO4soKE8NSG6wx+eg8Rz5+jjDSODVrslMOSCVt1kt99g1a+JHD12/s8n+8p8if/OFPUP/WTRrNDZzxKdhdx1tdI/FDn8EKmnQWbmNm8+oCFDc83D17aLz1hto2mo+dIVxZxxqQ9E+TSA5CZvwwampF+Jsl4lweM5nHSmUIckW0ygpxu0t/ZxszkcTec5Te9VdJzp4i2DuHf/VvZaKIkR+l5XUZ6zXoWVmCeIPimQ9x5c++yLP//CKffmKQDDEXV8pqu1vMuoSdDt9c8kg6Cf74XWme3G/z5xfqVPp95kfSXFhsYLsOl1b6vPtglsFMTKut0Yl9XC3myGSevzi7wZljaYYzCSnK8WCzy9JmzOF9hko3esKQ8A1+8PggSzIEvuGzN9djNGdzdwPVu35yX4Fvn99hasTl/k6PY8MDHJrQ2Onp/OTf1pnLGAy5PRpGioVNj6fmBnC8PrvtPlPjLp//bon/5x8e4Ad/+ePsfu91mldvkX3qeVL5QcrXXyQ5dgI/7ZIpTNB58UswMY0+NoFR31IpGdkKRqFPZt9pWue+TLdeZvTv/QK1Ny8QPbhL7jP/kMZf/xHp536YzlsvE5smbnaI5t2bDJw4Q23pTbSRccKdKpm5A3S7IdH9y5gjU6qLrEkqJGXQ7+vYsliRxc/KAp7tkBifpnXzAumRSTqlVezxWYJsEadaf+h4zw0RJBKkEhZBq68GKfrACNa9G/TK2yT27aNXjkiMuZiDQyQLfb75xy/z019eZW/O4dknZli4vcG+6VFWNiu8drvF40Wdv/oPP0jbd1h+6wZHP/4evvZfvsYvfmmZA+NpDg6b6rna6LR54XrA7/1wlh97n8v/+Mttju7JcvXWNkcPFBkdK7B0f4e9BwdZ3q5TzKTotLqEojtt2IwOBrx2KeBbSyGnptP4XpOTByy+fFHjyekaf+ej8yqJcf/WArmcGG3g/u1ljpw8RFusGUMDlHYqOKZDJpOl3qjTabbpd1uMTIyyur7F/ME5btxcJJWwmZzdw+byEr4eKyCgJADknJQZybG9sa160nK+cV1hmDh06l3W1ldVouBvvrGGWRB7TMjups+D3Ta/+Ok9zB/OUm7qrC7eJT9YYGBwgPLa7kOYmWWzu7nL3NGDimWyKurGhGypNQxTY3e3QiaVot/tkS5mlK1JttdiqUnnHuqyS1s18skE7cijVmpyZH4vw8csfuM3r/GfzsHUkM5IUtAgEUf3Z2n4Xa7d8igmO7x89y38q1+l1nFIRk1CT7axLeyBOTWw90vn0J1JtKHjGOWL9DrC4bFxJ07S33gJt3iAOEohh8G+lVBnHq21ihXn6BWKGIGLHVbVGUOTC2pOoH4VlWCKNYmUj6B1SoRJU/HA9OQ4+GVl+VIXTauo6pIC3hWjmliWBAaNLC/X31YpNSt3FDuRwNOkap3FbG7hm3LLHCakQ9y4ipWcx0oVCWKPSPhfkky2pJgbq8h6ryvw3hqaK2axIWWGE4ODJpdkKyYKfPR+62E9obmJNvgMVlQi6m+hmzl6GxfQZn8EvXkdbfcS0eR71ICt31pHDPYC/LTz+0Ei9Z1F4tQ+xSCLOvcIa6tqWWw54/idB5juqPp7BdtXSQw/il9feMiKKx6G6mV1N9KzhzDiJt7GRayRk/h+VT0fvSCFLvcZJ0O/eoWgvEZi9Bi+AK3FSFJbUKl3Bo7AzpsQdjDF3hSbWBPH8XfuE0uFzBgj8naRMaZvjT+ExYd1tNomkW4Q7r5NbOTQBw6KU0nVqvG3ITFILEMHvUfopdDCB1jj78Hffg1dXk/hnNlJ4n4LX/R+uSn0XhmcAcVu87ZvgBliJsYIg7768+l+E0+LSCaO0JOKvAAKVcXcIZJkROvC78a+0DlF02ekFanTMVwCS8cXSnZtg+SoQKOSBNVX8OIZ9MQoRu++osNG3b5ST+jNm0TNNvrgQWIaRK0qyLQqL9OIZXrVG6SG9xFFaWLR5omHu32fftfHkl+/uYsxMK2mE3FFLsshWu4xDCMglH5E9mlcgeL5a3SjBFbjmqoZWFmJkjSItDSaWyQOArS487BHL5Aw6WCYJsH2TazsiGqX0i0p9YXX7iryqx6u4jd6mJNPw70vETjiDH5cGQr6nRYJ06FvJdGbq4rQH+opIiErxiG95gLu2HPEMlFLDmNEFgi90nHR+l0Cgf/ZReLOGpY1iNeRD0oCXctAc5FQutKtvqxZ0dLDmK2SAlz0e1X18LLcvOruBPFDwr+6dPcrqhcj4V3PGcAJ2sSdXSS33KkLWGdadZ+RwYa3ieaMYQ4exmjcpdfdIOHm6as41ABhfo/qVXttHyslsS5XwRglHhdrLoZAeKJY1QtUb9dKEjkTaDJQcDMEomz0Vgm3XsOefDd9LYsZVbDSs3i1e/ilbexpoY4vYkZCrO1i2SamMUjobRPoGq4rEEETXWLJ0k3y+thRDU1P0Yt6GG0PaaEYtomvJUnkRmktvYqeG1VfIBJBttPzGPLmt11am0sMnD7Jt//nX/BP/u2L7JsosHBnmT2zo2ojdO7cPf7FPzlDOpnDNuHOvRUeO/k4kddXmrxydZfDh0+ScEOW1tfRwpiZ2Sk2N8RdO8aN2zeZnZnh6OEjnD17lpnZWTTNo+sHVEpl1Y2bmhgjmUzRaEgPK0mpUqFSqnPq+HEW799naKggQ0p2yut88IMf5uq1BRYXFhkdHuDkyRN85StfYqAwzOjYCCPjI7z2ylkOHTxOrVFhbHBYbSDlIdhrNdUE/MriJn/yhfMMJpMMD5l88qOn+PO/eoN0IUXBccFo85Of+jA5x+GFC9f5i29c5VPPH+WVN+8oINviaoNPPP8I//6v/gXt61eU37tSu48WazjuKEFjAcMdQpO+uDOKQYdwZ4EoP45VeJywfhEz8Om1FrAGjxNH8gCSjnmIGXZVIiU0ItzcSbqlBazCPhA14MZZrMIBvMI7MFklvPdVzMKjhE5OfDGKH2AlpghVb2yFuFWG/ARhKABJqdJp2Lam+CG+dLY6CwRxgF44iSGKUdlU23kVOfZ2zxK3qjgT8wRGnrAqvbg0enpA+WulUy/6O6VySQ1ghC2C8i204RN4URc71HHcITrrLxJ0yzjzn1KuX6ns2HpGPZAw00QyaQ47So8n3TLZ7HtmgYSTJxRQppbCkIGAXPJyCeJgGKO9oC7d1HcIM8MP42tRU0F2JJYnbBD53g07UnJdQy+dh8QxKB4naN3EMqTTl1LfD1IlsPw6ZkJMGdeIi6ewEyaxPGgNjZ7omxIpjMAmoIVtFak17lIceZy+3yLePgtD71Qd9mDzdcyhQwRRH7vTVurC9s4VzIxErfcQVOvQu42WHUW35TWtqOpY3PUwkmmlhXWz04SBoTShppnE7/tE8vuL7k9qBELgbvsqThfjqK2C6NKEbm0VTmDaHfrVbQYeGeGzZz5Li3Emxy2uLm4zJDrGnMnF82W+8e/fy+RTj7G7sklSjBNJHRqNh4f2fhnfN0kfOIpeXaNy9iXMdBo3P4IxfRBj/wlK/99/wRYC+5FHcEpllUIafvIEqy+9zJO/fI73PjfO0lqFiXSKlNnhv55t8Te//zH+zi/+U7a/+xWSMyeUy7jvuxhaH78bYCVj+r1lrH5ILA/sUCcyY3QZGhk2UdvDk/RU5y722Gm8nfsPh6xihOnEEK7gPvt+/sPP/Sy/8p+W+cn3FRkwXJZafTa2mxRTHudupVj8owJGKsvOrka9WiaV0mlWJcI7RLVaVeyQW7fu0mq0GB7PMH/0FI1KiU6793AjvL3L+PAoiVwGw3JYur3A02fmub/U5ivfu0u7FWElitxf2uDjz2c489QBlazyG026vYCZg/voVOsMFLMEga4OixvLq+SHhigOFpSC8M7lO6TyKYqDAjUK2NkqEetpDkw7eKkkJ//+XY5NJBkZDtQAqOXFdHseKV02KjF3Vruc++sfVSCzzms38KZGaG6IolTHtaDbET1lH3dgitDq0tvaIfXUB+h++U8wcqM4e48QWBH27g47F1+k8IlfJC4vo7sujYXbZKdmSE4dpPTyn2MePoMeR8QPFpQW15qexNpp0Gqsq0uhALCidpfEseeUPtlfv4nR8tCyLpknn2T1le+rZ+X0R9/FX/3yH/En318jnzPZX7C4v2PQdPpkQ4OJgs6N9Zi3KwE/ONHnZw8VuNr1uFvWODUY0ur22e1bfOSgzaXNPivbHofGLa5s2GTdNplimuXFOo/MSSXR4Os3PU4fNEjFGsPJHHdKNbY7OoP5WMWBt0seHzk6wWalzLVmRLkZ8oPHJjG6W8wVB/nuSp09GY0/XYZzKx1cy+IjRwdY3tilTIZHhkzO3qixZ7/FI8NpfvbLdf7rZ6b5qT/8BLWv3KAnm+hOleLeR/DcBHFs4W9cx+vHGNkE4iXsr91RtGy7MERjZZXs8WOEYmNx0+hb9/E6Pvb0JFG1SahJYLxHb32V9IkzRPfeVK75wlPvIaqUCWXJVO8oyjqaTfLwk8rs1L72Bmk/olbdVAo0a2QvzhPvxN64T/PaWfTxvZjZAdKWycb1Kwycfp64sa4GY65tE5V38LM5ZYZpXnkLPWHQ3Nhg/MBhwpMfoPyNPyY7NUtYqxOED1MFhb1DLL1yjb2//ibPjGo8NpolLCQ5f3WDk1MFVuMuq7db/OnPPMbhx8bp3ljEdwcZfuYoX/g3X+d3zlf41CGD7dDmwn2Pd86n+JvLO3zySJrf+tEUf3u2zYljBeqlACetsb0uidlILS8kdTg9N8CtSxVSgzGbqyHvf/8Ur75W4l+8UOHwgMex+SJRx+ebVwLOzBl8+D05ND1Bvx/QbTXIDxXJph3FLup0+hw+cgw9Crly9RqZlMPQxDi9To/ttW0OHz+q0j3L9+7yjnc/S7PS4s2Ll5k/Psfu2rYyEg2ODbO+vIktWmvbwXVNKjs7JDMZ0oUCYadFqVzhxNOH+L3fvQgZE3o64+MJ7t2vYrkuP/OZGbY3e2xv7DD8vw0USTfJ4o0HHH7sEEEY0a3XcB2XG9cX0ONYDROEOSZq4U6rRTpfoN1os7Kyim3oFIZzHDl1iptXbxJHsUo5ZIYHGTB0epFHyjUpTudYuL7Ee3+vyQ+cmiHulNnswFjaIV9wWVot8fqdLhtX/h25zKCCUvqxqbzxQaeh9NShgMJ7dWxZ/nWvKo2caUzhC4HfTmG4RQVIF8ifI9HxsC2+UTx3FlvPElYvo+cPgV2AbpkwlG676PH2EtfvgRFhZM8Qd1aI6aD1hKWRUdF9rS9a5APqDmcGfXwSGFoZw9fwMtNo3RXCvjB5igS9JUJ3BlNgyXFD3Uu6YYWEnScUlkCz/NBqJFawykXi8gIMHX1Yk44rhJJcsDoYTh6/vIohgGERFjevYbkTSusat+TeJEuafYSVe2hJqTaMoHW3CTu7hJ0ebmFIpRckZWjYsmA0ifVQddVj+fdypgm6t9D0AkZmgv7qyxhyd0lMEFbOE+b24sYpwmBTVoGqkqrl9z2sTteW0cffia4Lw65EZBaU0S7MzeBX72J0VjCnfkgB/Nh+jVhYBMV5VelAFrCpMTprF8i4ruIJdHQfV2rLukWvdAdr6BBR9ijx5kvYMiCQ1ARd4rQoIhcIvcPMqMIAACAASURBVDXQxjAsXSWu/UYXs3cPK7lXWZ0w0qoCYPVLykwh0H0/ijCrtwiH59DknI0sEfZhyNIr2CKyRlRyXKuvq+W9DDkf1r4bWK5NoJv4pWUS2QN0XE0NjKXz39+5iiWvn28TeRto1bd/P7b8kECiGqJ6S+wnEEq2VlCHo1BiDKIDazbQpMeKRUImRLFBVy5tRqjUepozgN9ZRhf9hNAe4z4xnqJ2W0EP32rjDrybyBeImIYvXdi+RD+30QqzqodtuAPY0ret3Vc6iCgtUK4QO5GjVxPncAtz7Dh638QwW4r2aUfSq5nEHDlIKOrC1g6WrhEYKSwBMWT2ovVryotppocVsEKiRHF7jUBI1LId1GyMxABet05UWSCRHlfx9bizpSZmcWsHPT0Oyf0EEjuuCZWyQCQdFi98qC1srqvIipY7SOBmiXdfxy48rYigsQwhNAFvOmhxSomxpOrZrdzGSU0ohZ0tW3YzQWSmoXWbuB9hSAdINqwCvxPHdHcb3x7BTI8TRg10XxV60YTX4O/Sa1Uwxx4jYeXxu6vEPZmOzT6MR1kO3u4FYnsAc/hJgurKQ/UgBqHexRbysefjBR6G0cWxJtXwIIpESZhSBzZLSxJ7JTS5NWuSBIiVAq7b2FCKHkOGP50lup0abvowUeu6rPiwMln12gmwMfA7GBJvsTTa2/dwC+P04wSaFmDL5mT3AoYYEQaPqxhtKMmB0iLmxDP4tWXVdcarYeuzaINJOqVNBUKzhmZV4iGuiZYkpHD0DL3mIs8/+wvq9zowO6VAYK1um9quwcd/6DgXL17jxz71A9QbTdoCE0kkyWXTXDh/k3w+Q9K02Syt8vjp05x75XXl0x6ZmObsy9/DcdLM7J/h+tWbtBptRsaGOHjogHrgtTt1ctIhtC3u3b7DJz7zCb7/yqusr2yyb9+sOmzLwyedtvF8g2Zll+LYoIp6lXfLavMoFQLpzVXK25x5x7Nceusas9MT6lJbHJHNnsHbV2/z+b+5yvjECNduLrFncph3P/8EX/vmyzz1+H6u3lxH7zeZPzDLpz79fs69+grvfvZpvvydy/zef3+Fz354no3dFps7DfKuy421Lb7xwi8zt+dJ2vcvYbgtPG9YwTO7rQVVXYldYYQkFJTOr0tyJUdg2hj9KvrAMahW8MIyVlJ4IfvRfBlMeYQCGBI4n6jSej0VpZdYuVBS3fWvqE2vNvwsbvYg3f4CVmsX353EFlZGekoxOIKd8+jDcrE30BToyUJvbeGHXWIZFHhlgqCFVngCo9/D76zgJDKq32kYTfRmSGBLNE7MIbbqvmlBjGcmsMwU2DZhXXRiPUJnHG37PDhJQnccV5y3QQlPGAjyfrPlxzF9J4+tyUVlFVN3H06gBf7Z7RPZCaX0sxq3CQRa2NzAHjtKKJfA3hZWagS/taNUcI6ewByeJ1o/jzbyCLqRwaeJ0dxWBF6r/wCvI0M/A21cEhK7BBIVa68Q+hZu1MYz7IfgU/mykbie2BUsB124G1KZkM+0X8aKI8Vt0JJS52jjCATRKiqjgN+8gT72LHrs4HXXlarIcgJV94qcYYJ2EyuuqOeDEPut/Iwi7frlJRKj71IaT5GnG/aoIgNH/TK01zDSR4i8deLUUejcVgkpK/FwsKBL3SA9pKJyxNv4vTbO4BFMqYAJIDGMCEu3GXzH3+Xnf/yn+ep3lvjYczN86/Iq75kfYqMac2+ryz9+fowf+8UPsf2tl2i0djFT06QnxvB2lnHFlKB5eI0+hZm9dLsNtPVltmubpNMF8qeeVarWxpvfxW81KDz5vNLgDc4U6ZttPvvZv+HI6SnurDYxdZvZEYMrt1uELnzj7Rcov/QCTn5McQ8sMeIIUC5uYidmiWRopqfUASSILUzxOTduErfkeTuktjl6fh9R4BHU5Rkak5w4SHN7QWkei0/8ILND72R8VALuNqaAocwEQyMuF5abDHRTvP3HI9y8VcVJ5cQ4RxxHLK9uK3Cp1LEkwWbZFpNT0zTbNUobVVrtDo16mWPHj3Dv7iqZlMtudZtCdpRW1+fo/gRnr9d54dUGx/ZnsJMmq+ttDk3pfPhjp7DcNFe//zojY1MqDr508zpjk2M0Gl2Gp8ZYWVjESWU5cGwP/XpAtbyFbWVwHYOV9U3m5mbZ2BIncptHnpnh47+xxneubfP8oRTlpqVSY5UWPHVgAN/o8503mmiBx+qdX6d0aZXg/i0yh48rUrtdWmHrwjnSswcwCkN0d7dIyoZ/QKL0HbwYEqLwTSbwGx7JfF6lfgSoljj9HuTm11x5G7skr6+DOTVK8/YFDFGK7j+KPn2Ezve/TNRrkD38OFF2FGq7hPUF3OQw9fUdEnv3Un/wgPzIhLr8axmb7MwwDKT58Ud/iy/WDD5wLMWAXP5T49zZWMGyHBzL5F5VOpkpnhxssc8IGC+6DGUdvnSryROTGXZqPnR1RkYN2t2Q0A+4XfL57NMDdPyIO7s9VRdKBAH1Nmx1+jx/fJCFezukXRc74bBQ9vFaTTLDBfRuhNfyWOnrfHQOblZ1rtRDLm7bFPKBtALpmi1+4akDfOXyNoMZk6vVLoUw5uhsllurLb5/s82//alDfOa3Pszmn72CMTpGzjUo3V0gOXeMqCKMpjyEAbXF62Qn/3+W3jPK0vMs072+uHPelUNX6O7qHBRasoItW7JsywFzbGxsDxgMQ5phzcDAzMLLwJwJmEUcDgM2sMwxcGzAYBuDHOUgywqtbrWkzrG6uvKuql07py+fed7mt7Vc1bXD977Pc9/XJaCqUCU3xHetV+RZrUMyT+/qWYbueYxdSyeZyKrFQdzdVQqr7tItUgcX6D73dYrv/mnabg/tpWeJv+Xt1M49S3lKmBpdBrZolHtoa4u4tixo+hgjkwSje9Guvkpva5XkG54kymWxek2c73+NYHiY2NQ02tI6Qa6Me/0y8aPH8byaupDEG236tqVc7rkjD9K8+ALGyJDSKHtbFZLj4/SSeXKJGPQ2mH73PzA6Z3J0OI6p51ndarC30MdJ5vjycw0+++FxfugDp1ivBhgrK1TPLXH44x/kS//7aT70D8v8zvsWePbqOpXtPtNDNt/f1Lkn5/AvHy/z8gWdQdSjkLSIghg7jS0ee8s+Ll3YobLW5dQj41w8V8GLQkaHE2TjOi9c7XGlJhtqj3ZrwD37cvz596r8l3dN8/BbC1R3PMXqGHRdCkNFditb5PIFBgOHymaVXr/B2Og4+WJGmbCK+RFee+1lpqdncfp9CvmsAhmf+cEVTt43y57ZPZx/5TV2G03e+MST3Lj8GvWtOsfuP0kUBdy6dotMJqNef6dX48DCHOevb/LV55ps78KDx7PE8ibPv1Bn35TLv/uJeTpNXaVjV5dWKeVigk9l7uACO5truL0erXaXYraIHYvT6XZo1qpqq51MJpT6dHbvXsUqKJXyrK1uYsZtCAKVFBCQZyYe49yZ8zz08CGunl+jtlLliQ/t5cjPrZBPwfGROH3LZKviMmT6ChT7pbOb/NV/eis/+lv/lf7zf0sQK6sLa1KSvJGLs71Camjy7vsoyEB6HL92C1PYY6tP442+C7s8xeDCn2GOvRnLyuA2rmGXZogkvj8Y4HaqqrKoJRaIgiqh+OWzb8AwW/jk1JnGleeFPSpTKwzHvxv/tlw0SUD6IZ7hk0iJctfE8AIir4UhSkJN2GoT2FGTQX2FbDqBl5lH0yxplRD0NvAbNzDy8xhmBre1SUxCzokZuq119FgKvTCDv3uGWHofXlNscWPKaCacL1+MPibowmHq7qohqhmGOLe/CMUThIFDrnAAmXHr/XVlntNMWXzIM3obQ+qz5QMMqjeIWWJpSRNoLSx7Gi1mE+6cI4pLLSStTEORLH/7DZmEKXSutnsV3zCwhDXQWVXWM9wqnj4uTjjC+hkoHscwYwwaK+iSXJUKqdcgTBZVkjkykyBJvbBJf/M88SMfxds5p+5MWvYAdtChs3EZa1juWB2i5jbRxKNEtXMqYRjJ6+a1MH0xYJWQ3bCmeZj2PL6zQRDUiAvfrNvAjaWxHDHLzShbgNu+jmkViZXkzin6zzrxlJxfZUncJBTWWvUSyek34YV1BQ6WxZM890W7HDTXMTwLTSoGAj/WfMUcENi7nh7CknqsLMear/6vKBSoge9gpqYUMC7qVjCSwyCRV6OAIYCVfot41McN+irqYRj71Q82rFGCla+JUwpr/q34m69i2jkxz2NKZyJpkxi+B6/tqDiI5d0Fu0WxslIcibJPKPt6qqCAIZqAF+LyR+9BY50oFhHaY+gDAde0lY87NAyiXktBMpwwwpDu5PD9IDTy/gqmqB6y02iNZQytrSi72GMk4in137jJGUz5sMQD/MaaInKqaITvEIpzW0iWcZk8m2rSH3RWiBVlq9lREA20DLFEgsGgjpkawuncxooXcFo9jMIwsfgC7Y0vksk+pCZSYeShGVmidAnkzSjQKYmABC1ITmMGdQzdUh0eOajpZhctMaX0QUivPYxhJkbQTKFxtwmjGDSvq6is9IdD8U7rBaVMiyXS+K1dfE1iUlOEXYdwcAejsAfd9/E9g8hoEZdBj/x/y4ZPPiSpIfq7V7GyZfQoQdhp4qXyxPQc3mAVyzIIzDhWIJ0zm8DMKKCjLm8+PUegyb/RUv9Oif/Ymo+enLh7KelX7yrHxOkZbSuThGGWiWpX1CXI1VKYUYswsvE0E03gYUkhmo5jWTnCziqhRGisMaVENLxV9b4Mwh6B7xGzhjALkijo4oqyJypSfNOP8oPP/CIf+cR32ZNPsX9+hInxIpcuL7JaqfHp3/5ZPvvZr/P1c6v85i+9nZlSRjSr+N2Auf0zLK/eZLg8xG67Q7vv8vQ/fZt3vOVN9FyHeDxLKpugsr0qFjwqG6vc98B9xCSiY2jcWbnD8ZPH+fa3n6FUGFLEf5mCl8s5Bfjb3W0Rkw0+Ps363UREcbiorAKNVovhcpF0NqlgRqXSGMl4jMrGdY4cP0ytEfH8S2dZXnV5+rtXyRfg8cfuZ211meGhIl/62jX2TsXUR3doOMV/+88fZacuyQ2Pb3z9JUZHs9jxFH/6V69w38kii7e2mZmbVTrGly9ukDMcXlv/Fo0XvstuZYX8aBkrmURPH8BrbYDlK82Jaxewk6NEjdu4nWXSo4fx+wIwG+AZeaWz0ro31PRZ1F+RWcDpbJNI5ZRHWT5HsgHVhMzqr2MP36uIpYOuQC8fEKEJ4c5NFYcOtIBBfZl0sowx+iC97iZYJvrWKlHSIYotoKWSGMLTCFLYIwcZrPyLUk7GU/twDUv193Wh1mqh4oNoMobzu/jpWayuTF4HBIlxZbLQvJ5ScprWqKq9KDtB+zZO5TyJiXvwxVii60SDAUZyhEAeWsEusSipyMKhQAUTKTUks3u36JAkOXQP3tYd9EwOI+riS79PK2J7VSKBluYPYQoQ09nBUZ1/IepPYPZ38OUh7Ep0vI+PKPK6GAIdlZiXbM3i4pztQLyA3hblVQczI5wEDy2+hzBo4W69jD364N2+fVDFl6SOdKVNqUGl8I1ttO0VtQEzR+4jGmyjR1KVstShQJONhmhzdHHhrmNlJAbs4cplXyCgAjrKTePJJV6GQVaIYw6ri5C98RKMHAMplWkyPBpgeBFRMoXWle+GNl6YwZCThwwlJXkgsUEBN9VrxAoRg3aVkXt+hNXLr/GmJ/4Lj75lmm7LY/VOjdFiDC2TYMKw+ZPf+SE2rywRzw3hrd9C81y0vFD5m0pv5N65SPzYPcT2voHB2hJ6fZWgUaO9u8HI4QeoVVYoDMmBJ0KzdBJ+iHFsLz/3sT/mmd0kT+zPYmkRQ7MjfP+Fy4ruvlV5GtNbw719k1D4F9mDeJtXsOKOAivK3040inprjSBfImy3VWLFzEyqAYdTO4uVnUXXAvxBRyV6JNVim0WS+96CGSwSK72fj75zlpXVDjMTSVbWtymkUnz+dJtfeirFH/zqXs68UsOtiwI0TnFs9F+3Xw06zTateotsOaeiveFAY9BrkCnmFB9A4FFiEimPl1i8vKi+n0TVNZIP+JX/cZlqLeQnPriX9e0qF681+Oh7Z5Wn/PT3r3H02AyJbI7V1VV1oe92O6yvbXD4xAnF/Oj1HfXdJyYC6VtO7JlR3JPqxg6xhMn0/BRLl5bVxmRy/zDHfn6JqZESE8MO8ban2C47nRReVGFkZIQvv1Thdz84yS//0U9x6dNfZS6jM5B+rZXAa28RnzmK7ngE9TpBzCFotdHvfyf2K98htFL0N29hTc1in3gD4dJ1goqQqmNE8RSDcy9j7T2Avv8k/aVF0uUhwliM4OZZ4oUp/OYusb0LDJxQPQujzdfxtTTZ8iROKoPhNtFu3cDJFvBr2yQ1l+TEEYz7F7CCJr/4rt/lTN/ikfky2ztNNkOPhUyC+iBgvmRzbiviu8sd3jGf5ITtc89Ukoyts7HVYjUweXJ/krVajxduBDx4IElCC3l9q0M3NHnnvgxXV3sESYNq3WUQBhweieFgs77WZToTMT6RoNWNuLLtktE9jpYtBNE0kh7mxU6Tr9wccH59wAdO5lmpuiR0g26jy9zUEL2ODFEsDo6ZfONmi+duDfjrn7yXD/3aW9n9+28QxGKY0wfQI5/mcoUguUu4ISlDi9j0JH7fIX/kDfRe+h7mzDRRpOEO6iRnDqrP6WBlEWPiEGkzoHHme2ROPY4jW9kb57HK02QPHqB/4zJuv00sVcaxCsSCCn7DIXHgKO0LF4jlbMzRfdSe+yKp2RmimXvVsNq7c1N1m3NHTjGoVCEjVPYO/cXrFB98O6YVY+1rf01uYYHY7EMEvWWCq+eJzR4iyI+RLBdpXRPftwXdGmG7gavZlIo5eqkMOS1H/P4C//Xf/RV/cqbJ+46XWF+qYFk2QVrneLHInc0mKVPjU5/5abpf+SrmnjlCq8iFV17i5EMHWaoOOPGLz/CRU0O8uNLh3j0F5kYD/vblKk/sS/GnvzzOxdfbXLlWZ2wkpNM3mZm9WyHqtnXWKy775i0274T4hsPh/ROqh33+psczNxMcmYhxbW2XNx7U+Itvenz4LaM88eYMm8t19szO8+qrr3Hk6EEFb9ve3MA0NLrtrtr6e+0mQ2OjLN64QzyTIp2Kq/TsjWvrZHIJRsdL7Nk3C7rN66+cVUrlYjbP5UuX2TM/T3m0xPpGhbXbt1lYWFAaVjEFCYO6kNHJjZf4/T+8Qt2Ns3fW5YVXHNIFi8NTRd5xv09mZI9KOGxuVsnnUlS2NtAcA8frMX9gnnanT68lcDiffClPo9FmaKxMhM3q4k1mFvbRa7UY9F3q9Qaz++aorC5jYJItFXEGLoVSVtUbGvUBSSPi4NtG+bVfu8Fnz/a5fzbD4labkeEkRdunlE/y7Vd3OTkxxj+e+TN2z76AN0iRTLqCTSdmFBS0F+mGd1rEikN0a3dICAi9fAKteg0nWyY99iD+5vOEfo9YdkpVX4QPJQs2PV4i6DXRwgZGrEQYSVhcHhfpuxBwt47frWMOybI1Be6W0sWKDUzpZWXBkJQte4in91U60xncUecJe+ztRPEhnN2XVWXPjI0q6KNvi4VtF19pyzVM0SSTImydvwv6iwKMiTfBYIWgtgmTj0H7Dv7utbt1BqHPrz5LkN2PXRalch6j/Spy89WMEiQyhK3L6Kn9akng9WTI5pAU1blVVMk4MRhJ+s2sV9XZKzR9jEA8uQl1xpALbuTbWKkJHNnm60IpCPGqMpRIEk08qCDC2qCBZsodziaKxzAGA4LeVayRx/DaKyqlrccm8OrXMbOjqrZn+E3c3H6ioIix9k+Q2wvJEaVKFIhekD8It59RC9EwJ2fFbRJ2iiASM9IyFI9iBV267hYxkuou6zRvY6Wmle1AUuACPdaFwSTnqViC0Ajv8t66A7TaJSjOqsoou1vKFGXYCSKtTaTliYuKUeqpzga6JEY8A024EWTweptEvUtYY0+qai3OdQYCNRQ5YEzOklP4pDBsQ9nb/KCH4bfROq/+UeQPKoRhgUDgbo3zmAtvRwtThO1lFVmU6YzoqoTKzM4ioURNUilC0TfIg1MgG/GMmu77vetglNETGQyZRHhxMeIpCJ2ZO6ri92EipxRZev82oVbCMDSQyVHfResv0+9rmJkhYmaGIHDQw76iduPouIMWVm9NbcoFnBV5Ov3NZ0lkpwjsHIYVRzNM/Pqi0m9YeglsFMHab2+pyU3MdPFry4TSQRdqZvM2mmxqUiMYXk1pMLwoDcEAS7qbUU1YogwaN0mVFxj4jgI9CUNAcvi+40FQULC0sL1NmBsmrlB8vvogi+YvFMp3v6vcmLGhWSI5NDfXVV8Ls6giOXoshiHr+kEXIzdBOKihxcoEzqYC/wlVUiaXZrZMWHmeMHaAyLaJuTuEJdmsVeU7mGAgipOBiqH6YYuouotenCImdEhtgLt7FTM3hqFl8aunlc5LNm5O5xZ2ao7Aj9DF7KDnMdLDqqOkRQL6GKDnhnHF99lpkBg/TnfzDKnivOokR9VrCvoh+jbfFzprAr3fRO5acqFBS6DJ9HXQIEyU0Wq38I242ubqfogvkDS5sGTy+LvXsYWJMDyH6QYE6z9Qv4v0nU19Bl8qBfIEMYdxGms4xRFSg6ba7HqDTYZPPsLy+Yu860N/ypH9CRqdPvXtNmNjZbRQ42M/+SDZZJ73/fv/l7QV48fef5TaVlPpBh96cIHb1+5wZN9+jhyfJIxM7GSadr3D1775DPms8ARGqDcbGJqhwJO1ehc/9BgeyeE7cnkQZqxNLmOrrlxpKK8imtduXufQoTm2t2SyPsL8zBgvnX2FRDxHsZCmUEgxPjbCxNQoNy8uqgfKjdur1Bouly6v8cyZO+QzKWIx8WWX2DtZZGm9wusXGnz43QeJdJ/3PvVG9s0OUVnbZHFtkytXtjhwcJy9cwdotFuqa/bx33uOgzNp5qZLrOz2KGTjLO8s8/rzNW6vf51w+zTNnZ7iNhjdBqTK6Ok8fqepYtwy2QxFLaebJKRD56eIWstYlqfMEWbmAObOi4SujpMsqc6YpVl47TWCKCQ+8Rjaxkv4cQ89dY/6TgmbZ9Ck9jJ05C65VvgGoVRpNpVNQ8sNw+5FNcQyZdsv6kgjg5Eeww2q0HPVZ0hTE+wlNKHdWyaanlfd47BbVZdMP1NGcxwM8b/qOqZu4neW7xoJyvvR5OE92MVvrBBGAXZ2P279nNLIWfn71VZdpvT+xhUw5H8fJ5SHdNhVXI5AHqidJeVnleoK+Qdxwyo0FjHz+/GSI8T624QDhyCVQY9M9d4Xaq9BllDqBlJz6Gwq3aKV3Ue7tYYpYKHclNqsyyRcUjWaHuHUFzHtrFKDierw7oVdqlMekdbFlj6ibxBFVQiKRIm02uJ7bv+umSNVwvPrGFFKaQS1oEaYGMEwSnidJdWvHGgJ9PZtMsOnaIo/dvsMsbmn1N/J6WwReU2M9DyGKF17dUzLUqkq30ii7d4kSI0oICa9bZzBFhSPqcGL4zYwcnOE9cvq9bYyh5S6MAoqGEYWy69hmxkcVVMLiJ18kLfsfxcbTZ9/+28e4szXL6AlTBoth91qlx/8zYcwp+ZpbXaIBAC0eBp9eAq7MI67+AJBRUCwkDh0FO/OFZydJvbJR+HGDYKJKTStRrhcRSulGdQqlEcmSTz+CL/6nv/Ol2/0+Ni79/HC2WWc0MDKJfnOax3+8Y9+lPd86GFuvvg85cl71UXBlq1LYxu/9jJmbgHNbeOu/YD4njdBYlIBInW9rfzDDIQKbmBI+gtJnFVg8xliE48Tv+9dfPOz/4GnfuoH/PhTeSZSOXZ2W6xv93F8gcTBs59cYCxe5VbLYLyYwbQSbK9tMmgZ2Kk+k/OztGs1drZraIaB0+kwNDRCu9dBN+SAkGBno8me/cNk0nkF3CuW5W9f5dP/IImYGAO3S7NtUG/5/MYvzJGM2XQjjfWry/TcLgePH1GR3cryBuN7xtRFYmttndJQgeraBnY8p9gmAj7cWl0ilRmC0JWzGq16h9xwkvvuL/L5L1T4yBc6nBpP8MShNC+v1tTnczKbprLVZdnpcmnRZfkv3s7U206x9oUvoo/tZci0WHvlLEOPvRMtk2HzH/6c8WOPwswk/fUqxqCBm8yq/mRyfC/O+VfQ5g6qzmy/F5KUg6VYOGwDRwCCuXFMrUt7rUK8VMLd2MIeKimGx2BjiYyp02luU3j8fQwGbfxWk4TnYbge/VhAoBewZEjYWMbZ8Rj5iZ/GjFX42Tf8JjvpLJuey/FcnI5s+hI6BdOi2/JZ7Pa5d7LESsPh1maHz7y9TM6Cr10b4AQBlb7Px98xynfOVfnusstPPVDg3EabqQT0XY3NjsdEKUvfc7i97DM+ZuBGOh2nS8IzyGcN9qUtZobTfO5qj6Uw4vvLfbyux3uPphQUVPr4XmQwnrO4tO7RMF1ynsZIKcNr7QYvXfBY+/R7GHrLMVpf+Srh+Ayp7BCL515h6sQ9tN02wZ0b5GdP4fhdwvo2puYxyMRU4iUmGrhr52H/CYIb53E3d0kdPaDMG/pwgdaN8+STZQYbq+gxjfiJR+heehlt/gjxTof++lXMhaPQbErNFXt2ivD2Ev2NWyT3ncDPjqClAhI9C4pJ3Mtn6QQ+ubljdF5/QekWU/sXcJubBK7UEW2yBw7SuLNKbt8Cg9oWQWUR9txHKEPvbk9B8ARKZU7twbt1mdbGTRJjU4TikH/bW/jm57/NR/5kjQ89NULJ8bjdM9nY2GEil6fZaHHT8rn82z9Cr9FgZ6VKN2apGlbRShE3uhjT8xx8/1/w4HGD3X4KrafxsSeL/I+v7JKO2jz9iQK9WgwvnaVSEYtKllZPINyw7+AYly83sTSf4fEs2WLEhVfqjJbhZiXgT74Z8Ngxja1dg3cej/F3F3o8sd/ih35o2DLPZgAAIABJREFUD5XNNoaW4rUXLzGxp8joxDBrq9uUSgX2H9mvuvtXLl5l/8F9CgaYyaRJpeO0m+JuN7mztMxwuaxSsALbixkW43MTqkJUGs4T6HHwIZ1JsLG+ydjIOPXmLulMRhkbXnr2Ik994DiLSzt86Z92GC6myA0n2Npt88ordX7pJ8cpJeUAn6LW22J8cpbtJWGHJUkmLeKFPL585hotxR85eOgwGytrFIfzOH2f7a0Kh44d5+rrFzFsjYMn76Fdr9Ntik3KZ2O1SU5qSSMZtrbr7JkpceG1Jo+9q8hzX13iqT8IePKUQVwdrCNqLZ/Vdou5rMkL1zzO/NmDzL77V3DuvErY6hCVy9BXjja00ojq5TsCPN7eJUymsCUN63aJZPnX9tCkgiZaXDlTyHMxNk4kKRa/SmiNqtfUEzCdcI58H09ShMlhxUEiqmMV7sETPXHnjnp2+5JEcQI0v4th5lWFRjNi6lKty9JG4JvtdbTcfrSwQ9SrgyWgPEkGOriddYxUGZKSOmgS7lzBHDmqOF3OzgWsYAMjfxRfPuNrzxKbfxPu+nmixF7MZFoB90zNwumI7Ul+po2hCauppWoQlh7HS8bRtBS0bqD7NqHwVpwqkTlBTM4Ig21cK6+ej6I3DIwkeiZFcOO7+Ll5LKmn+02SxVMK3q75PTypWLc3iYr7lOlMYOKO66tFZKClMZR20cW1k5jCNtBtlULRQrEPhURpWV7UoXcJTR9Gt101MIoJlE+MGMJPGKxD4aCCNOpBA00g7rkR9GhYgc51lfwbEAowur+hrFD+zgUiOQ/OHkRvuOp+Emw+jz+okT3ys/Svfw4jdxw9qUlQlkAz0cWMMLZA2OsSSmpELAACKhebvbeGHyQwS3M4nUUFprftcUKtB/0uQe4gaLtoPVkcJzFjBkFrm5homyXJ7W1hC1ixW0Pv76DVX/vzyKtdVGR3zAyh1iFevl91i3SJdnYrqlsvZOhQInSejxHPoAUWUXcZ3cqpaGNfgCmpMqFuqkNvIl4g6NdUNFQmHFqUwJQJUBQKf4CoWyfQsmjxJGKfFCiDIe7CcKAOKYHIqYSYLMyAvsArZJIziiF/BdHDhLsEbh0zdxy/dhrNSKOlD+LbNrpox+obBNOPqQu5QLYi8UoKTdPp4lWvqolbZCTVkEIGJmZ3HUe2BeWjaEaAFWVwpROSmyUe1BlUL2NYw4RC2DSEnriMXZrHae1gpAUytaoomBIdMcS52HkdUtNEsnHUsuhygZC/SWxIbXosPYMfRap3ctetnseKUvipmAIwGsE2ljmk1CWxUIY9hup89zeXFACHZIn+1nnlkxSwni4gPyNJZMUwnCZ6pOPL9MuMsMSAkJxA79bxq68RE7CNREC8JnZ6VkWWQ9mEye8/epiofkn5ZHXXwRNeQXwcs3NHxVcVsKq9Q2TIdlEGJgMGrUXM9CyGGSmKs27E1TRSHJtymA0zMhAyZfCEV79KUkinpfvwnTZx4TPI+04R5UNM+eIbSHy5i7wJgsw+Auk4p8WP/a89lt4WltQlQqHfOgpAY5cm2V1fIRVL0asvMfSWD/CDf/4y7/nQn/KBx6ZpBxLPkgdLj8rKFp/4+JPct/9BfvDKWa4ubvF3/3yRzdaAE0fGqNzeQQt99szkqdW6HD8wzrGjk/QGA971+EMkDI9G31XU2b1zc/zgpbOMl0pcuX6HvXNTWAmDkalJXj17jvuPn6TT77O6XqOQjlFtVsln85w+c5Enn3iUqT1jvHb2PJYZo94dcO7qTXaqfdbXNhWUp9Z22JZNSkKnNtAYyRncc2iOs69eZ7fukUrBL3zsIRbm9hGLBbR3+qQKBdY3Vtnc2mSnPiCu64yLl/vyIu948gHaocEv//oXOLiQxDTjhD2fudkJ9LDHl75zh/PP/Tqlyb2qe5dOmvQ3LhK2rpIYf5vq4ovSUR/0cHsb2MVjBLXL6NJvKhwnbC9hSNw5FsdzhW2RBV/0NF2QVIckVxBTgFxIfQKBxsjlMSFaGvdubEwGgpHEnUP8lZfxSpPq4hx2VtC3TmPMfwDqN3H6m2j5o9jd6wxaVVIT9+AEkep3CRzPjcklVof6OgxuohXeQJiS7k2AHnbUpF2zpJe9g9/aJhJgTCKGmbsH0xSTwBJerIwpQL3AxYpnVRRR69/G1EdUZ84X9oauY2SPoTe+h58/iWWMMWhvkrJWkdlglJi92zVGqNRvwrAceitnSGYlYTBG6HcxfTF4rKNnDmPkJwmrZ3E9AcmMYpb34gtITqpM8qbobeIlhomnhwi7ohDSiKfm6Xc3sZIxRfsVnWIYyxNLjTMYdLGjXTUYFJ0N8QmC0MK0ZOPcUNFjSRW4ZEhmJ4jar9MPRP8pFsExRdQV0GnY2cLNz6rvLr1+hnD4QbTQwPaWcZyOsgmK/hBzDF0qSnqcSCi2vS5G+xaUjqtkRDhYI4wSWNl5guYdQsskcrdg0MMS20BLLluHEExtf/US8USVROowa2ttZn/oCT75M7/KJ//iDG85mWMYjZGJFG1SfPfsMl/59cfYs2eExZdfZ/zQXgJdp3b1PIXZA0pTl8ykVd9YtrjJmSnM6iLazAP0ls6oYW187wLuy6exxtK4OzVqsQn27R/m2S98ho/8YYMHT02xvblNJmlxaG+eL764zI+9eY7/9sXPU3nhH8mkJwn7OwzIYKWz0N5Fz8wTirK0vYqWG4N+h0jBO7vKa24kJxmEwgTwSCRH1WAnMNIYoUf2+BM881sf5v1/eJm9hRgP7QkJ42levtVkbmySf3h+nZd/Zw/7hhwqTYOdaleRvGf2TaroX7lcULUkz3eYX5ihJ0OyUMNKxek0mnQ7DslUnNuLdzh04gCNaoPWToPcaFb5hD/1hQqppM+xI6O8dqlOJhXy0ffMs7PTw223sBNp7JRBOp7ghecucM+D+7DMODeuXmdmdp6R0TKvnX5VHURKo2V18O92utS3moxPjnDh2jITYwk6bV0ZX47OJ/idvwv4vRc8PviGBH7boNcT84+rFgKyZfr+9RqP7U3x5b/9JfytJerrIZbdpH1tifLULNdePc3MG9/G4M4tBjtr5B94C0E8hbZ1Q7F+GJ1Cv32VxMmH6Vx4HmNogtTYLNvPfEkd0O35ebVIEKihJrRo0XCuXiX15A8rRk7n4hno9LDHhmi3WxQySUVq9uo1IqdBujBMf3udcOIAhlNFq3UIZ/dRHsvyyhf+ho/+ZQPPj/HOt06xvLzDkBGw2QkZSUScnLCpd1JcDgbcWnVJeXBopM97DoyxW+9QcWB/esDANVhxLBbyHsVMmuuVPvtLGhutAS+sRjy2x2Y2l8QwejQcnaGcid41eb3ZZTEwOX3LVeC3Hz6a4EtXeqzUHY4kBxzaV2SraeJoPc4v9hktwJG5ETr1Hn/53SpaMuLVv/4Q6cPH8Z9+GjeVxp6epXntmiKfpw+dJFwRJkgeV48rUHT/2lmMkVHs1DD99jbxwgROu012/gDtdhv94jfwRmdIlCRFtoxR3off6xDVNhRNW16f8NZZnNQ08YkRLD+iefo7xI7fB5traMPT6L0GfqeB9dh7YPU23Rvn0HZrJERtefhR3LVrDNaXyEzM0w4jUsMzhE4L7/brJObvo7b4GjmxU+0/Qqo0Qm/zGt3XT2OVy7iuSdaOwZ6jRGYbveMLMRijep3M259k9e9O88iv/jPJnEYimeTn3jXD5k6D5a2InVqLZ290+PyHx3j3z/8I5/7maeZPzmAmxrl55mUs32DhscMqzVr4wF9wYiROuhDn9u0OcyWL05WAj53K8Bs/GuNrr3Qo+QMaocXJk5PcuFghN5Rke6NOImOzsLfI9Ss7LG90mZvJcOJ4lovnAz7/Yp2W77OnrHNqrswXXtjk8SND/JufOaL6+o1Km+3dNtMTRfxAo9ERgJvP1P79dOoNVRGQYd32zi7ZXI7AH5DIFhmI5SQm3XaLVnUXK2WqxM/YyF07QGRL9FZndWWD6elJtUHe2dlViQOnX2NQ69EmweSwTqxY4E8+vcihvRbVdp+1HZ0rS01Ozuk89XCGQm4UN+7QuF1HS1jsO3qQ2mqFXreJJZYoE9KJJJ12l1azqX6nwkiJoYkxKrfusLaxRrZQZHikzPUrtzh+6l62VlaJZ3PExcQ0CFWqs9bepr7UZ3gsy/SsxvBHbnHy0DgT6TpOK4uVGtBsCYDQ4Ouv7vBXH3+cH/+fn6R94Tv0N2+QLMp3h5ztHaWYwxpSDApdLrVy8ddFZ+2p85FvD5FIlZVtyx+IOjyJZafwDNFRSuK1hKH7KpI/ELtMPKHes2YUqo64VICjdIFQTFmenGekdqdhagFu5GKETQJJ4YnTXhhl6SMYdg5/54W7Xfrhg3hODXq7aOgqySdaQEmAi05d3cPaO+DL4k/Awh21uQ99uZBncGs3lCEtEZthYPXRd0Wf28Qq75cUOoFc6mMpIqkBDXbQOw3M0l76Tlc9D7TmhkrCCZfFtIbx/AaRgNgl2Ru0CWPz6gziddYwzCxRewVX4vlWDrtxBT97HMO9BrE96jJvWT6+DBZcRy0FjH4X345hdrcIk1IZFduYixZ08QWa7FXRBhJ5lNCET2xYFtQ9evUbpBJxerVl7KFT+PJs9hvYxXnqK8+REIZAPK/i/AgAXjhyxjjOxlchN028cB/O+jcV5E8WlKLElgU5cmdpb939WePHCXfEAGegd9ck70pglDBTMVXpjrwkerKA37ujeFluv0VSEyvaQA3XrVicUI+h7VwiyI4SH3oY5/bnsYrHwV9XS0hyx1VVwDRaBHoCrddXwERV59y5iD40i9Y+9/uRJlOL0MAV6FJxkqh+Ed9tYZQeQBeARxTi7twkEnfgyCyR0PdNocwKfKWHLYRIdw0rWcKrVwgM2a4V1B9aJityoNeNu1MgXTaFhotbl/j3IRVvkIueFtYIrSF0M03QWiduW/SExG2XVSddvkoELiFAjqB5XR1ixYuYGDmhvO6ybSM9pYi+XmYvfvM0tuNCdg8BCbWp89sVTMvE0nO4cvnur+AOOsSE2hkZ6FobLXUQs7fEwPdBd9E1ITquEQYudiqDZs4Q9F7FqbdJzjwO2y8QlRYUMdJIWuiJBYLebZy172JNPq6AfbHiKXy5JCcSRG6H0NOxY8ME/gZ+LAVmSenw6G6A48DIA2ixuNIQ9qovERmjxOJFfH9A0BfKelL9NTwBiZkGVmovWvuOiuZ42cPEoyZut0UkaQhriFAiJV4HK2jhSfcpNYbhdfAHEiPaJF4+idRAkCRBfJKYP1DxG6+7rOAiem4BVy5xvq9AhELkF9LpYPc19NRhos5FjMwMYXMJvbCg1COh21L/PpMEtmg9WptEybyafMmE05YtZeEw/bBFzGvges5d0F9ihqB2nkjLYAtkrL+OJU1Y3SRo7hBOn8B2V5XaSxICYfMaXs/HnrhXDTra9R3yxXHs2Xne+8a3UR/ovP+9j/Klr7zI+MQwL567zbsfPcEH33+KWyvLPHTvSS5dWWRjp8kXvvIctU5INpdianyUVr9Dt9bDkA6y4Svtl9QURqbyPHLvFFvrG9x/8h6SCV/1Ly15f+IxPjLBd184wyMPHCabTfOt759mZbnKmx85RNsJWN1os3jrjlIYopvcXm9RyNlsbHWp7nqU8iZTo2l22gGB22fh4DTV3Qa3VzskTZ2kHnLvkQmefOspShmDSm2L0ZEp1tc3eO2VyzzwyAPq0hVpkepTysNwa7Oi4kBTe4bwA4Pf/tOvsHd6gkxWY2u1SavTZu7ENJ/7wiJXnv337LnvSZa++7cURg6ovqFoRyzdxpOtrCEE6w1C2c5mFkA0I50N7H3vQhPeR7uKZtaIht9KzOnQq7+u4uuGmcIu7Vdf0tHmvxDkH0PvL6OFAUauiNusYuoB0UD0SzIczIPbRhOtXPMqmhDsdQ3DWcMI4vgSLSsdxK/dQHfvoBUeQvcrRHJBDaXjNqRiXZIIMYQbUp4n8HbQBxYhu0QSh0+Nqc8ksUmi/iXMICIqH8Dp9ZXST3Q4rkwlgjhW1FEXuYF8DxrTWJkUkR7Hb1zAKD9KsP40WmwBV9tGk5RD4SR+cxttcAdt5m1qg4CYOSrfxtdC4pMn0PoRTncdIykVnc7dGJoutPSU0moSigZzQvXafDOG2b5DIBflyeNoVhFfpu9iPHHq+Lmj2Ikx/J3LhEENa/xePL9FXBvClQuo5qmBnGbb6oCCPqqUPEH9MlbhoKLPaoGLb05jen2IOuq972QKCuSottPi2xA4rJQoIgEYbijybxDLYgjW3+0qOE3MSOKHVcWgCBJZNCkdxgrYvosj9NnkMJaepl+/SJQ+gBl10FPjaFoGb/lf0Ev7sKQfT8jAT5CKGfTXBdb1Dr73uf/Fh//jVzm6oDOazlFvdVirOVyqZXju4wdVV99brWJlxwjicajW6a3eIHnoPjypfsVCjI1F1YcW6KiAXfXhcaL2tgKpdldXyJ96M7aVpL91B6JtyrMT/Oxvn2PddZhXbvVtJBhT7TqY3Rgv1b+Nc+E0AyGNm5t4+h51UAkkxiecldYmWnIET0Cnnk9a1LaNClEmr54tcrjz+j0VG9S9Lq3aJvnhWZJHH+WTv/A+PvnZRR49WlIgoYwDTb/Pjc0e6y2byqfLrO3YpNJZ4kmbWq1Hp7eLbSfRdV95uf1BwND4MINun163y+5Ok3I+x8j0GI1anVg2SSIWp7q6SbPls2dPFiMd8ekvVjhQzHC90mKrbtD4P+75v/rUw+yu66yt3sDrdAhNnb375qls7zA2Ps7S5Vv0em0eeNOjLN66Sa/RYf+hfWoQ2mm1GRkb4/LrFymXSoxPjarPf7vV4MK5LcYnchybhvt/c53bbp7DZYP7J3UabY9zay11iCqmdM5eb/Mrb87zW3/8H6mdeRG31iZz/I0Y8Rhb3/kS2UefRGtUcVduYmaH0KI4UugV3ZXndLADT8XkTXntJ4/A6nWc7U3iew/hCyjuxmsk9h4kaDnEcill0pAXPDa6gDEzxeDaBQLhz2hJYmNixynh1zcgFscYmkLrNvHke83KYaZCmlcvkTWHSLz3HWx982k+8Qff4nM3Iz76YAFPD0n5EZWurSojuTjELItBYHF70Of1xS6PTKb44Gxc8R3S8RRr1Q32jg1Rb7eYzRp02j6FclKpiJdducg0Segaz+/C02sBjw97pIby/PXZJsdGc1iajuFVcd2QLd/gx47Nk7RbPLvS48ydDj96cpbdRhtfa3GxqXFn2eeX9hl84vffj3HtFp10DF+qkFaM9ddfID0+Sezw/bg724ReKOgiorULBOlxNFHzvfUjDNZvoi2vYk2NU339eYr3vVnVwHoXXyJ25GGC5cvEU1k6rkc8bBONHSe0kvibV7GKQzgXXiA2fQD7yEnC6xfw4hb9tQ0SolTu9RgEvlL6ditrWAfuxXAcgn5HmWYSu028fAZLzv27AmKNYSpVV4L4vgP0n/l77Cfeg3v66+h6lmQhR31plcKpe/C6MtjU6d4+TTqK05HYteUzMinDui2Of/Rb1D2bn324TGwQ8fRSBcPzuWemyF+ea/MbD+f5z7/6Jirnt0mnRtlprRP0XcaP7CdstiEX4+pLV3jXH13ibfdn2ZA7t2lwaDhBU67Q3Sb/99sTxIeG2NntKWOQ3+4wNBnHjuW4dGmZkbGCqtZ0Ox6tlsbUZJqFo0N89v+7zrdu6yTcLj/2jim+9+IyXS1D1m3y4z95iJVbd2P8J9/wKFdfe0WlTPbtnef8qxfIJmXJEtFT22YdmfHLmWVy74yCGwtFX17/MPTZWFllan6O2vYWrd02iVyKYlGGBAKIM0hm8rR322xvVzj14H2s3LzDtasrPPD2B9haW2N6bIT/+f+8zthols3dLrrpKftMrxnwiV+cJVUoUVmq0OsPVKI4nc3SrTcZBAOmJvdQWV9XwwbRN3uhRrk8RLtT59rlqxw+dAw7YRMamlKVep0BaK6qOBRHxul3GlTWKszMjFOanlAWEy+CvfeW+eGfOc1ztyweGPdwtIhCPEu5JAMHl7/6zjoffOs4n/n8J2ld/A6RdUx9h2IZtOsBvt4macYIBOxmS/VtmKh7hUBA5WYey63Q1UzsXg07O0nXzmFtvgyj9wtiH82qEQRyQTZV5Tio3FC/Vzx/d2mg+GOZMlGvhmYPqcVl6Gyhx4ZUwjhq7RKJBUD66I0NVbWMYxMOHyGwCphSQ/QlYVXAEfaXt04QL2JqBTyvg0lH3dEGa19VC1Rr4glVoXSFe5KI42ceJ6g9j5afVGpjEdlL7dLdeoV46SihkcXrrqJ7PvGhvfQEJB3aGP9qRZKaAU5FKeMlHSwaec0UXk1KMRXEEOOQRne2CRyfWFFU0ZcgM4Fu5wjqi2iZWTVw9rdfQs+dJEpmMPvrhB1JmmroEw8TbF9WilFZUskCRTMiItFVax2CdgNDAMkCRA6kBj+EETZwHR3LNtQQWCriCOctnkVfO4eZzqtFrixEdCuDHuvSazbVaygpRqwxjMC5mxJ1q8QTZfo1WaqmiJVP0Lv9LcyZR4hHGXUe8MXuVrhPmfb0tZcI0hNo/SUQDp1dUorkKDlG2FzDDH3CUKrjQ2pxihFHb6+gIYpGl6i/g56YR8vklN0ulHtfrKSSusKLsP02kdQdYrZ6jbX6y78XqcmTlVaXjcipoQtkyEipjqwu3XGSBP1raANxNC6gmdq/xsj3E/odLNmFdjbREklCcUYOXOXXjcJQXUyjxDCav0EUeRipI7iObFhd7Nwsrm9g6dLZkEu+kOf7knInkZ/G+z9ffJpuExkRmivxDRvLHEVrvUwkUp1MmUDRlA1CYRjUXiFyLbThk3iaTJ+FPi5R2B1s2cIM2rhujXhhP936LUz5HTKzhN6W2mTpZoIglaPf6BM3dtHNPGFminD9u+hyAM8fUST/sCXexTJGfIaodwtfpjjpCYLKeTXp8RI54vER+qun0UcOKz93v7ZKYvIhPLkYK8r+JFr/JgMvIDX+MO7OK6pjK40EXWB3QZtAqgSlExCFDHo1RSuXBZ4bs0kk5PcQZ+gq6HWlEUN6veLbNco4VKWuTdRrEMohODGsNrFC3ZeLsmnZOH2HoPYDrPF3Yoe7DDpVFePV2SYyTMK+iRbPYmohfreBlsyq6GpgSb1DoDeb+NoAS7opQrKsvI5Z2q/gapIuCGvbWPkpBe7zfKGcdrFLCwQCE1v9EmbxIKE+pKogQpgPW9fVpUSiUn77JonMCFFsQvl8e41LahJmyx8pJY7wDL7pEWxdJjV0SKnN9N4uTnyCwsxBrl94lqNv/SRvvSev3Nz1jS5veuwYz754jQeODvPLP/MUn/qbr/LAfSfJ2Tq2rikXbrXt8Aef+iYXru6QzJrcLxUA12dls8L++Wn6fZ9XL6+oh03WirG808eI6fTdENvQ8P2IfNqk1vMpxKDbh9GhLHrUY252ipfPLalKxNseO8T5qzfIxJO0Ox7ZnEYmlVWVEhmYpawY/QgunF/GC3VmRmzmppM8/ughkuksI0NliqkEt1e3+P6Lr7J/flZxOA4cOECpPMZXv/EV5sZnWFlbZt+B/QwVsjSbPqurt5iZGuN3P/Nt5VuXWNz8SJHlaoVbNzrcqQZcf+bnmX7ww+y+/CxGoaDUe8RMouYlQs9ELx3A6O+oQc6gW8UePoq//A308YfRvIGaaItf1sqP4zjigtdVVF+m132vTXzkJOHuDfQgIIplMaXy0aurupAhhFi/jduvqGGTkd2D1d+l29oiXhy9GxOVJIDANqMBtvTddA1TkjTy3hjsohUPqs2zQYTfl4ur1GuGVZzdsFKY9gheUP9X4I2HHfqKSeLLpqPfVJpP0RTK1DkULZ1YPPQkkSj25IGUm1fDMqe5hC2XzEEPPV4k1MVAYmIGDoGVJgr6CgQZdjvgbEk7EM/Mk8FkkEqrIZxnCwQso2o4wcYzRPFZ4sMncZwqsUji9DuE/S2soQWC0CSUv60QdGVqbRSx43nl8dUlEWUfwIu2MdwqRmKf0rm2V58hUZoklO8rScwYNmYYEIZNNFGi7t6+a0spHCWq3yRyljFie5WPVqB9vdoqtrI/2OjCIGhtMIjJBHoKMy799RWsfAnNddSDy5Y+3u5l7OQIvpdBS9sYeh5fhhpb31M/38gfg+Y1guplzJk3YBvD6pJqhS0GtdsYpRMK2BntXMeYvp9Y36XnOwo4myrN0t35DntO/Rn/1xOj7ImlOL9SYXxilEuVKkd7Hf73d/4r2//4fTxnQO7IYQKpJaVySkFVf/rvSb/5TXR3O6QzI/Tqy4Ti3/VCYUAS2UO0GneIDxoEolU1HMzZB8mOBvzb9/4x39hucnwijZXVKCdLql32zRfvcO3yH2JYZVqVHWwjhysT92gHp9tQ8D1NNv5mBs01iZekNtdBd0XdFMeUeoaZQDeFgrxJZIn7uEJh334YvZfJ7AEKcXjjsXm+eW2VoaTOeCnL0naNZGDzwqcWWFkdsLK2QzmZYmR+Trm4z525ziNvPsag43Dt8kX2zM+QzGTZuLPMxPQkS7eW0QxxaufJF3Is3VgiKweHyGRuX4ZrN5v8zTc3edv9ozx9ehdLj5geifOf/sMRvvK5Szz27uO8/txrassvfed6s47juExPTbJ8e5VELkl1a4upyRnsTIpWo0oimaInSYxEinqtTme3T3G6QCqZ4fL5TfrNAW9/xGSbNA/9co+5ffBTDw9x7laXmxWHQgZmMxJbj7i2POCZX5nnkfc9SvXsDRK5EVq9Kpb4PCePqFRj7+ZzKtZuleaIp2w6O5Lcm4RGnWDQxRJlmheQPHyvegZFlTt4zjpWYgSvVSX0ByQXHmYg9cFeD6+1Tb/VJpst4mZTpFxJTubpCQBUb2NJD1Ziq802ej5FdvYEbqdG7fJZStN76PVrDD/yFNw+zX+4cYAIAAAgAElEQVT/xD/yZ+cckoUEh7NqaUZ7oHF4JsWtrTpWz+SNB7NsDQz+8co2x4bS3Nxu8tSBAnsKEVZH57bTZ32gUU6kuLrWZm4syYWNlhrSDvyAoYzFwdEsz91YU3W1vbPDWN0aw4kY1S44llQP2iQLKQQttHilQbaQ5j0ninzr0hrfv2OzL97ni798ivmffB/uYgtn0KJ59hVy0wU2Ll1W8fnUzEGCm1fZvfQyw8cfISzlGFy+RezAHFF5nmjj+t0hcDrNYHtXbfhjhWHcsEbc2kNypEx9S6ohKVpXLxAbHVU8IndLwGnT6KVxohuvqe5qmLbwWxGpsb0Em6tEWWkBQ3x4GK0noMMG8YUDBJ6JV1nBX79D8uAJdM2jdfFlCnPHqbsR2s51ktNHlbYuvPQy+twpZSayXQ/dTjOIImLFCYKNCyQWHqazs0jQ7pGVAU0frKee5A33fQLfSHCgHDBUSLAd9EkNEkRJDcvpkwk1fvVnHiCTM1lZ3lXpn4mFQ3gdl2ajRiKRRx+2WL94jR//1C2OL+So9VxGh1NcWaySjducq0R8+ccszLjJ9HSOixdq1Ft9hooWM3OjnD19h+PHRllaqVDK5skWc6TSPu6gxzNnO3zpNZOh3IB7RzOcXmxyz0GD/dkE970xy+3bbQ4ePsz2yhr1do0Dhw6yuraukpmF8jBrKyvkC0U63a6qjM3v28eFVy6QzmcYHR3m1vVFjt53kvU7K8RSMSZm9nDn2i36nR7ZfJKxqWmuX7pCsVRgeGSKK5fPKytXytLZrjTRE0kmitKZH/C5L1XJD2VotroMlwpksgaDXodSPOKee4psrXVUHXVkLEev79Jvugq+bFg2SzevM7lnmt3dqhryjk9OcPXyFcUN0Uwd3Q8wkwniqSSFUoGzP3iRUnn0/yfpvaMsS8/63Gfnk2Odyrm6Ok13T+jJSRpFsJCEkJDBYEQwlrGX0+X62uDr5cslGIMvDmAsg7EJBiEQAqGskTSj6dGMJnTPdA5VXTmeqlMnh50v79f6Z9bqNZqpqTq19/e97+/3PKQKGfpHNcZn51hZ3ZBVIXFCY2OjxwefK/GNSwHv/eUN/slHh7m21CCfH+HKtS0ePZPGsTP88YUGNz/1vcw/OUtvs4Rr3MWW9G3yHHZKJzhaJYoE/F2DQR+33yK5+EH1Ho/iprp/SBJAGETa1ovYtoM//reI+3XorKIHVUJMzMz9xPXL6FaMb44QeD2l5hN+hdtrkyhO4x+8SuAFmKL6S00rUHHQPcTMOMShsLx25b8OXZMOekgsSz+xIflHGEFDpfIEyhlHPUxrhCgU3Z+8FCWdG+MbeUzZ6kuSu3kXv3ELp/IAVukcbusKmjWCmTuOW7uE0dlDHzlD3LhJ0BqQnH9G6eJFcRinLAJPtv0prHSBUCrBrRrG+BmMdpV+7RZWSYCEKQhbxI5FcHgHMzWnFMv9ThVj8imM6hUFoDbjNhYp/NgnSpRVOj3a/Speahxn5B2w/wq6mBb8PWIFNnzsHqBeoIuJISJJ6vlJReA3QmFJRESFKYKDq9gph9AX8phcsGMs4R4JiSwpKmf93tcvWuraErHUJunhD5powvSxDfT2vlpielaF5MSjdOu3SNS3iJ1xBcrXcmP4zT2MrKMqkb3qW+hT78HOVoiqS3h6HycxjmGXcfvbip0mtT3NC4m9ZTDyhPYwmilDphn8YB9b8wlabRxtwKBzFzN3ltiWainoR7cIowinclwZK7T6K78US/NU/qd647TRs2fVh0Xr7UBhEZ08cW9F/R8kemA5OQHSYg368m0kPHwLS1zvehcrP0XoNfFrr0D5aVh/Fe3Y+0gEMnmvE+dLqifu9zsYQru0K/imKOC6GBLTk+2ft01oVMBKYns1/EEHI1dQ1Hkt8NU0Ri60Eg+LpbvrHGMQd3GEdpybRWu8it/u3IutdHeJtEOi3DmS9hD9vdewsvOY6SKDjRcwcyeVjjAaepiocVP52Y2hBxTtPuzsYw49pBRopsQmUlP44RGGK3FgR9UkDCOptnNmZkFNW6Q/67f3cIaOq0EGg11FFg+bQsJOkjr+cQZ7NxWYTy4SArgTlZ10bCy5OAvgIerjtT31y5sYOUEsvm+J14pXMzTwBCJBD70tv9w6gT1F2GvhjD5A2LhNrIvXWC78EovbRktL/G5OTfvi5jYaXUgfx07n8AfCTKjjDvZIJsfRQ9GENTAEZCJxGcGxeR566y304hNYWhtPHyi4oCFTsO2vYmQfIC4MY8a9eyRrI4Mpmz/dQi+Oo7W2CewS0dGG+v5a42eUD1tr3bkHMQw7CvZn2NP0Dl/GKR4X5x9R7SoImK15F70wrzRova1vYhePY0ovuH5XDYLE3SsPpKAlHekFCufP8se/+G/42V95i8fPV9isujx0Zohmo8nSeoNKLsunfv0n+fLX3qDarPPQueOk7AwH1TqLpyZVRLXZ6XH11gG/9LvfZq5sqiSMJekRKyaTtakIpblQotcesHFQp1KusLe/yd969mH2Dupcur5JNpnggfvmWN85VLTrybl5Lr19nXc9fo5u55Ct/Y6yK+SH8kQ9l2w6xeU766raIId2Uc685/FFHnpgjsXZAsnEhCJGX/judzm2MM/S8i53lpZ4+tnHWNtcZXJ0hoODXbX1f/PSmywcW1TmgL/+8vOKO7C/0+Xph0+yddjjH//y5/nxjzzCK29eZXG6wMzYELWjOn/55jYv/+knWTz2kAxIadVfuUePzZ9WRHvpPulyGRaffbakoCyekye+8ycYQkAVACC7xC3ZDCbU8Cdye0TJAqbUXByJutfRxXna2wPpeplJcWAo0KhpSwqkTHy0TCQPfoEFybS3fBxt7wJRr4E++qgCbklXXsizmsBVRM81fBo9kA5rCNGGeoFoiUlC6Zk7RfzuMonsoszB0NqrxJkZdDWQOyIUmn9uhLB2B82soBsBrsAsU1PE8jsvypyeJBuAZAVTXvLyspR4/MFt9OIISIxfBh6JjIp5CXQzys8oum1w9A0FK9WLJxV9OPAc7ERM9/AmqUSR2MzhDlawSs+qyXf/4DKJ2fcyGHSwqxfQCqfQUkPEohwqHsM4eo2gv4deegy7NE0YZdDcHWjtgd4mtuZkOAxRQGfzMsl0GqN8ViUP4t4hsRZimpMEXTmQ5bCsScJcDsOL8fe/QVx6QEX4NemkeR1ceorhIJt/MSzEqQpRW+Ct4/dqP4MVyJUJGCN262j5HHo3VNR0PRUTyTMwdYJkJoEbpjFlcBr00POn6d/9Q2z5WYgatbetFI4UC8p53G36ZJN9VRlz9TRJK0/6sWMcm/6HOAGcf6BCMeGwUmuTMzy6tS5/+Z3/QOfC81ANMSYr1Jfv4C9vkT45iZ8okiqPqMuQQKMCv67gov2DWzj9PuZDz+FW97APbsHsSdzlW2Sf/jip+Brf+eOX+Yk/2uGTH57mlSvbbG95zE8n+fM3m1z4/R/j0Y/9A47e/gK5XBm/H9Ht7+NkJlQv0M7nlIdbPrJaRlgY+xgJDT+eIGnrRH5fXZ7VsMwawgyPSC2eh0SPofSHefxsglRC4LklEm6XO7UaN7dsfuZ9SX75J0a5cTuiUNbZX99hv6GzMFGg43okc0kCz8ORYZ+TYGdrg+HhYSxTPqsevlRUDJ+xmUkON2vouthJimwfrdLZ9vmFP2vyDz48rlSLyysNLCPLh57W2F5rM3JsnFKhQHVvlytX1vjwh55lfVUo5AEZSbvpGrura2QqJTVUECL36XPnuHvrlho6CMOyO3Appi0KU2V+7798l+95agIzkSZht5U67t3/X4NKPma2kKDve5RKGe5U+xSMiGaQ5spKjdbXPk6CgL3lPumpMVorV0jrciGcodseoM+cJLj2LUxRzOYLaqEjEdpEKFypNYwTT8oCCvfaVby125Se/RDu0Czm4QZxGNF5+5tkRxZxkxmVbszNncc9XEVbWaMTDyieflDVnXpbtxWoKdA8Eokkhm1zdOsaBaFWP/Qu7GCfxte+SJiboziSJTmc4wt/cpH/dnmfC3f7fORkmk++7zi/9aUr7Aw08oU8o/YRk+VRfCyu7h4xkr0HJFtr9Tg/mWSz6lNK2GQSGrEVKfXkmQpsHESkS0WVovzw8TyfvlTFdQ2ee2iaFy+vYYqKTYOdoz7jpSRZK2Cr6TKUS6A5MjjVeenNJv/i41P8zD/9CINEVmnrbK2rLmhpI4kxtUB/f4W41sZLaCSlj1tZxF19Cy1bJHfuOfp3LtDdr5HUdIKxMiQq2LqwKWx0M4FmJukdbUHzED8KsEXNOzKtQGaDvQ3sIKIvvJfYJD0+SyyQ6L0NtMIQej9QSdW41cCoDKFlhbfkyUsLS7PxMqbqHxu9OvW1q9jCE5IhrSkKVJ/O1k2yZx8jcA367T1SUUQ0s6hqkf2bF3BEs9vsoSUNQr9LaXSSfpTB6ayQnl3g3//HL/KrF6o8NlXmgQmNVzekb+xhDsRg4aH34Ku/8wH2L95EL5Qpzc9w9c+/RmVOmDE6h1t1zj73BI3NFeL6Hv/8r1skMxF7tRbt0OZ4xeHCrR79nMH2b5/k9a+vcX2ryzufmeSwHrC+ssfCQo563WdsrECt2VWb2MiL0NEZnkjwxhst/ttrPr/w4yN868VtIieLbce4jQE//y9OMmja7NUP2VvbZfrkgizGaXVbDJXKHDYO1V/l3VGv7tPr91WFyu/3sROiiDbV89aVwlOqQCSJF9PBSVp0jmq0e64Cb1cP9lhYXODo8IBcMUcUajhJm6SZxA3ce7rkzh4vv37EVl1jZjrN9u0BxUkT1w1Zvdbikz86yvD4kBpYjI7l6PZ9lVbzfR+311PV4spQmc2tLfX8TZWTGGLbkeG+1MB2quRKZTZX1ilPVEhKX90IMWUDbyZVLF3+W2TQPTVbYnezz2SxTn52gvv/ztsMYp3jsykyUSBuHo4aAxZGc3zh0gF/96On+c0/+iWaX/8GYaZEKifssrQ690cIrHwIPTupwJNxb4lIS2IkU2hmmUgo8Yak7IXanyQSyHl0dA/6LXcdXxS2VfrOPObQDPTX7tm4HIGSvqkSLla6QhhG2KFGPHaeuL5OWHsRrfKYShdrUi0UA01yDkv4SPVrhF4LM7eILxBfL4CoTRCFOOWHiDrLRGLf0iaxzA6+U0A7vKy+lxoDEpXHaXeOMHa/jT7zLvSBrxgGkvoJD69g5I6jWSm1zYziDpozoZK/MlSzI4P+YJVscgZXA1/+XJJ+chd0B5hxEtfso0s/X75HRl5pyuXvC/QClu5ixL7ibUk3wk9MkU0a9EVD07iqUsUxXUW8p/Qg6kC5+lkoncco3E+o76N3BsS1C+jpE+r8GknNKCVcp4IyPMndysiexpV/nlZAszKqShWp5EaO0G9gefuqAj3Yu4U2tIAZuQoAbSZniOqXFX1f6gxxsqR4TGInM2yIUsPYRoG+pJzl3psTBWtbJeN9VQ2X82gOhqbQDt9WfKAoO4Ehnxkx7QUHxO2de/UCWVL0B+iOqBb3iJITWNkhosYKUXB4r9KRGMXWO/iNXWynrNKZoQF6do64sYbWfO2XY4nFRdIfDzvqw+CKlzjy7m15vQ6aHPRFcSf9FN0g2LuOUz6OlZ9WNO+oIxv9Ol5CFESTSrcg8QMtk8ZtrpOqPEZIB3flW1h6hDn6JH5tCX9wgOnYBIk5bFO43B66PQx+g4FbI5Wfw6/fwHCmFJ/Aq7+NnSoor7VE2o3GFp6RwkomFXxQHySJRk9jyRBhaB6vehtb6N3pSRw7rWJcsXtI1DlEkz7zrU9hDp1BkwuGMYQjuWH192wzaHexckW07WtEkw8qF7fev0soPQpxPcpmp1BRGyRb1B5BF79bV5d4mb4JyyCUm0Z/lzhxHCsR4G2+hrPwUbr1VzHbh2SGztLoVUlIbEQ8mmYWKxwoSJeoiwQjF7sHBE4e2x5B78k2WOoUIV5zE1131S+xnpBLho53dBXdnoLECNReQZModE56ywKaEhVFiG2kca0ERr9OGBxgZSdUNylRfJZo47N0pcox9pF7pG7pGks0GCHpfprExLOCCCdqvnlPMWbnibtNCKRu4GMlFggFluLX8HsumbHTDAQUOegrt7R44XVnhFh0jabcwiSieoSRPUfg6WidDaJohzh1DFPgia2De1O5VAldTzM4fAWn9BBe7SqDoyWyx56m22hQTGdpG2m0xDD+wTKVR5/j+d/+FT75f3+ej3/wPtb3+syN5zhodLh8Y0dtG//Vz7yXqfFZOoMuL33jBZ54+jGqewMOJE5fKVEZyzNRLnB3f5euZ1Dba3Jzc4PvXthkZLzAaCHHK2/eJZHSiCTebJiknYjAcdjYbXNsLKv6k7GZ5eK1HSZGC7hRD813yGcN6p0umbRNX0jXrkaz5/K+x6aoDAv34Yh3PH5WkWkTdobtvR3Gxmb4g9//NMdOnFSQk2zGpFDOq0PUuTOneeHFb2AYaSbHh6jv1Xn4mSd54YVvM78wTrftsb21zYP3H+fs6Vn+9S99hgvXV5kfTUNoKWf4O85P8+mvL7O1ccjS7pdVx353q0qy10eXWJR0k4VS0qmryK96wHtHYEqlJ4nT38PPTagUkWMP4QoQ5WhJ9aq15paCvaXSY/iGeQ+C06thFBeUukXXBgiZTbaRvh5g6kO4bgNTHpBOHnPzK0Tj5xUkRmincglxoxamqPv8ECtTJhTyfKwTp4dUAimsXlCbX/HWi6nAnnyfikHFrVUV9ZKouq6SK7ZiAdi+mFu6arosSjYjsogGu5iFOTzp1uOji7dBNrtBT0QyKi6mLrhRX4H9tMaqArgYxQk0TV7u0uXW1GfACTsE2RNKWxj0VjDTE+hOBsmXymPCSFcIIg+rt4d/dBukO1d48B7zRLgLgbxE7qgha5iYx9JEEOcSm+LB3iHW01iSZtIcqF9X+jnXtnCiUH2eJNUgfl2VmHKG1FTfdWs4+ZP4Ry8pGJBRfpa4+Spa4hhmbgKvswx6AS3toDeqqoqgIv5aXz0TtG4La2iWXvsORiiTeIM4P6l6dnJhjxNjBI1rKv1hZsRfa9M7vIyZLuFk5vH1JLZtERzcJJS5um6SyY7je/69Qagzr2CAsfjED24QZ07Taw6YePfj/L8/8tP8wefXuP/+CiXHph/06LtJvnVph5f+8KOcmJ9i/8aOuhh16FJ0iqrvbc6cwSiXGawu41Sm6SxfxpiZoDB9mvrzn1Wcitz0SSLHJjExweHrLxDFGcpDCTBjZv/BN/noY8Pc3HaZmU6SDnxevFblp3/kYf6P//ifaV65TNLSlEKx049JF4cJuzUMPSPjaeL+FmFyVvm1hceSmXkPse/ixT2lADaV+K9Hu1Nj6vzH+Ox//RX+9s9/kQ8+OspwWqpjNoNGj8qCzctvRXzi4T7vewDevjng3AMz+FrMcGWKrc0tNu5uM7swSnXvgOmZKaXIyqRT2E6KzbVlvEGAk80wPT1No36koJ+JgsHarRpPPHeM2kGHP/3mXRbHp9nebXFjo6G2qr//nx+hvhezeneLVFogc1ApF+kOBhxsVFWXdnp6ijt3l/E6feYWZskWs+zu7HNUPcJ2HCbnppWn+6jZUbA5N/L43FcOeP8jJeqNNne2Yz75Q8P80C8d8ZnbLT5yqsx+w2WqlGDjqMniyQLNvZiv3GryIxMZ/udf/BiDG1X12dverFKcLGOEmhrOe+OLWDdeJzQSmIUUsbip8zncW3dwpMd58kmitdeJ2j5REOKcPYO3sYYmPdzMEP7mGlq5hDl5gnDjNmZkqW64XFJjy6Z7sK1Ak+lcEXf3rlKlyqRHG5ohEQ/Yff7z2OkE+Uc/il1IUF++zFBxiNraChPP3YfXsviTzz3Pv/svtzk5lSY/nqRiJ7i912A6nyZlhgx0jzeWO3z84VFeXJJkgsZYJY+RCClrPuvNgOl0ls16l9xQAsMbUPcMkgmTsaTNa9v7lPPDNPePsNIR+YRAjkNafki7D489MM7yapfXt6uYhyELOYfP/N73kC+mlTax60xgbyyrZcpeN0N+fJHO5i3Slo9hpmg3q0qHmjz7NN6l1+h29klPzBBpOtbIDGF1B63fVh3j7EPP0b17g6i2Q9xoUnj2vQxW71Bfu0V2dAy9cr/qEodibDh2hqScyZw8vZtXMCfK6GGC9p0rFB98Er/VINRdpXbuXvkuiYlZmFkgatWJe00MSaPKs1QizqUJ0pVxPKmUXr2DdC0aK7dJzkwrRbS+s0XX65GZn8YMbHVY9uRSIl3b9pHqxmfSOYaee5wLX/0m3/fPv8t7TiQ5dXaUpdU2q2s13nmizBu1AW8st7jwa+/n1KNnCVpHaHc3eeO7V3noA8/hteoc1I8olyex23WMUpFByuHBT3yaH3xmhNeWuyRtjfefyPHFa0cc+Alu/qdxLr2yTy2MWJzKcHdV2BM63Z5Ot9/CSSSINVvVbsuVIV57fYcf/kGJ8vf41a/USCd9PnZ+jL7W5fXbXc5Ml/j4B8tKe6cldcbHpjASSeryc9J0lRCNIp9evYst6szg3js6OzSE328rUHQynaVcKnK4V1VK7H67x1GzxekHTuF2+mysbmLZDsWhIrqAUaU2HAW0mt17tpwoZNCLVaLx/Ltn+fpfvMGnPt1k5FiKxXKC65tHlJNDrGzX+IPfeJJatcrK7RpJWwCLVR559gzVrRpBGJBKJthc3+P02RNK6ZzJZUkmLQ52DhmeGOPG1cs88dRTrNxeYm//kNGZMbKpFDtr0kNPsL66zuhQkTNPPMiuJCASSW4v7/HMh+b57d+4wS9+LeDxaZfhSp6ik2Gr1WA4ofONt2tkkmneWP4c/uYy7UERU9KMSQ+zK098CKXuRkMNXHWEsl/CTk7jd25juz1cSU/npjBHzhM1LoOAkIfOqkViEA5w0ifRglv37mgDn9CIBdUpWAasVIQbmfj9AcmR+xXoOFj/FlrlmIqcq8u8U7o3UBCKfxTgRx6aVJNyYwS1ZfTiJHEkgN4lfEys7CSaF6kqs2HllJmgd7iBNTROFCUwgt69PxezTXYcb/kP1MLWzj+IJ+rxpFSU85jhIb1giFQqwq9fR8vKAKOvUlX68CnC+i1o3MaaeP+982RDgHmyGJIOjA/5GfyDq1h2Cq3yKFrjDp4r3JkxgvYaWuVBzLBL7+A6VnYRbbCllivkxpUOOpGaxevdJXZDUgmd3tEu8chJnG5TDUC08uMgyXRPbsQBkUCsSwtEpkHQlwqKvD+6mNK973UwSvcTNJYVpyzOnCFOW7i3/pLE8El8PYMpvyOZYSJRIuolHF3YdWV6nknU21AJtTg5qzh0uFtYXqRsZ93IxpIlgOZiG7IovYKRyKu0caIwy6C9oX6P5MzmSXVLi3GcNJE2DcmYQIbRWkOpIW1/X5mcZMnt1SQ9JefSO2qI4CcnJatOUpoXfhUttNGOXvvlOGruks4UGUgcIvCw40BB3DSnAIe3YeS06nXpciAXaFj3gEAujWOncFs7JPpNXO8Avfykgj44jVsMdOkZ6MT7bxONPQaNt7BM6e0buEGPVLqAZqTwuk2isKvipJ70H2VrF7SUNkZeXkpvkF5El02+ncKwyvjNa1BcIBFKd6NPd+MvYOLDJIcXYf8KfiqlyNfR/hvo2dPEuQkQEF6rjimu5uZdTCtHWLuOM/Ko6uf4tauETharfBZ/7zVwmzjlcwz2L2JXjqtDcbD9VciOoqXm4fAV5ZGUGLQR1olcUX9NokkPw8gSShQx3CfOP6p83nr1AnH5exWgw99+EX32GYzQUZAPiVGbYiKQNERSqPKO6j8JgCPw97BHRG1RRevtEyYmlApEBiwYZfUh9Ne+gylVjdYN/PQ4tlbG6y+hJyfRnTE1EYu7a2hC+5Q4c9AlHGxj2VkV9ZfDtuWMEhglrMQo8cFbxPE2RuYBdTAz2gLhsFT9Iwi31XTNGT7JYOCjWdJlqquJoZadUv7x8OAigVfFqryLsL2hYn+xaxPbodKxCcmdsIlVfvQenMmt429+GSv3MNbEu/FW/xi9MElgDeGo3k4fVyKDcUgonSeZekYaRukkvcZNbE8nyI1hmwk6BzepPPU+nv/Nf8cnfumrfN8jx7hyfZWf+MRzrG/ucvtOg0zW4J/85Lu4dmubbrNN6IUMTeR5/PyTvH7pIjcu3eD42TMMOkeqazY5MakoxgJtvLu1Q0m2J+kUt9b2SecdHIlUaTF/9vnn6cUOrVqTw8MeoRvSDeD733MfuZECX3z+u+CbpO2Yx87fp3R4YeRz+sS0ml4//ugpbt+8w3BlkgtvvMXu7h6bq9uMTI7xnnc8wef+4vP8/Z/6EXZrO3zz+Ve5/8wZ1amVmFKpkCUOY5rtvjJJ7O1XSTjKeMrp02e4euUWmazGE88+w9//x/+NUA956OQ4bhyyt9plYa7CH3zrNu9dTPKV6xfwV6/Tah7gpMUCEeHt3yB2b6M7p1Rk3JKBQLAPsiV2W4pWH8iGX5IzQnstjxG2b2Bkz6gtmpbM4IqbNG5iJSYZtPdITzyIX71GHHeJE/NookyTib2dUFR5OagLAV9qO44jChkBqLTAKqvPTOD2VCLJzxxHO7yK5q+jVd6pPMFa44oadmnFRXDXlGXA8xx0r6qYJQLP0RrbCgATCHAwcBXnwSBBGAXqwKK7PUiNq+6g6FtMv0YkPS1JPQU6icwkfmtd0AroxSmMWH68oUogWHGFoPMGelRAz1t4e0skpt5Jr3YLJ4gUMbavJ3GEzCq9OH8Vv2dgWx6BDMsy0wpeI5d3SS8IuE3sBKEmGrcjtNRpNSiN+hKlG2CVZgi9DobQgGXbZlXUS00gpLJRVumFyFe6myCUiGsCvbeLnqjQb20qDgoDD3/1d4iO/zMSvbt0Dt4iUT4N6Xmszp5SwEpELpB4HmlFpNVF79O6S5CdwIllQlhPTWgAACAASURBVL2mgEKBK6Rjl8geJzn2GG71G+jSqxu9n+hoRQ0RZPIeRQck0ufUMzPYfUFpWPXy/ViDVYLWHlrxlPr+66FB0G0xMAZMPPwIX/vD/84P/NSn+b8+Ms121WWz2uP+k5O8fOeQ76v0+Vf/z4/iBgGNnq7iiHbfpWulKAxVaHY62L0Bvt8m3j/AHB9nUGuReeQpjE6N9sEBcb+HlUmRrJRpX7mKM/cY+Xmbj//Yb7LmJzk7mmEkE9OPdJpuyMuv1Vne+BRxP89g43Xa3R1Sc89CdQWyQwpSZGcm8BpLSo0mw9PuzmX1IrdyU7gCBopi9KSGFupK11d+/Hv5lZ/6Yf71H9zh3/zgOa7eWeXCUounFnPkcgYvXfT4q58f5v5nFlh+a1cp+AbdAUNDGXzDIV/I0D1sURopUj88Yn//kLm5BVbu3GJ8dprNlU0KQ2WZa3Dr9gr3nZlRQ6JBt8e5Zx7n937refxQ9EM9taVa2bfQ/uZd/3M/9xSvX1gicPvkc5bqWgrMtN32Wb+7zOziour+7u1ucezEKXbX1zFth0I+RxT47O8dMrcwgyxtbl65xlNPPMTA7fOnn73G2cVhxgox373Z5XsezTJSyjH6sxuUcjb3Tzis7nVIWBqj6QxOzkXr5/ij1zb5lY8t8nO//gm2fuczlBfGORqZJrW1QW93TYGBS4+8A3dtTQ0xtfIwWu2AxJlz9DY2Ma6+RlwcQh8qE7sGcVFI0Un63UOswqga1BnVZfAigtIEbN7COHueweGOUFoxZZExfQqKY/Telp76cWxNY7B1i8wTH6F16QUSjkkYpPCMgKGhJEfbTfpDaUZyeaJ+k7Tj0Esm+LVf/yp/9o0N/AQ8tShmpQTDOYO3d444PZbD6MFbjT5T6ZCJcpq3NzrsNl2MtM3JjEnL0/juRl/BBCuZNPlUzNvLPcKkRtkM1AZ9Jp/i7tIRzrzo/vpUjEh55Le78NHjBr/xcx9G/8EPoL95kb0vfB3fiyk/+STVxh75fog1lMEamqP2xpfIFMbQpuaxJk4qO0Lz8kvkRmYxCsOqpyzDvPTsPI1vfoGh9/1t3F4Ifgttf0OxYmJLxx47iTU6Rf/aZcyJIdqvfg09PYw1M0mwtonz4DkFI5U/L8wfI9jaUVaQwuQUrcMmZk5qXQ6DTptEJkc/VcBavoGWyzLo1XBGF5CoSyLwlOrNnJpSWsPs/Q/T/sz/JD03Ss8zSM0uEDfbBO0qsa+p4bWZt3FvLpE4PsfhwR7Hzp1i8+03mf7Zi3z80TFysYudM1ha7/DgXJ4XqjGtrQN+/6fO8thHn+TN3/oMwyfmcApJGm2bkdlJDi+9iteH8sIsuyt3OfvYg2qBdOoffpXzp/P4fqC0ljnD5fnlAWagcfHnxtnu9zns2NS3qpw+NS7GVGwj5u7yEY1GyNRsBk03GAht3Ag4OSfLhz1e307jxm1yUUHmyLjKrOXyL//ZOTa3Bmh6wNF2DdNOYiUMlehZOHGao8YBXr9Pr92jMjpMqTJMs90gny3Q6w5oVKsqaWDkhAXjostnvheQLaTQDYdkNsnm0qZ6dpQrFQae9O5b6q/lYoFG9ZDIdEjnk8wfH1WLi8+/cMCrNwecGPbJjYwyXbL48y9t8KlfO8v1t2qq458tGHS60lw28ITBYsWkEgnsVFZ9DTdu3mRsdJy9XYFIaoxNCbhVTFouyWKJieER9va3VZw8GPgUihmlw0wapnoOeQ2P3eouZjLBO587xksX1njHrw/44NlQJUoOGn0FBT69UKa+4/OtGwdc/KufZvHpd9K89Iqi1guUPFW06PdDpXXzty6ruoOWniJKjZLYv45raSRy4wwad7HGn4HDGwyCBs7weaLmBqHpoPU8EvlRosGG0gMbw48TDdYJ2j1MAcF169iVU5hmWbF1gvYmhkBO4wqGLF2rt7ESJbTEHAR3VczfyM1iEBC6Lp4nVcOYwDBxEhrBQFIvq6QELigLEtG7d9YZGEXMZElV5SJvQBCuojszDKRSnZpF8w7ByhAJuyHKKP4JwQHe1ptYY09gm446N/q2pThAsnS0+9sE5UdU1TzcfglDKsHJDFp9C820MVJloq4Mi6pgD6vkODK40Hv0m5vYI89A8zLhoE+YTGKaI2qZ5CWmMGrXMdw9xcvIzH+MQX2ZqP0WduURwqBNmD2OJtUAq4CZGaXf3cRJj95LdQc+tm0QaRaBpEsywqLysVVCe5+oWcPIThMli0Sh1MxDdT+V9BypKSzdI4yFURVhJ3L0tr+IUXoYM3OcaP9FxYURiKAvi2ixoJUnsLSI7u4VbF108XLec4nlvuY3MHQbT3MJDzcxNA9r9DkGjesqCUEyL5lMdF1HEwODHeN5IVZimLbnkZRqgNis5GsTdoLAC4+2iNwDNbzRmm/+ViyR8EAvYwT3YBK61sMVF7s1rAiUAn0zSsfV9krgc1phUXX1xUkvEAXN3YDhxxCYoLv0xzhzH8IYP4W/dwcdDytXYLC/hS0UEQE92bYiUsfu1r3ou63T37qIJZuexDBaGBBLfFguAZFNLCq6+hWs3DCEObza2+jy9bTlgHhcUeulgy4ERkPixlqs+vGGLhP9qqJlRsOz6H3p6KUhNYxHTCwQPFFhCZnTr+F2d9GEZl+cxRoc4cs2zQsUtFDo1fpAwGoRkSsu7k2cwmkCc5iwdVP1pK2U6I/6RP1DjH5TdUsM08CwxvEEZhYM6B28TCZ9P3p5kkDUFc48YXgE6RSBK2TPlvIVW2YaTQBm7Y7qdPiy7dRt9P4RgVzKpFPfW4LMPPH2t4kn3k8iM40R1fAObxDlFnBMjb5vYtgDLHOKoLUB0QFk5fIg9M8+mqVh2qMMurcx4xDHyuBqIbH4RLt3ibZvY8qEy05j6kn05pLaiMW5KeisYxcmcQdVzCCjHgZmZ4do4glwylh73wY7TRQYeH6VpADg+j0CPSbhNQn0YYik8nGAkShj56eUw7N78BVsL4E28beUajGu3sQ3ByQS84StN4gy9ykas51PEHYGRLFEpkQj2aB9sMPku9/P0hdf5f1/79c4NifxooHaVNk4KsVy/doK//0X/i5//qUXOHH2BAkzzd7uBlNzk9iGw9LKMg8/cJ6d/Sp+EHDr1i3V/xdQVyJpMTM+xJ0VYVqEnDk+Q7XTp1KoqBfp5Ow4K8trJBIGqfwof/6ZL/LAqSnOnDrG6s6RIq8fm53mxtXbvHHpKh/4wPtoHrVY29xVL9Vev8foaIHlpU3OPfiAijIurd9gcX6BzfUDFk7OcPnyZSqlMeVnfv3ydcqFPD3PJ5txaNTrZPM5qjtNJsdGacomJlNk4fg0btflH/7cH1Kp5BkaylOrHjC1OMbe3i5n5yv8yV9u8Onf/Sjv+dg/4nDjCkO9Fg3XVfDGWNRvgab0Zr4uKZouft8lMfkO4uolvMOXycz/IAPZ5De/g2nOEhgWTmqYfiQvGbmQivljGF16Zf1tXGsYo3d4j5obCgOkSUqAKZqD3tpWIDvRUgqsJGzfwUwfJ4w7mLGFIUaPSCbhPQKrhCk+1n4bEqaKdpMtqNqO267d88iaFoGtq9h4aIjbPo3oTw1NVxN6GUYKd0MesGGokTALdFqrGEevY449h56fIjq8e68vb5cZ+EdYYhYJ2/jyrMrOqoqOwAO0sE0iVWbQWCYaHGDMfT9B9Qq6fG39AKM4f29YJwT+5Kgyd+jhgMg10ZLi/O0RiDorYYHYOwZ38KRakZ5BBAniwjYFBuIPMDIzCrppuEcEjTcxKk+pvr3RFQhOjJ4QEJ1E/Lpo1jRIvO7gCkFmHtvvKJeyXT5LGNTQBBYkrtiegHs8ouxxBSRM6i6RKc+nOvHWd9Cys2hDp9SWMZTclmWo+Hwg/uLdV9BTk2jFMxjuNt726/jJHM7402gHy2jpLJHh4HU2MbMzRO0jon4NZ+wBkEGiRHwl4iaDgI505ZLqZev16vi1FazMKXIn56juLDH9wM/zM983Sr8es9drkEumWdqucTpn8z/+7O9S+84OhttSECZ3t4pTHsXMlTB2N3HnTyj2zODCS1gPPU56dJFgf0WBxMy+hz0+Tu/OVSJNIzE3h59NM1xw+Hf/8g/5k2sWD59KsXp0RO/IYm7B4urfbKkv3/gsYbOLf7DBwCyry1s4qGJlS8o84IRNugc3sYfFDiMQtlhtZ8KgT3xwF0Nr4ek5EokxEuwTP/i9/OhzH+H1KwHverLIkhz0I51jIzaHHYPtg4C3/0OezaMkmZzD2toeU9PTRPKz8HvUWn0aB3WefO+zHG5ssrO/TzKXYXZ+Dnfg4jZ7tD3ZNibIlrIqiXCw11LbP81s8Y1vNXh7PeLRkxlFrV5eD2gfHvCf/sNTLN/eonHk8sCDp7hz8yb721XmFheojI7Q7bRpNVv4rsDgYhzTxnVdWu0mi6cX2VzZwOsPyBcrhJ6rklArO13efOOIB04bVPd1skMZzk47lAsu15bhx//YAzNgNjGgMJbnYC8iGfik0hphSue1ay1e+Z2PcPyB+zh64w1Vb4v9XboDU11SW32XVLdNt9tQ1QDLhNa1S/f4NhPHyDz8LMG1F+lt75KZmMc8+TBRt4d7tIMddHEFHtXYJz7+IPmhUdrXL6KnHZziAvUX/ghz5kGK5x4iuvEWjcAnkcowOFgnqcXYZ9/NoCY6wTy9axfpVI8ov+s5tLDA7tULjER9rEeexRFNcOuAXk/nZ/7jX7O7LdBd6Oo2B72Yf/aeMV6+08XXBjw9X1bueLHRDDk2tw9b7FUHfM9Di+zX77LVtRgcuoS2w7sfrTCWinj1eo1BIoXjh1w+aHF52+BEymI6GXH8ZJqf/oEF7n/mGbpen+iGmHcs2gc22Ks07wwYmpsiOTlDd2ON/fVdCqeOIzhVf2eb1IkTBFaS1O4WnakZgt1tzEGb9Ox9dJevqWeuWRohcjtE/Q5mqUTCShFlRmi9/SLZR95F/9ufxpw5p4awreVXGP2+f8Tea1+iOD2tKNatr32G9Pf/iBqIyoawfvE1spUJzIl5vOsXSZ26D79xSPfqW5jlIezjJ1GKJztNsHELc6iiFF7y+93uR6RGh7FzJdq7e+rA7WSy6lyYnpxXFgFRZpMoY1l9emaJYVEyGBrzP/ynnM6lefC+Inu1Hl++7vLYSZuybfG/vtPgmTmdFz77M+x++RK23oLCCPu3lhidmyUeGlHgzEDr0d0TWHPMwn0SFYz58P/5AitpjXPpBNW+T6VokDbTfPZql+1fLbBd81i/43P26TE6rRYXXzvk2PEU46UCgRFy69YOpXyBkfEUB0ei9rUop4r8+z9fYnhCEh86128c8eSjFS585YBf/ZXTuANo97pK79fvtLBFrZtM0BHeRbuNnU6TTmfxtQA9jEin06wsrZBIplTKc32jwTPvevCe3cuEWrWhLtJr6/tUxgpKK1pvHijORHl4WNUcpXEs5pr63iETc5McHbXYWz3kuR9Y5H/93jrfvd3ifU/n+O61Fu+4L8XnLgR84CH4wIceZntrh0GtQXFaoLl9lm6vkkgn1FBVtva7e1Xe8Z53srK0RLfRYnhsjNvXbzB/bIZe11XPgV5D0sUZLEny5FIKvrp45iSXX34L3/c4+9AJdtZ3mZybIZOPwPF46pOrdEOdseSAbEGUijF20uHdDy/yW396hfec0vn0hf9N/dVvoxVOEGktLFlmpBcUpFjrH2ANHyfWMmjBEZ7fQo9tPLMseCV0gbvtXwNRWJYWCQQaK31vbwfNjok8R6WytUyFoNvByefot/Yw5HfI68jxhrB3hGFP3rufdTYJjb6yZ8lF329eJyFaXBkUhE1i18eMRa1bvMcwc3cJMzM4Zo5+8w309AK26Ov8NoPDq1j5CfxYR/fWMeXOYxho/brSdTsL7yeUEpak/YIBhjVG5Lj4YvrZv0yUdLCkSi08smigzAGi4hRFoVlcRDu4gk8Xq/wkYdwEOf91W4SdSyodEDa2MDUBQxfv1UqFkSbpydww8d2XMLPD+GYSLT2BMagTC+lTk0RnoJKrbm8frX6HxNg7cAV+7lfvdf/dQ/zEDHbrtqozmrLhTxShsazuV3FiCt3bUNUB0zYZ1DbQsxXs1LhKlQ46qzhxBz95H2YxSdRqKnuanGEM0aL3OgTuDk6miN/xcQ2XpDCrZGyWThH1PYLwAEcT9ldRWa88v4eZKOGJjv5omVCU86kU2thT+NUbaO1rWNMfZFC7jt7bV4O2WJK0MugUXTU9zLhA7EhVs6XOzoZtEPhSyegRD9ZxzDyuVhQvN1rzwi/GEU00xJF7SCgb2mROEc2JXKJUBVN6maFs+V3VQdStxD2AgV4gTKXQ16+jLzxD2LqKd/cCUeE02XxCXYadygfwmlcUY0AuSBIhUfoteal2DtSB1hAQRbKgujje4WuKLB+kcljtu+rBbwmBWjRg4nn069ipCYLenlJdWBkhsubVFjs8WsfMz6A7KdUrF1VZkJwk6tRUjNxMWXjVNbRQ9BQ5yB7D0AXQ5CtNRZDIYuoV9U2Kdi9gTbwDTRzOnU2C7oaKpXt6nrB/QNJIE+qOirP2W1vY0s+wdEypUbghbjKNqaUIek3VLzR8HS1u4UcmVnGesNsgrN9Q4D+JtMjXLDF++f5EnW01pUrkFhloXcxBA90UJkJM4NXuwXTsEtrgkNAax8gViSP/Xvf/YFmkq+jps0RHrxPXbhNl5tHzxwkbt7CcNIaTwQtNpauDNv7WFgwdw3AEaNHAMcfU0COqLanpl0SMjPY62YknaLdXsPpCrz6DGVbxY3mgNSQ4RKd1AzM5SaIwh2+miFa/TpQoohWmsDo7YI8QOQk02WYK3FE+gEI67x4RijKxu46VyhOXniRc/TJWukgoG1K3jhG1sZxxfKeEJj/bYI9APMB2GcOsEyVlyq+jWy7p0Qm8yGNs9sd47lyZkfFhltcOMEKPkZlhrlxZ4Td+/u9QHEry2ms38b0B73jnO/jal19kq7rPU088rHj+El+Ug/HFN69y7PRxAtdDiy2OanWyxQReJ2B8aoIrN2/z6iuXmJ0ep1B2GHTb/PD3f4QrV97izSvLjE+OURqqsL62xaIopgydt69cUhTsUydPcOXqbRxTp1av8+jTT3B3eZlSMsniiXnevnyLRNrh3InTfOELX+L8I/eztrbLxsYSH/zgh+j3BiTTSS6+fpHJ2VkytkMqZ9MfhFx68xLHFqd4+vGH2Nje5vf/97f59pUaH33vMQ6P2uxWWxRLSXZ3qixUhrmxsc1LV7+KFejc/srvUkm79+Jrk+/EaKxBtownJP/OEeHg1j2wnHVPbaLnJlSXa1BdUQBPmQirCH1ujsGgRyi/BL19EvkRQhkKeQ3k9GGVTxDLcKx9GzfQ1UXdcPLokUXsi1pOlJiHRIlx4vQkhF0Mt0ogmItEBb+zr7b7hkB2rAX0cF9FdHvSyWodkKmcIghqqrsuirmBXKypoptlAsNB81uEtU0SmSG0/Aj95i5GfhSLNJ7fRBP4V35UJV3i3j5RJJWUEfRAKMgBvmzYJUbQXELr7BFOvRNb1wkE3Jeaot/rons94qESduDgHdyEVISdPUvUugu6VIoeUKBCKdHJP9PQQ8LDO+jJcUIB7ghJWSjCvkRok9hOyKDfUJdnIzsC3i6hRFUFllU6hy8v4uwY+uEOXhyQSEowp0wcG2jhAG/QwiqdIepcRhvYIBaX/jIJ6UhnHiBqXsXJ5vF6NQJ7Gu3gFSIZBORO48WiHHIZ9JqYqYpS9mCW1GZRbBPSJxeqfaiVlZ7JW32BWIaHThq/18bKFgnSBRJ6GXf7FXVQshMLxKrTdkQYCZCvSr93SKb0EIYtaYI63t4l9Wz37AWGylKZSjO/8FOcO5Mj55k88shxvn3pOm8udRhJxbz69Z+l+foVtNwkmu3T397EGVtEb+7jHWxgjZ9UW4/EaJlQLglLV+i1GmilIRK+gZmz4PR5Gm9cIGmPEAx2Kd53P5/7zBf5if9xh599731c290kmyvQiTq89p061179VUrHx9i/8gqZ4nGCjks/2CCbnFIVGO9whcTQKUwxwJSm0KWDJ7BDfZIg3MNo38KNSoT1TUan8zRGnuPs8R/i/vNlbOnTEpEeKbKyusfdDZ980eC1XxtmvTlEo1on8JtMHJtnd7fBwvwYK1fXMaxIHeZHJ8eoVIa4u3SXsbExVtfvkrGTpMTHbcrgKUOrVqXba1EpTTEyoXHrVpOvvtgmVdZ57dIhGcfhyYdtfuBDJ9lerTHwBuiBxBFtBa/qSK0pm1H/jnK5xMio1A92GJ2corpTJSOO71yRxsHBvd9zHdbXDpgfuQek29oPsA2XW7davPeZYRVVvHrY42PvLPGbX9L5p3+6y48+UKEf97i73WVsKMtMwWGp2uKt3T6po4A3PvdDlDo6O1tLVGamaK+toy2eAXX41LBkuCa+8vlzWPGA9s0rGMcfIdxfwXDb2HP306uukLCz+LUtNQyUG4t3VCV97D4c3aBrRsRVMUZo2LkyzvQsnufTXl/GarVJTE8RNurYJ84zWLuuqoS2HlK7vUr+4YfpXrmIMzZLslSkvrWJ1ZKkoMBWEyQrabQzj5BJHNH4wgUuXmvyV5e2+PyNOg+OJfnW3R5zaaEFa/Qdk088UGAQetzdDkkJDG9QY7RU5AvXavy952ao1QZ8aamuAKS391yStkcn0PiJRwqc+xtWwE/+0HkOb24y9ZM/Se/6q7SW2pRmZ7j6tQuUZ0cpjk6TevA8g9u3OPz2X5B61ydUjcoqDRHvbNEPYxISbS4XaL59kdTwOM6jzxL3m/S+9lmSzzyH1uqgy8V3bZPe+g0yDz+Ht7OKNTVJtLJL2+lSSJRVvUqSdKbwP3Thq2iYI+PE1y/CQ+fpXb6CJak5WyNq9RTjQJwj1vg83sYVnIzQ0T21gBGIo6jKgr09AuETVE4QyCBz5Qba5HEGe5tEN94kc/4pOnfuMvye99MXyPTdJRrrV3FOPYOTS7D70jcpFooM/Z0fJ1h5heFn/xAjm+KfvrPC869tcfrUKNdu7nHs7AQ3Lu0yXgn4qz/5WZprd3HaHtUggeM2SCYdmht77FV3aVQbPPXjP0DnoKusCcnxCsnugJ//3Zf5ct1nXDNIODp5x8YxPP7yqsvL/3aEsN1USZvbS/vEoUXK6THwHW5crfPu983S7/lcu1bl3JlhVnZbDBVN+vWQT70ofek+Dy44DJdK3N7eJ/03dPp/8+vv5MIfvYSVylEs5vEil8Z+DSeVoCxVRK+veEijU1M0D4UWr+OFAb1WV3nVC4UsI7Mz7G2usb11QCabUsPE1eUNHnzifuyMw9KNu0xMz6j01n51VwE5xybGVK1NsnRStbp28SJZo8ST7x/mF/79VV66E/MvfvgEn/7abR4/XeTz32zxrics/tGPnGJvu0e6mOTiq8tMjNgk8nkmpqa58PzLKo05NTmMrmdYX5d/7xh761UqExVSmSxRz2NkbpLVuyvqa9hYFdh2xMANmDs+x/U332L2xGn6gw65YlalAd661eWH3jPCv/3v6/zXb9b5ye+d5Pr1dUYnKtTqLik5e/eP+MvXB3Qbv43hJtm82mZ0vsfurV1Kk4t49R0i28F2EuiRhy/3Fn0SjI5KONvynu8dEZqiB5xEU+f/Xaz8acU38gTsN3Qer7mME0UKCjiwhPsh0PVhIgEmy3MtNXsPzL35Dcxj36tSGYZsmTWh85cVTyuUVFPcx7diNKlri9lI7F8S2feqhOYkseOTjHq0d66hSUL44AbWse8nmR3F235ZVSS9xDDm6l9jzH+ACBfNl7vJEWa6QBzniIOmSgxEhgwGllQlwLal9iG1RVlgthT0XfNWMHwT13EUWF0sUJKe9p0ySV0nPLpGmJrHKE4RbryAbo9iVE4RDupE3SrWqHyPdvCbu5jpBUJL3kki10qrRUjQb6B5exjCrDCn8OhjdWuqzmfmT0iJEkN0xYc3VHVL7ghiSIi6+5ixLCkzGGKGwkXPDBOEaQLzCLNRxRTwu5lRkGS3dgujkMeVBO7e17Cm3oOeEDvJDr4tmviNe8ttX4DTBmFsYMmyWsjDKo1Rx8nPKXW70RFQuECEWwQC55ekZu4UmgChczk1wIxFZKH3iE1bpQi8zhpWdgFNkqxBE0NPEqeLxAJvd9KqxmEJySmwseX10dnHd9JorTd+IdZEgSA9q61vo89+iNitoXkHaNn7Cf19ol4dK5m7By0Qr7PbJ+Gt4np57OnHiAWZ7e6gDY7g/2fpvcM1vc/6zs9T315P7+fMnOlNo9GMRrJkFUuyLRtjbMCBpYQAgWw2AXLtbshunATSlrAbyMWScIHZGIxxgBBijMGyZauMRppRmRlNL2fm9P72+vRn9/7N/mmrXKP3vOd5fr/7/n4/n/QePHcN/+5XMKd/ECshsJZF2rUtsgN7MAbnHl5+jbyKR7jtRbTUDJp0e3MFFZuQ2Hh6SPosPdVp7K18g+TQM6Rzo3TcTbQog2l5xK37hKqLIj2VJEZKgF8VwuY9koV5QtMkksO3lkOT7qU2iKF3lZpPNldWbgZNaPoyCbr73wmTOdKTL6MFEr131aBBIh+hnlcXSomx2DI96a6hdaWrXla9YvVF8D1CqQ3YCQK3hd5bhcFHCETLIKCNMKsuFmGmBEsfEJVHiB3p4mhEvnhFkwTdBUz5vET/0LyPlpxGjxoqZhIrv2WPOFlW0R7P6ZIYeZKwuULUu42WnFERZC2pE1pF1TmNvKqqMghXQdRSQbSKbuwl8NbVlMxOjij9n955B5KPEHTXsKz0w4mSXNDaOwRuRcE71KRQvjCmEMsbaO0GidwYXk9+uYpEAorrrDzUkkgs2NkglkGSuYegewNRfuiFQyrSYkZtQsrq4eOm0qTipOqDxcEu0fZlEjOfwvU26O9cJ5nZo/R1ieKM9r9IgwAAIABJREFUAi0F0p0xU8QCQul2sAS01LhJobwfM5Gms3UPXTcYevF/4qUjH6HSavHc4zNUdgNqXkAmGeN2NAaH0hybH6WYz7G0vstjZw7Qa4TUO20sO2TlwRqZXImZ8QEWVjZZX1vlCz/yedZWNnjvvfdVv/SlT36chaX7HD50iDt37iro49z0KBffvcTw2DDFnHS9DHzZoocRXuhzf+EOpeIAY2PjhEHE2uo65aEhkqKpCT31glVmgFaHPfv2ce/2bTU4M4ws7166ypFjh5gYKnPxg2sqsvXyJz/JhYvvKo3i/tl5qtUd0qk0jX6DMyfP0tleotbscuFWla994xJPHs0xNl1gY61P0srhtHY4cmKaf/3l63zp//zb/Ng/+mmc99+m7XbJpLPEmQyxp6mLtoIBpidV5NKtLGBbCUWOJz+Gnt1H0BegZZbYk578Mnp+HCIL3XfxfYGSCGn/YcRZT1lElRvE9oia5tqpQcL+jlL8xOKoN7NEekjkVzHNPH6gE/fWMER1kxzGTpQUSVbIKr7bwuhXCDKTiupt6Qki38FPaqqaI5tWS6awnodR+wBt4BE0iW95ovspQ+sCpgzVxp5+ODmXvmJkEghtNTeF1q6D3iIw8grMI0BOGbbpRoEY6eWtEXhb0O2iD+9Bcy282nkypZOQmqFb+TaJ4Y+SMEbp94TY76OJSaAnL3oBTEZ4ThNby+O7myTkRR611SFfYuqBWcDCU1PrfvWOis0mCicRJYguL3BXiL6xmk4H669ixDrmyNP44iCP68T2HnTdxu3eImFLbC0i0qUmZSk4o99cVd25RNQkFlWdgA0F9BeJCna/SnsYTgVPfMNxB6a+H233A2guEhcOYhiBij0KTFZ5ZzN5BbWUwUl/5x6Z1i2i8llIZtF69/GNLHZhP1F3CTeIsOVCZQwQinI06hOXTz1094qqprmsumr54f305LnaqaElQnKnPsKPvfj9LNzSOHN6ArdepdULWPFNKjerfPlfnOKxl56i9vYFksefIFxfQy8W6X34LvmTT+NlLLpvvUYyM0D66HEaH5wnlcsT5UsKJKaXxWIxjLu2TZwJcN6+wNRP/F1663cY+OzX+Nnnhug0A9bbIXtGNP74uxV+5NlRfue1P6Ly1qvYuXHMlFgkVhT4j4SmFH/idhZIbujUSEotptXEyst2pU8oRpjyNM7WJqV5k2Y1Q+nY3+HF4zmOzuWobPdYacSMlHNsiB7U7PN7v3qKew/quP0uuh9jZmzqlRbzB/ey8WAJJ4wUPGt5YZWUwOhiGBA9l9tXbJDQ69ETBoEPA5kSxbEBup06gwMFvvfaKgsrcOCYTTqT58FWnbl0ko++WGZn1VfP/Ew2qeKeylyJTt/xlX1B+BvzB/bzYOEOkReTy+cJZdckzvCGaE9LCqi5vrLNnn1jLN6rcft+j5TdV/W8gQKMlOSFlmZstMDwrMczv7jGTjfJ/nKPZGQoH3ohG6t+pKjjLt2t03Msqu/9PP3bm9jJiFpcQttcxiiNsnX9fcYeexI9PYieL9C9fYnC0CjtllT0hP4fYMzsQ+/VcHdkMCUJBhv90Gliy0TfXaG/W8fUXZX0yBw+jdvawt2tkR0axrZtugIH3V0n3L6PffpltN1tvNU7qvKTnp2i23aJt9exkkJ1TymtoVEu091uYmeThGFPmSVEe5U/egZrJI138TVF/zanj/Gd3/8qnV7I33wg0W4LP2OxXeliB0ojji9yHjF49mFoWKfhRGISZXrA4oeeHODA3gkePz3F2ONPghcSrK3SunOLIHhoYvKckFw6hVaeodZYURW89LFn6V1/l2w6Q7NZR3twm+znfor6O3+NLTVRw0VzXTJnvh+vtwuX3iJxSqpYEc6180R6Bnt8Hr22hr5/v6KQ99/6E5JHnsfbuo8+OiveQ7xqXfXEpWbkxVns+iZuQidyI5L7T+L3K8Q7W2rT299aJfv4x3Dr28SeC8sP0B9/4SEs+tZFkPPCgytqyJzYdxjMLIbTo7vyAebUURLpEt7mMvqevcQ7LfTpMfrnX3/IPMhIDHmHtiSyylnG5mbwDYezn/squ7bGU9PjrNZbHBrQGBnIcGGxzWgqzzev7nDpV04w99QpLn71Lzn58sdYv3qL3L496Fs17nzwPuMzs3jNGtnjR8kESbxKhXSuz4O1Lj/8lRXOzJlgZ2m02+iGzkA2SaPn8vmjJidGPIJCFq/jYBo2hbJFZbPL8kqHZ56bouOE7Gy0OXJ0mDfeXGFs0mZqboif+2f3+dQTaR6sOqy3AuamRBHW54v/aC8NL8t7r9whldewEyYDQ+N0nQ6Wbii2VtTv0nX6NLZrpDMCEITC6Bj9TpeEVA9LebWFHyoN0mg26DablEcHGRwZYeneIkNjo8oa1m/00E2N3e0dUpkEY1MT1OpNtpe31RIlMuHg/im2axt84Rdu8vnnhKEjdaY8tzdajOd0Pv1cmV5FxyikWLh6h6OPn1JQ0MWbN2n3HKbnZ3D6PtWdDfKlAdq7NbXpHxoY5ua927g1h7G5CQ48eoxb598nk83imjHZdJJ8qYTT6tF1urR2G6SyGQzdxPWEYTJH2trhwE8vc/zkBDvL95ksDlFrdxgdzKrP59sfdvmnP3KAf/xP/y6d3U0ySYOWGM7E5S7V48y4ep87u+9h5GawEjahkcWKBdLaVX17LVHClDtCv0UUx4rTFYg6N5cj7vTU5VlArnGzqiq8+uAjaEFIKJaZWEdb/zbGyHE8SZZlhkgEPl7QUd8VWV4Y2UmCdlNVcQ0BHUu9VurcAhnPjWBuXwWJu8+8DLIVDzVlHrLd++j2GD1y0LpJIj+MkdqLJxo8CWr3XDUADkJPJR89kmgbrxKINnz2KcwoTa96TakBBXTjrnwHO30Mbf5RvA//CEY/qtLd0dZ5ZZKKWpvq0puwdTwzie3byvQU+pvobqSW0oaWxN/94CFsXaDUmo8pS1mxLoj1YegwCEh6/TxMfQx9YC/mzruESal/HkfbegW/08caP04sqsb6EvbQo+heDbclFqODqjZpaDWCkRexox5e9QJa7lHixg1MSVHk5vGV06mlhkCyxNAFKtjfJKxcIzH5hPgCoLKMJqBmPYElbLhQQIw3MMU+MvwoViD/bXLe2kLPisJ+TSW0zfGnoL6gFlUycIs6y8TaQ/VnZJqQG0fvO+odrksFIz9L2FzE7W6Rnv4shruELyDM6n2ipI5ePIXmilmiT5wYUglSrf32r8Vxdoygs0zUX8NKzxKGLQxbLtRz+OKJbFdwvR303EFM2Ra111Xc3fG7GN0aBg6xv0E88KjqIdvZvRhBi74cJLsPiMv7lRfR27qAlT5AbKfUBdEUzzfCAVhQE4lUcZKu18ZKzWEGPXUBkC5urA3S9zdIxrFy23aCNHZ+HH33bfqFPaQTA/RWXyG2hkiOPamGFmEYo9l5FYO1dYtA/Iq5UaXNkIlOmBpDxKZmcxUvamAWTqCnRgjalzGENJ7di29FRPUqRqastgAC3/M7S6qLLF1as7wXp1MnmUipDrRoIgRtGcY91Y02UqMgTAXboHX365hTz6hpq+IRyA9G/loY4u+8jj3xkoJz9R78mVJruGaeZLCGpg0S5oYIpYvfayhYhus7JCU6KkkGkTCKwkPKXaVDxDK5QtIAwkcICbQkZjJP3HyA67fJDB3A77rE0TZmcR4t0pV6UHAX4gzH7agoip6exUja+K1FBSg0zFGiyiuY+b34foGQXeV1F71KaEpnUkjq4xjRGG7vEnZ2Fr8ppoNpEn5VAdek2xbsXCRZOkbf3URXXehxgqbEo8dJjJ0mkD7x0kX8pIFhjGCkhCJ+HCORwm0tYmemCeys0k6aCVP18qmtqq2kNfYkmtnGdduUTnya7/yX3+LHf/K3ODZXYGbfoEq1VBsd5cu9+MEmubLOn//+L3Pv+i3WNnbxghjHf+i3fv7jn2BjfYur71/k45/8PpYXVwgjia2WME2LzfUNLEPn0TOPUcgn+MOv/AWnT57ESkaUiiNsbm5y/uI7fOKlF7h7b4mhQolWr8P09Ditbl85XM+cOc63vv09iqUinWZPxQD7vR6f/f7P8M1vfUfpR0w5WNswt+cAKysL+H6fM48/R7db4drVG8SRyebWGs888yL9bo2UCYlUGjttsLRS4Yv/1zfxuhonzwySxqLZ80kRkipphKHF8v0tdusGP/Dpg/z6f/09jBtvKS9vZmIKkyGi0CWQaaUp0LKreL6DaU89pJx2H2CXDhAEDlpjCwYGFUFf/sDa5ut47Q31QlJdKEkOaTriIgmdCrFQeBMzaLVbir2hAkeOTyo5ju9LVcXC9puKMxEnskqjKPwP5ZuXSkyURHfrWMmkAhIF5NC6l0gUD9IPcyo2nygfxO/cUwNDLTGOlrZVDI3kBH7zCql+BwoHiYQAW1sitotoUVfZBYz8PHH9FoZwbwVXruewEgU0d1clQ2SiGsQuenoaXdcw5GLsZ/CjLrooUJ2YuPUBWu4YRkm4I8vYUnWwTLRWRXEGLIEiiWDU0DGTwlToEAsGTrzL4S5uu4cuKGkrhyYvgdQskSvT4QRmQrp4obIJGNSU21Xi1Lo8M4XVEciwJKEIvboZEAaSaRFWR1r54T2vhZEeguYSUXIIXQ7E1WtY6UkMqd1IUqALVj6JkRwmqC8SyM/bSEFxnkD0oMYwlruN19oG6vhaFlPF2bqEa+fRC48QWDY2q2jZ0yr6ZsctvL7UvwSEeEglgui28ZsLJAf2YRVm6C58T2lxRIvne5IuaGDLIEa4LrsLhB6UH32cd9+8zLOf+2f83Gf2YKQ1Lry2zOSxMc5f2eFXnxzhp373Z9j8xrt0dlcZKAzS2VmifOyjtIXu3mqSnDmIViri3ruNkTSUdqxbb5AZG6X9/pukJuYxStMk9T6NnTUKgxlSRpf8597kuWMFHp3P8uq765w8Nclfvr6qnuV3O+fwrn+gfjZhdpY4qONsXsAcfVElG1yvTjIzhXvjK5h7zoBbxkibaMJlMBDGMkZ1hfyRab77jVd44ef+mh98coJcSmO759GuOhSKOpfvePzOz5R46ZksFy80GBjIkstmqTeb5GUT4To4LY9A8zly8gTLCw9w+l2S6Zwisjv49DoOmUyaRCZLLp3kxrU7jE6NMjKSYeHaA757fos4nWdp02di1MA2QoZSFi+/OM9upUGumGV9aUM5wqu7DSbmxhkeHmB1ZVnUApTKBUUQbzY76t+/tbnFzladomjvTp3mxuXLaks3Mprh6gfrnDu3y9FTeQbsrBrETgzE7G75rDRCPnV2jKGpAqN/6zKtVJ7HRlqkchl2t/s0gxSfPJygbZX5w28v8G8/eZRf/k+fpfXtC3RrAfrsCCnfxytPkEzadG6+g1HfJbJLaEeOYiwtYs4ewdE0tNvvkthzDHtkktb180SVTXQsUlN7cJ0GsdPDmtpH79Y9clPzeMU8em2HuCmK0xb5fScI3AZedQdjeL8i0IdaB39ljUBLk52awByZwttcxF96gJ7P0d6uUjh0CnMoS7y9ittwSeRy6vfC8/swMk5p/rCqEdhmhtTkMBj3oZEgiLuYWx2u3Kmx7UYMND1q/hb7Jou0Y5O44rD3hTNk8xlorMH4XoLNB2ycuwITM2SjBlZhlN5OWzGSck8+T+2d75A7cJSsbC9ra/RbPTrX3yd3/GkwfeL6Bsk9J6DZxp+YV/Ha5oU3SR/8CAmnS3P5Jvah02SGB+m8/5bijSSnZuj2HWw8tGoPTp3CrjTobtwlc+ijOLVNggfvKnConZbB6xDpQo76hddJiw7THn7IW5G3eJRUl41gbJBocUFZScyzLxDevILmdkkOjdBZ28Kc20NCmADtJprTwL2/QOaRj6iEWGfhNdXXzR9+BH/jHn0zjbN8S1HrM9PzNHfFiAFDj5+WYyI//WO/wc2lDo8dzbPaC+k6Hq7rc3AkxeHZcf7jN1f4R5+Z4Od//qM079ymtWWSDHepOgZjR4/TWtpAy1tMnjxGbXGF+q1raKQZfOJj+HffZ3tllR/643XOHsyyu9smMgXYGrBb8WnFJj981uJf/oN9/MHvXmKsnAczUr1fqVaPj+XY3eqga4mHhoWEzp3bOzz59BADIyl+7H95wEdODSF3hpsbfZq1LtlkxG9+8RCLWyHlXIHmTo1qrcrE+ATVRoN0Nk0ym8Frd1lYeMDjTz+O70TUdnZYXlhi/tAB0rkENy5d5/TTZ1WisZQfwNZNVRcQp25foKOlIi2xMsQJpvbNUK82QPPV2WZ8YpIbV28wOSsdbDl/BiQ0j//5P1bYPxfz2MEkuVKRP/qLddxOwG//yjEalR2iKE9xJKXOcrW1HQYGywyPjdLr9hQVvdasqT+fDPwvX7iihggjk+PopkG/F5LOpLl7/UOlD5+YnFLgwnwmTbNVJ18afFizc1zMpK0A1q5v8+gTo/zSv7/DV8+H7Bt0FMdJmGX5wGf+4BjXbq1xe9dldeMyXsNnZ/nrFDRhYnUV3Nv0ZJHnEDQkBbYXxyxii7ZOs4h2rqgBlZ4dRY8FSAexbNLra8oYYGVELdpG1weJ47ayuli6j5Eeo9drkZH4v9fBqa+Qmv0M9Bbxmpuqhqt1FxU4WM+fRi/P0115jVxhDL9ff6hcTg/Kfyyx1O8EUpxKoa+eI+i66GN7MVprRALGq9cf2pCkcihdj9YtgvQYliyLc4eIOg9wty6R2Pcp4lAUmMsEjjCUZgRUgV+7T0rWGKkCcW0LQ+/A+KNE6x8qGGlm+ik6O1cwdQ1Nkp5WpADf2dLQQ7AheZWcJm4RdRsQixEtjR7LHSdQjDIxlsXSiXcDNZQMez6mKdryokqgWl5L/U67kuoKmxgDBzC7XbyogmWWFASf7KyCxIfulmLhGV6H9sYNtLmnsFLzmFoDGvfxhe5fniCq76CLWrm3iWcnSKYn8Rpb6JkcFIQpsklUu4lZlPrzBqYozFMCud4mISpEmaCky/iVa0ofbRYPEKQmoLWudH+xcNp6NSJh4/lVAlEHW3kSqZJiOfnNB5gTj2PGkbIMmWaSYOkN4nKJVOoInldHD+pE5UeJuqtollSVk8Q9AQe6aI3z/ySO9DF0KuhpOdTvoEm+Vjq29QVIlpSWR5iofcfCMGvqixeRwkw9VGsZQUjsZIgzORzxNVp94tweBfxK5g/hSLzEeQiS88Rv2d1CSwzhyxBg6DBa9TpGaopALsyObNIk8i9aEZFxK5cVZn8HvzBPonmN3tZlksNn8cuHMfqbKmYv08q4vQVCjIxNBQykcQ+9NEpoHMB0H27Jw8YCenaQwGkqGI0kFCSSbGgJosaiFEcUhdap30T3A4z8BJrTISEbAyfE9hsPQXSipwh9YrkEiN+8s0oyP6f6NpYRExdmCCV+ky+hS7dPoFiGSb9yk+TgcTR5SDrr6mCvF4/gtR9gCrijIF5McYxXSJgmsWVAsogu3flUUbmy+xJ9EdZAYuDhZNFz8IM2iewovpgPEiZeVoiPwivYBbJYqSHcXgPDXSAyJ0CULVpAmJ0k6tYww4bq2OhCl+xuEcWipLAVSNBMpPBWX6WbnSAXJfCS0kdyidqrmEOPQpwm7K0SJbKYXoDXuUNy5DkCp0qstdRAIRIATf8+hvwSDp4ikmh0JoHmdoh3r6hLk1s4QtxpY6QDouqaiimLBkUrHlSgs6B5XV2U0Gz89oLaFsgvc378GDiumkrHAmHrNchNDWJrDUbnf4XRKYusFfLIiWNU6w1q9Rql/BhvXl5mT9HmF37pExzdN0V9a0ttZOQadveKEP6z7D8wxvKDFTXhlMua0+vR67tkcnliLVZdUrmQbG9ukspnSCYyLC2t8OiJeVLpgorJ3rh2iycfP839pVUmpoap7LQ598ZbKoaWK2YYGBhUndiJyUkWF1eoVLf4yEeexO126fYCQhxSiSSzM3OcO/c2hXyRnlQnIpO19Rp/6wefUj2jt773HU4eP8bXvnWON958QNpOMTQ1ws37m3zm+aN02j3efO8aZ45NMTMxxZ984zyrO/Cv/uHz/MP/8M/p3bpM7dJ58qMlosIcZnYaZ/kSFApEyTKJWJywbXC20TPTeN0qphZg2WU6fgUzHsCovUY0+ASGKYYCTXESZCKd0NQfV118DV0jbtYgPwh+hUg6+tLBTyUVjyNwRDMp1ZVDJIweYbOOmZBoeUxYOE7CWSFwXUgklZ6JyMEeOEws3cruAwWQDJ0mieJJvNYqsmo0DfGwZwgDR/Be9F2w3AZRKqe+4w+noffQMoOEosO00gRL38Aeew5NLredCqT3Qe8OgZ7HdnrEwSaBKWCfWZVuEOiNOMh9I6e6auHK9zAKe9RzMnK2CUIdW6bXpkF36xJW4RBGOk0gH0xrlzhVwsqmcNffUR0yU3SX/Tpu/ZqC+AitWS7wEp8UYq2my2ccq/5/JECXXosoWwKtTFy/SGyWVYVCfg+1pCR+JKp2k1RZBgSm6hc3Fl8llR8nWX4UPVWkL3pWp4Gmd4jiBDGi5BFH2iJxbr/S9mm1e4Saj96vQGEIjFGVxpKuomUOKxtMVLkGhQllhAj9jurwm4mSgsiFiQRaYwOt+R6MfwyE1dLqEKaH0MJdNK+h3La2lcYeO4C7KsR6SRzlyQzuo379Tykf3Ec49QVmUyc5ejinYJZWHPDkIyP89teX+Mkz0/z6H36W9tcv07YSpEsjtO9dovDUjxFf/xb1aoXhFz6Fe/uW2gAPHj6Mt7pEb/UuIy/9LMvf/h3yEyfQLQe/F5Kb2kuowGNJjnz/H+H1Q144U+Tm/TrHD+TY2vZ49cMeu5WvYlY32NxukoliouQIQbiKreUInDZkR/Dri9iagTl8BpM6oZnBlcGtRBXtPL6fofjED/OLf/sL/NYfXORTp8p4tT5bga8OsGNDCT68Z/Pab0ywdyxieVku4GtMTI+rRFSv26dXb6AblqLPC4X7/q0H2KZNtpQGiVYnTJKZLB+8d5kjRw6of251YZWRmWkyqTaNmsl/+Zs1khmP2E+y1e7Tb5o8djLJT/2tfVy/tE4YepTKJXXwv3H1Q6b27GV5cZGZuTnm9s3y6ivf5diRIzheH9eRvmPI4GCRlcU1Uuk0pmFghTb9uIvXdljdjtltNGk0LJ5/vMzEuMbl9+v0wj4jE4eZyS1yfTvJj//nHlMTIbNmipHRMp1+B8cJaMYeBdPiL99r8Gf/+ASf+9kXWf3KK1jz+5TnWtgj9RtrJPQAfd9hzG5PmYrEJiLO5WBoglQyT/PGO8htKTu2DyuTJazepy9k5dF5nA/fwjx6ilR6EK+2QLzbIFEu4cnF5/pl0mc/Sm9nHU16qOksZuir2oCnpTESGtH2Mlp+mO7ydVKHT2PLxfP2BUIx9pgeztoGiYMH1UWueuMGxbnDpIsavUqLzuWbFL/weTzZcl6/x0QpKWN7cgfGiaVmJ4L6VhdyEg2WhJ2F3rqL++F1wrFZvJv36Ict9FHZMvUpyTY5EaKLRcVxkN/2IF2i/9636Acapac/Q1/qECP7IOgr5V/m+Fni1bs0zr2BkbChPKkqIGJF6C3dI9ZDMgcfwV9bxn9wGfuFnySZLeC8/hdo+w4rzkRv5S6lx56nu3wXa/U+4fAUYT5LOltA6+zSXa9hlgexRieIen2l3u1vLRMmyiCq2JLYDwaIOttqANxfuINeHlM9YT+IZNFKat+jeLsVEqJr7ncJGptYknzafxAjPU5w6xxhr01+5Ait6ibRYIlMrBHb1sMlVNdneGaQ4PAx/o9/+G/4jddaTIzlOJY3ODhR5N5Wg7xVVGmkr5zf4WMTIX/+6hdpvvou3cVdMvtlW91Vur8QC6veFOoUu/KsmZpkeGaGijA5UjZpt0ul1uFHf/8DalWfozNlZsd0Kl2dQsbia29V+OcvZfi+J2Pevg2PzQ5wb3tLVR67XZf5PUWu32wgjuXRIZPp+YeKzUalxVghwdfe1bi+0uTodIpa22GrAUtbPl/+XwcIUlmcmomd11Tcv1QeYmnhLsMj4imPaLsOKblciSlHbAhmSH27qhYyuaLN3WvLHH/8MEE/YHhiko2VZTLZAsvLi0yMT7K5ucbY5CRer8eDB4uqFiQLjyvvfaieV7mCvHOkgpxEix32zxf43/7DAy4tOTx7OM3SWo99+9N8eNXji/9ggr37x7j2foWZmSH6/R61rU3S+axKTMpipjRYZnNlQw3VR6eG2V2vMDoxSq5YYnHhrqqYiA89lRKtaKBsXwJ0rtUa5Ep5Dh45wI0rt6lXa5w8+yhX3rulBgGnHpvk7q0GP/F765zYW6JSE8ityeZ2lfGxIs8+dohf+9I7vHvuf+fA0WdYu/DXDAxM4cey3V1EN8v4CA+rTzqdIoqlSryGrkWEQtU3Rx/q5RIppVuOxRxjpPBxMXVJ+hVUbcoRnJGo6GQJ6W6p+1E0OI/eaavFoiY1PjuBJeWYluh4x5VqU9Vsg20M0SanpwgqF9AF+O3sqjquL1o/WWJYEwTCDLMGlOo86PZUMlXDRrfkfFXDHH0Kb+119OJ+dY+xsnvxGjcIdu6Tnv8EnhjjpM5jZvC8dUy/iyl2n9oyUWsdY+IMhoDma4uY5XG16MVPEwkAb1f+XDmM8lksrUNv+wN00ZGX9xN3XCzTIbKLeJJCt3SCrjDN9qh/h2Xp6H5IKPe/sEvYWUFPTgI9kn6EV5AKaYDTWyMlZyNZhbm7WJmBh/+MXyeWAavl0DMHMHc+JM5O4bp18okBfDn3yM9j7BPEZkTUuEeox6Ry80SG1Ldd9NqqWuQYQ48TOBUwBB4dPIz/O9WHintrFEMWJRlRRcoQeBJd/nfUUXfFXtATxDKuumcJyNlB6zyMeOmZEaU/t8IuenaWQM5+NmS1AWo7N0imR0jlpul3BSovKveAqL+CGcvPXdTHEaERYSWFq/QArf6qPCuAAAAgAElEQVTWF2MVzdUi9EAunC6aZqNrFqElL2mTqFUhloiCJtOeWWhu4aydJzl+CkafwOgu4uxcJ7HvC2jVq8RtgV+1cEIhORaxpXtf38UoH1cboECLMTKTyhAQpiROUiCy8xhRTOB08O//MfrBHyVhj6pIqd5ZVJ19iRI60mmwGui1ZazpjxM5FZLiopZujS000gizvoxeHMcNPRKhjidRkp2rJKW3UphVPZBo5xqJOCAoHcDM7cWrvoUV+fiOQZjNKRicHJQMcab2ug8/E0vctQ8/K9N86IaNehvY2X3odlpdnGVwIi+p0N0hEoCXJAPCKkb+GIZ0N9xVBfaIBp7Fl9iK7hHoGbTNK+ijU0Re7iE40AanKSo00FPDBN06pqhErGkSCQu3clMBO1xJIvhbWBRxY9EqjqrNJLqL5hmKgSOMBfl8bHz6ssGQvo2A2Bwhqo/KTUhN0zRqaG6sOiqxpBQ6FeLMqIrlig1Cn3qRaPcqaDXMoefVwMXKl+k2l4nWv4c1+7Lq/YTbV4jzclHPqahZYGax5GGXzOFn54m7t7H8CEcrPXR4Cn+idhvNFjZAEmtglnB3hci0CVPi7A2VP97tGtCRSVmAbyeI9QKpxASxaDtSAge5JUJV7PSI6r0WnvopvvpP/g6/+dX3mRwqkUw75FJlbt+pkB1xmRgb5c69HjfubvODL80yNV6mmDH5gU8/w852k0tXbpJMJNnebdButnn8yUdZerDCkeMH2N7cYLtaZd/cER4sL/LcM6f5lX/1Wzxx5jRTk0OkkwaHjp3gw2tX6ff69Lt9xsZG8B1XGj80Og1Gx8axI10NAG7fvcnig2WOiyd7YYl8sUSv21Ex3aHJAeXbvvLBh+w/eJD1tWVcv8tnPvOyOrTdvXeXC9c3eOW160yOTvJgdZPSyACPHytjaGm+/q2rfP7lo9y4KdTvNOvVFu+8V2P/VJYv/+ZPcPz7/h79+39Nd3sNyz6OldxVW2PXSSjAZWrwkIqqB2YK3RoBOkTNJfrtTZKFcYzSIRBInzVN+/5/JV2YQpv+NJqzTW/3HtnJ43TXvolpzRJnhonCtvp9orqkoprCetC0lGJACFBSaOmaIzrMsuKQ6Jkx+psX0YI29vAZjKinLpW6bhHbkyqCL3AZGebJdz/u+RjycHXEvSoTT42oX1eE5CA1gN68jVWYV/Go0LSxoz5Rb5s4ivATw4pfYAsEL38cI+XgtSvoTgstP0gUC8MkQ1C5oqo/ppBv5cCYLNPzm5idXXSpS0URXneFRHaaWIaCAnYR0E/cILbG0Xzx/rrILVxP2ri1uxgjzxBsX8IyEphDx/CE8h96CggaSw0okUPzQ4LuIlZxr1LtGa07hENPEgaesnuY/WW0zFGi3nW0ZEqlqVyZPAtDZfltcKsYMx8jiHs4q++RnHiShFhXQlG8CbRuEfKPYKloX1sNGgOpLTlt7PIUcT/Cb99XQCLZyKXGTxPK0K9bwUjn1cFQ6kUJ3VLmhKi9ovgNciCTukTYXyY58gSR0HrvfRs7M6E6vcbwUxi759UzW6wDbL2LNfmUell5K++RGpohcPqQmcXdvq4SEOVn/h6D+RM8MSvdZ6GrD6jv9M31Nt3lTf74Nz9HwtVx56YxehENobIPT+FurysYaVgcxmxtYA3OKPWPWetQvXOBkU//OPHNq3TiHnqrTWrsIPXaAplEkcGnH+Hnfvw3+c5ynx94apqwFzE9lOP8nSrfvVPlyn/7+8w+8hj1xRV0s4CddAl6Fm68RUpPEqVnidqLSjcbNdfIDJzEkV6kvPQz4/SdOpm8TjhxhOdPfIrVms4PPldkp2Jyr7bLieESmXyRb792i9f/0+NKd7R8v8OBY/PcvnGN/YcOsHBnUQ049u/fy/bWNulMhu2dBocOz9No1xnIFtiq1dAMg/ZOU5G1pdbSEU2saXH0kTEuXFjn1/+fdc4eTmPaLidPDPNnX1/nmbM5Pv9DB3j/jRXslEnCTjO3T2ouFdbW1um4PnNTc1Tr21gJ+Q4EbG5skCvmOXzosLKerNxfZXb/HlaXVrANjb7TolfTuXa/h25ZNJsOh/emOLKnpAYHtbrDTt1noFTg2e/P8Ru/u8k/+6bBE1M+6bRGp2uy6/gMFQOSgcGVzYCtGvR/6yNYJ2do3tqiNzxJZnOBfrVN+pFTdHNl3ItvUtx/AE80rpJiWrwBI3NQHoJrF2BimvRHv4/mf/+S4lkkD5ym8+A6Zi5Fws7SvXdZdVytof9/iRAbRLVNNTzP7T9B2GvhbG6pyG32gGisulQvvYU1OEA6rRMmx3DraxTPvsTutYvYNTkjDaIVi+gCYIv79K0Rgu114qEiZruu0oCp7R1cK0HXdCmYNqk4oOJ22b34HmNHHqUwfYj1a6+TtgfQpyZI7e7i75sjnTKpv/EWpUMHlQmhc+06ejmHkRQ7Qwc9mVdVzdzwLFHUxv/wMtb4XkJDV8mFZqOBWWsSirpuelp1gtuLlzBnj5OUBJdoUkM5r0gFsImW0Anu3cNwd6ndvEVi5iCllz9LVGvTu/0BhuaQfuQ5dt/6BoVUEf3oWVorNyklIrTMCK3Ve+rcmTrwKJ2rV7GzGkaqSGJwiubiPfTWA9JP/jB+axNdYtO9LsknXsS5ehmj38dbuEyYHyL/9Ev4VbH9NPBvvKuSavbwHHbGpnn9LunJGfRyiV5tm9LkXnqXrmOPJUlZLr/zn87xrQcBU3sHuL4ul4qAZ4/lOf+gxfGJDH/yfpXH96f5q1/7QejtcPP166QGiiAdaHuY7NAIjsS35eImB/jFTdyBhBqeiNu7feMOYcZmcHKIn/nPd0hGfRIFGznC9XWNE2Wb7646fPZQl8+dFJncoAIlC9jUMtIsb1Q5eXwSt+erusrS/RUqFR3bDJndVyBsO3zl9RZ+aoDhZJ9O32V6PMu33uvxr346R26wxIU37nPk5CzFYpZGXQDgHUXtX1lZZm5+lmy5zOvffJ2p/ZMMF8rsVKo0Gy3mj+xn4/4S2WyGhtNHcz1a7S57Du1lZHhEcT9qtV2lNq63GmwsbfHIySMkMnl21tYxTI1ex6PvBaTtNLHpsXd/hpW1DL/6uzf4u5+b5NzFHdJ5i+s3+nzm+RSf+fQh7lzdot7ZIZcuKAK70PAFgFzflcFEgrKwNXaazBwaJ/Ytte0vlIdwXY9up8HU9H4Cw2dkbJba5gppGbqL6rLfZX19hZmpKfpuqMDE2UIZGbP1/YjhwZiXvniP8uA4ZUM+yxDTSLHjNpgZG+evvrvIL/3oDP/8y39K/O7XaDb7aCN7SUn6dvhFdQ7xuzeh21LffV2c9f1d3K2L2FMvYiWLeEsXYHReAbf92oeY6UkYOg6dbdztd0gNPoFpajgb59QCMCEDZVmeKAVkC7wqPkmwdVKS1tMKeHIvEZuQaItFS+w11TAnlHuBncRy2wT9dQV8Fx2mZg8TGaLCa6HJxtnfIjCyJJJ71MXf2POi6umnsgP0m2toAlUWFZKVVDB203eI+ktEqUF1PncDibd7RMkiiVjuuVuqWhwX9mEKTDx0VdohQKCTAwTNlrLhuO0VEqJdFutaVMGrr6nNum7PovRNspQQ3sf4C3jV6+jpmDgQBkGdpD1KNxQ1eZbYaRFvXEAvHsQemCYWyLzbwQ/q2IWZh0nKzhLkj6vqgmiH9fJjqk5uSxpBXg+iDXTrIPr1kcfUZyN3PzMledrgYZpZevfJYfUuj70OunSvsmN4cRKLloL+WSrhUFawfbclAynRUA+BJ39vFsPX8LfOqzRvev7jimMn9VDhIfjpvDp/mnZOJS6kpq+n99NZ/R75PU8QezqxKJgz+wiSSbTabQxJTmgOrpnAlARKr0WsWE0GhplEa7z9a7F0QaRD73XbGMmM0i1IH06zJfZhKVWUbMHd6lUye16gU7tJorcMoz9E6C0R3P1zjESOePQxzF4HMy9dnLryfAtd0nRaeNLJF3iMPYhh9nFdXUXDDKFJhm0cV3zeAo1Ioa+dwxw5i+NWSDpb9No17PGn0SWbI0C43BydtbdIJsRpaWMOPIa/cY60bNZyY9gCHIt8BZRr1++QTE4RRz0VFyEwiTqrRIUJ7ET24WZZIv9uH23qGRWhl9imKbqOliQIjhP1axA3FEXdEmK/iqdLPaKCpXqdabWBSsZpXJm8pMSpWlSKQE0AhlYWpF/rSsRkCG9b9E8TRPJFEy1f6zpRYlD5sumuEoqKIj+uNp4SL0G+PEJht8axEjF+cw2juB9fdGtmi9AYx1v8uuo5iopRr1/HsnL4kswwdYJIx27fxPM9rMEzqtMfBH10cdFoXXT5PEpPoMmhv76mBjFapoQuyiQ5nOrTuO0rJO0MvmzsBaY0NEC0c5dQz0JuDstropl5AreDJr1xI4vutB/2Xu0Bgu4tgmaH5OgRVU3QmjfoW4I4rmPlDxJFEtProI88QrR9TnX8Q6dNau8n8HbfUdGjwBzCElp5bCiqMEYOrXMbv+dhZLIqlRAnRzHCPu3OLsOHTqkNz8++9JO896DKC2dPcG95m93NKkcOCs3eoxcYdOoui6ttKq0+Lz05x+72Jj/wqVMcP7IXp+8wMjHO8sIaw8MjfPPbr6otw7PPfJS1B/epdmtoWpqtLekmZtk/N0m+UMDzerz/wYeckYHA2Bh/9Td/w0efe4r3373E6JhcoiM1RV5fXGXvwUPMzI5gxAlq9W1u3LzLiUMHyORS7GxWQSbvms/AYJonPvIY2ewQ586/we/8/jeISfHu7RoDxTQpPWbPfI5uN8R1O5TSRQZGs7z65j2eODqmvMcX313FqUa8/IkZfvsP/jVa9gT926/QaXYoF2ZwdV9pn9ywSrK7iq8l1XfGcTdIVu+g6SWCtE8ifYCgu04kWkynQVC/j5kdgWAHIzGi7BriEZbKDZkZvNptErk5BUDs7d4iUygS2LPofl11wk3pOPU30OOU6q8J2C5ubRLnh1U1JmytY2VGFCVftjm6KQkW+T7W0LMTSoGjtH+pnBoCSo9Sr98nkPRMKLGpIdWr0+UlaQ+owyJWHxOJjG3huVXMzBihxO13P1B1j8TI8yrGJsDCICsPUhM9ahPb0t/fgIx0+JI4/buQFGKuTbDxCvroCdXRD3tLkBoiaO5giNLHqxAL4VZ0RakM7sYHqi6RGHiMqLVK3N3Ejaskhz6CJrE3WzInNrFRJGgukyxPKXVkVH8bvfQMsXSt3TUSqUHacUBm+ASsvU2QEa91WVUV/M662oxbiSz9+hqpzKTqzLnNtzG0OazhYfyuj5UpqhRPqFy40oVrKDiQwFHdzH6Cyh1SYkcpHcBt3caUwWF5UgE9ndp11Q/1U3N421cxGqvokpIK++q9IkM9mZCbTp/I8tHzM2oIZspzWqA7Ox8QhkWM4hAU9uM++A5afwF7+oWHP0epJZlyINjGlH7q9En13LX2zvMLL/0ADyouxyYHWd5tU+l5ZJJ9tm71+PMv/zAjxTwPzr2nNk3mYFFdWjrb9+ndvcXgqScVZNQXUGu9TZwV9ZdsIavKvmLN7qW/uU7pyEfpLVxC8zsk98/SaDm8/EvfYCpvUHVjMpbGY4fn+NJ/u853vvb3OfGF/4H1N19hYGQI3xUrhUfot1V30q1ViTICchzBqF4gKB57GP8Pa7hOSL/eZPKxk7R37jD/2L/mxL4Ue2cL3Frz2NlpMD6Q5n7P5EzO5Y//7xOsL/aprm8rmFW72aNQzimTyOz8HtY21tCdiPE90/Q7PRWJXV5c58iJA6reFHoRR88e58aHN0maBtlMjkqjz0gRzr23zULVZHYkxb3bdY4cyPD+LZ9PPpvi2KER1hbblAale2px984CuUKOmdkZOp0+vW6bTC6t9KoJK/GQbaJFChC2urROJpWmPF5mdeEBiWSGo0cP8NabH3J32efw8QLXrnQop0JmpxJUWxGHZ4pMDWf49gfb7BszOHZ6gF/+9zv84VWXM/NZur0m06NjLCxuMDVYphc6XLrn0JChzzs/CZs73K0nyTcaJCIHRgWcqT0Eyrl93M468cgc3r0lopl5ho4+QvfaOw+1U4Ux2rcuk5kcwyJLe/kGqSefI1y+Q6vRZ2D+IEEqh9VuqneOXZHzQQJjcJT+7RsUTj+tLA/e6n28jVXKP/AThBv36N68RfLkU8qZXbv4PYrJJInHn8at1ogCF7swQu2Dt8gfO4RV2YLRg/itbdytTex+QOrZJ9GCFK171+jeusHwMy8SxBF9uaS3ujh6n0x5QBmQxHAURBZRIOe6kMLxJ+mtPSDcXSJx4jmc83+OPjZHYmYf3sIt7PwQPYn8rl99GOcdGVLx4Uji+66L1twg9bEfI5DU0s2LRPuO03/3VSx5xuWliiTw1gTWgcO0L79Odu+jWFNHqf/pv6Vw5uPyl3CrXcxB+V5uk+t0CVIJtPIIztW3sYUSnoqxy9PEnjRMApITx+nd+g5xM0TbewArY+DevYXf6pCc2YfTXKM0dVwxbaofvEY2V8L61A/jXzyHlrSJHIfs7D6c27fIPPoU3ZV7isRtOh6Jcpr+bgc7Jd+lPlndI/vsKf7dz3+Ff/GdFQ4fLHAkZeFFHW7Ve7y8f1RdCt9chEeL2/y7//Yvcd57j5Vvfsj4c4/Q64ZEptRjE9Q3FihOjJEanmDr7gO18R0/vJ/2nU36foOt7Q5HD09iDxY5/bN/wfiYbOVD+p2+eubNFVN85d0Gnztp8Gf/4RR/8dtXOf6RSXa2W3SrPQ4dGeKVv1liaMxiajRLRkwGvkd1q0lpIElpKMNf/vUWbyzDp05nuLPsMzAa8ed/0+fX/0fx3s+xcq+FZoSKzWHGJgNjZVrNLgnNYnV9idzgAHv37lGb8u/+1esMDJc4/ZEzXDh/UdXxxDyyvrqFZWiKnL+ztUWl2SIhWXbhN6VSKjE5OjaK63tcPP8eR489ohzrWihQ5W0SpjwThrl/fYGJ+QR/+h2Pw3ODXL+9xlqzD3qa8v+X3PnVX3mCylqDD8/d4cjZE1S3VjHsBL1+h8HCANOH93P+1TfYWmvwic+/oIDMV9+/SlEsLhPjVHYrTExPs1vdIuwFCmxu2gbl8iCJVIK7t+8wJAOiVJpYNygMlli/tUpmJM+BsxP8/C+e48vvBHz8RIbxvM563aXbaKuqRSozxLcubLG49g3S3gKNm7cfXohF+yYGpG6bODmOnhgl6t9XJiI9qhC3PMLhw1hpG2/1bTTPRZt4Qn16WneJvq+RKIxjC/iz2wLhqVgZzCClase2s4LfvImVmCDUcqrWZxQnFJ/H33kTQxa7Y09h+XVcp0o6NUC/v4FllpUBwNQ6CtQbJyeguwCy5BCFry/0+BqmpmMW9xD6W4o/YBRGcFprZNJDinjv1zfQh/Zhmbai2Mf9PnrzJtrAo4RxoFIXQVTBMCaVyUWE9pZhKyijv/UG9uBBPDmb6UViSWDu3sPKFfF37pOcPavendLHl3pi6IuOL8YXwN/m+5gjL0DagtpNxRFTCwUZeCQLCkysezGG38LrXCZKzaGrGOoOVv4QYWqUsC6LkpwyLlham35lEWPgNKZfV+nJsL1IHEp6cY5wYB49DNF6i7iiZ7QNtPQgkfRXu0v4EpzPHcDrLmI0pfp+gLixTmRnMUeOq2cQkjLQDMVs8KvXSeeG6JPBjqrKshVnRwnstKoDaBJlSuYJK3dwnVWSs0+hN4Ubl0TCuLRDfKNLNj9MZ/UK2vB+Ba/td+9heIZaHGtxjFO9i5ZKkcjNKG6W8MTi2qrSGGq19/5NLFslXWC3uo/WbRN0Kuizj6E1t9UHbubHoH5f9VHs4RP0K9dITjxDIPGR5b8gGvs4RnYYr76MqbdV1F05Kn2bWI/QBG5VeZNUahpfepG9ZaWbkp4HchCXhr0Z4jfXFanZb4SE0pV1NlWXKCF947S4rKvEnSWM0mEQt+XuDRg6SqL6IZ38IHZmHtbeIMjvJfJle7OGln5IyZdcmKiP9FigMlewB59VHVOCNm7tiuIdmGImyB3B6C2je3XC/AyGTDZNF08AF7FIw/t4sY2ZMnGdgKR8ueX/7m2RKojmI4nnNtCEcuzXiFSXSKwFi2AnQKZXdgKtX0OXNER6DJa/jT18FsdKY4kf27PQLVF3Sb9FPpshIiFD5mRYsKOivtqoqPw8tPYGcfkImtC43SaYaYxwk9DxCUwDqzAO1W1IDKmkRRA18DyXtDAaPDBK48QCIxM9Um5WQQZDT6j7Um/QVcQnSo8p2IjlN+g6dZLDj+H3VhXsyZYvkVBKdZ8w6igVmp7ZR6+9TlKUHQkbb/c99MnP4t/8klI9mkd/mWj7bfVicDwfozxM1OthmSa97fNoqaPEuSlS1bcIUmV1aMkU5nDr1wmlh20kMSOJ3HiYRkQoXninh10ew3U19PrbeGZOgUJKh/fh6zYHxn6IbQc+9fwMR+Ys4mCQKwuLrC31mZnOMTpSpFJx2Kq2WL5f4fEzexXB/6WPznPq+BGGB0y6rQpnTz/ByuKS8i7vnZljo9oiFcP5ty8RGAYz05N869VXefLM4zy4c18ddj7+0qf50pf+gOOPnMDxmkyMjNHveUyND7O4dI+V1S327p1jenyC8xfeV13dlz/+PK1+n2JeJ/A1dfGr9y3evXSFN1+/QzY/xOrGJsm0TXEgxVBpgGxRw+vrrO60GbB0hoey6kE1PjfAtdtb/NW7awyGMee++0+Yf/5HodWgc/8V9RJUvyf9Hs7mTXLT++mnZgiWr5CZPIEU9CVpE3f/X5beO8iy9KzTfI6//t68N73PrMzyvrraqq2QkLcYKUCwBDBiZ3eBmBiWGZYlYmOGwQwQwxCYYATMDFpJCIGkkYSQWmqpW2pb3V2+KqsqK729NzOvN8fvvF/t/xVdXZn3nvN97/v7Pc8Kodgq2j7OwFF67Srsv4qdG1eTztiW2ssWobuEHkrMOI9vpDG7LSLZ6ltNpRM0cucJegdEyQTJ2ip+sE4YDWKIgkV6q3pMaOqYzVX1HY2TI0S9qkrTiJolkqGVbWPERcKORMwqkO7H10XVWcbuO0uvuapULproVQR2Yw/CzuuERoiWmiaoy1Z8VNFqhXFhCondu6k226F9As0IiGqXifVB1Ym35FDq9vBamzJsx0nP4O0vqM+znz6EGQrMc0nRjq3Rd6FLAmjrO5iHPvEgGdRdJzaKGFaaQDvA84oq1SKwzqAr+lWBtdxEs0ewR88Sde4SyMAuMYK/d5XYr6M705gyxY98QiTylyKdH6Wzf0V9X+kXeN62qozInw8FjioDOiND2LiLlpnENkuE2y8RJCTTLIrMGEMc5U0PPVfE0saIjDbe3mWszDyR5hG0GiT7BHQql8gORsLHYJReaxtL6XIy2Lkxgm4b090g7Nm4nS2MXA5n7GllZPFrC9hpGUqMEzZvqsqVgEH9Toe0KKhkQn0g5oNBQt9FKx3H77WV0SBTmCQwR/F2f4DWq2KMvYte+S6jj5/n+//973j3L3+VHzk+QDavM5i3ePXWBru7cP1LHyFvJSivdEhoLVptn9TEYbRiic6lb5Idls9rjVazSWpA6mG7OPOniXZ3aRkmfTPTePsHlN98jdL8IeqmznQuibe/T+HTr3Fx2qc/mUPTqwz19fO3L+3yLz9+mP/4pf9G7dJLJOWiQ4Eg3CfYuUxy7FkMrUmUGMZreYTdHVKl47g719G0KgnDotXJ0P/U49z91lc59pE/5Reey7LnyiCwzWixhJ1t853X9/mZx/v43f97jjdf2mVseph6uUK33iPbn6cwMMDynTuMjA/gdyLKlQMc5TTTqNUbjI4OKPhiMZ9jfXWLWrVGykkyd3IGW+o+1RVeeLXJvbLBeEkI/5IcM/jBpT1+/hNTnBstcnnlPkePT3L1jTuKGJ5O2goKJvq/2l6NkYlR0rkMS3cXGRoaZXp+jmtX38Y2DBJ2kspehbHxAbxOTL7fYW2pxbWboqvtcPlegw+9o8j588Nsrrao1WqEQUBpIMNbC10entCYPVPizK83SGdjhmOXit9Ft9NYYUCrGpIbS7G+HZEPGrz9T5+G1DDVFy/hCak6X6S7s0H60BhRpUt3fYnMEx8m2rpPINfc7XUFOtUnjhJv30WsoplcQal7e8s3cE4/Q+/q93DmTtETD71sYwYPKceyHNo7N14lfeJRunffVCwB0SA3D5qws0XXDhh+6CkaVy4TnT5Dsin8lBW6sanAhKmOT3d3Q73PWtUdnIkzWImAQKo/u+skzp2jvbuNkD+aVy/TizTmf+nX6Xoe3pvfJpo5pYax2U4KrSC1k111oBfyuKiGrV6NXnUfKzuitqeJ+VP4u1s0v/l5khcexcqLZqyOI/aRVBKv65KcnaP5+svKgJI79TCB26a3fI3O5TfJnXsWc3QGrbGOX97EKI0jjS4BlxmeQ2tvndTECObALJ03v4UrmrlMlmQkw8kGevsAfe4sYWoU7+p3Sc0fJ8gP4P7ga2Sfej+6F1J7+9vo/ROkJiUG3KSztkxqZgI5cfc2bquzoeVoOOffRevlb+NIYuvYowQ9OZe0CXa3MToB1rPvIbjxGq6dortyS20DE4kc3Y3bJMZmiHMFzLBK36kJ/vQPv8VnvrHK+8+O8fKVTcxsih99cpTvXd1VAK679w/I+XD52u8T31tm/a23yYyP0PE0tG6HTqXM2MlZGvsySPWoVupkbIuB8ye4/8NL5JNZstOD7GzuqY25kwn533/7W9zZdUlYCVKGvId0jg4V+NvvbfLOo0n++j8f5jd+5TKTAxoXHh5kOJ2h1XJZWT+gfyTN+nqdvoxDIZ9leavG8RNFjs5k+NYL+/zjmwIrdel5MbdWQqp+yK/99BBnTiTZ3VLZLAVdre83lc759KkLdHoBjfIBlf0K86fmlEVm6e59hoYHlGM8avUYHB1QJqBa44Ba+YC+YgG312NpIa8AACAASURBVGVweIRGq4Vf72KkE5SG+9lYXFIb6Fw2x+7mNjNH5tWWfbfiEnf3sfQs87NFthtNfu737/OOiZiBwSKeF1HvGlRbbX795ycIOgG+nyCVTTA0VqLbabK6uIOTjNTAeWRwmCtvXFHJyaGBEVbXVpBoSqFQot6sMToxyubqBpXyPmcvnqFarbF4a5mJmWHmjx3h9rVbKmXrOEl6foTl6HSrYgrIsbO/x7v/TYOJUQs7PlD6toxpMjs5SKCH/MXXlvjs7z3BT/3aX9G4+vfotQ18axrNrBPJrU0WZMk8upHBr1xWfDGz/xHCre/iRxbO8ONo/g5eY5WEM0woywJ3mciL8BsPTGSaM4dndNXf60kFUd6jXgdNmZNE85YjTMyrZJ3W3cQQ0Ll/QFBfUT12sWSIA14Wk4aAt4XxU5P0RKTOESHDBFTVAlBYZ3KBF3qHEVQV5NytlVWNOyqdVHdGWttEwq/PTRHaRSLZtkvlaew87bt/T9IqEQyfV6wy2fRrbh1tRLhec3jVq5iahZ5K4/Z8bCPCkIR0+jhBsKWqz0KsibQhAiPASeXwmh0M0WtKKnrkHGG7ooZ8dDS0pEEoFrPWKnog/X9ZOAhIPIMZ11SKwDAzCg7qd3fRnBRW4RxRtwG+gKsPqVSoAPHj7AC6GAtiAXLmQFLoWptQlPaOnCnzdEUfmj0F7SVCPYEpeP5gH1JzCu5otjYhlQAjrxbFlpGm11tXTAI5z9pWn1rSykMzCBpYdvrBeVuSqK07im+VMGN6sYRFR1TKM+jeVc9WrTBOLDDCUKpRYvBrkCg9qoYw2t41rKETyC5Mk+q0VaBrjeAEVcJwn1h6A5LcqF/63VguxUJwDuWQu/26glppfefQHYcoEGjXhuov2ql+tNYqvpYmzo3BgXS3D+GMnaZdvkxKiwkTo7jrP0TLTGGn82rqZfZN4u3eVF24MCeKrUBd4EOh4OsRYZjBC+5gNhqYg3N49TJhdx87PaT6afLQcIIevfoehqgEwwgyJYz0YTwjVtEG3WsSWXkVazAjOeyVsYMH/mrp5trJeeL6Cqb00aSv1zhQSjyrJB+0FnGzhhZsYiTG6O1fxRg5Stx08Wp36es/TS+KiPuH0ZW32sXqH8evV8Q3gaFH4Ln4QsEvjhELAMqvY1jiT07R80NMr6m2+uL5lZhNnJIX7RaGD83lb5Ca+hEcw6XXLeM4E2ojqUtcWgYFWkikOjXJB1Ecp4DbXiXaeQtLAI6ahTMkfXmZT1QIDRMj9lSnRlSNRrAD4hM1s2i5CYLarlJKhLQwh5/GlJh+r0IUN/HFLS4gHieFr9mKIZAQbZ8QsUUxqPnY/XN4vSw6G4TNCEur0tV07OQxzJROt72FVl7AlF6eM4/fvENy9FGiVp36/c+SOfkp/O0rRPU9zJknHoDKgh1C3cZrlXEmn0CrtfDDvQdfUHuMkP0HSkM0jPxx9PYqsUwXB8/itpqY7TsYmQHcpmgi+/CiHFbnPnYqSeLYPGTG+K1PfpLPfKHMseN9TE33qX7hyl6T0E1QFK2f16bWdRXUrz83yu5ek+tLm3Q9neMTWYJuj1zR5pHzR7BEzxglOHp0inPnTrFfFuhJwInTczS7PVoHTQXEvLG8yoc/8C52N7a59OYVBZI7emyWy1evsre1xns/9jEyCYuN1U3WVrfpH+in0+tx8+aKItzLcPHF79+g1vG5fremICbjgylmDhUZGUwRSD93Z5PaQZdAM+j2NApZOHZ0GLencfvGEvc3fPpy8Es/+yi/8oe/raAr5UuXsQcS6HtdkG5luKPooaawIXLjCqqH28WI99FSJbT0Mdzy9xTMT4YrtlFDTx4i3JfY6gi+HKw1g0CUm6Z4WDNosUsoH3ABiFoFkP5RlMSI9gjb2+q7EpDB1lyinolvOeo7KFuI0JogSlpYgacUcgKp8QWfGjRVnByjXyVsbInDIbTdcUWC1Totwu4KuvT+k5N40T62UHb75lX0zBDwjtBpE6LODNDku6+FeEZaQS0lfSOAG33kXei9FbSoR5SaIJLtnhgNbJPA6+AXptH3Fh5oayRJJGCZuI1jiT5Qg5QpLRzC3g6B5mCaBfRIhgRl4sYt9MJZtHQJv1vB6ZUJ0zlM0fTsS2phEDs9QHP/NrYjz4xbJPqOY/eN06hcI6zukpM6gigz7QGC6hqGbT3Qy3RsEK1YokGcPEd6oETvzsvExRGMjPBIukSxxPUnlJ1Ct/rUCzSUzf3wcUw9IhaSrWzCJdYmvTmJ2Jo9/N27+Jl+zFgSDBLn38IIPIy+aTUkoLdCXDxPIp1/4N5td1WsmNYKsbxAk2No7fu4mk6ieIhQSP/uHlb2cbphBat8BWvgCL1OA/PgjrKyaMUZov1FnPFTuF25BH0NZ/As3d0VBi5+kN31KsMXfp73PTZO0rIY0FyM/gTP/3CFz/6rJ7n4zEn279VxhJ3S8kk6GoFZQh8cJKyKSmiLIHSxMwXCTB9hcw/b7cDQIQ6uvcbQiXfgGzqtletoTsTIyEOExhqP/dJXGB+e4eiUhy7Whzjmmz+8j23rXFn+Ns21JVprayRsl/ToY3Tqd9DlICQ9TbMOlTViOyZZehhPVEVaClvqIlGN5OQQX/yPf8Yv/cE3OD1jk7QdCok2ppZVW6Ln3yrzB58Y5id+cpgffPEG2YlBCn053FYXP/LI5fI0qtIntRibmGJ58b4yKBT7hxQosH5QI/ACDFsi/Baub9A8aNBfyrKys8/Tzx7h5Vc2+NU/us9HH86T79e4er2JmY/5t78wT38qxd3VGsW+DPdvr3D24nmuv32FQinD5PQsy/eXSaaS6t8q54q9yq7i/yQdk5nZeW5cu0Wpv0CmL0e5vM/x4xP8w2evsV3vcGS2xNKuxunZHhK8E55OadBhebHBhcfGWb/dwczoXDyl88q1Fh/9S4/DYxkG8z7jAwm2KxLbzbG4ViMR9rhZCXlyJMlXXvwtmlduc3Brg8yZM9CNobVDJLDJWo9w6wZRfpCEKLakrTswSe+giuGkcRdvEczNkvFFGXyAf/QdeC9/k8ThI6rWFtx5i3BwBH1X1JiiZbIgkyZK5egtXiOKfVKHT6uEmteIyBx/nNbLf4c1ME7z+mukRqcxjz0J91+mV67DoSk0TSeXyVNdWcbdXWL0yR+jWd5RFSBrYOgBoFAO3UWbVN8E7r3rRLqDncoShiHh0fNotxdIWRF73QaFM8/gLq+QzFgEyST7N26SHhlRlzOtsk6cE1uTR0/3yc6fof3WiyoREh+/SPuHXyXcbpH78EdhY42e55EaHqJx7wZadoTcI++n9r3/jhYaFE4/RK+5r+jxkSyCIoj3dultrZKcP4OWStNbuE7yyBSellTdb+fwBL2rt7EmRol2y3jbt3HOPIkdWnTXboCVVMDFtsD+Kuu4sq0SZWdfCXNoHL1tEJdv4C4tknznT6BbDq6dIPzBl7GzRcwjp+ndv46/t4s9c1TBPo1mlcYb38cbmmX07DmqoUeuqJFK5fnM73yJf/2lNT52McuFySI3NzzWexEjqZj9yj5xMsMb97ssfeVT2GNj3P7j/wy9PMULM3iNuqL0D4wPsrG0Rk7OjMkEmhYrOK+cXa2BPOFBm917N+hGeeZOjJPLGEx98htMzurMDg1y936Z/JBDMo65vBXwwXMmf/Jvp7j0rX2spEWvvUe7mmOvWeHsuUl2dvZwjCTplMOlS5s8997DymR1f7PBznrI129FfOTxFIGn8/LNCmaujxODXX78PUVuXKkxcWKAdtmjf6ifTqPL8tISmVKO0xcfUqyCvfUNuq7H8MSQioqLR14ggZVNUUFHnDx/ivLuHgtXbjB/4pjasl994zW8Xo/puSOqCrB4b5vHHz6NZ0XsrOwwMFpiu7LL4eOn2by3QHvf5x0fusDm0hJ/9DfbFPIWpVzMUH+e51/fpNVz+ORFm0efPURlt8b6apUTF+a4d+suKccgn8ix06iptMLdGzeZnJ2m1ZZ3skWxVMILQyrKkpRQRot2u0MylaW+t0+hmKchCdVshsr6FoOTw6JJ596NVc48fIKtnQNS3TbzF8c5//OXYLCfQrdOtZng4rk+VjfaJM2AWstjZ7vLrZ0f4leWqF/7J6zZD5PGpRXo2PKuj6tqKG8IDT4hzK8mumViWY6q0smDz0wM4dqGqmVb+QnFGQu6MsiQTnCA5wfqsy2proQIYrM5BV5VQPDIIPLbiucl9RiSaaxuD1/Ad7JYDUMFtxWzkilkCl+AwnWCdIbYDzDtmDiULbUkjAXEu4WWnYRGHT9ySRcOg9mk2+jiaD0iI4tffg0jM4qWm1QJQF83iGNJFoxgJBx0URy7bYxOT9nkRHur61ncTlnZpKzMMZX6DCwLzIQyfYW+rhhryCI4ThNJRSAzp+wEca+M79jElWUFpiddIHKraHaRlG7QqtzCzqSJpSIsaevmvlpUaXaLniQU9m7jtZdIjD+NnijRW/46yeI8UWaSqFMHzSV0O1jJDIHAF1U6VUBWYOdm6Ir1yS4qSKBudFVFW7cMzMz/f391ciSMjrqThakCmpy7bBlu+AoorwkM3oMgrqOJbardU+dfO5Z/s6fqnpHcK3fuYJZG0awxpV+N6RD5iQepAkdXwxl35U2S53+C3tYdwsZlEiNPE0r14WBVpa2tdArSE+psY0QtwsQYCWK85jpa/a0/iv1WGzMRYmbPEDXvEJkCqNjCjGMFGMDow9JiYntMuZuNQglNlwN+go67h1N+BWPuAxjmEN3yVezmIsb4kwSmT9juYtMkcERFJ1EQoRI6RLahDvZ67TaePoQzcgo8OcB0iatLCDpF4nGePYAj/vWwp/rDniLn+4Tertp261EHTcuqyGuvdpsoMElKHy17XG0jBe4lDnA/l4NGGWmiCjwhrq9jGJqKPonr0fQM/EwCS7acroc58g6C9g7J7DheY5mgdhNr7N3E9WVCIWsOXFCchLhzBy09h+5HILqzpHgv19WFRDNkg1UnkXSIZHMq0zfp0LOPlp5VW11Tk4pAv1Jn+a5F3FwAAaWJVkuGBAKOal5H67+A3DGiffFhn1ARwd72HbTRh9TmMNK7OHIIlwN35jCh1lZRldiVisQUoZ8ibC+qiyvZo/K5RHO3cIwCntQeMmPonvtAs6Zo7RJA8LEcAy9OYUq3OpSSkLTOpdOcJWzt0Fh+ieKhDxAYaYK4iSk+0+S4AhEGQhYVWGJ76QEJtXQOY+8yvpRq0oPKfWppEX5NtEhZkMO+UEfloq8ZGPkptMQQ4f6iPC+h8Cyxu6KI9J0ojSM/ENNRlFABqUj0JpWbxsyP4svDcH+LXtDD8poU5h9Dnz/K7//qp/id/3KbuRwMjGeYHpug3thnvw7DxYK0efC6Le6ubHL+9FFsS2NlbY1GO6S/1M/zr6+RL9gUbZ31ak+lKCaHkkSez4kjI5hEVKv7DJTyjPbnVCfuoN6hP1/gzNnDvPTyGxyZm2FxeZPID+gfyfHG21vKRZ7JJdTUXObxlWqDpGWga6LnsXHjHheOjJBydHXZCFwf3dUYmy5xZ3mXlZUKTz9+DN9rk3TSkLL54j/eYWwm4jd/9l18/H/9NHFhBq28Qnf7uvpehhSwCwaumybWfVVviZ1pDlYu41g+hamz9OTPiu+6OElQq0BukISRwK2LSjJFOmXT7kmSZgdNMwm9BlZhVvXUgoMFyJ9T3akolg7auLIEtO9+HjtdwBp6WsWxpEMeCqAy2CJKHCEWiEq8R0gas2+K7torJEunsEbO0Nt9g1gewgMX6S5/HUci7RLDKr+tNJBx4TSRv4sVhw8ux1GA3rhPZCcx+y8SVu9Ca4s4nVd8ADMpl/A9wuZdnNS86r5GcgEtzeLWtnAS/bix9PU1QreGodWJ0jMYUsvoraEXztDTbKzGimKbmJljaEbrQcVGOnaVRYy8g2GOEDTW1GY+Spaw5fvf3kSPeqpiFTbWCEPx/U6rz4WuddQhSxSQSjWIJt86NUxO6DrNyjZx3xixTOzLbyglTdqOEOiHmAxCN+JBMbeJpScJc49A6weEvRR6/xyC+Jf3SyAv7YMFLKoE2Vni3dsKcqppw+iSrLBdqLYxSlO4nVWc4nlCPURrbBHrsiXM4ehZegt/iz72CHFCfse+6oO65bdJFOZwD9aw83NomQS60qeOEwVtaNawhg4r7oNURSItR1i7h+EHhGaI3XeYsPw2kT2MlR9S/XFaLaU0NYoDWGOH0RMZjuaf4B1PT7G8VUWvd5g7M8mbr6/zySfH+bVPH2dtQ8MyGjhBRl1AaisLZAv9MDRNYmyazr0r5NNZWoZGduQk5SvPY7d7hN0KgR6TPf4wVpynW72J52UYeuooX/j9r/KrX1zi0ECM45ucO59gqxzxjesN2gf/BJVt6uUasTybTEsdJMz8UYLqAr3l50md+GkQBk1zTQE1E05Ew/WwGnvkn3iOn3zHB/j+63XOne5HjyFpWLhujXonydtrHjf/yzTDExovffk+w0P9SiuXzidpNHpqgJJL51hcXldGgGI+T7KQIuGYHOzW2RP1WCqtBh8C7hKYVtgWBoHN6k6VRy+e4R++fpUvfrfBucMWjq2RTeps7Fv8yCmTk2fyLNxpMtBnMzQxxs7W7oMecKOhDhzpXBrHcbh7dYFHn3mKvd11qvsSsdaZnJ+jvn9Abb+mNon3biwSd102myZEDhMTGn/2uX0+9d5B5FfUrrmM5gtstGpkdIdk0qQe1KjvmDxxzuK1uzEf+muXi9N5Dqd7tKOQVMakHdjcX9rl6KExvnRpnZ8c1fjCN39dHXB3f3BF1e/yhkdHNlUS9+22cNtVRfsPdmoE7fvYw0fp7ezQN3VIHbCrP/gaydnjRFaK5iv/RG58EmfmLO0NIbyLLSOlttvN229SevbjhGtL9La30PuH0Lt1WvVdaLYofvDnaf/zn2Omh3GnDpFYX8Q+/hjVV14g/6EfI7ryMnGiD2NkmtbdazgJiyCU5ITEQpO4moGdyap3dbfewr1+mdTJ83i0SXmy7fdJFPPs3HiRfGZM9Z5zjzyMv1rBzttoyRzNS99RStbk8HGSov595v2Et6/grd0kWRyivX4H5/QTGHu7uK36g9pdClJJSRKm1WbU1nsqIRiUa7jNbXJPfgKWr9NtNTCMBHHtPvHwnFKx2skYd/A0mUIfte/9gwJIlp7+OK0bL8PKHYyxUaypC3RWLhPevo11/hHswSmCeoXYM4kFeto3gGbZBGvLZC88RevmG6pW0hufhdV7xAmD5MAh/N0NouY2frtJcuqYqhF5op7266T6D6FlBmgtvKjI387MFPG9a9CNKBwe58+/dJX/8PU93nUS+jImb6x0ODFigWez1mlzdznmE88M8O//t/P49hB7l2+pYX9pvEBjp0kkSrmRCVJBjJ9IULl1jcLksDqf1lcWKS9vM3nqJNnJIo2NDWwcapvLzD73JAM/+ldcPGwq3XSlaykl3TOnx/nW9T2eGDX5s98ocOnFKu0oy+iAS7UXMTaQ5d7Nqkr/hS7MzqfpdiwuX9ri4iMjpG2PV64d8OW3DM5NGko5W/NMvvlmjZ99zuCXfvmd3Hh+GU9rsb2+R2GoSF8urWC9+YLYiRq0mx12dqocOzyjfsY6GosLy4yMDbG9tU0hm2dgbADPDWgc1MkVBbYbK8BeaUhSET1MKyRpp2k3usqqUxroo9mqs3l/h/GZMbL5NPubTTqaxqHhLjeW0/zi76zwsScd3NBl7vAgS3eqfODJIs88c4S3X76kNtjpVIqMXFzDHuW9JgPDJbW9rx7I71v+XofKtixWSlTKNc5cOMvBQZWN9XUGBgZwRYNa65IuZElYopTeZ2buELFpsbawgNv2GTssdVyNtdUKjz8yxj+/uM8vf67Ku4/n2Gu3afQ81be/sVLnyYujfPGFLV7+y0/y8C/+MvvP/78khg8RtavU9lZIGW20/DkS2ZLiGEmK1pDLpDGqKtFed0Epw/WU2GEE6v0GQWxjJAcgI4nkFbD7lOddFjZixqF1n0jMS3JPs4XjliaUumJ3Q+l9CbtoqSk03VF2slA/IKpsKSWfRPeNTpv44IqKn8udLuybwBIQvNaSHRC61iCRniGq3qJTvo45fBqNPHZKIH+iRY6I2hUsUctlUuqzQ2KSaPUbhMLBKRzCD2tYsgQJDgik6tzqYqa6hKEtY0w1HDU6B4quT3pAGYxElShsOSMxqmoAmqhYpc6cyOLZabSe2IPuESf7MRHuyDW0/GmiThPdtIn8BqakShu38avrxKXj2LLU7J9BMx2ssIV7sIeezBC1tjHS08TCEpOIZzKPsfoKrpVXFjVqN9GSswR2oM5sRqSpxZlfv48hqr+SDJV31R1JF7Bz7b7w5Iny0+quHIdtkmFbLYNiuTt1donaPXRdflb9sn4nljufbhJ21hR3QPTHWnEc0/fUoggkQW6ghz0iudckhvBzIxjVGwSJMbV4k6SnUd9Bn34v3cYtTElJDB6nu7+J07hHmJ9UKUtT1fBdtMZrvxf3agsYmoY18oTSx1leFa9RIy6MoPXqRO4auhwsh86juzVCy8aQrbFhoNeW8RNTmGETv7pAavYDSvcnN0g92QeWRbS7AoMn0LQE2v5V4nwfhj1HZJtETYmf76JHLqSHMNKHCAWWsvsiWvqQAlrYQUvp6nphC0PoydYDYqNpj+CLA7JzG82ZwJZtePUG9Dz8RBZHEgtBh6C9BplT+LW3SRVmCPVh/GBDJRT85r76YIbpJJHo8YQunxgkFMp3RpR9EsmP0MN9NNEbOvLL2yIkQ9Lp4VfLxMXj6L1dwsQERq+C3xFAkkRp5dcKhsSG0wMKphMHOkbgE1ji7k3gttdxpt6LLy/Z1nXl6/bEk54ZxHDLYA9hWNJrrhNufoto+qNYeldF9iUGLxG9OBWSsEbxd19HK8xi5OcIyrdVd87OjCrCtGj97KiBW3kbc/TduIaHUd1B65+lt/YtzF4HbegMhjNFFG9heQE9M4NjSox8HZr3cUafRvPbD5yVmRJmc4egvQ2i3zu4DekZRXUX6qaRmiaWmFDYwEwfpeOuo3VrJJODeJ0djOJ5FXWS36OTk57PhjQMobaAXjqJJsyDThe/fQ996DElNtYkmiiTS5m1tNfR3Q66xJcFZiEDpjgkMmwVL497dRJWil57FyNO4MkLKDdNcv6I2mT+1Z9/nj/465sMZ0TlN6Fi2Ds1D8fUOD8/T3l7mxvLO+ztxXzsg0/y1p17XDw1SxB4LKysgxsrpePS8jrHj03z6mu3yOaT5LMFXnx7k7E+h1Q+SWtf+ss2ddenKOY726TalDhallRSZ2GpomKj7358kpG+Aa7eWqHhRuTSJrOjeVJpQxG6q1WXpa0dUoZDT2KRtRqloWEePT3KdqPO6u0Khw8PcWOxztWFHcZGTX7muTP8+p/8CkZhis73/5J2PE4iMYrnLWPnhuhVduhVVylNPUvP7WHZVSTcrVv96IURjJZcJlbR/eaD4YGuqwi8KV5n2ZO16oruathJfK+nHLWyfZLPtyh32nt3sPoPq/55sL8J0vkz+4kkxSOk+VQeK5UmdjWCIEJLaJh2nnh/FYoyid3Cb1ZJJjS01FHCypsY2UP4to4fBjjmgILKCWsk7oSEWgNDPm+OdJ1ks2uqiorUBGI5amUH6bUf2D9kiWT0XVBdrPbGV3H6JiA5hLZ1Ba3v1ANFqAGdxgpOIPH4Q4QyNDjYotPdUl0zLTX84BBeW8VSKR256Muwb4xw7waR3SNpn0T3V1V8L0hO4eSLgidBt8UMsInu9BEIBTk1Rhzvo++tw/hpDC8gEqOFZ6uhRWpoGr9yG09UicXDipyeanbwR/pIxkNYE4OQHkbllQX0U7mJ1j8OO6s07t8kMAsPgDh52ZbVifw6Wq6A4+7ji/7HyuLtPUgSGJb8myqq9qAsHFoBnC6m+IW1UMUNk5Lqcn3C3haaeIStJEb2DEbawz0oK5c62QKB18IIW8S5GYxIJ3DrGAJuSqfwOi3i6op6XubG3kenvQ7ZLAmJR5ol4mSO9uUvkBqdRR+4SBxsgStKQ0EA+WhBj+w7foxPn/0R7rgug3nU91+M89s7AXNzaX7vFx4iZY+w53ukbE1tK+TC6e4u0+vUyeVKBIaGXttm/6CnNmh2qaTYK+mzD3Hw2vcx/Qa19QOGLpzHGh0nOdfPl/6fz/Pjf3OPD5/Jc0j67Ns1IiPkxesNvvuFn+P0e9/L3g/fIDt2nG5rB89vk8pPEQcxrrerNpDCJ0k6/bhbb+IJRHboRxi01qGkMzj5a5ybTnF8Lk+z02Z9R4BTIde2fIYTGp//9QKTJx/CrVepVdukU1k2V9ZVqiWRTNA/NKg83E4mQ7fRUNuJodERNtc2GR4bVDH8a29dYWp+kjDU6Ag0NZ8nCEImpzX++jPL3NyMee6pcbY2tzl8aJZvf2uB97yvwHgux0GzSbFQZHhqmMWFe0xOTbF+b5Fcsaho5LImrFYqzB4/rsw4G2vrdNtNEqk0fX391NtNUkmH/qE0r33vLnbK4d6Gz1BJ4+XLIU+fzTFfikj3pWg2OyAVwcgikbC4faPK+laXH322xOxgjr99pcmnP1vmkSmd0ZxNO0hi0JE7HQnLZCSf4suvV/jJJw/xF3/6Kdi+xwuffZGLzz1M2K6zffUqw89+GCNfwr39Mj15tkycQm8+SC5oI1P4N68oFoh97BGl6eyuS/+8h5GRtF2Ik8gQnXiMuF6n9/bLFN/zk+y/9g3Spok2dRZvawWzvUaYHyMxfoSDb/wN5sQxsifP0PrB98ldeAJvfxUvnyN54BLl5Tm4RXdvg9SRC1hhHbc4jdnp4JXXsGfO4t2/jDEwj19fpa9/hHZtH33qBP7yVby121j9R0C3MM0WWnFUAZY1L1SsFH2qD8/VMVp1vK0trdN5WQAAIABJREFU4nw/+tZNwr7DREFVxVVJ92Hsb+FNHCEzMom+eoV2oJOQCkB1D+fkw4T3r6q6F+PzGJU13GwBy84pZaJ+5zK+bL4PnUMbnsK/8yqttR0K07O4926TeexppRDWt1bx0xl6q5fJPfth9NwI9f/6u6Se/Yg673WaLeI7b6HnU1hnnyPc2SA62FIHaO3MRcKV+0Rrdyk+9yFaKysYzTLO4AidjIOTH0ZbXcPVAzJHzrD2/P+gOC6XqzEyQ/34d3cwHxpDO3KOXzz1c7QSaS6eH+aFNzf4+MVx/vmGnCNicibc3O/QK8f83a+eZv5Dj7P+9y/QKu8weGwKN5Wnu7hGem4Yz7WwhasVudRXVxk8fZLGfpugIcyIETavXqe1W+XIjz7DweYuQxmNxKFzfOxf/TXve3KG68v7fPW1bR490k/Hj7m+3sD0fC7/p3FefKtGWrcZGrVZXOnRn7MUy2Z8ZJAvf3WJx58YJmllWFmsMjgScGiiwO7/5HL9+8/UePdT/bx9rczT52d4dX2X6pbPv/nFCQzPZW+3x8jEAA23RyKRp92qq0F77PukCwLoM9RirFzeY3BggFarycz8HPtbO7SbbaykqfgJY6MTbK6tkctISixJs14jkUgoJahsreWC02m1kR2TY9ns7O5zeHaMO3fvYycytLse6YLGWNbi//iLfZ470odneQwlktwqS4WwxwefLTE1lsEwhrl55TLZ/hzzR4/idrrcu30LA5tDxw9RPTig06rjiK4vn2Pv4IBUIs2NywtMzA1z+sIFVhaX8To9dlc3MVIJDh+dwQ199req9DxXPcdGRvrZ291QychhRyc/Y/PQz9zGzjg8cyrD1YU9nOEi63eqmHlYKfs81m/wrcvfJNr8HhvrC2jaIcbHB+lUW7hmCqdvVKWZO9VN9T7U80NoAtbttSTPqJZ/Whjjte9iFx9Cc+8R+ZHacIeh6H51VR3S+8/gNfax0hIhj9DiQFVO5Nzv77yuhszxsJiM6ghsPza66HFG1WNDWWYIVN1OECnrgEmcnsJvLasqhQymRWNu7L9OlDui7CVUFjGzQ3jdXfDEHDdNYFtYvQ5+u/xguy1b+/5TxO4BmlQPwgRGIMmZI+pnLOcFX+9i60kCqZgnUgQCXI/bitIfuHJ/KGEkMvjduvodaKbcOY6h11dh52VlK5D6N3qOyL+JFpVA62JFgRqqeAMzONtXsAtzeLkjRO1F9L0reM4QTvE0Ue0OTmaMjgwJhEmWMHFre9iJoiLtBztvqou/13cMu34Zw/cJ0hPEwhaQKmrXUxDL0NCwmsJQm8KXdHckMxadIDGOKYYHz1eMNQaO47cWSQqkPejiY2IFLj23jSNwZ6uExAWE6WSmxojqZQVKFBOXpNaVBnX/FQVWF4uJf/fzmOOPEkUpldgUVbRtufg9HT0+IJKFa6KI261jxR3FwrJdScQbyB7XsAXQLuarV3477u4tqimVdBhit4nlFNDcGr7EqPZvKxhINP4YcWMF3UirzZx0QIxwl549gGHbaK6mKO4ycVGqP1Pi+DHx/jre3k3yF34Of/MK7c4G1sBxrFYFLTdHlJkQ0zatN/8AZ+w9OAMzuNtvY9rDaMOzRHvLhPU72P1H0HNjeHvS4bCJohpG+iSxv0e8dxO/dRfzxP+iviR2ZwPv4D4IKyBZgJ3n0Z15zKJ8uV3swFcXSLt0GC+KiTt7GPkx6Ibo1UsEctkJxKEtHvuT4AnXwFEdFCF3x7ql6OSmkVIAM616SdUnZEvk9dawio8q5UMgHsm+SfTaqnJnxtLJFeIlDxQgGi0MI4cXNtThXOLTkdlHQiZ4UUOR+PXELHHeUbFe78Z/JXn0p4gth9jrouWnCTe/Q2iPY+bm0HpLaM4QkRJ4i0pdDrsheu0yhnS0k/1ozQ2CQAIg+zj5GWJ7FMNt0Nn+LvrwO9FNH0PSHrFNqBlK5REcvKo+2FFmhqi9iZafxwh1sZHRqa6p6bYVt1VHTJPaQk9i2waBG6jOip4YJW6/RexnYejCA+ihTAS1EQIhU3pbJIcepeu3sDbfUl0qZ/A8fthCUAhxcQrTOyDoNlUESaa6AgwxNRs3nUGXi4T43fU2BgkCAU3KEEIUCh3RrzXx8+dV7SHurFOaPwKleQ6ufYcP/uSfsLhU5aG5Il7OZWJ0Fku+7LIJDgMqBw0eOjXHq9fXSdsGG/UOZ49MMjRe5O037iFr1PHhQWq1JsmsQSGVY6u6y/TIMLcXNklkBxSFNe3k6bhtdLkkGtqDg+ytHR59eIZCIcGVm1v02pDvh750lnpD9GsdWp5Bu9Wl3Q6YOzqmtD+yrZwaTrFWqdOtdWgGLmurbTb2XD794T6eeee7efYnfpyUdIBu/iMrd69RmryAaRSJvTK9ahmnMKFULFp+XHmqJeVihIOY/Ydwq5fUBUVI+kaYVPFsMzmFZqaIIqncPIC7SWUi6pXRMwVF2JduWrjzolLfSdxIsyL1GZQXuwJRhh26gQwIKmhGCkfUOIY8wBoqOiWRNPbeROuTi2wbzZnBtCFwQ2JRPB1cVZ8l2YCL89YaO4Pf3EJPTaLHkrWSSloT19si0TdHEBUwpPdVW8bIjqsHvSc0V0WrHyFqLGB0d4jJEpeOKmuAXCpDM4fdXsVLFJH/bLI4pQYk4ljtld8k2XcYbfgc0f3v4MtnNv/g++cfvKU275ZEyY0+tGy/IkEHa99UxNfU7Lsh0ghrMsUvEOltbKtIbPYR1u4/2Hg3arQrL5GefY6YEn5dYr/LhLYMOPtw4jLt8gLp4mGMkw9huSFhr8vKjVf49jcu4+2usrxbJZWKmTp/mo+96930XxRg2DbtWwvEbRNKMj2Xx1pMWP8+yYGj6vfT3n6D7OwHITpQKQQzPaM2dXFzjaBxD2fwOSKjSSS9PPnyC8k+bChGSDJ9mO7W9x50OQdPEdt9alCnNzfRzQJa1FQ+dZJJor27xH3zJNIFGuVF9NoKzuw7oF5Bs1P4lo0dNPHaHlYyRdBYfDBcsqexDY9ua49kXr5z2/Q/9Sn+5Jd/gj/8zCKfeP88lUqFf/nhC3zma1e5d7fJd//gIubIGSqXX8PTA1LTj2IOFuDuAt2tRbLPfYLm3Ss0N+4x/tzPUr30FexDp4i2lzF0Az07TnBwj53LbzH9xLvw6/v0PTTD61+/yUf++GWeOlGgz06wUakwODXJ339ziT/7zaf41P/1u2y/9DnyA1OQnaOz9A840hEvXQDZmrb2MRMzdIKAVGuBphmSzM6QGx+itb3E2Jn/k/edS3FszOIvvlPh6TODtDtNrq1n+Hc/7fDhJzNcvbSNLYAtx0JO66LxGjs0R+h5tFoNddg1kxa3rt5haKhEaaCf/XKFdrdDOpeimC0oCNnguND2e7TqPQUiPHwyzz9/u8rauvRCxX7jUywleOn7LX7rV2YeULN1D38vUs5t6fr7HRcEbqTFFEp9mJrG6vqK2tDqplxCbRzbVsOJlZUl8sUiB+UKg6Njagi3vrDLX32zxiOnkzS9mNE8fPxdeV55ucHQSIp8zqZV7WJnk3iuxuFDBRaWNrE7GmfeN8HP/eYSX7lhcXSsxlAmT0XYJ3mLvVqEZllsBDF7d2r81DMj/Mln/wW8eYfyXpc47ZCdnSOsHBCLFrBWphbEZM88hP/29/DrbayTUq/TQbrl7RrxyAn0zh6tyjqlYw/T2NvGaHukcznqW1ukxgvohx6l88JncSam1WDcW75CUBRN6h75mfPsr90hrfkQO4TTYyT8Dp1bd/C0kMTJ0zRf+B75H/2gGryG1/+Jzt07pI+cUnrjqLGrfta2D+b5sxgkWf/bP6d44oQi7Uv/3D5yFL1aw4sDnK0t3LF5jPWraHIo1FwyI8fo7SzRXVskfeQcXnkbp5hByxUxawKk7GHIwduIcAOLzNwROqvCSNElgkQUmxgTx/Guv4GTTeG7bcXqydoG4eAY/tJN7PPvwApyuJWbeGvLhLpF8sRZTFHoyv/bzddhZI6gsktyUqqjZczxQazjj9H5+t+QnjuCNnqazp1LOPmsWqbY048Q3XudTm2L7BMfZf/t71AYHFPANnf9tmKaIDWzgaJS43p3F7DmD9FZWqL89luMfeSnIZ0ktXyJZrqkVLnZ4T5e+MILfPq/LXLxoSnSwQZ5ZxQv7auByVRfkj94cY9s2+P133+Kwnyerdev4aWnSRUTtDaEqZBSG0v585mRAYKOR/nGXYafPM/9l14lnU6QTUvT3sROJGkcVFSEXmj1EjWfGs3xyT+5xMKey/BMQZmn5otF3HaHqgG3VmJe/Q1hvgzzw7cWOX54hP1Kj93KDqWhEnHXJpGWB65PXQaC+aRa6rWbPQX9+uOvHPDwKQO8FEuVhkjiKFds/v2/6GP60CzV/TrVrV3K+zWOn5xla3uXZrXLyTNiPCqr793Q4DC+59Ko1wmEB5HJsb2zSdyLmT58iGazRr6Q5+71u2SKOVKi2IzEJhSRLWV4681rvPfd7+Sty1cob+3zyNMPce3tWzz9I09w6ZW3KBZzpNN95PIG+QGNf/zSBg0t4Oa1KheOT/LW0ipvX9b57X89xdnZDDuuT7fSw/N6eO0umUyKoelZ9na22NrY4tCZw/j1DkGnRSeKFE8oYRmkUznqjRrbG1uEfsTxU0fVsm6gv8Td22J+SqM7uoIbttsttla2SBg6XbFPBSaPvHeC3/6d6/zml30++KhBFFg0ax0euziB1Y15494uP7jpcv2lX+HQ3EnalQDd8PCF6WOkafdWSYiKr1sh8lwS6Smi1opK4jqSwpOKsNjD3CaGX8fPTKqBtCa1GndX1QhVbVMTxs8DVldspKGzo9IjsagE04PEnX00mUhIoq65gGGn0QW8Kzw1YQQ1drEkNiLgbSwMLVTA3mD7f6g0d9x/SgF4ZYEqDCUzPahMF9HgCXVBDXffIDH+BF6kk+hs42X60cJAbdb9SEfvbhIZA0TZAbTaApobYE6cIxJKvtsG0aQLqM9KqsWaLMIEHk6rTOiYDyDliYzaoIdEGMIq2H4VhJuQmkZzb4Cc3aRCXy1jjD1EWF5Aj5tYMx9VGkB347ukBx8hlnuRJJYyo7D9A5Wm9vsewe42MATMZ2kK0h4mCxiSntRlEGODZdPr9JRuOayvoafGsTVRDVrqbKsns3SvfY7U0fcruLq7+jzm5PtUZdQMF9W7SoDvvewQ2s4VkMLqwAliUYjWbik+Q6hZGO1t/DgkMLMkskUCt4fuHkBYwQ/SOKk+ArmD7t3FTOZw+h/BlarA7mtomoYx/Jiq4mj3v4FRmkZ3xvCCFk5+grAtLLxZlawVC1QYyEKtgO630NqXfi8WlYOlW9gFgbfdUf8Qr1lB12MS+dP4rXVFftQaLWJd/IMDxHv3oTBP3N1+4MzudTBK82o7Lr5T2cBKV90PBKvjEzsFdUjRs2MYzSZx9ZIChOlGoLRtvp7DSCSI9xaJOzvEA2fQxKXduI9u5x+ALEITrXOXKMoosF+gmyTCFqE+grv+bZIjj+AZckjuEVJXtPzYLqpOuEQ2XNvFarSJPV/1y53SDH5ZLsTbOIUj6H3H8KoLGNaw6u6HoQwZZgk2v0kk7sbijFIe+va4+uKIckwAf52Vf8bKjqkLguhZYkumXF2l6nJrt9AE0CGxi3Tfgy+2RO3Tk4owKXULSQ2E6RJGp4mZHiKKXVyvjZ0oEbeX8ARONf6UGpaEvW2shvjqQxBqeX1JOdcxAhUvMexx/P3XML0OVv9pfCtCl4u4JBOiiETpDHpUxRMFmZbH7CzgxS524TyBPEgbiyqqpatKgkl8cAtz4qwiu/e2XsFMCMTQo7P+BqmJH8VI5ogO3sB3JombZeLOdYyJj2C0dwi7i4pBEEQ+qeIsnmwKBVRYOEPUXZKCNLFvYEhPWmjfqUHMwgn8tW8QZI9jOw6x4aJ35dLRRpP4izWoormxHHol2iyEddHIJUpKC9fafJ38xAUpehBKOkK21s0FMlEWr3+AsLmNXTyjCJx5UTMVHF74wp/xtc99jy//c4fY8ugvwehwgdG5EVK+TqPXpNlqcHL+CIsrFXYru6yXOxyZHOPCY7NcfnONnXKDydEibq+hWAYyBDk8Pczqzq6K0LqBz9jYNHduSvIkpi/vcHdJqNWT2HmXzc0Kgefw6Ll5dusNVpcrDA4UWdncZniwj3w2y/z0MOvrq6ysV3n08eNUyw021nY4cnKOulwa/qeK/jf/07/DGHiC8P7rVMtXFcG94NtqwhlJB7F6BzPpEISTGFGPMKjit7dIC3vDb9MrL5LODOLaQmUfA7U1EtCIhRW7dKpX0DJHcfrGiTrygO/DlIFY7Co9nWzBE4WzRG0BqowRNCRqpqtIk7yI7HQ/PdkqS/48RuiZGG6dXmuDpJDzvVvE6RMPyKxteTAbKoGSyJ0nku914ybJ5Di+MDHkWWMn0ZJD6I2bdIKMgsT4YROcfiwBF8rnQl4uttCRy5gCDow8YjuA/ZsqLmcWTxHGCXVgEiiHv79LwsnQE41guo/ILGK4u8pCEgtHQ4aGPRlyJuk2F7HG3qkibH75dezsrErxdFpVnI5s4R8hcvIYcZeopxHJoCRuKh6HvGDC1m20zGGCyqtgRDiDz9A5WCGVHqRHHVMTuKlJVL+twC2BeZRCvwVDCb77hc/zl3/xbb7yRp0+LGZGDc6dS9NrmPzgTpX7ZZ+MHnNsto+/+cMf5/i7fwaqN9i4foP01BM4Xo9IBjNZh3DvNnU3Ilk6R9xbw/RiBfU0CiOEvRZhZxkzcwToohmSgmqgaS0MeXa7bSxxCXtVlZqINNE6tpSaUJcoobwngi50F3GcAaXE1B3xnuv4zhhmcxkjP0ko0L/2GrZVoLf7POmB86reQaeLVjxG9+7fq5dfYvA5pQCSn5d95DT3XvoOT7/nj/nk+2dx95vEdPni7a5izax87kOk7CK1Rptos07tYIvcyBCWsAzGJgj9EP/2K7ipnOqo92IfTWCL9TVliDHnHqJx6y1l+EiMTVK79v+x9N5hkp7lne79xfoq5+rq3NNpcpBmlCUkIYHAgG3ACdtrs8be3Qu8vgAvxzZep3PM8eWw9jm+wBm85oBxwgRjMpIQktBoRqPJMz3d0z2dq7tyrvri2fed5X9GPTVd3/e+z/P73fc5ph45RXN1iYPve45TB8PMZgvsuz2OTuf4s39Y4Yn7ovzLy9+jd+FzdAZ9mQYzWrs4YpCezGAKurJmoGoD+ewNeSH5e7e7UmLxnT/Ks3/xBzz14a/w7qM6+fEYL77WY2E6SbXf4IUli+/9aoLTD0/w3LdWObRYoLxXQ9zL/L7H2HSe8l6dbqvB5NwB3F4f3QwTTUW5fO4is7MztLt99stlTp06RaNZZ3uvQjZhkRVmDlVhMBjwB391hwMjAdNjogPdl0q0nVLAr39ghsKBUc5/b5lsJkavMyARtdjd26Eo6hS9GtXdOnNHFqju7tGot8iPF3EHQzKZLLt7u0TDYQ4sLFKuldndrhAxVUo7Ds+ea3D0aJTXr/YoJlR+/h05Wn2Fcs0hZLal2qlZbdDoNzl2pMjFq/vMLmSZHzcY1jxO/d91tqoe7zppsFXp0Qos5kZMul0RmQ8IxUJ87fkSf/jOIr/4mT8keP08e89+Ey89j9baxzV1jIkJ9N3bDN2A1NH7aF58kdDoDE6tjjU+TXdvk8jEIez6HooV0G92iaQL8vDcuvQiZqZI7N7HCCoiGZiiv7KKl04SF4lJQchvl9CKC+jRFM7L32LQb5J4/O3UX3oO4+AJkq09WuU92qu3SI8XiZx+E8PbrzNQ40TDFkNDxVAS9PfXCSfDUhWbnj5C+cL3SNz76F0C/9Yd/JFZzHaJuuOQHFkgEJf01atYuTF65S3i6QKtrXW52U0+/GY6Qvkn1K9C+7y9LuOzJEYJRzLYu7eJPfp2eq98k3BuBFfwEW6eJRwNo6aKeKK7vHWH5AOP0F1ZFlgk/G5P9nKHhkE8kb5LFY9GcZcuoyfTOIkMarMsh6W238cpNQifehivuiOre+2tLaxRUSeyCZauo8yIy0hAvbREeGqGaHaSYb9DpNui7fjysq9nitiDOqmpo/T6ewy+9Q20Y4tYAsJs2Ay2bxETC43pY9QuPMfY0QOEF0b5gw/9LX/wrR6ZA0mOeU3i+TQrrR5aRWMsF/D97SHZlMqXP/IkE6MRtm5tYxbiJBMJyre2JFNj7rHHKK0t4/WGBKZCbmIGT2SAaw2atSqJkTHKt25KzWWyOCYvaXs3r5CPZ+mFTBYeOcJ//+1/5c+v2Dw6EyGjDxn4MBh4Mhp+drXHc7+aw3EjnL28zNvecIRrl7cpTMSJp0229qt0K0Oy6SyZEZ2trQGbmw0OHggTS0b47PdsNvbr+K7J2x9NEYkr/NmX9/jTD4wzMTfJ1Su7JAyHSGEUuzGg3WkwUihwa+kWlhWhMFaQ1hBhX6vX6qSTcXZLVRJhS1YCtJhGrzWgsldm8dhhctPj3Ll2k2gsxs5GiXQ+Tmm9RGYkz+7mPiPFDAtHjrK9vkalUWW0MEKr2yGTTtIsNwlZCl95scL3rw9499PTfOk7W8zMGNhKVLIG/uRDR6jV2gzbJrG8JQ0Gw75LOh2XUFPHdpiZn2Z3u0QuFWfg+vT7wrbi0RfRZ10hncnISkqrWpNx+Ea1xvTMHFcuXbzLD2h2SBVzuK5KNKwx6Dq47Q7RnClBtW/4rR0msyEeORpjZcPD7Q+xImEZ9/7W5QEnp8J89/bXqD3/JXRhJ1LTKNjYtVXcSJJI7jRqr4QTVHF6GolEim7psqz3um6A110nnLgP3xJE/pbwecsqjoiM+90ueljYJkZQnX1cWx6mpF4wcDX8wJDVJjEcMQ2fwA9BX4D9xF0shi2SBomctBh5iip1m5rh4wZh2f1XRCLXbUh4nKIXRJBI1tWwojDoo1tiudiUlWPXzGB0VwkMYUISf36AJ2CYEQNDMIZEJN1K42x+ES80T6h4FLe5Ju9YhNIyQeS7NorSwhOpUjOCF8mjCxi5Nc2QPl71NTRrStqXNKGCVqMMOucI91283Ans5rrUSw49kQxpondbuLFR/E5F1q9NVSWwbYxYkv7eMkY6jR87iFYXKdPLqMl5ND0nq8SeGCDIBEZbgqR9dZKgclaeQTwth2GLO6AAKGoSIE1LKMzD+IRxd16VZ8uwYFhNPIa/8yy6VZQpQ0Ox6FSvEJt9C257H7V8iSBeQInO4LZXUPW05EKJmlogErWWht+toacO0BdJdeFmFvWB8mWZPlWEYULrMNy5jJqeQQ8t4vSvoCaL+JvnUKPzaIXj2PvfJhydJTDFcrgkz2ReYgJNQBBr5/8oUPUYQV14vMMg4uNugNZbk502T0ng+0IZJCIho2jV8wReSEIeTOGnpyMnNMIVL7Y3MtJhmqhmDmf762iZk2ipQ/TbO4SdEl7qJE7lFeltVfJH0HpbDElgxacZNG9jqBEc1ScsgHchg6B2C0aeQOnu47avo8UP4gZlLHUMp3aTwA7QZx+U/RTVrqKYBnb4iOwAK/YADAd70EWNpGHYwgqnae8vy19i6+ATBK0aqhnCEZfe3UuoYtMk9BjdbcLxjExE2K0aVv5+uv4Wpq+gxo9K2IbbvoShKAz6KlpsQk6iRM1BExWK4S5a7hTe3uvosVF0M41r79/tuwwa2OEEZqggdRiCyg9tuRkWE7phr4wuMQ0uanwarb+DPdgnlLtX6g7tUB5DxLQDAZrz8UM6viI6yWV5IQvZ+3jDLr4pHOOC15DGd+9IRUhY0Rj0KpJfIB4AwVAAEa9hjDyG54iYtvifheG08OSDRsDoihjxedxgGz9Q5dBD2fkKgXBaO3UUQlJHIiI60e6e7Mp64SyhwhmCxlWGrR6h2Uew67dwNr5HYuFteGJKuX1BdjFD2fskmdSxt9DC09BpoZim1CENBThEFxWMntxsRScfk85Se+91zOIb6ZXOotodjIkzkoLqO9toqlDNVdALOULCmRlYmIpKp3QbKyPAHT5BVGNvpcXoQgJr5ow8/A1WrvDFL32VQU/h43/6EsuCdm+6WKrO8cUwp0+MEdfTPPfaNZKFNLvbDRr1PmP5OOjiIaZjmr6EBiajYuobYb/WZKKYZ29/n2QqRqfVF3woZqbG2N1v4Hg6lf2KKMyQzWWp7QmNnkk4YqEqKju7+8xMFUikEnRaNaJmgmtLNSrNJtMTKQppgdnS6XR3+eTf/CvF4/dRf/E3CIUnaJkqKRGnFvDNoaiOZShdeY7i/HGUUE5C8XzPQgm2ccXDdTikW32V+Nibcb0mTldEonO4qqCumtjNqrywGvlTaIJoq3YlgdQIDbHFYUdJYIgpaHMNUxMasDJ+S5ChT+DKF98K0cyMHH6J4Zki6bEBWuwA/d2LqCERTxXKuCJGagZPkFVrN1BT83J4oEaT+NoITvMl9OhR6c0VzAPBqlC6V9DVAo7eRgsm5CDN7VyWzyYtnpM+cm+wjuGpMsblqxHMxBhuYMGdL0D2CHgqhmHS6lWJp0YJBm1cGaUR6ktfWkJcVUT1tiSoR8TSRfQ/UHSGgjXgNiQU16kuo8cLUktjRAoMPR01noTKdVRBjY8e+d89rl2cfo1QuCiVlsOueCmm5ZagX78h/w66MQl+XaDUaFcbFN70H6lsXuNjH/wN/uwLa5wYiXD0vglJCNha3+e+EycZ9Gu8cmGVH3jb4/z7N77D1rZGpe/x7ieL/O3X/z+Mtdts3bpKcnQUPZagVS5jikpPdASvvY1hBNJEIjqKovOpeELdahNoDtpQ0KnjErgTCEViLIthRfH6bQnmMRMLkmcR1F6BkQdQRR1HbOW0GH6vDJYlPwOjtyurWK7QxGouXvQwQfksSnSCUGyGQflV3NSsZAZoRu7uDGnve3hCbRNeQEnnCPUVrESdYXSOB2ffzujsa0akAAAgAElEQVR8jJmpPDldYa/V5Quv1vj8Rx7isaNF1s+vk5xK09/fwcuNEbKSuJEBta+8xPgzD8tq12D5OiycQLn9Gm60QEL47K+eIzJaRL/3UZTnv0Kja5M/dRTdNDj6ns8RM4b81Jvu4fxWjeXVHegrbNdsdtvfhfI+rd0VFJH2CEXlRsIww/Qr6wReg1BqjGhomoEm4JfruF1POuH/yzvfwXdeUzk+ESFk9inVXY6MRbmxVeG5JY+Xf32CM286zOWXrmKpJuF8gtHJEW6+ck0OHBLJKP1Bn/HxMe4srxPLpMhms5x9+QKHjh5gfHqC2l6V0l5JnHsxBR9D06i26oxmC+SmQ3zgN64zP5nj3Y9H+dTX9hnLqlQaQ37nQw+xvire0xbtwZDRYoGR8XE2VtfotJqMjY1z/coVxsZHpZ5LHLKbrTaNRo10Ikm32abWajAxNYXjOGyvlnjosQOcfXVfagDnZgL+4rNV3v14moNFoYBT2dpukxtPYNKjXtfl9jESM2Q0W0Adz151eONDOoXROPMf3CQXz5GJNWRycSYT5c5Wh0DEe1M6z6/UWS85/NVvPspPv1XE0rcol4ZoE6Oy3tip9hiZnaFfW8cji2UGNNa3CU+METnxGLUX/x0dlWjcoisGpZdfwgscRu5/Bjc/ire1RGd1RbJatLn70NM5vCtncRIFjHSM/uWLmNMH8NevYxRGJQ1aMAPbF8+SfdO7cKNFehe/TmTiML1aGWXrDsbDT2O4FepXb5AaWyDIRrFdTcIq2yuXSM2fYhiPEulVaEnQpUW/sk1v7ab0oCcPHsbt1hiqAdHUJEo2SZAaR93bQIllRM4bb2ONYfk2xtEnCSeSDG9doDfoES1O099cRs+miUUKOGOTMm5vb21jjI3Rr22RGJnFOPME1S9+GlX1KLzx3VTOf5OgXCY8dxTfNOQBNpyYw25u4l17DTU/TnhyGrfbRU1ncNpllJ0tjNQovoCpzpxhuHsdZ2eb0OJD6IuH6Pz730i1sz57FN1R6K5fR8kXUYwoPX9ALpSgtfwa2vSMHDS725uEjx7F6TsMStuYIq1pl7FE1PngPNH6Pr/229/g5ToYCQOv1mK+GCeciFFttqhXWpxvBXhtj+/8+hOcfGiEys0yzb0uc+96M2f/6lMkIhESI1Fau21cxWekMCqj52Y6TLhQZLhfxlM1cgfmJIC2UW1KlaKovLitLp4ZwrKr5O59gH/563/jV55vsjgXRe0O0BSDlt3nsYUC//LqDn/xE6OMjQxpDFxMz6LWGeLaDmYkoFEOGJ+KyO705uYecweKtLtd5ibjVKvbfPmVOBOTaRHJ4vyrHWYOZPib57b5nR9L8MzbJvjnzy5x8kSRgeswNTvFjVevUpwcY3djg6OnTxL4HmdfusDUTI5UNi8vlqLOowYGK9eukR8vMJLNU6nXyRWLrK2uSROVgPAdOrIok0ejE2PUGnV2bu+QG82SnxihutWk2SozNjNObb/B9PyMVAUKbtPyZp8PfWqLX/6hPP/4jTJvf8MY3V6HL7zQ55O/cwjFaVHdsRmZz2JZYVaXNojFw8zMzvHCs8/xxFvfzJWz5+n3Btz78Gk6zR53bl1nbHyGjtthdPIAt6/eIBaOErVMzr9+k6nxERL5FIO+y876BuMzE6j0qJb75EYSRHWLzc0dHjgzzq/9XYVPfq/L288kSSXSnLu2xlZV4affMs7KaosvnG/hbvwPvNRpvGsv0aZFZvI0dlej2/w+ptAD6pOozi6O08J3LQyhpvMqcpkoYMtqZ4mgso4zsDFGjqFa5t1ksNjk6lH8+GF0d0OmPFwlKt+TQhmuBj5GeBRHLDG0NIEZwmvfkbF1qcPzKtDu4goAnajbimWiU8PrtQkVz6AKPk35IqpYTCoOtricdkronsuwJ5TJSfTwCI5IymphOUjAc6R6z2ltyu8f8Um8YVtCjP3oIQkDlrXwfgXN2UWb/QXs0rdRzDEUVUF39vHFwlBxMSKTDAOF0KCMLRYLglpmTuALULRfR9Kwty5B7pCEMAtIvICw6/mTDBvb0LiCMfo4iruHljjKYO88fnMZLZoniEzLYZaVmMAR6VNB0vcjckgpaq4Cvu2KnzE2htfaREnOgzy7pFDbAmgs+v+iHi6qrhbKoC+NcUITrLTu3I3kx/P4kam759eQhe72cLQU6FGpMFbrQhM4d1djLRbkrooSEvWCAYFIWau2TNkOhw5makpyD4JOA1tAqgdbBHb7bgV/7O2E+jewW+LfdhRF0QiSUyidTcmcUq0RNDPCUBd1+BK6a+BqbVkzCfQkSvWV3w5MQ8SUa6hiy5O/B0+ou8T103ex917BzJ3EdwPUkINRW5eXQGfqaczWOgO3KQ/Vrt9CF3T/+Lx0VGp2G6Vxg6GeIpIYlZt1tb6JNv00tiDJN7dwknME4mZiN+Q/uC0214Yh//u+E8FMjYJbuwuc0S1CiTztjYsYiSwYYpNSkpsPEVezwjM4IiZTuUiQmZfdZBHp1YZdhkEMo7sMmcPy4B/svoBnFghljuD1b+KRwNTEaPMmdngG3bBxulUJ8hNRGaHrEh0Lwx+h71fQnQp+syQnYProovzllvRNcaHxehhTb8De+L4k+IfS4/i+ghNKYfgGmiYK7D18UQGIHMD1uwSKKY0Luh8icGoC8snAjKANtvH6okNVxE0cx28+j6KNyy+fgF+Y8QN3gRVCL+iFGHZuorhDjNQhSdAW214tlJa6B80NJJXX6Xcx4ykGrQ1CigXxouzZ2Y0VfD0kXzpBZETWAIbC7W4KnZ7QTIvuUB/Xj6AKjUk0BhtX8eIp9OKTsPZ5aS4IT7yDfuOSdFuHJ58mqF6W9FhFDIgyk5Kk7na3sPstYqNHGFSXUD0HUkexe3VJfRaDD+FHF1Mw4eLU4gIKksEV2r/OCn58AVprEgA2IIfeuSYBjF4og5GZlv1yYS4YBm3qm9dJFCZQ43Oow10Jp3GDAbHxR7EbJfqdFYb2JJmCSjwfyFQBsZPg79HYPMe1V67zxX87y79/c5nG0OTeU+M0OntEw3GicZ3SdpuF6SK3d/cIqwlub+wxUjB44NQJLly8zn6rTz4Rl3G45TsbHJgeYzwvoCV9lleb5PJpNrc2Gfg6B0azXFhaI6ZbTE+J+JzKzFyBjdUSy3eavPdH7yMW0/i7L79OPpMhnzFYubmDbyrs7zn87i8/w4/95u9z47O/QG76UfKzT9O7/YL8TumJIq5Xo7W+TGz+CKUr5ylMP4qfyEtNiBEW279R1EiM3vYlLBGXiogDUwtbG5N9KFE3UZKHUDMLMqWj+1F6doWQ18UXRonUaezdV8HfR0svoASC/iom7oJWPYkvNJ7ugHBsAY8+dmMLIyv6+gNMpYGnjMgIWeCJVI6KGRIvsG00U+gBB/L/T+YQbnuTkJlACYWwBUG3LqovUyjJg7jD2+huU1ZbRMfJUW308CjCtGK3b8vhphUbw/YCvNLLmHNvRtn8Bl7yYblR1sQg3Urg1K/h2h5R8f3u7IMXlmkDzVBwPXEbDVCdliSda14N35yTD1pluIKtJCA6j+UJKFqPoHkFP30ffn0d1esSZA7ITbyv51FSx8GtyGidLqCXAgczEHCfFHo+S2dVROeqRFKzRB94G699+eP8h//wp1hxg8nRJE89cYQXnr2BE7UYjSa4vbVPJg3ZzDjJTJIXX77G6QeKNEsDPvPNFd73I6f5+Of+GmXtdex2hfreFUn1DVRFGlBcu4kZN3H9pNzi+40tFF1AiAqyriPqUJonNDVZPAExDBoEAtojOsMDF7e3hZI9iiEYA4GADhkoVHH7Nn5mGqVdl99PQ/Ul2EgkZtxBCc0q3j2UZE6hDpsMa9fwsw9jhROojesMmktYs+/Eb25Dd0/2k11VcCsmiB2c4/1P/xAXK30WEwW0sM39MwV+/8tLvHU64OOfeD+b55ZJxizphdZn5yQ911kRm94ayYnDsgZgCEI4YF84i5tPo+fnMXNjtM6/QDQcyMGrFYmgWwOS95zk7e/6f1kfBNw7mWC9ZBNOmRyanuEvvvQ6t777y0yeeQ+9zVfkptLrtjBRUbOT2DtLkmweGj2N2xG1JZ9hd4lwNETk+AlGUu8iYRrcNx9np9UiokUZzYfY7re4csXj/CcmcYWoqQx3VjY4dc8REiMFbl+/gev4jE2PMui68rAntpOdbouwFaOQz5LOFzj78sscOS7sNw6OE5DN5rl25RLzC4eoljcZn8nzu5+4QSYV5t4Fi+fP97F0X4L8/uOPz/DlL6/wsz9/hl7jbpxQ1Fq29nZIRcOkcln2ShUOzByg3+/Q6XRJZ1NUa00ihkEsEmFvb5+x2Ulc3+Pq63d49JFp/uwvl1iueZxc8Lm8avLQFLzp4QLdYY+NO8LcASeO5dio9UlHoNFyqVWHxEcMWqU+Tz98GCvR48K5Kk9+vIOnDHnb0SQ3S1Wy0RCxSIzKfoPCSJRqz+Lc0j6//I4pfufDb4FElvatPdi+Qd/rERs/TDA6Q29zGbe0SSgawyxO0m+WED6mcHGKXnWN5PgxuisX8RsNYvc/BZEI/vL36XkBmojgllZQ02PgdBi2+6gRA7fRJHzPffRu3CA5dxJCKsqtK/THF/A3Xyd88CHc/U18z5aAwcHyBShOYe7tM+xvY02dkGYBKzN6lwStBRII1ev7qNdeRnnwDehDh0GjTmx2Eacs6lsWQWEKU/TU79yE+h52vY1eTGOaEXrbN4ieeiv9m69ArYZ25F6ixVG88hZKYRp7d4vB2hLmfY8wPPddGJkiJIClmSnJaBns3MQvjBNttlBzOZg5RFDaw26W0GJhoq5KbWNJsjn8h38QZ/kK8bEpdpdepbBwit6dJSKH7sERYFNnwLBRwxhbZLD0KvrBI8SNFO3qCkq0SCQ/jnt7ib1bFxi//yEJA7OEtSRfoH71Ot7N88QPnSQQm043oFfeJba4SFzP06vdwE6dJj7pSe3lz7zvz3l+zeShozFG87CQiVAf2Hzl9RL/6dFFvnOnz4sXNnjhA8eYvD/D3o5Cx9ZJicd/LEcoH8dUPdbPvkA8OYI5MSb5JP2NLcxUgm69RnFqlla3yrDVJZNN0u279NZWSJ+4B68nlF4daaqaOH2Ij//xv/DRL5Z48rRYPPXxFZPd/SapnMX13YB/e/8oZ+7P8t1nt7h9q8Yzb5tle2df0v7tfpjiAYvAVVhbKhMKW0xNJBHB6ka9yU7F5i++2uVdb4pzbUmR/WM3qrJQUPnPPzbL0p0OB2bTnPveMqMTo9J45ApWj+thhU00VZEg2lg8LQe6Iu5f3a8xf3SRbqPDwHHkUCCfSrG5Ku4FDnOL8ySzglTfpyZ0iD6kcgkihkW90aC0XcJKxSiO5IlFo1y9fAO/5xBJZaUOdHJ8hE/8/RZ2oNBodDh+OEk8EvCpL/f47fcXefjxPCuv7rFba3Dvfae5fu4iztBl4d4TlDY25VZf9Ogj4SiRTJKla9eYnRNJ1IEkwetmSPIITBHzdh0KhSLNmjjbpdne2iQaCUvnukhwmAZkJ4Thy8bpBBSPx2neafHG39wiZsFbHh6XBqaryxV64u8+G+Y7r3V535ty/P4//xN73xY8kIC205GJZKFKtHQNTWi0RSxfEfYIR1bO/L1vYSSPEyrMMdy7Q5CcR1Vrsj6idUQsfIgnKsCRqDyviIqkFhMJa+TSSaR4xcDTcCO4/gDFL0u3vGUuyF55QAi1v4PbvElk5m247W25HUY3CBqvMnQ6xApP4YtFm9Cti9aPH8ahhdNsYUQzaME+gT4uqwhuf0smjIedDeL5Y3hkUGjLOqAdGIT0CE5vC7P4uDwPMijRFzyhcAat9JqsiquF+3EbK+hGgOco6JExArWDXxNJPwHvHSHwWtDvo6WEOcGSTCk1UmTQeI2IGHY0GyhCZR4NCHUauKLeKu+1Xbk4CAUunvjzxeCkelWyTjQzh5E5Kc89urjfaDohJcRADjEKBK0tvOQYml3BUyLY9Q1C+eNoAh699zpaPEXgmrhOBzU7g+K4aIGOI9LO6hCNJu4whBExGAxsQqIa6ewQCEVpXFh9pvHEclsMPUOiNpkgGAoN/RBNaBUbS3LZNhCmt5gYjgQYAi6tKdgbz+IljxPP5BiW1lAMFzV1kKAvkjG3sUSqOpTF3ruANfkotoA6uwa+qqKLuodto7TO/Ung15bxojnMjIAlVAiCuiSv+naLoLuCOf4wuvBjezrDQU3WBcRlkdotjPEHcfweoSE4pke/5xBVmnIqa/tJAq2FKbq+Q1+SYRVd+MTFP4SBnsrjdPtYnWUZixckS8fMSfK62E4amQU8X8UrX0JJzKHFJnEq30c1BIW8TqgwC70BWjJMINyQYoOl6bL/LyPKAj5VOotbfCfKxhfQZ9+K2ywRGu4wiB6QBH5xYLLCKfzOJoH48HwNXTUlhVro0tQgjqv20QOw7SqCgd+traCExzAzx3BKz6PHD0qQhdLbw3P7uMlJxLHX6O7iRkZxGmuyJy16x3btFn44R8ypMLSKBD0B3Cvjxs9IF7Rve/jhOGprR7rOh6L/mj0mVR9ubwXiR1CDEP2OmGYVUEUXyLFRBpsyZa3FJ2WEUxVe5KCJnlqQUyNVRIe0AUHPkYqyQJDOheNTXGJE50Yo9TInpAtedPKV2Kj8pZfQQ+HMbGygJkfRA0X6g/2R49BZky8xnS5+/B5o3kQRn1XsEHp3k57bxhA1BmMouICy7+3rYUKi89QSOrNb6ONPSTig4zcxgwiurmPEpxg4FTmRExRL0VMPRA9nWML2+pipAww6ZVRvByMyixPO09/4OkkBS4nPYQulYK+BoWVRIq6sggxbNVIzj4slN9ZwFcfzqdy5Qmxskuz0Q3RLe7SH28QE6KQ7JDSSJJwuyF65UL50vQz/+S1vZXevw+RIimpriG27pMW/q+ayvCX8uS0OLU7LYcTVmw3Gp8TBPc13X1zh4fsm6Ds+V67ucN+ZKUbScVZXS2RHYyRTBtu36swv5pmZO0i5skcybtBsenRbVWZnJ1le7fDOt97PVmmbX/zNz3Py4ChJy2d/r8HhhRlqpQ1+8r338s7/+neUr32F6s4yhVgBK5GjK5RBm+ukZ2dobNfQhF4w1KQwdpp+6Ryh6AxOdJJhexlLUEqNpgTFuL6JZ4alGcONjxIWGj9DwOv25JTTCwboYog37BKIl4Aflp5bdfRevPoSgdvCnHgCu3xBUmMFKEhs1cUvqpiiqoTRkuIBvozvu5jpe3BL52TMTXyXA6VP4GcI/DJGYgTPBq97Byu3IC+v4iHpCXSkU0eVCrW2BN24Vg6vegErcgQnKEFCXOw03H5dpiEisVHZuR9sfhV1/mcIm12cgYkrQHblcwRKFDMzi9rbxInN4FSWJDRFpFzMyKRU0ri923iBjZE4dBdo6NWkWcOIFiWHQkMoNUWKw8bXVTyRarGiKKJT3anc1aqmZggUUfdpo4ohaBCWFgU1sYDq9ekP9zE1VypcEodP8rk/+h3e+2vP8uSJCbJ5Dc/vkY6G5TNrpDhOtbLOTsXDD/rEowmqpTKaFcfSFR46s8Dy6iaf+uomf/v7b+A9H/ld7MvCSNJiGDuMLjRAtSUcMSg0RRIijtetYKUmGVqT6IMKSn8LVzxHGlfxIyNE84sMa3sYETGc6+DqYZS+BnpPHiB1ccAZPYO9/K/obhv98Ptxa6+hDSr4egJXC8sDdBB4aGoCF1FLiqAIw4s4yHQaaPEkTq9BWFVxo9Mylm+KsIkWkomuoXOH+CP/hf/zh5/mz7+2x6/85L08e+EqlmBnOAH35GN87N/ej359Tw7Z3FqN5q3XCA/DGMUIHHmM4fe/hz6dQdVn8CV4VaO9cR1jZh7VzMpoZvP6RcJTB+WFWdk5T+bM/fzRb36OLy73efrUHNdub7BZqTM7n+dzz+/xz7/xOD/y0V+hc2udwNlCRwBJPdSIiS7UT0JP227gqjbhaJpuZYNYwkfLjRAZ/0UWMyqP3T/Ka1e3iYbCFJMa2z2T4V6bF/7pJIO2x9qtIb5bI53Nsbm1TS6RkNvbTrslB0kCAFWp1kklIuTyBSqVuuzwiu+uEygoQcD0wTkZnxVB3tcurPLkO07R2i7ze5/ZJB9V0VSPsDhAmz63tpv81n97hL3VPUYn42yulOm0m/IRmckkGckVJRNgOLQlHbpTb5KfLGJqJmtr68xNjVPvdhl2h4wJMrquy2qeo/T5u79fYRDEOT5v8e1XG7zzkQgPHs+xslQmmo+iDH26dl9CxPLZKNubdax4lNFEhr3WFrsbHjMHsxw/YnK77HL8IyUS0ShvOWjSbjvS16z5Jo3AZTwaxrY9vnCxwgdPqvzJP/wSzfObOI2uYBYTNCvYYhjXr6NEFPxhgCm2/W6X3q1XSf/wz8nt+cBIoO7eob9xC2t2UaoVQ6r4jovkT4hBRYAfo7SFmrjTkNv0zqCDvVsiFo7RNHXiik3r6nXij72B/vYa2qBP9MhjDK6+LJ8LIcMinitQE+qr7W2iI9N4mQjD0jYhPSwhe8GdJaJnHqdS2iAi4JixKGZ8DNPQ6XWHKDGD3u3r8vzlD7pYgz7BaBEqVZxkEb1Zw5yYwO62UDfWGEQihO99Es0P6CxdJhLx8ao9KIzAoCov98rkFEq2QDgzw3BnA9/p4IUsNJGEKlXo92vEjz+IXa6I+RCDrWVZ90qceYbuy9/EGJmQLBIB6WsvC0+1hT4+B7UNuTWPLpxAjUfpLd+U9H+jWccV5OvRIo5QhG1vQDSJaXdQxHbTFheLNu7MMSJum+HetkwqRUeSRLKL1LpdGq++zOITZyAS563v+hi7nsIjMxm2myqGpbCyVea+6RS5dIwXLtZYr3V58a9/gck5qLy6jLuxgx6NsXzpKgfecA+xmUW2L18mkc3KjWK/06QwLqL+S6QOHCCcSbF58TIzZ+6ntVdGUwO2L19h5NCC/Jn3r9wgkozQ8xVOvOEePvO5Z/lvX2/yAyfuwlPvbAVE0wqHMyafvxTwc485/PqPpFivJthZ2mS/J0j7Nvc9OM76cpNEWkCnPQ4tFqUZyHVNTDVgZhJSoTxP/5qo99k8eSbLWEZnZ7dLvdXlF39yTj4rTQwmpsdZXVtFVUy0QCz2HJqtJs1Kg1wuw+jsDOvLtyX3yzIMrLjFzsoWB44ssLy0wtyBKSrVqmQCCUaAgAOvre8wMV5k0OuSHy1Qr9fl0skwFckHKe3VKW1UeejRYzTaPal1FhP7E8dm+NJXL/HPryiMjsDBbIKBP+T7rzQ4MqfzkV86Q2OnyuVL6+SncoyP5Slt7VHer3Dw2GEa9Sr2MJD15NHRItdvLrF4aJGtjS3SyYxUqg56HdIjRYb9NvFYWnbBd1fW5Cb1wMEF7txaw0qkWDg5S323zvWVZWYyBTI5sfWu86FPtrm01Wch77PXDdFpCFvCBD2nxu42rGz22Gl8ErvcpLajowsYrJgyWya9VkfqxP36FkF7W9YNSY6itUrYahRPTaIPtokIUGxINOR9HEcQPwz6natY4r4ycPCdGn56AdobBM1lVMEHik7jtm5iJh9i2LyA6tggqtsdAR3s4UVm0QS9X7yLWisyeSjeGYozkGlcP7mArhuYYjttJOjvvIKSOYgpFopiGaA6+LWbcmGjZ48QNNcJ2iI1hYQEesL8IO5r1VsEuRm09qbkh4isszjfYzfx985hTL4JR6jqxElODE4NBd3v0XZcIrh4EgJv4wgVtK4RiKSQaWEaBZz+DULmAkPBSWlcRFdDkgUizmeBbqNUXoXsYXmncRjIKrnuxLH9faz4pFzkiJ/BS89iaQ6uuPsIdbuVxx9W5RJTAK49kUjpNwmsKK6WkDVHwYQTIPx+bw1TmJ/aNZSETjAU5+Ie9qBFXCjQ/X1ITKD2GnjBEE0wkMS9yRffLwPfEkvXKBgebs9FEXYDX+hzLWlLC+lD2r0e1s7zeKk8mpIlKJwgLO655esoRhoS43I4Jw1yQk/tu7j1ffTclNSmu1sX0YpnENMiwxZqxhmG7Wvo4txaO/97sg5ruwNCQgMh/ICig2+NEeptYBORUyUlU0DpdHH2n0cvLNLrJzH9Kqro5guXti36IgUZn/C8fUkjFvRKR2xqBSE+PYM3rKCaCYzwmPwgZS9MquJEH9iU4D/Z8+3eJiyc7sEowc6XIbko1RB6dUlC/QbDmoRA6CFBgKyihIVPPEDZfQFz4mnZxfXFn5eYwem20DPHUPxN6PakfpBBTV60tbgJSg5f6DeWvoYZn0FLCTdtDM/Io9pl2VV2fXH7r2DYFoqIPQugXlxsBpfuxnHE59cRQKYQQfZBqfoSVgChb/KS07JHrYltpOgg62EC4VIvXSI0+oicsJmlF4EOWCOSYG6LX5BISmrKxBcpFDUYbJ2VID8rPkdnUCKkafjmOP3qDSyvgR6dlXANIzWN26vLL6imJHHbt/Dby2iJWakqEV1nR9NlZcG3qwSOLaeCIRGric7hig5scxVVXGzUMGZQYyiAHp6IYBcIxGZOUeSwRKRlPLuB5XrgDwjMGP3aCmb2lISuDXbOosdTd4FipgCZ9BnUnkWLvRFT7dPe/BaRiSfw1BjY2yiixiA2c50qqvi8J39QDicCWjKdIg6VVuFBHKdPoNjodhjfaOA3qvLv7esdhqUVrOwhFC2BpwYy+aCGkthuGbfTIxzO4tZv4IejqLrCUBthZGSMZqMq47rxqXvpVlvEwg6NmzfJn05jxRfRJp5iWLvFD5x+C298w31c37nDjetlpicmiYRgt97EtDTe9OQpnn7oKH//pe9weGaG2blRzp1/nWw6zezcNNeWllm5tUWrE0j13v3HjqAaLhNjRTbWt+gKAIlITAPrOyV6A4VTJyepVttsbu5y+Ngh/uYz35SJj9Mnp6Tp7fbKHvb/Urn81offyj0Em1YAACAASURBVJM/938RROdQ2IbhltwwMRRb5QFauAWNIW79DliLDOoNNi9/hel7T6HaSZq1HRk1s2JZ2aF3FJugIbSLPaJjj8vhi+5VsAe+BHqJib8RieO0HYywoEovy2qB6vtoSojezlkZRxJRK8H6sG0DXbwCulsMfQM9OYEioIBeB3cgjALzeFoP1RiX6RnqZzGKp3AF/0H0awY1PD+QGivJffCjMt0i/mxnGMhomXDjDhvVuxrKxDh+Q3hix2HYxAv6GHpEQgLRprBETL9xhaEvaOxp6bsVkTWRAFCscdTeDXQ9Lfv8ZmqcoFvFx5MwHcmvCAuyfZnuoEFCUP3FpbmzjqvHYP8KfmIMMzIqfa66a+JrYnNUQBsM8S0Le+vfUGIHMWPC+x1Fc/fpCFNGdBSlX8Ye7qPHZokdPMDn//Kf+OBHP83P/Pi9vHz+EpNjM5I+/t3zd3jrUydxBz7Xl9aYm5ri+1dWCeka84tRbl+t8PijR0mFo3zpu68wP3WUi1eu8fef/ABn3vVu6pfOyVSSacYYVG5iWuME4TEcoXvVbEQ9jMKRu0pC3UFXYvI779t9fHFJcgcoolJRPo/X2MEqniZIT+D1OwRr30QdOY0q4ny730SPTGKlj9ETqSp3GyfI4/f35MFYiS8S9EuyDjC0TcLRBIPWbSKxcVkTGbR7mMoOavII9nCIqw2J9Po0O7uMnf4wnc43eP+7/xuzxw9x5dIGIweSeFttes6QT//lB7j+L59ndH6BzAP3MLB7WLEIbG9TvrZFeWeNkYeelFsVVTyPkxrD184RSY/SCkySMZPt1Uuk8rP0ant0unWO/tCPslO6zZF3fI77j4iLq9BxNpmdyvDPX93j596W5GNf+jSNl54lljtEIC5jpcvYvapUWGp+H3tQvQsxCoXw9ncoPHKa2uom2VMf4plTSRYn42xt+SRjLqutNlfXdD76tMF//U/HZYS/sT+g3W+TKWRpV+r0bJ9UWgD5bHY2djh6zzGKs+PsrG9x/uXLzMxOyQv92NSo5AaErDC1ahVTU2VPuNkYsnBmEsP2eM//cZ6TUwa5nMWL53o8c1+c11fq/OFvPSEZGrdu3cEyIxRHJiiX1mWVzYjEuLO2wsz0FBsrt0nnR0ik4himxcqy0BXm0UIhqru77G/vE4qHyOUzJMJJXjhbYaPcIB4x0QyVfEzlDYejrIualGsxN59m0HG4cGGP0ekwiVCYtbWKJIlPTMbp2Z48/FUbCm99g4CT1Tnwqw0emApTSNhslG2ihkXXVpiZjqMObJabbV67Bf/jMZUP//FPU2/4NL5zmdS9i3Q3rxL4OrHiAXSxna7s0NsS9YIE5XPflgwJL5MiMTWPrYbwt9cI5QsS2qmOn2S4fwdlbwvzvregDPYZbN5AGztK//UXiE3OE0SiskefnFwkGJuhu3oHKxWWMd7O/haxSJjw+Cy1Cy9gnHgUM2yi72zR65fpd22SMwLEtUPz/EukTt6PfvQUzuqyBBRbuQn6G8u0ypukUyMMxXlJ9n41kguH5dlDmz1Nf/0WWqOGOX8Md9hBSU+hl9YoPft5YrkJlP81PDPiEwSLZwht3cKuraFNH2WwswOZAqycI9gtoR88TuLYg/Q2buJHk7C/TVDbRTt+huYrZ8k99YP4BnibK9DX8Yw+g/XbpO55Mz2x5Q9H8MIavqITUSx6/RahdJHQ6AGc29dQ7DpBsoDdFD1oQa72IS+e1zZKV2idA1zHJdpvoxVmaLTrMm1jjR/A6WuYzZs4yRyJuUV2vv4PnG+m+KVP3+Q9xwyauy43W33OzI7jBx6ru2VeLStip8K33l/k3mfEQEwsOSy2N/ZJHzjAoNUie3CRje+dJStSFJk0w3qN3s4mXtcmPj1CfWOfcC6DJ4xPtkt8akJWcVa/9QLTD93P7q1VTMMjMzElLR96s0HZNfixP7nAwWNR4qrP8vqAe+ZHGE/1+ZNv93jfKYWPvi/L918SFqkWi5M56vUBsUyIbtcjk7A4++ImUweSBM6QZtMmEo8yltXZa/V56bZNTItxdacjq6MjUZ3Nps/7f3KKg9Nw4dsbOGGD4kSUVDJLo9kmmYgQicfZL1VoNWqMz0yxtbaJrumMT4zRqtfZ3i9x5Mhh4okMq6vie56lsV+nKaoQ8SjhaBzLDNFoNohEw9xZXSeejjMxOkGrXiORydIf9ui2ukQTKeIRnXY7IJdqMOhYvP//WSGVCJMWHA9dIZrU2dzw+b3/Lga2fRplVSad5g/NUSvX0UO6HEBU9/Yojk2yu7NDdiRDJJrAHdhsrK4wHLgcOnWU1eU7HDg4y+rl65iRGKOz45i6gTvoUyrtYwxduXEedlrYrkIkFZBNT3L98goPnMnx7Vdr/PinhjwxoVHdb6JkovzEQ7PcXFnh4obLa+tDPv3Re/mpj32C8gtfJZovwtDDDRRUpyfrnq3qMtHYIrgNvGEVLTaH0t2U/DK79CKBoqCPPImgRRr2Nn74KO5wB3XQRhGVGbEMyx6AwRDFFzYiDQVfqqk1pYHvqGipMbkwGQq9niuUp7vSCOUIFphY1MTH8XxFvosR221h82pvo7s+thVByPrQ5rArz6J5wiB0GsOI0O1vYqaO4Le3BC1Zwgo1vyWp/n5SqAC/il54mECN4FVfxzDF8njsbsK4u0U4K/rxRYLmLZnIGCiizhHFbZfwBYMncw9+6xKqngN7C0WNM9ST8m7aF+c9ry3rs0ZyASVzEnv9K7KaLnkVJgTCqCZSKyTx1/8Rv3AfWuYM/q7gNYUJwrMEgwaOUBM6VTRxLo1F8Y0E9NuSA+BHs7itOupApB2juHYVo+9gjjyI1y2hGgG2glzaMGiimikCK4Xb20bdvYJ2+udh/yKeGkcdDhCrL3H/MMMxhmL449nyXihU965IJYRnpErQvv0cSthEKTyNPhTLZdEvbUsLhFCki02++Pk8M41uu7hqG1XY3Iii5SZQW3UGnU3M/KKssTrtBvqghm6F6AvrAjpK9aXfDlQlhG5lZQxRszVJiRQbFrtxjVDxAbzKTQmgCCVmpNtdfrKaLtVCvlmQxGzXbuCJnoGAzYUT6N2SvLQb4TyDdvluB8IRIIP03U17e1P6qjVNAOyE7kpEiMqEYhN4qvA9KjidJXRBhbQmpQ8dt40SyoJQEcZH0HubEgA2bJeIqAq9VgslM44uVAu1y5hxAVTwsdU4pisom02MyCi2lkTvrxMkJlGMUQxd+CT38LSY9O8G5fPo8TlBVZKbKEO37l4wrJCcig0q1wnnjzLcF1TdcQkAEoog4bdW7Aaq6AyH0uJ7ji5qAoUjuIJ6WXsJY+TNeIMGNC9A+ozskLhikNJr4AvFg2Hg9ndQE/NoTgN2LzIcWZDecF8Qz8WKU2wDwh5ety2ZAZrvo6Sn8cUUKjZJ0HgN1ffohzIESoiI3cAWt48ghJHLYe+8CuFF9LQl2FMS8GaroPaaBKqPEc1JyInitdBCQvOWxKmcxY+Mo5ljePUXMLw0jpXAFxf1iafoL3+WSO4h7HAI1akRtKtodiCVj2IYpPptvLrYbk7h+7v0G7sk5n6AYWsP1cwQEmRs8bl1tsEYYeDsE9KjUrPhe3GMRAozJH6XdqTWwhbTq3AeVUugiUGNp+AEYoiSlaBBTWxb1SjuQNQJOlJnKMAvXr8mt5iuWcQ0xOWxJMn8qpbGETTySJ4gVMAsuHhWBk0Zx3XaYJTQ9WP82BMP0dhv8+GPvJc//OPP4vRdnn7qQc6eu8he1ZZgwMcfnqTVdyUt9/L1HU4cmiEzmubFF17h4UfOcP7iEqamUG20mBvNyge8iEonYxk6rQbNbpOZ+XlcZ0Aun6df3yeRStHoDHn9xh18MbSxozQ7exwYi5MaT9HYHfKedz3KaKrP3/ztC9Id3em1OHniDPff/wBR3WV1f52Tp+4n4ZQJLz5EEBck0nWc5DyG0YV6C2JxqG3iODFZ+RCftxabBbvH9vJzROMTErYYTo/eZS4IgJPYhIdzkoSsNocMKy8TpA9KhZzabEB+Ft9vYQYhhoMOvvDIa3FUQeMXk9X+DgMCwmYWt7t/t58qIClmDE8ApATAzd1H1e5CoYSG0ogXcMULs34bHEUq/tzEQTTR0y9/H7N4nKGtowllTrhIUL0o+5ZmZIahSMuIrr24xIYSctqviBl0tIDS3Mani64n8QWdtrGEmVzEDQzobcmXsObY+M5Qck7cxi2sseMMxdCidw21VcHIn2BYvUjQGWAVxhlsXMVNjWApSYxkkU5nnVBsHqWxiS+ghbqFZW/JIU6oILRpbYaDKsnEGKHjD/G5X/lVfuoPnuWD71qkXqmztNXnxOECoYhGt+5Q7wfy51leq/Kmp2bIJHN8+4XrxMyAvXaLB08d59XLtzkxOUIy6fE/v72PadvsDq/Qu/IFgn4EWw9J+I9hCqvBHLX9S4SFtUSz6NeuSQioiK/167cwhCdYvNBFQkfXsHsN2XMTOkPV3pYEbH32GfROCbe9h5qdkF7hzuoXCA79BFZb8DzqBH6TIIijK12CiNB4unLg4IfTciPiOj1CmQX81h18u4MayWKqaTqNW2j2KuEjP4o1dUrGpV//x4/xsx/8V+zAx9Q0IiGdUeFC362TDBt0qkNShocRhUPFCO/72aeJHzrA6EQWR+tjvLLEzuYW0bEszuaOVL/F5hdprNzAtRXCIYPK6nWmzjzEoG8Tn8jSLU5x8p6PcPhAlGg0RDZeJBVu85nvbDNWUHn1yjdpnf8Sbkx0+NIYzjZ9oWqLTUlVqqIZKOEivlOmt3edkad+gq999gJv+5mP8hMPJHF9hQ0Bt5uLUam1+cYlh0+8N8YzZ0KcvdBm4WhWvMLZL3WYnJ1ECTyqlSphS6cr+CUhg15vSCqfwjLCWKpCTRwaPWSSwdJ8quU6ucmCHNKW99scOjHLtfNX+fW/bnL6WIxnHovw7Hf7TI5ZMkHwI28ewYxGSeaKvHb2dfKpiKSZt8oNcmNZouL54bt0OqJjO8ML33wOM2Lylh/+QZYuXWLj9hr33H+fjC3funELM2xx8vQ0//NvN9ivNygkVXZsA7vc471vS9HpBTTaCvW9JrmxCP8/S+8dZul51mneX/5OjpVz6KrqqFZHtWRZtuSEbcBeTPICNgweGMJO3AGGAdZzLQywsMSJsAN4sD0mWDbOsmRJVuqkzqmqunI8p07O53xp5317/tTV19Wqrjr1fe/7PL/ffcfjJrFEH2v3N4hkQyzMD3CwVWNpo83MnIXSDuN1K0wN6NxeqvDhz3SIhUNMD1mMJGwebJVI2RpNTyWdDdM1I7z0xg5/9bMz/MT3P0m5EqCKDbnt0m6Jz5KKv72KMT0j/faGFaFX2ZXmG12o9y59Fy07TuLsBeqXvkWzXic1NYsvoFxDQ3j7iwR31/AmDxPrjxIEBvqxk3RvPcDNb2BMzNARmuRiFWNiCF8xUBxfWnRaQun59luY80fxk1k01cfKjtNcvk5o/Ci9pYtYU0fo2X2o9SLiLG92C/RadVk3MkYX0Mbn8Lfz+CEVb2uJ8Ml301q5BrU21swMTqsNEaEcPqC9lUOPq4Qeey/OgzdkpDY8OUWv6uPrPr31B9KQERZGgOtv4uY2ME++g1CnTLtUo5Mcxdpdls9Z7fBZzE5Fqh+VSg1z5jDB2j1qt18m/NyPS9J67+FFsGyID0htleFVUER3v1zEF+nJpkvk0Enay3cxpyfp7O1Ki0TPEWyeGFoijLe/hVMsEUoNoh4/zf5XvkA0FiZ0+Dh6NEZrY4/Kw+vMfuBpeoU8Y5/6Lu2OzkeP6ZILc3gyw7V8nbX9Bj/6xAjfvl7l5n6Jlf/n+4jPJNh+/Tp6to/c9WUiR+fot2zqLTGE1rGtNoXtdarbVRKT44y951lKl6/RNzXF6ttvU1le59BTZ6ge5MjMzVPbz2PbJj3HIzU8SK/RpfBghUjUpm8yQRDEGfgnzzOaVDk9FEO3TO7vFDk0ZPAP9zwuTAX8t5+O8M1v+Lz7A4Pcv7vNkfks+VKDzc0mC4f7aDs9atUWnUqPk2cH2VmvsZf3GBrokStovL0fpdCsMxy2GB00+OrrOfr6bf7o0xdYu73FnXt7pFIhEvGIHMRVCiUiySjhWJRkMi1p7SJhJGxAhmbQ84WO16QXBDSKNQlLHpocJmZHeLi0wuTsKKFQjHqtxsbDFU6ff4p8flfW/qLpNHev3ef4uZN0mzXKm3t0FY3pQ8Pk9+oYRptkMsl/+souutieivqpaTGc9bm53uPoWJNP/NQz3H31NrWWR19fkkqxQjgUkrBB8dlrN5u0Wy6HFmZYW9skHA6jBMLyFMjvr9/uSaWwGKgeOjLHQwHtdHukkxmyA30sLq0yOTdOyDO4df8Ok1MTslYQuB4jC2lpBZj5R4s8OaQxMB5lo9IjQ49UVPjeTS7f2GB/T2ev/iXcXAmnuCJBwr2WSqd4iejE+1G8AxTBRdq9imvH0MUd6OCeuGJB8gL4wl4lQHqT9AqvY6Sm8MVErfqQQMCaY+Ooepfe6mvow08hNo+u5xOyoniNfRBddkIozXtoVh+OWNMLK4J02stMs3DXSVCg3yniIQxAE1jOAYpIaB5sSfV7KDxEUDugXbtFYNuY2bPomo2z9yq+NYEZ6aNbX0ILIuh983RFBblVRx09jtFt0/PEfdFCLd9FNYchFKfrBKjiudbL0fMU3MJN7IFjBIYwrKXQvCZKaQll8IxMdIOF26xjeCWMwWO0Sltohev4idMoCRWt3pTsCT2VeaSRb2ygCRZT4jDOxucIoqMY6Xfi1i7hegZWbBxPsAnCfSDuos0VnG5DLqlVr44rjFemeF8XJaTPFV+DJxJHWxJWqFpZOrnbWGMCwKrgH7yKlj2FERrH2X8Bv9vCTx3HiCRxq4uS7xSoOpqoLKgK/v4tlMQImuuDIor3CkY0SrO0jSo2+qExCZMXYELEkFuLYLpluuU9jD6xKBOA+TGcyl30+LisDgkcF9E0nvh31FcgexLdc2TVwIllUfKL8nzsdGoolZt/Gaith1INZ8QyUF3DCRJoiTRKcxcvMYRREZCKCoroh0f7UUUsFwEQCj2iQDc25GFGUP6D6Bi6U8EtrOOIOIeIkovIpi5sAJaMq0tll27gND2MeARPRsX7cXJXcK2kJGE75UuSvK2EjxL4BTQjimv2yUSBHXh40TEZR1OE8s4SOgyhOKnj2SEULYGz/RamAGoMnoXWMn7hFlrfE6i+gClcgfTjMmrstCty6xSIy4oo+oSmCMrX0MQHIDSC19nBEeT9riVfokKv0PW7mOJSKH6h9EH58BOaCgKbUGIUV6jrgjKu08a2+um0cxjNbTynhjLxIbR2jY5TxtRaKG4W1xaXLU/S+RW9D9U2pO/UUU0UPYpeu4kSnZUGhfb+TUyvCfajZIbT3pVdWb14V15UpUVA5u1bkkZvGsIHmaTdFoDBKp7XxLZGcURPyLMwovFHE7/WHrroebkegQCQdHawQgMyVeAIyEczh2+nUO0h2oWrRGNHUJQKtfXXsB/7P/D2LmJaMSCCr1XlACJQM/iCxC62EukZuotfwQ3ZhKKzdLtrBHoU28riiW2uK6iiSwStTYw+8dBTqVX2iUYykuxeKV5Fs6bRLU8CUuh15EbXq3fwwxEIj6FV11GigxhiI9NblxdX2T32BZXTAUvEiqu4wsRQdWjWN+hLxlGSEazRwyjJsNRMdoptVhYXKRy4fP7Lr7CyWsLy2kRiSapej53tGufPjTE4NMxLL98gHdeZnhjnO2+t8PS5Kd5xfpKbt7bQLINmuUyn63D67Al54K1X21x46gyFfF56Vwulfc6dP8X2Tp67t5c5f/6UTEFs7+yzvVNiZXOb97zrHWxt7DE3189eqcx3X11kaGxETrObnQbT0wM8eLDL9n4b17WIJANy+x2mRiw6HQXLcLHDBtdX2+I1IEnSIVthyDJ5aiZGcjDKxFQIPTzAB9/zGO1em4mFZ7FiGTShtFMaiAlRUFxHx2ft1W8T7hfpkACt/4jsgXX2t+SDp6vmCdlJ6Y4XE+IgYkooZTW3jJXsIxBDQmtS/n54ByvYfcfpipd74QrK4NOoLaHiq8tLlplMS+qp62jobeFanUGtbRM0VvEix+VwsVtblTBMoWwLDPHQzuEJfUp46pF4oFPASEziOB0s0a2PDBFYffLSFZS35YtXE8TlZh4rEDH03qOHbSBghDEZmRLkdre8RigmVKkGYb1Ht3xAEJ2mU90hMXuW2uYSCJvCzAz1IEOokUdROngi3lXJg+0S2P0oArIjOoA94chVUW0FT7hr3Tax0BCqm6futQn7w1hPvJsbX/4CH/nEbzIzGuFHP/huiuUS3750n76wTaXZ4ezZk/ztP3yHydEUjx8e5Md/+D2ympJO2nTbMX7x3/0xDxZbvON0hqcvPM4b127h+yG+/NIyX/7T/533fPLjHFz+BoE9iCGqQpaDG2QJWWm6rQ202CR+876Mu3l9T6H3irgCoikMAaKzryfx5curB8YEbu5NtMwoemJWmjBUN0c3dxdr5p30CsLAMYbTLj4autSXURCgWVDTR/B378ptSyCsDOI5JwCKe7ck6Cec7KdZWickenVWCntE9DM1Xvnbr/IDv/A8la7CRw9paIkUMVtnpD/E0l6H1e0u6UyTU4NjbNSqrG1V2aw6bNd8IgY8M6Dyr372Kd79njOyNy5ewl5+i9pyQ6ryytur9B8/Q1lNoK5dI/KOd9G8t4zu1TGGTZ7+iS8TT8H8QB+r+Q4Dpsut3QabZdi//8dYTpe9QoOUIYjMFbzUJJowzAgSb+FNbD0Ngm9Su0XyuU/wqY9+ir/71io/+j1HuXP7If2DEZqlLmNjcV6+e8Cf/9ggx46EyVU0olERhd8gFgpJhoNhCU2nQ1psrDoO2xtr0qu9cHxBdl4rpTKHDs1Qa3e49cZ1Jo9MUqs7cgCftJN00Tl82OBr397klcsdJod8YrEIjWqXQrdNUoGf/NgCxXpDUvL7+wboinhlz6VWLBLv65P/rRgmWysbJOIxRkazVOqikhKjLiCiHswcWeD+rXv0DWQYWujnH/7iCtfWNE4dNonpHn//WpOpIY0fuJCicFBndDLD29e2efLJYfZzvhzARqMm4ZRBs9ik2OnQn0oQz4Qpl5rYhsvBgcf50/3EMwkGP7lMyevyL98/xrevbzI/kKHeaVBsOsQ0EzVu843reT770yf5+L95N62lOurVZUq2QiSTwCmXsFSNRqcK2VHip5+jfu0t1KCJv7FHNxYQiY8S7G/TCjyik7NyyNLduY3X7smDW/rce2lX9iVo1cvvo6XSqLMCTrVHKB7B2d3FL5awT7+DIBaRA7P2+iK64sLIPO3iJmqpjqcFsjNrTj6GL84Pu2XUVFImEPSRWRqFHRkhteo1HMGrKOZkrDo1My31zf7IIJG2Qk9U9HIFwpPT8qzQuXGL8PQ8Xiwl48mKqdK6d5Pw/GkaD25g5ddQHn+O0OQharffwl9fIfbk+1AiFrWrL6FnZ4naFrU3voF24QPEB4do3r+ElsnSKpSxBiekczySHaIjODui598t0osk0AoF3PIWjjgbZGZQNJvG+i0SM8ek3q1bWMc+dIKg2qTtNklPHZV/Lt7nbv0Aa+px3EaXWCRBt3SPcC5HPkgSSilEx4axzszz4C++zLv+9dvMj2ocHkuRDUW4srmDKL8cF3H4RpfX1nqcivr89b95mrFnn6Z49RperScXP/u3bzL++Cl5iU1HQtJqYQ2PSc1itNOTijjXdWnu7pAZGiA8f4i9t28TMhVZ91ENhVA4jhWLUNrewQrbNIsV9HACIxklrtQp7BV59veXmZgIMRjXKZc8DKtHX5/N4mbAwoDPH/9CktUbTR7sdHn66QxqEObKlUUmR0YpNarE44bcdou05J27eeYnBtncy3P+bB/Xr9b46vUWY4MmmyXBjVDQdY9WO+DPfvtJVtbKLF1e58yzc+T3ikxMzLC/u0Fue5+pw4fk8OXG5ZvyMm3qJvfvPWBwpF9agBLZGL22y8b6DjOHxolEIty4cou5uVnu3n9Au9UiYUdID2cJJ4XuL8Tu9rZUOgty/Ob6Dk+96xl297ZlKjAzMs7m4m1mT47xB79/C9fq48pmnqN9Oo8dmeCtO3k6tRb/4feflcPGresP8S0VO2TIWoRhagS+wsj4KNtbm+ji81zvPFIZ+iIZEaPrNCnsF+gfFgA8n2JuT95Jwskw49Mz5Hb3JOsnmRSD5AOpchSVp0Qky15+l/RAioXHR/j836zw6S9qfOC0T7HisbpTkB77tO4wsZDkL/9+kz/85/P8zC/9OrWNRXqRcWwqmOUterFTeE4ezxV1Y7F913EaQpEtbv/inD8ph2TB/lsSKi7P02I5l5lHaRzgtjelTt02+ukWLxIEIczMBJ74M78rK77iPCXe4yJJ6fcdx26V8RrLeIlxVDGodPZQUsdR3Kqs0gigu+9WUIQKMJRBb7Vw/E1UhuXQpCtMUFYaxRZVxxhd15OKZyUcw1VEzaGH061iCPit0sLP38M3s4RH30lX3BWdBnpiiLZbwGyVUUKCAyWg2SqKSE97On7UxhMVXqeIGqjSdOY29iAo4UQXZDVZbW8RyPubyDvoKLqFq8YxfQHXTKCoOs7uq3jWEKGJpwnKu7gdsVTuwxP3vXAGtVOkLeoG4SFccYYRhig1gtYUBjMDzx6StH3F1OUAQvE1PCUKO9/EiwyixyZQq2sEA2fxa8v4pVWM9DSBNYwfEvfptwlqTbTsmPx+dhtbKJU1ORQT90ZfMKziUyi6h66oeJot76LCKiUGglrfIdydiwQC2p4UgxwLXRPWhgIdz5SVr26oD0NY10R6WxMVNGGbq8oNv9spgDmCKngKjX2ZzO1Vt4ksfJDugfhaLv+/QVBfQrGTEJoEHUbqpQAAIABJREFUQZaPzhCIb5znYyaPSxWXLy6IHRE3UMX6QHp91XCMjmehtPYwxQ+/WUDrdGiJwFRKuNjDuNU9qY5i4BiKIibgnoQ3Cd2fThQtfYSgfAvHKcu4dhAZkh8OcRA3BUxBaMQCHSUWp5e/iZU6A14b32xjeYKc/VB2VAgP4jcPMMQlNjqKbiXpFN/GEFmu5An57xKdQ9dt4He6hOJjtGsbKIqKHhnE6fbQgxpep44vFAnCae+2QESCDRVXMdBNobzaQ2s8JMgcxwzP4uy/hlNaxxj/AM7+d9Bic1hhscGuYAnbqjUHVOnl7qLF+zE1QdA+kF314OC2hOGpI0ex9Did/EUIT2JHs/KXV6Qp3PApiCiw/Qq6GsIxEiheDy09hlcWykUdKxbDFR9M15GpAc3ISMCG0toCsw/Vq0lfuhj8RbOHqOeF6lHEemp0Gw7G8BPg7oNj0Kvex9QFhGMKR2zkhZtdQPjEVElwH3o9PJFY0NL0PIcIVbzQLL3qQ4TIU9HjeJ4jN+meGkbtbhM4damHC+pVrKgAIk6DHqYnnJnZSUQq3Iim0ToqXTuKV7yLkRrAU0XPpoYemsbLvyYPuYGIk0emUV2HTqeErTrUG+vY1jg9r0E4IvR0Du3uJulMhqZvYLoBO/kcvUaZsZl3YGrbhKYHJaXTL/u89Ne/x3re4LsvX+XeeoWbeZekqaP4Cm3HYXY4zfyUwcqDAxzTJp4NEVV6HJrMUm4pLK8ecO6xw9xdXqY/keZ73jfHlUvLJPoz6IFDImaTzGTY29vj5s2HfOhD7+LipZtMj49Jv/za0jaDYymisuek0Gh2aLTa9HwR/w1hKBrxiM7kzCB3l5t84flXGB8eon9YDDSadHqudIHOTmZZX9vkxGPHebCyzc5elZPH+uRna3l7G0OPMZDSKRQOWN/qYloOk8Oit9tgaaWMIR60YZ3tvMv3PZml2urK/uzjR1L8wi/+FP2zAzKu7tszWGqDwKhDqYjSqlFcuoOeHaCXX8eKj8nNvd8o4RtRjLBQ7A3T2nwNOxECU6QHDvDaHoaAqOgTeLXLIHpVeoqOH2BpBp2Da0QyZ8DQcUq3JfGWroBv5tAGBDND9PuqGLEpqQfF0XHtAUy1iefZ+IFQ1elSQyi6WYZgX1TytNt7soOojbwXtbEiPayBmPAqKQLdEvkmnFAYJb+Nk5zE6O3hHmxjT52VPI+AATzRj7MOqK09ZHD8Ans73yacnsRILeDtraIrDRw7i97OEaSPoiiCpZGTqRrh7RXKRKEBV8VzJJGUh6BORYBjfFyq9J3/QZa++h948nv/hA+97zCq3eX2zQ0yIlHVq/KBD5/n8198i5Gsz0fe/27e8+wpCcz7yje+K40X01MDjI2PYOkWR977a8zOpnFKJebmB/jg02f4wlcuUm3Xubhyg9alv8LzkmjhQVnF8cIZnP0dfLdGNJ2h6SpYoQyB4LFoPRCMkmoBXVyWY1nU6qYEANmjz0ggmeN10KtrePUtQofeT69dx83dQNOjqNFhyewQEV1EvM5p4rWLMtImqM5+vYZqBbjikjRySiYIjP4FFFOhs3aH7LFnYXiMh6/8J37mp/4zF9c8FoYVjkwNo7ptqi7Umh7DtiKrTgsLJsm6xTfv75JIRZlLJukPe1wvd3lzu0q56FOpdpgfiXI20eTnnj7K6X/xcamNcl5/nZ5fR8uM0F1bgpGTROt1OlYHY6CfxOEsc3O/z+ET/ZycCvFXL66xMGRzfiHJbz1/wJW//N84+Ylf5+DK65h2G4TalSTt+j3s1JysJHleCzs5imKAffgsc5kz9BSND71zmkquQ7lXoV7pEQtpXNzVWPnTQxiJGN/9h7eZneun2eiR7I9RL9dI9w3gBC63b9whk04Rti0GJ6ZQ/B63Lt8hnIrQrtfJ9meZmpujUNgnZCTo9aqE01nu3lri9PFBnP9Jjv+Dv3zA7JTBy1fqnDuapVJr4DSa/NNPnGRjr0hZwPiG4pKovr+1K0DypPsShOMmoVhCDgBETziVSVEv11ld2WHq0DAjY2O0mlVyBwXGx6fIpAz+7L+8wXcfhHnveQuNgNV9h9GMyrOnLNyezuhUhns39glMla6AznUsBoZCxBMWubUG0USEfLnMxGiaWqnC9oGwCQyiBE1GxqIUch4f/MOK7FlOD9qUal2yKZW4olH2IaUH7AdhXnu7yPdM+3z9xV/GXTqg+XCfjq2hD4yghQNaL34bc2ICz4hiBU0ajToiadr/7I9z8Be/Tv8P/XO67X38h2sEhx9DufQK2mHBayhJ773Y2HhaB29lGWv+EEGphXOwin7sGbT71/AyKezsGKWXP0ds5ARtx0PPWHhBTFLKO+0DlEoZffYUSrVKe3cNfXQCM5bAPaigqj2CWplg5iiG0N8e7KMGHYz4EJ3cNtGxUbqlCs3NFcLZQfx4HOdgl8jQLLUN8ftaIP7YAgFJekLffPMy0aPn6I0O0L17B+tgHXVoHLdSInLqAk5uE6otlJEpyQvp5jaInXwWNxyj8cbXCAvA3717xMdGYHAQbl+mXWsQPXaUZq2DV80REpaE0Xl6D+8TEwOM+2+hTs9B/zzaxS/R7tUJD8/hVosY4/NQ2MErbKGMHSMy+Rj19WVZXQqXOzjTh0kNx6js7REqHsi6QvRQmC/84Wv80hd3KOPyxKjGcNhgqN9mrdCFhsuF4wP80XfWmI0afPZnHiM9O8jy62+SnDyO0+2iiwVPWMeKxyWMurWzR7WaY+zkGfL3lwiPj5JIxMktLkGnJS+76dlZgmaH6m6OyXc/wb0Xvs745FHq4iBVLBHJ9tGuPkpt+LrJxNwhGht3+IXPPeRB1+dEJoqdtNhbreEZ8hXIpeUa1//9BFXhR/cs3ri+yVAkiW93GBbAv4rCXj7P/MKYrPgs3anw5AcmuH8/z4XHR9jLl3n+5SapwQjXl4Wy1WJk2OLBjSa/+MkQ44MT2JEUKyuL5LdrvOMDZznYK3CwvU84bDA+N0UpX6Dd6NLudiQjK5NJ02j3aLSahC2NkfFJ8oItIS6B9SatZpvhyWEGR0ekxWZ3P8fAQJbcXlFeqEfGhznIHdDttmVCVcDUqpUmfaODDAxG5Cb9+a8ucmXZYXo6gUGLm0sdBJLi5oMe3/6PQziNGCgxSu0Spq+RGRmgXChRyR1IKwCBQrfnksyIOqpDfm+fRCZFLBHH9QJisSRra+vMTo9TLh3ILrph6tQPSkQTKQqFKsPjGTrNDreur/Ds+y/IKtOLL7zKh7/vJI7qkPzQIp/8wDihcIM3bzQYDrt0HANLUbhbbJEJPK7tvED72neol3YIso+RtJJ0a8tSn2umDqGKy5vapVUqosdE+i4qh3ZqY43e7suYIx9CiSQJBKfNFADKJl6jjWeoshJr2CP4vRI9cQ+KTBMKR2i6hiTuC5i3L+JvrQ26xUV0Mdi3EwhwkUxXC46ASHXE5+mKSzJDKM0NAqEw1gV30JXpR8Xuw8EipCl0ul1UwfkJqiiOQs+tyVQodhQ/fxdz/AzdyiJqvYw++Rz0SgTdEpoZl3U73xqRC05x/xT1B6PvvDR/CZ6AZlv4B8uyTmkNHaFbfYAhlIgdAdBbRAkdped0CJmB1Ouqgssk7mZeGyM+jadYeO11yY1SzRYmCRn376gOdmtX3ivtoXn57+rVltDtBIE+iN7OS3W0UMwHhZtYAyck+0Vr1aRSUB05hyKGB4qDK9LRlkqnsknY93AE+F5wDzpb6GGRmq2gSS14WHIXHFNB6YrvcZZOaRmt00DtEwvuFq4gOxiCzbaDq0YIpyZwRMKjXZH3QDV1DC8y/si0IADw4qymmzRLixjRYRS5kOlI9Z+oUokkh+J3pAVCLHcEL462SGqmUKwoTr2O1nyAUr/4u4GIIGuaJ6dgmnOAq6Vlz1spL6LGxqSb0FXD6K0NPHHIDsfllAaviK27eLHH8RtCsdXAiY0TmBGMyjad8nXU6DS6mcQ1E6j1HJgKmt/AawjgUT+dVgkjPIUhNni2Rju/htUVsZWZR65vJ4eZmqPZ7aCt/y361A9hhGK0qzsShNDplmX/xAj1ixAxgdnFrzcwxs7iCtXUw5fQxp7CF5oJocYzLDy3ieKJNq8q/c4Cf+LZSTm5Evozgyg+AjjUxQ+y+K1VuuUlwiMXQFA7hcpGROdjEXQ3gufsotiDWC2xAdDRRe+XLoFwY5ojGNlZ1NoOvVYVTegIBdBK6BoUC1qCch7FUzMI0qAieqi1+zgiERAdR3EKaImjeIVVdFH4FlF3TccODdHzW6iej+vsYUQFIMuH3haERlCdrvz7AiVOt7GLIT4EnT1Ek8F0DdTsOG5zC7+xjW8NE+pboLN3VX7tTiiGJsjndCUMzDUzeIVF1EgEQygQO3u0KqvYI6dxm7v0annC/fM4nSZBbQMrNExHKBnFJcsSxOoCrjWCWskT7H4NffpZFG0SgQTx/A6+YCRYprwEEY2ieAZBbZWO6xFNZmk1d9DtCQwridPaBK1PDpUEPdtITuOL7bDgM9g+ardLx3oEm3OEdcIcJDs5hRIJQ3cXRg/TW9lhZ7vKFz73PJ/95usUN+HkyTRLWy3itgFqmxNHRUpBvCwzlPcKTE4Ok0gm+OIXX+fc+Tnu3N9jOJ2g0a7SakEyrXJraR/bsjkxneT0uWPSb73ycJN3vuMJ/uKv/obJyWmOHhllfX1fdjyLNQevW0M3bTnVq1Y7NMX/M26QTT26cI1PDnD54jJPv2OB2ysbfObz1xgcSVBvdRlMJpictFE1jf3NHj23h50W8MAWjVITK2zKF6LYUjR6PrOjCcKWwfZOkQvnDsuXtB2KsL1RodmpY5kWfRmdlZ06mWScbCrBd1+6SsdVqDYChpIGyWzA3OQIF953hmx6mLn5LGMTY5AVX+8wSnWX9tZVnG4KJZnFa/Vorr1EcvYpHMHf2LuBlZqi27UIdAPF7BAI4r3oya6/gDbxMUKJNK3KNppQqIQj0hGrh/rwtTR6LEK31kGr3keLxPCVhOyIK6FxFNXFoQetouzpixiZAJ6pLRGhq6CKz4qoETXykjtiJk7Q62xhCJCmLfgYETl8Et13JXwY390iHMtSL+WJmxFawoZg7aB0o/LlQ7hJJD0up/UiGkk7SW5NdL5HSAxeYG/7DdKhqPQJq1RQjfCjxFStJSf9uG0ZaW+KZ6fh4tYdUjNn0GYPc/Vzv8tHfvx/MDIV4+R8krmFCS5dzpHP7zF+aJwHt7cZ6jf5nd/4MTYebnNnUQz7TMaHBDxRobBfxDYd3vXO03zzpSt849V7zE4Ms7i6Tdvt0Zfq54XLG5TWP48WGqO29ZDewYak1qqpEXTDpNty8bt7mIqLF0pj9tryd9KMz+Joolu7KhkP4ufj7b6I3nca10th2i3cWp1eYwVz/H1ouZt0WuvEDn1Q1rACcfkXsFVaEqyq2UIZl6TtVQiqZXlhCSrXJSxVJ4YhgJj7G/TPnUUbO8dv/fxP8+v/8Q3ODGhMz/dji7i/YVFqtMm1m9xfr/CBk2M4gSkpz0KnWW42SCRE/7VOzPOYydg8dijM3R2HZAi2ag5ffbuDprZ476jFX/zRx7AfG4ZuH5tX38Z7cJ/+M+co7z0kWmmy70dYeO4Iv/cnL/ArX1jl1947w3KxSqnZIhOL8bev5/jVn5jm3/7V85TfeAWrL01QXUVMScUBUwx6BH0+aO1JOJ018iSYHdLZD3N4RFTyVGIRAa4MsO0uihPixQc+jW8dpZJv8vBugXRfUqpnt9e3mJofJSIu3mu7skoxe2RB9mqddo9QLMSV717l3IXz7Of3KORyjB+a5SBXoFqsUT2oc+6dZ1m8/YCjh7PkPJ0//W97ZOOG5IDE6ck00xNn+njq3BArKwVUUbkrl0hm+glcR/YRxQHfjoXY38vx7PveR7FU4NqbVznx+BFKhYqE045PjnPrzi2OL8yTy5Uwo0OMHfH41V+5wfHZLPVGmZvLHsNpjZ/74WFu3jlAV3wmplKsLDZIJgLGp7PsFWrU8gqxWIBq6HhdT+reWj5khmKU92vUm67UrT09rdEbjvDMv6gInQ0jAx6ZdIit3QpjwyPkdnZlBSiWTfKV63t8ZCbK31z+E7QHl9i8cRO15mFGYijVA/zUKKF4jFa3I4dTVnIKv7KOlkxhxqbxayu4hrCBePQMFyuSwN3eJBA92niSQFT2QhGcyr48Czgr1ySszpqcQCvX6YotndfFPnqWzqUXsASIsn8OvbSMb2YIYlGqSzeJJjO0lt7G6J9CtYSTWjA5UhihsHxvOJUyWnoCtS7YRGFqYvt17yZaNoUx+6Q8WHrdFqatSze8qvmoor4xNEjnjRdIzp+mpeoojRLu5jKR8x+gKw6qrkHvzS+jjRzB31rEEAo/1SYyMojba0vtYG/1JlbExJ87i76Xo5ffQr/wHjlgrl98HntgHLtvkNbWFqroQs+fwt1ZkjrR7kEe0zRxZ2dRyzVsRaEejuKv3pM8pMT5Z/A2Nmh0y0STYpPXont5HSPtoj3+DLUrL5OdP05sOgX/01T0f/3S3/Hpr6/zI08kmcvEaDZatExhLPG4n9tnqq+P7yx1eTJj8rk/eCeu+N6tbrOyq5LpNwiZOhv3HzJ0aBIrLPhTIvHSwhCg6G6Pcm6HoXMXKC8u4+cPCLIpBg4fori6R/94H82e2Cr6FJdW6RsfRbFs8vceyKGNbYaITo1RerhOSPfJTIb55K+/zKqf4rFxm1fvF4hFFVJWgLh/XV41WPuDhBwo1fx+1lbLjE9E6EsneOv1ZSamYoRjCW5d2yLeZ3Pm5Ch3b++QiESkEWR6NsYLr1R5calGX1xHNVWyEZ0rbzf51I8f5olnTK5/a5NBUUXBpdPsoYU1YlaU7c01POURUT8Rz1BplIiFIuzv77Nw/Bjdrk9uY4ter0GhWGPhxGFSqRj37iwzd2hCLtCW79xncHyIRq0BrkfxIE+qP0vYDsuK4/bOFpl0Fl30np02t68+5NDhGWGO5V/9wQbPnImyVXIZSavSfPXWvSq//LEkyWyC/EaV6WOTMrngByL+brO3mxdOPGLxOLZty3qO0BSeOX2KbbHt7zhkBWAznyOeTVMTNZyITTQc48Hdu6TTKbmgEQiwI6eOE7RabGwcyAVZtj9BpdWjvdvi7A9M8v2fepMXF01++OkQjbZJxFAZGIvjNU1yO0W+dGmXu2//e0anF8h9+/8jNv4Uuu/iJw/T3n8JzxpG79XBCx4pjNslCQM3giqu20UPZejtXEdPHcHOHqdZuIYi4u2ikhnuJ+jUHt0rPBUrmaTnWajNHEFrCzU5gx4/RLdewmgv0vV9jNSzaFqZXlXUDwz0ljjvC/aBh28J8P6M1BMqmvnoWSXS1I07KPYYVniaeu4qIeGkT49BpSLrj0biiLw8i0WHEYh3ByidCnrfGTyvg19ZQhf15fQAXnUdUySM7SE6O18jFJumGxrG0C2CglhIR6T+ORDU7uLbaMnDdLQ2Ss+WNhPaD9CCfrmF79UXZapcKO9or0uYXiC2+4GORgk3PI9WvguhEJp1iM7et1D7H5eAQ6/56BIukhVCpehIe0gTXVQQcq+hGUMEiZPowR5+cwlfiaJqQwSpw/g7/0Mc4QgL5V9sDB8b2nuooX5ZS3QPrmH2HccT9WMBTz64hu/U0ea/F6fTxaRDr1vH8HsQmaRXW0YVvDR7FNUSGHmH7tLXUQ5936Pvf+kNVCMia9KeIep/Pr2mqJw+jqk6MhEgqOVaewc/Oi3rr73WhqwziBpEoMcJtC6u2PxHkqi9Kkrt0m8GWnSCTr2ALbo8TgG3tkNE6BwUE0/8ZeLCmz6BbQoa7A6kRO/dwO/U8PPXUSaepev6WILubEQwBKirtYQTm8KKTeIUr+L5FkZiDkdEfJ2K/MCblkFQrxCkRwgaAmRWkh038U1wgxa6KpIHJfl1KJFhKAslhIESHkLVRdWwiB6EwfXpOCUMkR7oqnidm3iROQyhtRDTEEHWFp0z0R+3Hg0zbL8ioV2uiAs7wk8yiV+6J6rYaLFpPDeC7+cInCbm//JUCmCGoYgqQwrXEBf8qnRmq6opGQhG8hg9obBoXaanLqCLTVGnQctIYHtN3MY+amwQx2thuQ06opMfnYTaOl7xVaKTP0hPSRIEDQJFHBJT+PVrctgg0JPm8LsIDh7gNZfwRHTRHEBFgNiGaTX30SvrqOkJuoIeKi7K1R3UwSOo5RJe35zc9IQCj57qYYaGH9U29MT/0g1u06iXiSWP4EZS6GLAETTodfZlNFhMB51mHq1/HFWxURoVnIRwlHuo26+iDL5HQgDF8MIXv9hiCqYqsiMjtjpdUdWITqFVRP/aoOkI8mcDy05KoqYvoJAiAiWsUr2aJJGqos9vz6IKaJtt47R9qZmzRRQ8IWoDPTTDlg+xrth0xCbxVl4kMXGWrujxRyyskcO4rSLF+zfYeHCL+w8f8Dt/8l2aHkwMiKFzlHQ8TSZqslsqEEpEGUpEiUYTLN1bI5oUVE6XTuBhmjqFg6aE9DmeJiGIopdpCE2aobC/V+foiWGuXlwjm9KxbJWZsSHOP3GUg0KJpZVl3vX0eVburWKHdWbnZ1h/mJefuXRflna9Sb5UYn5WgMzuUe8JfVcYFJvbd5fYyXU48fhRvOYBqqVjiUtUxMHUQnR6kMsLpyi0XBfbDzjz+DRmKMLXX7zI+dMLbG8dsLFXZngoSTQcoVFr0mj1COmKvIyXqi3edXpWMghu3tslmUmTjscZH43JiPriapVypUHhQHQ7YaksGK0qJxZi5HZr/Mv/853845//ZdTUjOQ8aA/v4ZHj3uXbxMZOMzQiyLSbFPc2SY7NowrUoe8SmDrUGpLR0PI9oiGhjenhCzhcdwdij6EIhYtI/tgxjNrWowd2alomdpTGQ+g7i94t0yk/RA2PYPQdwauIOGxVPlw1V2wlGqiuih4bpytSOKqOrgnfvVCYKgSGjVsrSOWRGhrDMzSCnnghrEGQkVBOe7AfU7izrRbUtrn01kUsfZDx8UOkT8xIsnvp+pty+tohhB1LSS+vFRuV5oLAChMWokvVxm3t41kdlMI2oeQIRnQI5dhHuPSXv8b3/OPPMjia4YnDKfZWc5w4McVBtUKj5XPjRhHVdrn0xV/mjUsPUfFYWd3EjoS48MRpmo0Ob1+/Qa1a5/s/8hwbGzV++8++iNt1GY3GMLKe3OI8/2aN7/zuMzz98U/ilqsoiiMhh55IZLT35RDSEEkkAfkTGq7ktHw5erU8WngUv7uJlRyl1zagW5QpHre+iR4dpiu6iYLHIPr6or848UOPXo6a8Bg3pfZI9ULyZ0o4iScOJd0Kvugihmfkgbjr6vjlFdq1TQbP/AhKZJvvufCzUp2VNBO0VYfpkSxX7pQYHVGZGkpRLLiU2wccGRzh9aUdookQzz42xUGxx53FNTp4nJ4cZ01c1hstRlIWR6f6eLCaZ7fpinEDKyVBcFY4cyTMl/7kJ1F1h73FbQy3gl7pYM7NS7ZJpL3Lg+UWz/3bF/nwiRRBHAw/xIONGluFOkODNq/e/CytO4ty8ympwekF4ul+mutXMDlA6TtLM3eX/jPv5cqX/jvv/Okv8JFzGWp1X26crIQmI5g390O8f8Hjz/7dHK+9vM7A+BCar+E4TdrVNpmBft6+eouZqVFMMShWVBoV4ZYWKRuTsdEJ6vUG7U6H6YVxVh6uYKohkXiUWiw/6NFt9Dj/ngU++XOXWCl4fPx9Ebptm2TWZz/f4elzI5w8Inq7W4zPDREKaTx4e4laq8l7P/p9fO0LX5bxXxEVzu3nJIgynIgRFhcQzWB1eYX+gUE5fG+2a/Q6DjNHp4infX7ox64xO5Pi8ccC7t3tMjscZWGkycaay+x8mrDls75XRfMEp8JldDwmtYSr602mpjMMjCdZuZcnHg8zO2fTLHTYPHCYmo5x716Hk9MmxWaRM79Xk4fIp8d1FLFwEM29rnjnm/QbAY2Ozrdu7/PkuMkL//nDcnnR2FiiVrHQEyrKfoX4iQuS19HutDESIZxXv4715HMUr14hcmgGY3AUY3+V0l6F7MkLFC5+h/Dpc4S7Xdo98dSr07z1NubRM1Iz6ZZXUFydxt37RJ56B3q3J9/3bqNAMPYkxsoVmUTQfAt7YIT6G1/G+p6PEy0Uyb/0vOQodBJpwlPH0bwete1V0kNDNEt59FqXltuRw+jwMz+A0yjjbN2ls79JaPoInqNiTs/TunmJsKxARuSfCVOMMjaNNT5F9St/jxvTSE8IgGcHtbKLOXuWbn6T6Mg87u1v0REg07CFtrWEa6cILzyGm19BCffTvvVtQmNH8fumMfuyVN/6KqH0NMrxJ1BuvU5j7T7h+cP0ituYC2dhY13apiKTx+nlclITHPg9QoMTlHP7JJ9+N917lyhevkhkdJTUk8/SCqJYd9+k/uAhwz/7gyy99JBTP/8FXM3gQydClDd7jE1HWNyvky+7nD5kkCsorHsm46rLFz91iNhgH1s7FRLJfiLjKdZfeZX04DhaVNRADmQ6rNduYqciNNZ3CQ1nsEMpwv1Z9heXpc9bWDiEEapXrVBcXSM7P0uvE9A/K7bnW0S0GNWDArGRfvY21wibUbLzh8hfu8Hs2QX+6W+/wOeWWpyfUmm0TEzdpVUWKZ8UX1sssfGbQsHo8bXbeT72rsMSqLe576P74kenc/5dcxK+d/GtNXl+tkMqowNp1vbKXJhOcnmrzp9+s82p6ZAk4Avg3+hYkvyyy8e+16LbtdFMjYNcT17QRyeHJByxJL7mpLj4l5kYGMPTfHa3diTpPxYPk88VyOeKzC/MERUwywAOdnOE7QiNZkumVgM/IDXQR6lYIhYJEUomKe/naFRbjM6MUKt2ZCJ2dHyUB8uLhP0Qk3MD0mLx8qub/MFfFZmfDzE/G2Jlm5AGAAAgAElEQVRtpUUybTASifJjH42yvq+RjdusPXxATzFZmJ0ilklRzBdpNmoMDg1SLpYYGBrl3r1btMqCmzJJq16T6aYBYcUQOcCDorz4K3i0HJ+J8WFJgc/lhaIa6vUWIcOkVCpIS4CADw6O9LFZrPMDv7rByVNjNCp7KC3YKbs8NhchOqDy+a8U+ei5BH/96pfo3bmB1llnd22R2JlPoNe36VbWMfUISmJY2pMC3UO1pvCLiziiky8geFoDeUS2+6RiVyjidHsIJ5rFbO3jaB1UZVSmoJ3Cq9LoYyYOo4j7SfUGSjhN0P8cutNCKd3Es1OybiM0w8ITL66cYmDgi9pRYh5TXNZtG+/gNkr/afydi+jJcZxAR21vSv5AUFpDHzqN4jbo5e+hRqdQh49Le5zWEUrvJp44pwZdaaAR+jwB99P0MIFbJBB2Fi2BZ41jiLSwK3acNqqt4moWgVvC6LTxpQGoK+GOqh7BFdwpEWfPf/cRxy07JWKbUo+uxuNyuSqAgb7gmDXW8I0hXNPHDiycdkluxHs9cQ8r4wnrUtDCq6yiSctanUAsaLU+3Noimp2U4HFxv6O1LlMMijWA2d3G1cQlQFh9ovj1HQwzIqHjTv6y3LZ71iBCW+RVC6hKGDM1jONVhHFamu8CcQ4VS3KjXwLbVU0nENUysZ4OC66PQ0/LYFTXHy1jBs7R7XYxaosofY/JJKq78g8o8WkMoVIUgPPWEmb0uBw6I1hbIh3eXsYnAqJGIXTvA5N4eyIBcPm3Aqdbx4uMYbtd6SQNWqKvXkRJnkPkVMUWWkS+fdXF9FsEvaacxvrZY6gHiwS+h2IFEubmFK9jJs7QFY1Ccbj2DPTKNdqtNuHZj8hDvVZbJ4hmJTHXzooeb086KTWvjDX7EfmBEz5T14pIorihKSiOh2MnUMQ3SBz+FVtuhNutA5ROQdKhsXSc5jqG08IPzaE29+j1tgl6AZqdkBMnL2yg++Yj1aHQjcRnCLw2jt+VgwtxcBLOep8QuiEgcmsoPRf6jovbHt21VzGCffTxD8offC/3Cj1tlFDmEGy8iROz0K1+dD0ifdWeUG1owsMu3NMKzfJ9qQSLj76HztY3HvU2Y1O4ZhzLqdMq38E1+6ULXu1s0FOyaOk+dO0RvC/IzBKJ99Pcv4eWGpX/BsOK0Wtsyo24p6dQoxmUtiBxiviJ+GU9ICS6O5FJFJK4hW/LqI6IjiB86oYqI4UideG37snvQU94UtMLqEIZ0i0ThAewjCi90n2U7CGMXkCndhdV9L1Lq/QyJ7HDIQLHRRWQjHCWoHhdVg2EFs3JX0FJp1CdrAS9aVmxxYeeb8mIul/ZlET7cvsRzXlg/jGq2/dwGxVCmSSKiDpZ/WDGaCsuluvhV1ZR1dAj+KJekOYIQygZ5p5Ba6/TWbnBw5Ucf/onn+GV19tgR+hoHSb7opw40c/2ZpH04BA3bqxw7uQ8PcXl/v0t4hGDlaUiE5MZwmGLdqtHJqmR6e/j9v1ljh85we72LrV2nUxfmmqpzqGpEW5fX6R/dIhozKRSaYvmCB0vIJcrMDw8QrlUJ2SrzM6PSYf2wuwsF6/epNGsYAmCKj0GBge5+NZdhkazJBNZHiyvk0omUIIeA/1ZilWhrqxz/tQED5YKXLy+S7ujkgyFscIulaaIt9q0Gl3ifSHK+00J83nvM8fIFw6oNBUsTafaqjIej1F2GpxYmJCe7f39CrlCibGhrCSLv/jS20zPZDh9YpZbt1aJhCIcOz7L8uoyzZaLpXjMz0/w1s1t7t4/YHjQ4OpKk+FQhN/5tffy3MefI57qg65Fe03A4XbR4qLeEsNt7MrPnlBNaa0iXmaSbnmVaGyItgBmtlfRU6clZFMRva/6Lrp4zqg9vGYbhPbGq+K5JSxzBE98jus7EsapRYcfTWq9shCp0BUdOK2L6kfotfcwkpOYRkp+DYIRoIrJqOKiBF1p9zBUnW7hKkbqJM3NS3T1gMzoSWLHZmWb6b/+5s9weOQMf/fV1/nzbx5IyGWfDe991wC/8X//CgOnz+PdeolQx6IU6ScSdOiKBJTQYJY2cNmRW/dAaOH8LYxIH/bYKcQJ45987Ef4zqUc03NJHpufYitX44ljY3z921fwBYAq15bk3suX/yt//oefYWlrjyfPPC5tHkLX5guLhiIu+E2OHJtha3OPn/v08xyeyhJGTKtNKrWaJNtfuVvib//0+3n8+3+S3LWLWIGgwm8yOHYelyKe4WAqcXq9CGpzDS82Q0TrUK/cRo9MYQSmHOiqsTS+kUTDorP/ipxIq5gE9U0UtwbJwwR2HLV4g1bbJTJwFq99T/6MNFej01khFBnDD09K2wi1a7RUk4jeL6nKdqWFdmyCT577KT5zq8o/+8gcaxs53vnEWd66evlRx96KMjEqtqwpXnxjlZ967hC396tsronod4d4yGSyP8pg3KDm9Lj84IBspl/Wa/pthX1V4d6NHb7v8QxVy2S7bfDN76xxZkLnm//lE+gzA+S/e5uU6IRrsLlfZCGVwO8b5sM/8RkasQ4L6RRuzyCcatBuwEtX86zuviw3MfnLX0WLpdEyh/CF7qjbQVWb+GqaTvkBA+//BJ/99D/jxz59mY8eDnP61AR3bm0T7w+TqzZ56ZbLK785zeH5GFcu7+K3mhSbbU6dmsZUNVaW1xnoG6Tb6zA4lGVje5t6uYwRijI61E/hoITremSHs+xt7ZJMJRmZmWLl3qbcVLk9AX21GRy1+NqXF3llyWcqLYZxCrtlk0LV4ekFn8ePJbAj/ZTKJfJ7BRIRG4yA46dOsbmyTrvTYGxqlkouz87WNqefOs21K3exTBgeHWNve4uBsUnyGxtSQxWN2PKZ8Gf/fZVOxyGeUditqGRs+Lf/aIoHt/fJDCdoNhyScYNCrkqgeGQSWfLFGr7QLoWETtCVRp6QnWBxeY8nzs9wUCoREcmvVpsNp8sTkwZhc5jJf71I1Irx9KzYctqsVGr0DZq06+KA6KBlErz+Wp53n0nwxed/QyqrNl54jYwdo1JuEh4ZpF3dRSvv4LRUIv1ZtPHjKIXl/5+l9w6TKy3vtO8TK+fqnKOkVh5JkweGGQYYkhlMWGPSB8ZeHFjb32JjLu9nfw5rcGLx4oADizFgDDYmpxkmMFFplKVWq3Osqq6uHE7VSev3lf+auebSpWm1Tp963+f5/e5bRma7SgR9Yx43rBC49+3UXxIaTI1u28IYHket1CDgyG19o+NhNuvYYgrha0Qn53BaIn0ozEw6WjMv1cXCzhIQalLaGENj2HubWDsb6GNj6JkpXGFounYefWyYoBrFt1tUb10hPjiBl0khJx0DM1Sf/xqJVIbQwVdAZZPdl54hfeQevL4szc0NWdMLjUzhxhOoC1cIpXpotNu0i4uke6dwR47itQuo0R55MXY7bTrXX0TrNtCOP4Sf26Zz7QzxN74bt1bH2byFLX6vW+fwIzFChx+g+PW/JpAZIDQ8iy2AgcLKFO+VNgClkKfdKhPWAzTrRUL9B/CjOq18AR2xRcwTnLyfzs4tvE6D9OxddAVEupEjWdmGN72Tf/iDf+Lj/3KVo/0DhKkx0RsmnBFxao9O2cbQumx1bF680eaTD8Z55wfuxa7qLMwvougeXr5C78w0RizCzvWbDJ48yc0fP8OBO++knFuja8PUK19BsVrC3SnIoXvh1hI9x48QC8dZe/pHxKan0TVNAuY67TY0WpRKOVKjM8R1g8hAH6XVNZp1pIM8OTXB6Kvv5Qef/nt+6vM7vOWOlFSs+a5JMOqztNvh5TWHf3xHjDc9nODzX93ioZNhbizbHDiWpW9A4/LZCsW9Or0pk3bDJD3gsbbe5sSJERbmtxgdCbJX9Pj9rzU5td8nFY7xg9NV7jykcnPL5U9/fR9OzaXudGi36lR2O0QSBrFklEwqQ3ZgmCsXzsp6wejQ4O3zHoochAl7WDKTYnNjg57+UZrNmoT1Wq0Om2tFTt21j0a9Q9O2GO4d4vqteSYmpxga6ecnP3qakekhcFQ5WItEo9iKKlPBVy9u8prXTnPmzAbfOetwx4Eo564WmRhPMDUc5v//u22e/uwkRiTFD77+Mq989BSlfINaaZe11W2OnDjIbqVEu9rE0IT2dB/FYpHRwWGuXr3K9NSYPMtFEml6+3o4/eIZTp46KdkHrq9RLd4ejIsFje2phA2FcEQkIrZJZ+Pk1vYI9fZz6o1zvPUdX2feinFs1KBa6lD3gtxY73B0PCAZEdevV9m69LuEJ+6mcvoJmmoVlp8lfurDGI08LU+V7Bzf6UgdsFCp+80dqRYmpOJ1dLzKdan/1TOnUJUymt3EF+cauyprteKec3uBKrbldUiLClgMt7qMojiYwngmziCNVcy+e9D8Co5jowsFvC+o8m2c9h6ma0lVrGvECWsanbq4R+1ijL+N1tI3CUvu1gSuXZTgdCN1hM7G06jeOo45i+G2UaKzuIYr382KEsa1yxDuQStcwNUT8oIreuu+UkVrCrPAKFSWpUVI2IHEBbq9t0xA1KijDlqziS8S3I1FNC2N0b9fLgT9wARONIOe/wla8i5pN9NEykdcgC2h1HJkfdgRNoTWFkYgji2rDQHcVg6rWiSqKzjBAH5HkapyI9lP1xZldh2aQm94ux6B7eOVX8QXZrzBe1A7Fblk9isriHu04Mwp1ZsyUWUHJ9AMwUfwcMsXsb0kxugJ3OINVJG+jgyhC2OBlUMzknjia9g5jU8cXcK2TXxR+WjXZcpNwAkDcoGt4u5dQe85LoH97av/gNozRzA2gNMx0Jwinvj6ROrCbaKbEcneEQBInDJep4QbnUJrbKLUnvs933eL6MlpOvUNVDJE0mM0xRcZSuAEM5jdOl7pGl3RZYjO4Ok+NHJyMGAEQ4g0rNEzK0nUgnzpiy1cYlrG1T15Ma3gVPJ4w68noFTplnZk7EKzG7D+Q7z+u6TP0N27gZE9iGOtoieOgHiQG+u3Y8BWEyPQh+ft4TX2pBOW2DAKJQw/gmoVcYUWMDqKVxFkdw1qNzEHH5bgiU5nk2D4kKwU+GoMNxaG6jZ6IIFixCWZ0fPqGGocuyXctS0Zz/VEf9jwUISWTDfA8iCawOuaaLT/cyhi0hSgl84qvtUgPPgArZUX0SMmSqAHv12UD74qfjhFTAehpxN8gV3cjic/dESEGQH0c7q34YHBHqqNAkFRUEgOYkRnaa1/RzISzFAWWyQARJTU9/H9XRQBPRPjwW4O3xiR20Uj6NIqLhIcfSNqcwnX0WQ30A1EcIpLqK0C6vhr8dorKNUVlPicrD10PAWjtSX1F0JPpgdC0iEpOr1aZBLfC9Ot38AMiYhUV26gFa+EZ+3gBCdRxaY1ksYUgwC7hiMmik3RTwlIzymNEooek11Tq3qZWGKSbnsdT+tD6ZbolEpkjj9KefMKYbVK1xzBF9s3EQkWm3cBz9B9LL9FTNQMUiOYmSa0RujWlvncX/4d/+ufrtBuuzQ9HTPg8gs/ew97hRrXb6ySSKXw/TbpqDhE7nF9tcjxgwMM96dwFFjfqBEOerieLrttrabL3acmOX9pkai4tGpw7WaBd77zJEs38zx1bpGDk1n2j2VY2MhzfanG6GCa0aEEi8u7jPX1Egg6xNMJnnnmCtmeFKrvsVesMTCSpdUVQwILx2tx6uRBrt1YJJWNUc4LwF9G6mxGRvupNTryQ+2RVx3k1k2bl68t8PY3jLNb6jAzM01+b4OgEaYnlSJfLFCpd6SLW9VC3LiRwwxruL7KRsmmty+AoXQ4NjkjaeGF3C775gaoW23KxSZdx2cwm2BxdYmZ6QOS+LsnLxENtrcqTM30kyu16M2GWVna4oFX3MPWepHNnSI9vT7fe6okQUEfetsdfPRPfofkcIzWep720i6hRA3XaRHoPyX5Gc3iWczxN8DeLZTIMGpZ6KSyaGaGdvkquuJLQKHYVAZDaQmgc+wuvoDjuJqEgorhjRcQAyYPwyvJg4cwIXjBKPZuDqN3VnJOvHoBu7Ej/cNGJIPfaeEbIdlLE1qaoCaqOSqd7eelZzeSTePE9qGnBrn51D/w6Hv+npWSztEel5rncGi8h9nxXhaWl7i67lHY6/J3/+Nu3vnbn8ZeuihprmZYwNLy+MJwIKwiYjPTN4vd2UV3TUIT90Noh/uPvJ21vMtwj0lvOsrrHj3G04/fZHgkQqOtcfn6JscPjfDhdz1M3+g4/+cf/4W77zlJrbyLqgWoVVqSxC4Ua0KpuW82za/97pdZ2vL4qdf0YWghLl/YYKdqcc+pab7/4xt86nd+ip/52B9hl8oYhojbPUejMYLX3kQX70kB2oz1YVgtOcARYL+gcNkm5rC7BZzaDmYgjN8so8QHcPQIum+iBUQHVFhE4thuF0FWcArP3T5Q9B2nIzSKdgdNWFA6gqpcxRBO81Qav7CGIkwAnQpW26L3Na/jL9/963z0S/O85+EhQnqNqxs2A+kIrYZCIqhDUOfxc8Im4dFpgB03mY06jAg1qaZyabVCyYXekLCu6MTCbX71DQfolvfYqLY5v+0xndIIqGF2mi0ePJii3oEvPpenWGly/p/eyvQrHqLwvafoeF0SjTxKLEDksfcwN/vz2HGV108P8JPlPEf7+9lr1Lg8X+PG6peJhjXqWzl0JSzfx8KxLepTbUEv7pQwsgdIHHw9rzl+Nz+5kuMd92dp2dCuuvSnOmyUQlxZq/OlX45z/wOzLCzWSYR8HDTKxYpMUaiKzsBAH/M3Fjl+/22Vaa20RyCRICCejZroeLqyDtCoNhkaHOHCuQsExCHJU0kmoyT7UgSUPIvrYT75pUVO7Usx2KNw/mqD9aLLF/7gMMFMiOtXdqlvb9EzkGXswEEKm5usLNziwNxBytUKS/NLzMxNUCmXsTsu8URSOJKIizpXRYBoXTJ9GTY2dzh65xxby5v88V+tYEYUjsxEKNa6NBoaP/dohHNn88zMjcpn2nM1RsYSEjo2f3ObWDjM2Fgc23Mp7bWlltA1PCwxmM0mWF4ss28kynbZk+yT1Z0Wr3vFIJbSZOIjuzRdnwcOJUh3RVXAYHvPZrnS4r5BKGoZnj6/Q8zxWHny/YSyA+yt1tBrORndrSwvyGRW6p5HaIn47cIFjJnDtNY2CAyN0Nm6jjl9HNdqEhCXRsWE4Rl0b09adwSkShx6g0EFp9ygUd5F910s1yMg+vKlMpHRWezrL+HOnYK9AurEHP72kly4uJeew3z43SjVIub4DFZ+C1WxCI2fYPfFb2FGM4SSaZThPprXF/A2bxKempNVJbVWo9GskZk8jBdXqZ15CcwwgcwQummC6LuKn+W9VRkFN8YO4TRFv9pEDwRobdzAbbXwk1kCuU2ssIE5ckA65/30CNbz36Erqo67awzc+zDtkf2oV5/G1RJUyzmShkk3kcVp1KVmLJBJUs9vYdg6XkjHnDlEc/40YaEs7u9Hu3kedeZu7NwCXmhMxnpFdTDc8dlLh4isbNM300+7L8V3vrPFR/7hIiHP4q33D/DsyzleczRM08uwsrVHxbepOAaLiy3+6SOHect/fYBbn3sCPamTCcaprJbofegEmy+8RO+xY9i7uxQLW1JzGdBipKeGWLxwDrthMXLyBKWb86i+QXb/OJGhPnZvruLUWgTiAVAC8r/VbtyiXCsxOTtHW3foVBqUdnYI+iap2QOUSptEXcg+eCff/sO/571PtPnDD7+Snzxzjq2yzWSfQaHZZW1P42S2y+c+PoklKkFPXyKdiGIYBtW9BlPTSWGcJle02NmyeMtjE1SKbXarXfk+6B+KoKtBPv/DHKPjEaKqhxJO0qqWubHl0xvxefiBCDPTh9ktFiiub7D/6AGqpSq57XWC4Ti9g700ai2KwmgQCcsYPapHKhWnWm7SM9BLtVyktFvj8InjdJ02F5+/yNjUKB1PaOl84rEkHVtYvyxq1Qa9fX3UG1WZwhPVinKtKmP9phGiUt3l+OHDnLlwi6/+IM/hYxleernMcJ9BbzzOvz23y2OvCvPB/zLLwqUC2cFeLp++QN9ARtYh9FCQ3OIKw0JZaLclaM3zPElwF+e4Sn5PmkvEeyuRSMjteaPTJpVMSYe6awtjgItVb9M70EejLc4unmSu9A+PyPvOlfNrvPaRYV6+vstP/0GROw5nibgVmQAVuvGruTpHJ+f45lPzfPLDA/zXP/ttatc6xN0KGyvPEZt9A7o4u7gKVu06itXCb6zLC2IgNS2rveLc4roVgqk52mIA1xGLyjpq/wHJWnGreyhqA6VrY4sNf3gEMzKAJxLcwitvJHAbm2jBGJhZuUR1VNHhj6MKwJ4Y5JfnUYYfRLEd3O4mmuvjOhZa7yuw8+fRRCXa2kMPCkW0ihEewe/sSUNYYPARWWsWXLTOyr/g6P0EojqaqIcFBGg8Ab4hGUJqeUv+mVxDMBJ8eWbAbuDrKTwRvzejeJ0KenQMtVOjo1oosQnczWdx2xWC/SflZ0CjtksoOYKpx2gVXkLHloOIxu5FVGFQErr55jah5BjN6jxRM4NFFEQv3nchkpDcJ0eA/1o30YyTEGmgVudp7pWI9k2gCmBz7hpqtB9F2BValuQWBSL9+KEe9HYJOz2OtXuOqAAPhlN06xW0SA9OdQVVKA1DUwQaKyixIM72Eo4rhsxzEpAqjFKN6jKGPkzA7dCqzKNnT4KXh+oaRvYorlA7Og1ZIRXvfjkdrgmVZxEt0Isa7we1B2v3eTxNJRLpE1dnPGsX3YzjqS1sSyzRbYzskFR7C+uSWLIr1dN/5mvBqOyMKK1t3L0zKMnDGKnR247mxBBWdUO6I3WzX0bBBW1TPATiotfauoQpHqrsQaguQM+d2IvfRwlHCKoimjYn49GC9GwWrtAoXiY0+Ub5YOleAbcl1G0jqN1d9MQg3a4nH3TVyOC7dcRCV1gGAsFe3EQ/buEquoB+CcBcc5FubJpwbJTuzb+H+ARGUrx0RM3Awg8kZQfIs2xC4tIu9F2CvKUEcV0xDUtjuzWc2jLB0BhWyESzqrJv4ekRNAF1ENFjQdL3xTAiL4nnWiwqJ1VWeQm9936ggbd5AaPnbny1ihKIyd+nHUjBxtPowdsbMj0UkVUIPSYuBCVMQZmMCI2i2ES28AT9UbIMrNtVCrHVVGzq17+NPjBHYOgu7Nx1/Npz0PfT+M6OfGmoQolBHMcMSMq5WlqQfAOiAziFS6iRMcyEgDuVUOrbED+A8BZ06ysSVKgkT6K2SrRqOwQzI1KtKP7uhevcUjqYXVVqLSxrQ9YFvMAoWsDH63TQVEN2zxW3ANqghK4FAz7tria32ppSputlUfwKtnjJx0cISFJ7l+LuAqFoSqo4ZB1g+F7ZffH8XZxWhG7+OrXta6SmX4vTWpUDo0bZJpBOE5qYI2CISq1DvbjNd/71q/zp/36JvTpykxSJGbz+xCBeKszi1TzZVFxGpGolcbHvcvLkDKVik0BMJ5NMsV3IUdpr0HVCzN/aoCcTYjtfpVTzCYehLxmlXG8yFInIukG7Ax9818O85bHX8vHf/gRff6HAVCzK9KxOPJGSZNTidh4jEiabTuI6bemh3siVUU2f3myGcrGKHgiTzxcYH+ljeDBNrdmhWChSrHQxgx79Pb0ENJOlrW2CWoKBHp+h6SG+8i/nePT+Pv73F7+G27Zo1cvsbW+SGczg1H1Jc29UKgzN7Gdn4RLbZZdWeYd4KsylC8s88fgZCe+5ulm8PYRyJaya6fFhMmENM+TSk0lRqZWIpca4Ob+EGQwwMJAglyvKAcD8wgrJQJxWXXBfPEZH4uw2HHrTSUJmgK/887NUbJhOxTh4LMyffO0zJGNT2Oe+TKclIk5ZmnvzhAbvxG4KP2kQr7RD19lGzb6aYDiAvf4sXmqGYGQQt7uOracxWkXsdllWXxA1Jd2R1YKA6FIkplCFuULX8DsqmtLCyt0glD10O26vBMUeHM8RPea4fCcogvuRmMZ1duk0O7IPHOkJU1teIXr4ESJZnd9+/zv5X9+sEw4ZfOjNg+jGAKs31tgutRkZFqCgCr2ZIFMHTvCXf/UN3vuOg/zPz/05/o2XKTcFxbaN5ysEIhlaHRtKJfSwRnKoBzsa4s47fpmFnRZvfXiWVCxJobFHeXuXV9x5gu+dPc/Gcp2feeNR3vGuV1LLd7hw7iK9A0O0rAqTY9MyGlcoFsgkE1y4fImH77tTKo9++bc+i24asmYiuqKCjiy23lu5CpfX8kSMAJ2ywgMnYzz2nvt45cF7SD1wCu/qDZoNFbt1Cz8zi+kb+K1VHDHRt2O4RgBT1Kq6bXShxhER8k6LWGY/jcVvEhAVgZ4j0CnRddYJ9D5Md/s51HgfRqgPp7wlDyW+UkcPHKBbfQ5/4ydoI4/iGBE0MU1PTmE42xiDw+yb/gAP3pmiJyvc1w1urLeImaKPKybbBi9cbzGdNvij99zJiXsm0MTM3mqSOjSE7fvUrlcIhTu4lsPnvnueSzeKfPOSwyN3xOh6JvmGx31TIW5ttak3O6QTPo2qwivuHOHJ8xUu3NzhW79zjHseewNeV2H3pWcJ9xwhdniEn33b7/B0Du4ecih3g8yORNncLfP4FYvHP/UaXvGhD5B/4jKeUSU2MC71P6rlobYreNEU8cEEHXG56H8Xh0cMZsfTlGyFhO9hKRZL247wNnH2rw5SKtRYXujiBh0yER0tKDgHdfr7hzh/+iLJbEzqusT5RgyWRc1u9z+juavLyxhaEE1X2drcZnhiRHqjhTZye2+bqy/v8J4P3sMvfPwc7a7LqcMhOawQm6Evfn2Xv/zdCWb2DXDz0gahgEMgFpcXALFd69htIsk0UfH/K5Y4eELUdnyef/IFTtx9nFqlKqF5qiIYJTlm94v4co6AoZKrdPn6E20Gel1ed1+W514uce26zac+NsjNq1WatbaEh4oLxqk7JwhiDDMAACAASURBVJm/mqNWb3P//YOsiURM1aVer5LpjUvDgm8rlHarclCVzWrcXCrRtn1e+eCk5GjMBmpk9/fw5t+r8pPdNv/9tYOcWS0TV3TKrkvKVKnuVRkeT/DE1TqDqDz76UdQoy71+V2SIwcpDfYTvnoFKwKRiTma588Q7u/Dcmzpi1bNCGZmBvvGE6jxJJ2+adhaRWnWMHoHsMNxwsMzWOV1rOVVApqDNnUQv7CFv1lAHT2A2xPEvn6OwNE3E1x7hlpH1BaEmWcXpdMlMDxKa2lJ2pqCMydp1+qYtosiyITjaQwvyO65Z+k//gDl7QWMdpXYg2/D3ljBbVRoJzKEXA0SQckRUNdvYBsmaiglFZzsbIBIqowdlJv39u4yibE7aOZvYaR7pU0n5Cm4KhjDx9D2tqiX8hjpJProITpnn6C2vkxwaj9BX0Hvn5Dd5tDEJFoTmmLAUCrjWDWMWA+uYDelVIhPoojroFOSWkBrL09o/wGaK4tEHU/qWTubNwj3C+1kBnUkyt62xdi7fkhIKfOmY0NcvLXFA8fShMwYCzt5lnYsZobTnF6r0qi7vPDxwxy49xS581cp7ezRn+3HFeo2LYgejbJz4TTB0YOYgs2ysUR8/wFq25v0Hz9Fc22dvfkb+NGo7OEG00nCmSybp18mnukjdXSO7RdfIhSLEBB9Z9ciMthLfWkVV3wfwjECqk1XVC58j2AigZJrEJ1KylTc5M98nn0Z0SP3SA7ejvD6hMl3qpy72uLmp0cxTYONlTK9w1kWFtfYWHQY3xeRvf25w2NUyzXmr21y6OgkG+s5ORAORxUOz8T49U/n6R1QODoW4OrNDlMzIdZyOheuVfnbP5tiaX6PetHm6MlRHC9IfidHcasgL+vCBhANB6g1mkQiUVR8trdzhM0Q4VhInnfEBnt5YZWR8SGphxXDEjGubDZbjIxPUi4VaZbrqKHb4Op+UZmRDKQaLZGW4HbiV/y6bDZNMJhkYCbBX/z1JX5wweLodJhkXKcv0SGdTPDMGYv/9rMRBgcHOXduQQLqRuYmsGoWkZSAk9uUinlCkSiBcEBe+G9eucaBQwe5eX2eSEy851RS2T4qhSK5Qp7R8TGajTqpbIbabpndYoXZI7MyCr61mpMDj/GZCeavXUH106SjbSZffQcn3v4km1tNHjqcJaprdBSH7ZzNzHSc9UKL+fkSS7c+i1X3aK5cIjB4J55Qf+euEIyPUcuJi6yL0XcPbleopxO4+bNovUexXVcqFwX3CL2KW9tBCw1JwLboiwsemC2WdIOHUawq/t4Chj5IJ6Li1dbRQlm0+Cxep4zYjwbcEF0xgJdKWhMKG3h2UdLutZ5T+GZCLgTMhFAWb9KKxAl6MUGEua1hbq6hRLO4taocPATK5+n07kNPHKDTrhEQg0qhTq+uYXVdgunx/1zeheTm3e/uoYrrWPh2h15zxVmhg18pYfbtp1O6RTgQxK3nUbQkSs+4BLN3mhXICE37bVC6+MNororSKMvEtRpNSCaCGk5i7wozWFYO2TvblzFDcfxIH363LkGKYh1rC4p/5QahsVfjOBqI+H7mmKwoKAKIINSkjk8gEMZu7EoVu0D4tK0tFEPwyvKERh/Daa7iUEFXM5JTJ86dGi20xDit3EVMMeTpmcM3TIzigjTeiXqGa3XkklsAIAX0UdyhRIJAVGZUu43v+/L71sVDDfbgN9fRu01sI4rn7mGEBSsOPKFR9ku4rjAixFGiAyK3IM+GfntZJqZ9Ua+Iz2EGknRbV1DKZ/7YV8XFLBOUPVAx8RL9CD3Sg739In5iAjMYBy2MK2Fau7hKVx6kPaE72F1FT4+hVFaxdVNOgYVb0hEgJwGBaAnyYxFSh7B2niJs9KL1H8Jvl+iWFjDis/jRPmxrGb0hCHUm6Ap090Bs5+KDqAJSWdlBC6cxYrM4zVt0ihcI9N0nVV3YNTSvCaKHQQCttSq7pHriEFbuPBG9QzM0iLv1LMbAK1EMD6+6ixaJo/cexavcwG63icYnaewuo0VCuJ4AQSTxOl3ptReTcM+IE+g5gt3cxnE81NqyZBLYWpxAsg/TdensLqGGAmgC4Cd6LyLOoyUxdQ2rcIawOSp1gp5dxfOit//itQyemPw5wrqQoOMG8UXCQREkUANNq9EVdYWB4xjdFt35r6DERzB7T+GKjZvbpltdRXMbUsOIVZDAIDXSh5q/jB3RUdUMpgBTBHugW5RDCaHS66iqpNyKB0nAubqFBczsIbRgHEVABpU0Hbcgp4fR7F20C+dxg30i9SkTE6rjSEWGKmCJ0SCeIxRsc5JTIOKU7bYYaowTiBrUd27Il7PT2iAwcopQZhg1oUBomvqlr2K1dTn5c5wm2alZTOGaDx7D796idvUlAtFRjOHjaOkobJzlhX/9Ep/87HPc2NU4eVRoQhyGhhLccccRnnz6MldubXD/yUPsVgtUdlscOj5Co2jRN9zH+sYK25uuvBBVql2q3Q6FfIt0Ikw85sk48YP33IUeMHjo1XexsLDMyUOzeCExOgnRm8yysXSDsAnBvmli/WP85s//Ep/7ynXuOZGVtM4jB6Zwu13KzY7ETDQabTYLVTLJEJlsirWlDebmxlhdyzM9M8ZuvkC1ZnH33ftwbJud7TqFYoly3ZK/XkSAXHT2dmqUW22+/41P8K9f/C6vevR+spE4q5s7dDu21IuEDQ0jECWTzHDjystkBsaYmREO2xa1Uof0cB99k2NY7TIvPvs4y4srhKIxfvCt51ldr2KEDS4vNRhMRNCDLrWWw4mDgqewJYGAupBDxINSDVoWnmcNYqEwA8MJXr6wQiwWYG5qlN6oSrXV4IvfX8K1dD73pV/g4bd9GHs7h7VyGpJR3JaLW72GGpvGNExpQuj6AUlHDSsGtdIiwcQUeqQXWwwFrQquI6omDl0jhEFVOuz1UD9OdRO3vYGWOQiCSdGx6NqbEkhpRI7id/OSUhv0wnTUNkpzB+w6jqZjuwqhWK+srDjtDQKREObMEd7z4Pv54ktl7pntpSfqEDAtXM9kr9zCMXVae13uEsmNm2v09KnMTu7j775wmn/9l1/kgTe8h8rpLxAevVs+nzg7hFSLUr1DOtuLfnCQNx/9COcXdvjQG2e5VehKmJqAYx1/8CCr86v885ObvP/hcX71197MwvVtgskUpWqVdCzE+to2K0vrnDh5hHbbJhYL06hW6O1LyWj882cXqNctlvNVJnvSnDo1yvVrm6zldnAshQNjvTx1cY1U2GVeKNZaOn/+gVk+8rd/i7t2ndrSReFEQJTW1Oh+OdzsdmrQKKCJZI8gNEUOQGserDax/ntpiOGhI+COrgTN+NU6RiqJ66fwBEw2EqG58FWM3uNSyeO3b0FwELe+Q1DwFYQfuFtG8bMkjw3wa+/4Df7me6u86Y4+CfHyDZVENMhYIsa3z6wJSxef+sjruO+1h1Fp0dkQME6XrpWUh3RDQB/3GujTE+TnL5K97yRaYICF7z3Bb/3Zs7xc7LBpuTxyKMKUsDBEosxvtiQI91BWpW8wy4vrTZ69ssPn3zfJT/3GL2HkN6k9d5rgg0f5+ud/wKe/XeL4vhCWAJltbnLo+Ayf+NJVPvbOA/zWP32S+kuXUAQvRk/SVQM0N8+SyvRBJEN4cJDq1g16jv4+j97ZT1avcWPDlcOVh+8d5cVrORoNePITY+yVodQRQ5gu0WSKZFps/VoETIP5q9c4eGwOMV/Kb2yga7r82VRUGBwdQTc0cmvbhIMmZizMyNQUGyvLsiIn0lFzB/pxzRpv/6U1HrzHpLcnQCkvGqg+thvgsVdl0A1x6FIZmxtnayeP4Sq0anVGZibZWt8gHo1S77Zxuw7hoEFW0OZFeii/I4dtQvVkBMNY7RqxZAy8FtXdJl/9cVuC9TIi2aCrPHvZ589/NkT/bJiVGx1ZORJ1LLQOdssllBBwUIfrl4o89t79LLxcol535HZF1AVGxtJM7k/wo+/dYnwgji5MJGYHq2FQbbc5OBZiaF+Qn/6dEj++WmNmKEgsopDUonRMG8c2GIgppOMKf/dknoYNNz//bmbnemnfuEQzmiWW6seqVbCqPmruIsrEMbRYiu7GItT2MCcPSMK74Fh5N15ADxoY48ex1hYwrTr6kOCCNInMHKK6vSU3QJ7rYseThGP9WDsLhHp76HhgvXyWSMKHoQO0lm8QnjmO1rJwa9s0HJNksoeugBwnDbi1iOV2iQ/vo3ntLGZmhMS+faxcPE963xH0dpO2XaNz4xqJO+/BszzslZuo97+BSDlHc+UK4f1349ZztEuiUpXE9NvQsw8tlaQxfw5dDxDbf4jS9hbh4g7q6BT1KxfkMMs20ziZMYzNq3Rdg8TsPqydVdriIv3QO6g89VUCZhAjI372m6gidjd7VJ5HBJ/JWzmLvXodZfIoob4ZvOKKHJi4K6uoIyniw0M0XrxI4JE3ENDafPmTX+bPf1zAsz1ed28M3wqx0IVD/QZO0+dbFwpkwyaFVodeLczjf3ocI9OL98IK1TAY6QxLL11jYKyX2L79BLMZ1n/yFJFsDCwHXwAdg2FS6X46fgu7UETv6SOaFW7vOp1uh+LFa/KfU/c9QFcc2j2P+NgIuZfP0Nqu03fiqFwilYs7BNQghAwSIilSqEgA99bOHhPxCOEH7+c1b/1DIn1ZsimTHt9iuery/Mt77B+Lcy7vcPo3Y2yulWjZKQYGHaKxMDNHRjn33CKu5ZMdilDIldlea9PbH5LDfS0h6rEuM8MqP1k2+NK38rz+/hD5lsZzZxvcdTBIu2vy3leHmTrcw9nTa/SJweDmOoFImGP3ncSqtnn2yRfZt3+Aif37WZqfx/VUEukkpVxegpyTmSylfJ50bw/NRgPdF9o04aW36enNUimW2SuVSaVSxJIp+gZ6+eG3H2fm8BROq0lNdPOHx+m4demmFyaBRqPFwHCYrUKbv/5Gm+lBmBiOMT4a4amf5MnXfT76jl4i/UkWr+U4cHxachYWbixx6MRhcls71KtVEskkjWqN3tFBOWASoLZkLCqHiXulEuMTI9y4vED/UIZkOktuc5tUT4piXoD/DPqGR+Q7WdQectt7OLbFyq0id903zdpWlbnZfr751DYf/7cmrzwc4up6h2zMJB436fMbREd6+et/X+aPf+EuPvqJD1C6kiMUUbD21mk1GoT7ThIIWHihUZnSNasbdBX/diU6OoOqerdV3eGMBEt63bZkscmEcSSB6wpOSAs/PQ2tHIrVlncrwYwyXFtuoMWs3ikvoqnCkBRC7ZnFLZflpdlTQtDdlXc7TRAR4r10BbNNpPuE/r1jowR7cbxN/PItlPgUpjmB2xF1vjR6fBC7uYnWVlFVcXHtoGZm6QrQXncNnRBOeACcFori4YeG0D2b9t5lgoEkvlXFFYvk8kXQU5jRIZkKEDYov7KIMXhMxvCVxp5MNYhEp1VaQI8mZSpZsW7hiUGBGFx0diXTQVPDOKEsqiB0rP8Io/eu22llAbyPj+HlzuNERwlHstjWtmR7OVaLaHZULqVEKzzgd3ACWTy9ilfIocf7QM+g2hVpNqjvLRARdxlxlxUX9NISSigGYgEs+ArirCTU5egYMQFLdelu/RA3PE4kM4GhhOhWr8qha7j/hBxCtstbhAJxXNXFE+l0AYIU0caQYETkcFMzGBVxD22hBEWSYBsvtA+ncRPVU0H8N2sHxRTQ+Qh26RyqeK5ig/K8K1ImZjCMUn7+f/qa0pE0Rl+c6stXCOi9kq6vaDZe5ACB2jadYBxP66C7wlWZxCsvo/ktkPFvMDJzuCJe223gNDYwU1MS1mc1bhGJTuPoAZTVx+kKuIzQ9MV6UVsVtEQvLcEHsMt0WmWMzH5cXZcRGC3Sj2uEJLxKPNiaoOsqAemltrfmMed+BrezhVHZwNGTMl7khftQw2HstoUudBvxGF5YqOPS8gfJK98iktyP5Xu3QTdBQfFv4jdLaML/KC7/9QJOt46RiOMbk/idHGplEyc2JI5CBCNTdKwN3K3TGMOn8OsF1J47ZKxfaMmUblnqK1RBbjR1ApqPXS+iiBh7fJ+EPcgBi9+DIj4Im3UcawlfxGRaNgpVdAGWiAhvurgU1+VU0HMUPLco/eF6wKdZy8npjyGUEH4DRxA3HTGqaKBEh+QUUDdi1B2FiACqCRBG6wqOLlyZCtbWC8TGXk07IHznFRmvU8oX8ON9EpYmHvBubAhTkPkcF6tyC80wMMxeuqIr6fqSmhkKJ+mIF6PwqwYiVArbRLxtlOxRTL9CxwmgRYTaIgreHu7IA2hKna1zL/OPn/kbLlyvcGmlzV7RZnjApFzpEjJUBoVWKtjhox9/Fw++4hSO6AZFpjjzmY/w5NMvkB25m8/+8+O86aHj7JbrVMoVRqeHZD1ExLSigYAEDooNmaDRm9EU515e4O47Z6QK6sLVDax6B810uffoMO9955vxDJFcCHHw2B0EU2k2r88T+o8o+9b2pqyVKChyk+sB/QMDnH7mKbqOy0OPPCS/Bysry3TcAB/8lT/F03TCikI6HZIH46rVZm4iS7lmYQQ0ZifHWb21iK2qdHyHTquLY4W4sbJBfzqMGYuRX89T7kAmGkPXLZquTX9Q48tf/iSRcJBLl69RKjaIRQPoqs5eucaRuQNcvHhOah8feMVDlMpVdtZXiaZT5PJb0mkttIGZdA+W1SSbFST/MVpti0AoTOg/vrYvf+VrXL6wIKE9P3j8LKX/gM+95VVHuHj1Jk1PI2wYpFJB+jJRtnMibq9gd11G++JsFy0KuzscOTQlL7kvn79AMhMlZkZ48cISkyMx/vmJrxAgxu75L6AHj2LEVHAEz8AkGMpg18sEA4ZUrdi7F/DDSUn21yyhAWtKqq8f60dTEvjdIooGTq2NEk7gaxaK5eGKrZqI02XGZexJUGJ9VUUTQyYxOBOE/vIGIa2J3QkTDmVwvF26jkE4miBy9H4+/Ka385UfrvD+tx2iWBRAG4OttW1GJrPY7Q7hUEgObTZze9JHmwobjMwMcfnsEtnRJN/65hew8s9T2LPJxmdxhN/WqdC+dZPBN/48n/yV9/E/PnOOn3/rSUIB2NvdoqtGKVSalLYa1P6Dyvv/feh+Dtyxn55Uhm/8+w9JjvbJPnIkoLFdbdGpN8j2ZejL9tKTCcpn7dd+71M88XyR4d4gx/YNo4dVzjy/yMGDA6R6RVR8HsfWSA/1cnNxi1TEZGI4wcZmkwtXCnz//3yA4+/7RRov/EhWR1q5TeJDczRawnE8SMAM09k9jZe5QwJpnLqALWbk5lNt7UkDg3j/ibSY6GlrigXCXVsuoaQHCOkRXDWFnkxRXL5EJDNKsOvRclfQ7EF8dkgfvoudzQXm5n6dt901wf7jIX70ch17J8+bXjXD73xnkXv6NH70w1+BEhRfPEN9t8DI4VNYvklx4SrxvjSWGSDWsVHxsFoi3lgiFNYJjU6i949CeZ4/+MSP+ezjFe4cDRDry1DOlxmeyMq+8GKuxVjU4MJWk/NbHQ6k4eVnPkZt4SbJfft47hs/5p1/fIGPPDrJS5dyVByfQ/vT/N331/i51w7xme9+n+aZbxHUQjTF1l9sokL9cnNbWV2l96f/G9//24/yxl/4Lh9644Q8BO8ULNLxoCBYcHrT4ZGDOp94bx+1PYvNSovRRA/tgMZeboeB/h6ati0VXX2Dw5JSnd8qkkrHsEWFTDVYW19lanqGWq0iD+azRw7ywtMvcOLek+R2ylS3ahw8OYKud/irf9xh17I5NCq0YpaEfJ2/0OK/f6iPg0f6OfvULcanB5m/tEw8G2VseoZWs0Kz1pC8lEa9xtjUCK6rUljfZnz/FNcu3WBgsI+uiGx0XZkK1MIh+lIGi7e6fPrfNhifCDMScVnecen4Pm88HqMvLIZXHofmshQ2ipjBELG4gSv0bLrB+kaL3pE4hUKNiKj1BAPs5iqk+g18K8BOUYCxHBJxX5o+oppCKB5hZ6nIq149RnA0ycd//xJ/8rzPTC988MEeVnMxTi9tEDJcMqaGGfA5s2aRa6p88i0RfuUPPsDmmetEvTaK1o9uKzRz80QyQygz09TntwlGunTFobFTw88M4d+6Iq0XqvB3p0JYZ8/DgNh6eeiC8bK3StfV0YbGCQjsl6nQ3aySPHEf1e1F9K2bmAOz2JEMETo08ws4fhh/dx1/TBhnDDqldbrrq5iGRvDE/bRu3USfmMVZXMC8+wHam8toCzcxRHc7nZYbtE6riS4WOgQxxmdot2p0X3iR9IOPUL3yEtGRfbcHsrkdomMTtIoVufXyyjm8YBijvE0jOkDC2aVe8Ug99gHc0g6dlfP4yXHclcu4VoHooYdoC6vB4ftx16+jBkNokycxymtUtjYIHzmBLtJoEQFZG6FVEwktm06rQ3R0gsbNq6iWhZoypL4rctcRti6u8aZf/DLXtmq85e5+/HqLx+6N8/glm4urFR45niZXsmm4NtfWm7x2NMgf/dwhwvvnWDtzCz9XJH10UjKI8ktXaRUbhIdFXS+KU6/Iz3Vh9YlMT9Et7NKqlbHrDaIDw3TLddyoTjQTxa84Yg/Eyotn2fea19GyazQ2ckSTScSkvLoihqUeseOzVK4vEw/Hqbllud1NDg5hVMqsbK3Qf8csPWP7ePcH/4LrVpbj4zZLyxbplEIgHJE63a88uctfvC/Kz90X5S++lufwjM7+8R5WN3J0uwZqyKBcrKGhyqHgYH9QbkgrYsso1NZKh+PH+vne8yW+9UKJk4cG6FTyMlH7wrU6b7wzxvs/dIDnf7RIXyyBEo9Q2d2hVm3xqjc+wuknf0IoHGZkepp6pcTq0ir7D+2nkM8TCIdpN+qEIhES0QSlehW7ZRM0dQqFAoFIlN6+XkQSSVSOEqm0TI+uLaxyx7GjrK+vYBhBBkcHuXz1OgN9/ZJXs5Nv8OhbTrC9VOHbTyzy7HyL2dGQrH/Or7bwTZ/DowHe9eYJKntd9gQHYTjGzQtrTO8bIDMwIDkN5VIJp+vTaJeZ2j/Hbq5AJBKhXChRq5dIp3vwVJdoNMzGqkjldon3ZhgbGWVleVkO69qdLol0inQmRiiTQfCLBQh85eImk8fHCSp5Bt5bZDjeoD8TJi20yrsN8uUuByZ7aHTqvDhvsfvi7xEbmaSynsNrhiBQIBKL066aKLEoqldAazWxlSRK6yaeiHpHhvCdFr64lIshe7QPLTon+V/iHSdUybrQjAsgXmkLJX0EVSShm0L7N4tiJLHamzJxazsldMHRik+g7l6haRUICUWcYaKEhnBbt7DrLYz+k/hdAeKrSy6cr/fIxJ1QAXu6Klk0vuCFRWO4rZIE+yqhIAiAXf4FfMEZi46jOxXs4jJeQFSXbTRhHzGm0Lub2DKVJtKYIkkoKpgN3FYNLSF68GEcwRDoFNHFgNAMSeCgp3gozRZmKISSOUTHyqG26xAaQw1GpTpRpMu9zASmH5CQeMT9MjaILdSEUdGHd6Vu3RCJgVYd3xL/3ifvfgL+rkf78Go38bwwpki6agamFkQ1xFY9Idkwre2XMSIhtJ4jUoftR/rx6hdBDF3GHqPT3kJrlvC1EI5XI6jGcOo7eGLAJYxqWg3FFCkhD8Uqy8W3Fs7g+R1cYWcJmGhi+a61US0Fp72KqsfQ4sKQUJIpb7wmal0kN8QdDPzkIDRrKKUL+ImjqE4Tz6miZu7GsLbo1m+hxoZwlThK9blP+BLMJ9yNThklOIppFWiIB8UclfFYq3AOo+8Bgqmj1AtPSPKkGAIYuRewAinC0XHpS6a0iCcutKE+fM+Q0RahqNDq6zKWHYhmZFeTyi5dVfR9BNhvENrrmKqYqqhyUKCWL+KHR1EDA7TWfkiof0pOh10vJimrTdEpVXWcVoVuU5gDZiTRX8PE2/wBanxC8gDURhFHDBraeYKiS5I8JOncQsXktrflFIvsMXQzJL95olMv/JhuS2j9oihqhJbTJtzcxNaTBMwYVmdbfmgLKrre8wrwqiiNW1KdKBIDXTH8UMUgIiMn244YxqgiZjsPsVEQcEUzi2GIrt02TmkFO9RFTz+IE+jHrLyA24li9vfSLW5KFYZ4eQnVkgA4uFYJPT0n/aXsnJZbBS1zBKuyKTv4rqIQHXgIt7YiPa+2ruKWN1CtHH5y5rbhwN9DV0N0cpfQRG9P+iwTOEYQo1uFwBCGl6NTWYTQ5O0hiRhoVBdRzWEcodMQX3ttFy8xhWEXECJoARk0xQAkouB0owTaJVnjCGdjeIN3UVy4wu9+7OPkNhXyONy61ZUKGCPkcGB/mGbFYny0X8apmzWb44fH+MaPFtltdBmIiQ80eN9b9/GZLyyTSQf41Q/cz+f/5RmMsOiwxnC6NpmBPuxqi3KlwNyBaYqFBh2tSbnkkM5m+ffv3eCek0NEAjbjg2ne/+63k8rEGRifQjFN2sUW1b0KZ158hlQqwfr2DrFoVEZs9ypFaZaIxaJsbq4TDMbQTZfllU1e9eBDNJsdXNfm1J1HWVq6zhc+9y1u3FqTCYCdvE2h1iUQULCbHqMDJtWKTa7lEzVFxM9lMKlTsxyGR6IkQzqLa3Vec/9+EkkTujUeff2j8lm1ug49sSQb+T3Gx0fkC3JjdZODh+fIF4osLy0zMTlOqVRA8UX83ERTFPYfmmP+2g1C4SD1lk2lWqS+V+P4iWNy8/T9H36Xn37LW7FsRyoCD546hBnu4dv//AWeeup5mq2uNAMMD2Qo7JX5t++cIxyISYL4iWPDXF/YI1esEDRC3HF8GruRx203ifUkGRsYwOvabG01OXNtGUIel5dfonnmK6Cn6VhddMOTkJOWpctaiycO9EJ91REG5xae1kMgGKMrPLaaiLo2cLQYRv8hnFYNt7GEoRi3CbFaj4RkOvWi1AUKerMhtvytPZSwjubr+KIPq/VgKyLK6mN5+u30E68rSgAAIABJREFUkr1C+sSr2Xj+B0y//lO8454MHWJ0WjWGB3pYLbSlNnFzs0xvX1qS6C9c2WBkNMbs5CDXl1boiUR55kKe09/9fxmZPE51aYtwv+iTbeKmRoln+1DMLYZGfp65oxkSmkJ+u0xf3yDFZo1IQByamnz43a/kwQcP8+//9gTjk9Pk83mmZidYXVhncmpafs+uXVukVq/w+kcfYmFznb/5+++T22py6NAMhWKO6ckeouEglbJFqVzBEe9Jx+K+E5NcXC7QstpUiw4iBRiLZTCjDX7yUpFS/kd4uytU83XC5g61IigJ4X5vgjmMbrXkoFj0CsWW2FVCmKaLbbkS7KiGE6JBTFBUkeplbDtHSI1i0cBMjeM0GlJHFhq7j1arDMWzRPwG7eCd6BSJHjvC//jgR/j7f17knQ8OcH3dIZXyeN3hQX79O2sMlGtcf+J9YJe58MOrDA5MEkmHsWI6etPBjw1RPf099FiG0IHDMprqN6rUt9akqlHvtvDaNaLZHoIPPoxd7/Bf/p/f4+sX4C1zGj919DB/9eQis/vTTCZNzl4Q7z+dFzY8HjmY4avf/jBUu2w9dZZ7f/sFDg+qtFs+2y2HoR6Fyys2hydT/PjyU+Qe/wxmzwx1cdkxwkSG9qMqe7i5NSIPvZ7Hjr2H5xZ3+c2fPca//mAB1+kQSqXYK1WpWiZf/PAYd9wbZmOhTSwSpGnV2N2p0D+YFWU/Uv1j7G6tUReHIlVjeXmbkdEeBkYG2VhYJRAVByyXWCJMq9MlGhX8BLG5H2dne4t6w2W4P83gRIiPfOwcW3mVuVmP8ZFeWtUGz19r8Oe/cQcxtcXCRof0YJxqoY6h2FQrFWzbYWxygkqlSDSaIhhQqIjtsRFC13wWb65x9I7DWHaD/GZR0vrb4r0+luDM5Tqf/84urzsVYmowzDPXHNoWPDxlcWCmn63dMtXy/6XpvaMkPe8y7etNlXNV5xymu6cnR2lGsiRbsiXLxhjjACwYFhPWh7R4YU0wsLDmgDFh15zdxWCS8WKwF8s4SLaxrWDFyTl1TlVd1dVdObz52+eZ/f7QOfpDmu7prnrreX6/+74uAcYLMDOTZafaYPHWLm95appOvcPFi3mOHBolX9glndMx1LD8XCxt1zh2cpC7t8tsrVV5+C1jvP7yKqFYjOGRJBsLRcZHUszOR3jfx7b5P2sqj0wH6dFcrtXanB3ppVStEgiGUHRoduDb18v82Qfn+Y+/9g7su9dpVW3Wrl6j/6F3IXiDna08aixNtbROSByMTZPovhnMO9dRDp2iU23IdJVWzBM5dQZLyHBf/55kDQVOvgmlVaT1tS8Qnj4moVCd6haZw4/K5J5VWILFC3SNBEY6im86xIYmsJNCO6Xh1fL4QQNLpC08n/hAL9rQUYzdJcrXzhEUlZB9D0vFsTAYuV0XqhVCJx9HjanYd26hpnL4t9/AOXCMsBqgoWiEaxVai2KrFSTkObizh+TZLrpXkBc+Zh/BEGDnbhs12SMXON0Xv0Bw4qQ0g4htnBMNog8dxL74CubuFsHhWQkCVrQovhogFAiy98ozdJoVBg49RDuq4O45BDK9tM096vduMzGdIvzA27BX7/F7n/wKX3y5yq5u8M7DSW4ut5gbCvHooVE++nfXODUT5ceeGOeX/2mBZhn++kfG+KF/d4TCy6+ijBwknumVF9/qvTVCI8NE9ACL569y6Km3SLhvdWFJDthVQYc3TZRyGyvoULm7yvBbHsHRNFpXrtLcKdNz+jj1rRKDc1OUFheo7u0wduAkeiiIbbUIp3qpbK/SLpbRbZfkm9+Kv3gJqyEsPqL57mIkB2jUNxg5c5oX/uYrPP2Xizx+NMjenib5EXHRxQ77bLQNxrI2n/+pLIWGJ+0U4XAD29Rp1S05yG11BbBMnDPa+JpBNp3j3KtL9E1GmJ9Ns7PTwDLhU19qMTwYZn4yIGtV84dm+MzfXeMXPpDi9IOHuXJrk0xKdK1rdCo2/eP9bBcKxCNBmm2HwdEBOk1x1qoQjoQZnhhlY2kDH08OyVOZOK7tMjI5SlAPcf3GdfYfnJfk/KRIhDniPBQkFApy/cpdItGwhHZWBbwzFWNyfJpbt29yYP+4jDvX8gt01Qgf+eQ9xsej7Mto9GXTFOsdChstPvwj/WTSSUp7Xer1GuGgjq5rEnCc39qSOkBhcuodGZDD+621LYyQjuDOCviyEdTZ2y3j+0JVLoC5EVRdoSmBzhqJ3qRcdlYbDTqNJsPjw1y9uIgpBr6nJtktdzky4/G7/63EH1/y+JVH0lxb2WPf9ADVdpebNzaZnh/jS99a5qMfGuG3P/OvNC68IkHbvpHEaq8T0EQaNyGTdrZnoHnr6IqGZwziq01Mu0LEE3T7XVzvPk/IpEUwPCwhr2hBaXEQoDmrcoPQ1OP4VgJD2CTWvgNeh+Doe+TC0Ld38UQd0uoS6JtGbZXoVpfllj4Sm5EMNcFZEsY2za2C7tDdLREOh7Djs7i3/xZt4FEJC/dK51D8Lq5dQw31oybn0MwNTEXcozR0pyHu2/d17CI13bUFwQa3VZH1kEDuAXQtQHv7JQK9D+AJMJ4wMPlNNL0Pq2cOQ6TMOwVpTVOn3ovvl2H1NUgdwE2PSfi7qDraO3dRrSqkJnGFVj06iCb4be11LFG9jg6j+RFZExVnY1twCpqraIaOkpxAFcyEVgtPpJVr22ixETxfMMwyqI01/NgkSndTwrg1YWMQg7X0fgyvITf2IiGs7Z7DiRyA+j2McABPz+AG+vEFNLG5KxkBvhgeNRpY6g5a6jQKTfzaNg5BgvHoffudp6KIQYUpFi+9GOL5G45gNlsY7TzEEtJUhRHC0wQfB+y1F9AmHsJuOmjtBQJZoWgX1fQIbrcrmQxBI4dTvoJSffVjvqcECQSyWMXXMYbOYPkBdPMmXnAOv7ODlp6D3fPgGDLSJpQOXuooqmKKu7TU2ymdPHazRCAsOuQ6rtDSia38wEEat79JONGD2ncSS/RW2iXc1Dyq18RuCl2cgZqZxqutokZ78YW2LzqC2sljdSoEw0lcbQyr+CKqWUIffhLHrhG087LHYUUnUOtb+I4A9PXJF7s48KvU5CBCE7fwxiruwAGp/BPd/k58lJCg2MfHMTtCSdeRII62tYsuLkztJkq6T3aRLLtIIDSHK2CIfhFfnyIU17Br62iBcdq7l9FFREYML6pb0kUezIzhBdL47brAvEpvvR/oQTGrKFHRd9uAVglFRFKK37kf2xh9hwQ2+PUqvi62lyXk4qx6HXfwNIH4FPrW8zixKanw0MNhnLJwd+u43QJ6IkeXHkKqh+fmUVLjOLUKAV3Hcqso9TJGbgbPDeP5DbRAr9zyu+Ee3PIVPDWM0ali+WUCuYfxW3m6pdcJjJ1FNyZk3MUWX1foulxPTpYEcVxTc+ixKKpTo7GXJ9azD79aADYJz/8gZjzHP//Of+bn/+gFFC9ELtxFS4YYjmoSSiWAK5mwxm5tTxKKa3WL/oEwnY7J0nqRqdFhCtUa1y/UGBpSmJlIUjc9cj1xDgwP8drV28QUFTcQ4crNZYYEqKajsrYmgG+CDK1x4vQIk5M9pGJp3v19ZxmZmpD6kfU7V1EDvWysr7CysU7EEO8pcSG16etPc/feItl0D0eOzctJtXBt+7rPdr7AsePH+O6LLzI7NcvmpqDCpnHMLluCED4zzOFjJ3G8CpFoL/mtVXaLOywtFXnl9QsgNI+WxZkzB6m1OoQDBvPzs9KWISLcYjPXFUGsrk7/7H6qa3eo1Vpyan79wnm8QADVD9GsFMn29lKp1u4DHl2hRgxw8uzDWM0mhogG377N5z73D/zw+z/A5L4pVlfWKG4XOHnqQcLRIC9893k0TePk6Qcp75S5cuUakzOj7O5UMDtlhsdmOH7kMPfu3KZUWqewXaPbNbm1vM7NuxX5TyQksjGQiYXYP5fmtYsFdMXlgSMjrObr8lkxvX+MrY0NTsxO8Q//dos4cKW4gL/8XTrFywQiR2nrMQx3jebODgkBymtX8BpLBCL9+LroW8QwTJ9Ox0J1V6XzN5A4KGPDqhJEdbp0i1cIJgfwMzModkVuujHF9jCC0xUdQxsETLDepN1cIjr5XgnAscwFgr1PoJqbBPYf5idOfYBvL1T5yE+cYWlzh63dEuWKSansEdG7vO2RQ9y8tUzLMkknshw4OEopv8vydoVMPMaXX13nbz7+FD/yy3+I99Kfsxvsx6yVCafCDDz2H/jb//IRfv1P/423ns3Q2QuQm4jQbfk89517DPQb/PUnfkZucjbyeVw3wq1blxjoG+GRhx/ilVdfJRSPU9oukUsnecfbH+Fvnvk2n/70N4llokwO5Bjqj0o44OLSunzG9gxEGR8Z4MVzdwiFYrjdNrvVBqFkiuF0hJ6+HBffWOLo4RR//cw6v/njWf7zH/8JxRs3CGtBnOoawYEHcPbu4EVCED+EWluQvAhB2PXDWTlFF8MFkUqy3C1UMbW3kSBTRwmjt6r4kZz8gFfdprSKhPoeQUntg5UvY7mejO1np97E7uI3GHvTX/HRHznBbv6WpMjfubbOi0UFq9bm7j+8g8i+edZXumStOpXqJrHsCI3tNUJjMwQVBavVIqa1WX35FQZOvpnQ0CSd8pKc9HdFlH5tSR4GvB6NSMbH2H+Iz/3OF/j9L93Fjlr8+MMzvH5ni/5ohkuLFfZNwfRgiD//epuHJwye+7efpn5+kTMf+rJMxvzk989y7naJSrVFbzbFdy8VqBT+HrXlyt+tYa6ypw8S0rN0tl9HDabInn0XJ6ZP063qnD4Wl7rPrq/IzyXcBjeKBtf+ZIqJuf08+6+vcvqBUVlXufPGHdLZMM12m/6xQZqVBj19PRQ2tuQzIJNNEQyGef17F5k5NEGqP8vilTsSwCc0p3u7FfbKVaIRjUrVpD8bZ/5YL3/++T2UgEJhJY8RizI7HGOrVOPJEzmhVsd3AoRFPLrTRTXEJactvduNeoehiQE21/K0Wy12CmVG941R290j19tLKBailC+R7UlT2hKfsxqHzoyxfq/K3zyzIS/QpaJL0e4yFAryIw/rOMIiFPZQRIosaKCqFmZbkReX1Y0y61td+ntSPPrWUV773ib13Q69fVH2qjUmxmMEInHyK3UsDfbt6+HV55bYf7yfttmmUvBpdHVygw5venCYv/jSHX7pS0ESQYez+8S1LECtZpKNCL+2RjhoY7pxrt2oysrkxb97mtADjxL80ufZiY+wd+M2ydwI4alh1K11CdpidA7Ta9G5dZ3wqSfR84u079zAGBjBi0aJx1OU16+RmDqFyJftvPZN0g8+JYGCtUsvELBNCWT1a5syYVDdWic5exy3sYklTCzjc6ilNZy9MrWVTUZ+/OdoxeI4X/wLeZm3QjpBPYKR7JV0fmvuIIm+cbzFmyjpXglEVXqm8dbvYu9tE+mbxGoVCe57ALW1S3tXLAs8+eeIjaHqqvL7FqkHoWTV/A5qu4mfSlC/fYtQzwDa8BjW8j38oEL6xNN0BHX85g388UmUWkUmhNSBQ9ib58A2MDtV4odPEtJj7F58RbIRArHo/e2iVcNpuWQPj8DEIf7ln57jP/3W8/JS8eCROKODMQ73xvnHC+v4pkcoNkjIKPCmoRzPXG8StT0+9K5x3vljj7H76hWsukWr1WFrcZXxk0dpFAuMnTnO+oUrDE2NsbtSwDF8YmoQW3XoOXGK7edfRjMcsmceonz5Kn1zczTrIiGr4zWEfUWnWtqV28twKkqnViU+NCpTDEoyK20NqUw/7XKZyPAwtbVbOKVdtMkpzPU8IwenMeP9dFbvknjgQYyVm/R8+EVODiWJJSwhsUAPeri2z66tsrTSYeEvBthbthgYGuDCTWHQcDh6oo/NxT25oUz3xHBMeP4bK/zIzxzm6usbFCp1YuEY/Zkgjuvw2rpQ++qM9Dn4WpyT8wa/8j+3+N335XjyPTNsLO2A3SYphiWmhSXsX474fdXZ3izROzhAKBykJejsnkLfQA/1RltymZLhGB3bkRd8UYMNGkGK+TyZgV76+we4cfmqrCtm0qLmqtGxPeZnZ3njwgWZGBD8Gse3panAdB1eubDME4cHsGJx/ttnVxkbuc8yMSyHjq9xe6PLD78tzsHpHrZXm6SHY6QyWTbuLlEs7XLwyEEMRWEzv00sKUwmQS6+dpkzZ09Q2auyWy4zNDJKs9misltmWAyFoiEW7i2T7snI8/nKygq9g32MT0xx/co1glGDA3OzrC6IdIBLJ5Jhf6+FG7Q49QsFIrEo4bBNbxRMfHw7wPxogO9cEAA+WN09j1+6Q/32ZYyBo7i7yxL2J5agRjiNa/SgG67kgJn1Cl4wRVSo0UMBbD+CVr2HF0qhisS0KyxHYdSoUHsPycu7Lbr+ApRu6fgBT8bgrUYJTRUR/Ci+L9JYXdSMsH+18b09jMAIbmsJPdSPFdZRizelscg27m/ehWnAa9yD+H7YfREl+xBGIiGfz76m07G6aGZBdvtd8TXF127nUVN9uMLM1N3EVVOE0+PSYS/6/WI56SVyaH4c1d4mlD5Eu3gTNxIjILbfwjCk2WA18bQYvkgfh0Uaoozfbcjtut5YwIn3ozsO9dVvEe59BH3kYdzmBqpIjwuGmxZFF3+e28D30yh2HYUGnhqTzzgBLHeNDLoqUua7qLEwthPCUEt4wQFc8XncvoqWepO0yOlOBzUxTrtwTp5lAqlDOFYFguOyAqEoZXzBFBDJcLH01Qbwyi/imE2M0aewKncxfA8j1oNZvIynQWDmB3G3b+LUNoj0z2AXL2EFZ4lmcrhmHVt8b45DPJKkufU9QuEhCMUllBGhO6zXMdIDeEYvnvj7xQZRGotoeliaAcSiUVHD8tnlWHsouy/9ii88935yEnf9K2iJfvzI+P2Op6HTqd8lmHkM363gtfP4ShRDM2WvhJ7j0N6VCgNiBq4gHMfn8dyumGsDgvTSpdvaxBh8EEXQF0WEJbIP3S5iFe4Q7B3HMXpQ3D05CQ74Nq6Rk5dt3+8SSE7IbbYT6JG6GMXO46YekHA+1SqiJA5A9R6+gKrUtwgENdTYlIw+apoASCyjR+ZxfNET1lAcE9WpSiCGgCuIrqLQpAkfpili8oJCiY7j6xhCg9FcxjH6CCp7uJaLKryZCaEBKhEUPXihKBRd1+wB7O2bcmMqtBgIxVhrDYw0ZmOZ8LCYcOl068Ij7xIJRzGVoOQaONV1/GAAo3KFTkclNP441DcgGLnv6HS6qOFpDAFHtLewozOoVh1NeCjpwfcKKEoCJ3sYzRGUYg9fy2BvnyOQ3i+9m3p4ENMTaMA6brWAK1Qf2RE8PYdqqFiFi4TGH8PrtLA3v0dw8p0SlkjtDkp0lG75NUk0DkV6pVs3mBzB8VsEcOkoGQJKgPbtfyW970G6gUFq6zcZPHYapXeMX33z2/nXG3n+4wcf4YVXl4j3hrCqXbqu6Leo7GzuoQY0Eukc/bkg16+usG8yR8CIsVdt0JeI40Q8bNNhbHiAG3c2iETES1lE4wPsbXU5dGSYpWKVhZUqa6tl0nGNtz12iomhCOMT47z9vU/TanTYWc9TLmzKDfiJM4/x9a99UQ58UpEURthgZGySQqmAZ1lyyDE9M8fW5hrbW3n6+gdpdBvEwlH2yruke7ISbnX82HHu3r5FJttDtV6V/wwMjLK5vkIimSQtuo62LTdhQ+OTpAf6qBfzxHIjQqKDEomzeOkKe6Uthgf76Vhiq3ubh06/ia9946scOXyIhYV7pFI5VNWnvFdi38Q8sWSceq3Ca2+8ysT4FIPDg/dfu66LoqtcvniNvt4Ujz32BC+++BKOa8kUhICL7FV3wfU4fepBbty8LHVFgwNDlLYLTE1Ms1FYIxyKkkkPs1PakBG5qcn9tNoVrl6+TKVcQgtq9PYNEI5k+Oznv0a17XD00DAf/bkP8ud/9RUuX7rB+naXdC6METRIJ0O0ag0S4t8zUf7+66t86MkhPvXsP1M//22MZB9up0n3/08tIHRWO2iNPamA9GJh6NRRBWciEEePig+RIoguultBbbbwxABRMRG2bYxedE/BE0oYpSLv/QQT8v2mR6JSYWWI6XcqTcdr4rWjdHWFgZl9bJz7NlNv+wt+6Kkh2f9bXtgllFG4dafCifl+fvsj7yURDKFnEvzxJ/+eLz57j9HBKAHVZWKsn8HhLK9dXGWvWOHixsvozQqtey9D5iBue4vk4Ud4+uwPUyoVed/3HeT51zbZFK+JYIqF9Rof/633cHyil3Pnr5BO95FIxWh3agT0MPFYXFoMGq0WhbV1HnnsOLeXSvzSb/4LT731EJpSY229QiwEnXaXqelx1jaKUoko7AumrXBnoUzDhZGcTtvVmRqOEfQ88tst5uayVBstSjtdzp37DC5JWsUyZusOkZ6DuJaGWnwZxxBaVg1Hjd/vuIlnHookqmvJGamKNRwTW8Thwjlcz0ONJvCEs3h3BWPoYYzYEJ3SLTwBxsFEMbcIJKYw5t/B2b59bNY8PvxEghubvtzCO/E4n/zaXb73sUOc/rF30HjtMpH0KL7VpVMWaqN9WKL2UStJ6GX6yCN0ul1az3+F9Pf9BKF0jObrL2M2SkTnjhKO5dhZvyfp5tZykcRAgtRb38Lq8y/xwIe+Tm+fRiRoMNqn4wkFkB0gkfLZNFW+e2WPr/7mWd72sX/PR0/9Eher8PaH+7lzo4aXDlDfafPNmzVWv/VB4vvfz96tq/QmGrQwUE0Dr7FH/PiI7AgPnP4vzA1FGEr5NOvQl9NQAwEcTeHmaovX/nSWm29sYqfjpMM6mb4M9XKNgBrgzs1bjM1MEA7HUDyT/GaR46ePUa3UsX1hlXGpVfcYGh6W4NHCdomjJw6SX8/L2s7E3Dh3ri1KMOuBwxF+/ncL9GYNjh01eObbNcZ6PELhBD/93gECkRBOW2V3pyahX2LLV2u1JEzw9pVb9A32sleuMD07K+0itUqFeCIpN3ICXuyYNslEgnKtSk9vH6bV4tqlbe5teahBlWLJ5F7J5oG5AL/zwSnu3C1Ta/hSFzXYH5YJrAvXK/T3GkRUnY7nYnZd+VwR9aWZWZEgq8nuphYwUBTIr1QJRw1SqRCKAX2Dcb73jWWGxrMcebCPm9cKWG2Thx6f4+Xn13jnX5aYyuZ40z6fUtOk3nHxtACVnTY9aYNy02F5N0Bxz2b9b36AkTdN0i01MN+4gDqaQveH6Dgtus0dgmoUJR6l07DRGmWMoSGsdg0jM4a7uoStu8QyKcztPFrfCBS3sfv6CLo+ViUvSdMBcxd9dB++ZUDIxtndxWy1SY8fpX79VYLZCErvNF5xm+5ehfCpw6gNk+q5l4gYOl3bRzlygLij4Deb2LaLmb+Ntu8UQc+iLWoKpR25OAjOnKbW2iGRGcPeWcLzDPyaOHMNk0gE6ZoKdr2F3rhDp60TO3IWXF9+bby6TE6KLZhT3kEV70M9THhiBn1gnGZhgVh2iNZWgfCBUzi3XscpbxLqGaVdLdLc2mbgybfRLe9h73UxRtOkShuoZ2Ypry7z8d9/kS+/3iWcM3j7eJpGo8qK5TIz2ks4FiHatrhWLNPxobhlsVl12f7auzH0JIvPv4pLhOE3naX4xiViaQMtmCUcD9LwLLRGm0a7ht0R1UGVhLioV5r4eyUC6R7a3QaZVJZm2yTam2JvYU1WAlNTw+ytr2Og0yrvkJ2fRddDtCtVatcvEe7N3R/2iFrB5l3Sc0dY/NqzJAd7GX3H+9nbXEPRfQpff5b+uRSh0DiJ2Qj973+WiZ4QR4fSbDdbDGRCLNWgVChR7Og89wujjPQ1WMnXyWRGuHyxwPxsnLYAh9YVanviTCX6+TEmxvtZXt0mHg1Sb7v0iAH0YJB7C9v81mfqnDkakrWRjgCTKgYj4wrveXKc0oKFGmjIqkdbWJzsDrF0Px2zSTKWxnJF5VO8JkzCoQjb2wVZO9DEZSRkEIvFuHn5JoNDvXiORyqd5fbtm3SbJgePHSAQDmJ1bDbWl+m2XAb6s3J40dM/wO3rVwkLPpZhUFyvMX94nEjAQQ0l+LO/uohjpEiEW/T1pNjb6bJSbjPaq/Oz7xmksCkqNMLq5dCfScvnk9kRWnKPZtPC8WxOnTrJ8uIanW6LbF8vnUaLys4uud4MrW6XdCYrBwF9g2J7DOtLgqmiyprn7KE5tjeL5Ne2mJiZwGzpuGGTVCJBvWRy4GSKX/uDK/zFOZX9/S6ZSJDWXhvLN1D9LvNzk/zz83f5hSen+fgzf8zms88RDaQwxg9hCeV45aKMfWuZcZy9JalHFNUOTxEpZ5EHFgYFDVWc9XNH7mvMd2+gWTXUcIpuo00wewgtN4qz/jyuHiGQGsbTh1DcMr44M4XSKKqDJz5sooPQ3cHx6wQSR+QAwG9WUUTlVk1imBs45q4ELkdzp2m3CpK55nu6iElA9TameH04VcLDj+GqMWhcxddyeF4dNTaK6wuTmkgLZvC0HLqzg2sVIHWIgN+i7Qbvd+13bkNQRQsNY7aWCSfn8JQATmcF3xZqdrHib2J7u6jGNJpQH/ttDKsijX9GRCR5HQJmm7Zr4VbuoYrlUM9jGK0mjjBDddYk9FD3Q1i1FTStjZJ9EKu5RliwFARHyzIJxfvxzZqsjYqqijh7eZUb+Ol5Ap6J09kBwTFIDNBa/ToBI0cod4Ru6SJ+dgo1OAKVW7hCAx+M4wrLgqj+EcEqfJPI3Huwdq/g9T+JXj6P4YKpCRh/WdYfPMfGam5hRGLooR4ctyOX2eKMJCHtQ+/C3P4eSmweIyQq2zWc6jZOIHO/1qB0CLpBaa5QYlF0R7DafAl5tYQa29FRGq/8gS+6/Yo6gOXsYjSKaLkhOXXTPR+/XZIRWocIvhqWE3jftPHrtwjkZrHyV3ACfYSn3oKxfZVuaj+6oEW5MFglAAAgAElEQVTjgx/C6W4QiIgpRQR/T1D0FZzwAKHaggQldMmgCmCgXUUXC4/6IojLPpYEnnntdUIDZ+jUChiqJUEGanuTtgBgJKJEvQTt8l1M3SESy2FW8vf9iN11tI6L7dUgNCzAogRENMZTpdde/JAVW8HP9UrjgCukSp0GSrwfu9WSbmt/54oEqATFNstQsD1bfo9qdFjGntX2Cl5sCLWRx4nOEQorOPk7OPE0upoUMz9pN+i0akRyc/i+mLI5+HXxIhexEgffyKC0l9Gzj+BZm7hCx2FVUCMDEqYT7G5gBobR7IYcrBi5WezKFjo1hJDWTw6imza2oE/6Sdzqy7jZt6EnJ/B3zuG5bWw/Siybwt4r4BsDqN42rhi2xIew63l818MTXdH4EF5tF1fzCAyfwNo4h+MFCcd7MOt3cNMHCXtigypMDUHs4msEBk7RahfQm1toYhI3/X7c9W8QO/1OggGbH3vs3XzulSa//EMnGMjaPPPsDWYm5rB0i6CtShBbNh5nt9ng0vVtjs2OUGs1GcgmsSzxhoa9mk0qbFCs1ylX6jK2M5kdptqqSZbA2ZNHWVxe5YvfXuOD757mkZPHmJocJ5lOMrZvksWlJa5dvkN5p8K+2QlS6TTb+Q2pMDxx8iSFgrjwOxw8dpy90jZrWwUJGeuaDs16XWpjdvbKnDn7EJcvnmd6Ylp+MG2ubTC3bx+rG2skerI0dmtEEgk2V5Y5dOwopUIBYWYs7RSp7e0yPjXJ3Pwhzr/xKolYgtu375LrG5SR7m6jS359hWgsTW9/jkJ+m8GhPlZWlwhH4nTbbd71g+/lb//qr2QN4Mzpo2xLOI0m32uJRFq6ty1H0HtPUd7O43o+pfKu9Nu2GjV6cr3s7hSp19vsm9tHPl+guFPi4Owc61vrjAtCb7Uut/vNelNG5uKRMIlUkpX1FULhmHT3rq8uogoWglXnWy+8xtb6DocOT6FGMnzqf32Fn37fQ3zgfQ+TGxjia199gc/+87eotjSOHR7GbljUOg4KFUKRfr7xwi3+9//8GR5613uwNm9Dtya7dqJHptPENiKEY5OY7TIBofDRE7j2FpqIU3UbUncS1m1sNYQrBo2hMCSO4okPqModXN9EjwxgBFNyYKWRRQkEpaIFs4op7By+jRr0cfwU0YhF6P8OK3/3Zz/AX3+zwEhfSlKcqw2fidEUxc0G//598/SPjnPt+irjgznOnj7KN59/if/9jauEgkF64wbpVIKAofPpryzwld97gLf/1he5/dX/xexYL35fAD8yxdH5d0lOxUBawbTg8JGjfPaZ7/L0owf51H//KC9/81l0AcVyLFY3dzh79rjcpn/1ueeIGAkGB1JMTfZx8/YWn/7ii4QjLj3JKGMjw2zt2Vy5sMDxuV7qFoRDBufO5zHCFr//ax8gk0px9NhB4qkQP/GTv86FxRan5vsQxrbllQbDA8N84WtXKFz9BMFuU260UyMHaVTraJ1FtMw+uuJwX12lKxRhvcdxqucJpA7IDb/VKcm4pICEus17KGIi7VoEembuJ5yEJUtLIRyyIjro6SaqgGU2bpN5/KPkzz/DxMOf4N0PDZLVa7SI4VbrXCi2eHQuw6d/++3s3N4DQzzaLTmdtwgQpE5bTxCNC41gCa3r0+n6BFUXJRnCqTbxKpvoveMomkJ1u0hmahxyYzTPX8NPGfRNTxJKBfHDAR55/2fYXjV5xxOjVAtF/GySVklUYVSWOwFeuLiNdf7neOlfX+f7/vA2J/tdeUFJGjpm1+Fr15tceu43OPLUh7E3viUBeBhJYEfq3/Th42y98jnG3vxpvv/RXkYSOgsbTQzbJ5HT6DZ01HCHz33yBOe/eJHxkzM4psXWYoGA6JI3LHp70vc78ZEIa/fWUEWnOyhqHi7JZIbpAzNsLK+wfGeZs48/hKoHeFVsNTWFU088Kr3Rm9slzFqLk49O80u/+gq7bYeHDya5vdZmckjnxSsmv/lTfYyPJllbrVDeKBNLJzCbgv4fp9WoMDc7SziVYLdUpridZ3hsTNZu8oVtSSU/dPo4e4US2yurDO+fY2trA6XeYeLQFH/+2WWSIZNsIsZi0WapZPMb3xei3XVIpuIy4isSBtmeINslm75ciGhUJ5VNkusP8eqLW0xNxBkejnP+WhHF9CWnRrjfZ8Z66bTaXLq8x/RcnFxflG6lTTCmsVfS5GB2o+gxNWVx/MFelu512f9bQten8fB4hGzYotwQqR+XRssn3Rfk6L4Yf/ONIlstiw8/mON/fPx9eD1ptl67SCzXj1XcIxJ0UMo1WvGofE6rySyerWPZTYLFLZyhXoxsnzxottome//yt6Tf9Bj21jKheAQ/MYSW7sdcvi4HPYLzEJ+axSysU7/3OonUKKQHUIeG8G7doFG6Q/bBp9l5+XkSczNokRjOXgHFczBmjqHGerHXV+SmSUvGcbe3iEzM4SeyeJVVOot35MXdMIKEZk7QXbiAnR4hMjiC2rYkxNIpCaBqAD+XRcmv4USiBPafpfG9LxOZnJU+eN8ysXZrElCV7E1S31xHmziIIVbZvo/ZsdBdwR+oEYtlMR55EntxlcDiBbSpIfaWd3EHYvRNzRIcjvCF//oFfvQzqyQTDh9+eI6VShXb7BAOJdlrVgmFo1y+m+fn3j3D+Vs1njtX5LffM8OPP5Um2NPDzu0drHKHvtEs28U9sokE+lA/5XqDnp4BChevkhtJ0u44WLsVwqPDmOuraL29lG7cJBKIM3D2GHef/Rb9h+cJ9Q9Rv3kX3+uSm9gHiTDbN+6SHhyQ78FqYZN4T58ky+uZNJ18CXurQLA3RSs9wOjcGDs3F/DK6/i6Sbx/nvD0fmynwe53X2L83U/wS7/+93zpWpmZTIy6CwHbJ5fSSBsq53dhfcvk1u8PsnCzwMBkgnq3Q7UqFKgOQ5NRCbmttTs06g6a0sJs60RiIYIxV16CGy2PJx8b5Y/+voRlNyQ8eWfHIxqzef5il9/88AjDPR6NXY2u1WZospdO1ZJxaVUNEgwF2BI8IV0nLECwiiK1n5lMVow3qXYbpBMZrG5Hks5ru2VGJ4aJ53pYvrsgifyuyObbLqri0+6YdNothkYGWd/aIRWJoUV1eQZLxASYTVzcA1KRe22xzj99s8jx+ZSEE1++2eL4fIZi1eSn35fCqzmYik5+o8SBI5MUN3eIxCIoqOhhg67ZYXN5k2OnT3H31m26rS5jY4PcurPEO3/g3awu3pbKY3HZzPX1UNosQFBnfHiUO3fuStVhq9FFHFB7B3vYLjRI5mI0drbZ2Ojyjh/az065xdGfXWS4N8CR8Tibm1WSGQNPvPkUg/N3dqhVPWrdZ2lVy2h3r2KrMRzxmtEVuu09osEhOq1ljNR+zHqeSCyME8xApyRNCRgZfMHuqhUI9h/FC/ThdApo5hZuKIbvuOiOgh7U5dBGaW8RSx6lEwridssEA73Y7RVpQ1LDWTqtIhFdl6k08d4VoHJxF/PcKi4ZDAEC9Wq47YYc1gptdyj3EI1bn0TpNomNvpmOU8UI9dOtLROJj+B0yyjBAQhFUTwF3xVq4B7snXNgqhipMcks88wuviruoTFwY+jZUZzqNfz0PgKmhdMqE7B3MMXrLz2LJirHZo2g4JV12tixfgy7AkIR3RZqdR03miVoGXTMNdTyLfxAEC0zhx8cQW2toEayklPXXnsZo3UHL3MAIycggXWpqFQJ4zlFVEHSd/JoUQHZ28IX6YtwArtyC1VUJWIJDGGMw8cMxAmUz+GGR+8nC6wWenePmtLF8HWC6TGZpHZ8DS0zT+Pe35OZ/0m6lXsojobXzRMSoMXUNIq9gcIQLruotTymkSUgBh5mTd4RlWAf3dY91MgotGoyxe+oNqrSkMMiRRdpBrGIF8DcJlgVLGGWSB1DtesgQIqVl39H7LnvwyC8BrpnYAu3YbdIwPXRYkK/1cJ3WhjZCRmz90JhCRTB1nD3ruJGg6jReeyda2hGFMdrEAqMYzsl+aEj4BLt/KsQ70MRLxpd2KFu46Vnpb9Yr1/Fiw7gtDzU5P2+iSqc3S0Hr3EbtW+/7FbqzZtEeh7CrpyTfUbSB3D23iCg6aiZB/A6GyjRcfmDD3QX6IqeRGYKu7l+H1Sh2vhGAjs2gGpW8RVFfphpwlutiOhSG6srrjYdwuER2V9ytDrazi2swTOoahr27gqBHoHMATr5lwimT0uwiiOidIk4WmQGv7GKGOf4SkZu+6Jx4T8Wyo4eOWEVIA7R+tZtCzc1iFIXF34fNXEa26yiNe7hhFJoAqyn62iuiWvt4AYGCEXGsFt3cYI9BAxB5szjBFIg6PwCwJU5htZaxW2tYgw9grn4LNrw0yheRWoGRb9fccX0TegDLXTBOrBtOr5DiLJMC5A4IsFR1u4CHnlcrZdIah7LrOCrPrrfxBbbCV3Ej1IE4570zwplY8cvohfXyP3AT3Jm9n3cXWlw8uQolVIenRiZrEIkFmR5vSq9v6m+BEvLO6xWHI5NB8V8iIVNCyWgye9LeNkHhuI4DsRDAXI9UeJRle98b5kzp2dp7W2TSmb4uZ/6fhmbSuZ0gkaMna0yC4tLDI+JuG2I2wvLzEyNs7K0xtT8JMXCDvduXOTkmUflBXljfR3dCBMNR9kp78ip9ImTx2l1LEaHhrh27QYHDx1gbXlFQgLjyRSLi/dIJMThLoyqa1JjE08mKBULZFI9VKt71BpNTh47Jg+biwtrMpWi+B7VRlVyLERfLikOiNE4hi7Ajh1CsSiJcJgXXnqJJ554jM18QfINgqEw0VCc0ckxlpdXaLabbNxbZHp2Btuy5Ydty2xLx/fBI8fYWFvljTfOM7N/mlwmzbXrNwkGAiSTaTnNFrwCcbE/dOgk+fy6mOsglBuiMnLoyAnyhRXu3LxDKpVidm6eyu4utWYVs9OVB45Hz57lc5//Al/451f5mZ98nJW763zj3CLe/+3S/94vfz8tu0FMCzJ9aD8/+h8+QThsMNaTlj7giKqx/9AUq2ubfPfVFW5f/ARuYJzm8mV0UnhhDY86ga6CFcvhN/MEE2M4gkiL6G11pCpFCWUw7BqmaaP1iLjb/eSGXl/C8kXyIEKnW8MQfJPcg9BYwkuMohhxlM6WpNEGcyexK/fwTJuwuPgpbR5658dwKhYhI8j8kR6MSJyXX11C1RT+x+++l5X1XTl8ED3Gtz/1MKOTU7z1qZ/l0prLvkGdsaEU+4Z7eOmNW6yWFdbvfR5CDjsLK+Qm3sz2zWcYe+QPmB+LMCIi2VGfjg0Xrhe4/J0/5oVvfEf2gzumTWlrg9n5GTzHoFpvycue73Z581vO8NIbl/m9P3ueR04NMTmS4nNfusYTZ2YZGUnQqLX59hvrlMp1Ds7EmByK8Isf+WlUq8ONm/fo6x9ChCrWNxt88D/9I+97cppWy6NUbxCP6rx2vcCdZz5M9NCjlK+/QTQ1KZ9btltGTZ1A6+RRogGUZp2m1SEmwKbiY7C5JTcdUmMT6sWrbqIMHpN9OMtyJSzKVw15cJHQzcR+1NAgVj2PqlWIH30nDwwf486OzY+eSLDseIzGdZptizurCt/648dID2XprDZx4wpmqY2e7kUNWXTvXiDSO4KV6MHZ2EYd6MMIBjC7HYxKDT+SJDjQj+u7tFfuku3L0XBDqOGAyCwStNcxt0xUAbI6OgURj7Mn/4xbvsKPPzzIpa0i2WiKuXiQhYUird5xttdXODoVQQ2GaXZt8tWOdJiPDNoU11r87id+lBPv+RmK18+zdueShEUeePCtKANzaPoAr3zqwzz50a/yw8fjlBsGW/UWg71RUprPpbUGR3JB/uEvT/LS568RG8iRzITlNjrdH6K0ss2xB05w442L8u8Yjkbk80AMN9vNNlvbG6SSWdl1FUPOjm3itk1My2Zibh9Xr94hGQoQS8Ql3CuZaPGZr1bpKmGa2yV8wjz+QD9f/LdtPvzuMPuOjLG90WB4OMfurkm1kEcNBUmmEoSTMe7duEMiGmVgaIhiocBOviAHBNFIlMl9c9y8cRVNgbH9k5LV0j8Q495qk5//w+s8OBcjYJgYRpLXbnf4yBMKRw738W+vlpibiJPtEfRtcVAMkEqK5JjolSq4mks8EqJet0kJUr6a5NbNImcezrG5VBVzcoan++gZCHHr3Cb5YoeR6TgbdxvsmxtAFxJ2xyZsRrhV6vIDj4e5tlDlB//Kpdh0eHQ2LA0DvSkdw1QoVLuE0kHmswY7XZ3PvrZFIqCw9A8/QC6bobm2TX65yNDcDJXCMon90zS3GgTE6z6exSwvEQ8m6bTuLz2UZIpArUH55iUy7/+Q5AVgt7Btk3DPFEZPlPrlq8LbhbpTIjo9h9PqSl2lW1hA79ikn3gXpoBTGTp+vY5V2CQ6u4/GvVtEYhn5+aCEk+hBBdM1iXkKezcvEUjnQAtJ0F5HU9A6HVyh5hPE8XAGx66SnX2IyqVv0mnViUXj6P0juONzhDotmpdehmiK0OQszk4Bu7ojqwEp0d3vNuRw2q/uyD5v5NBD1K9/j3AqSbeyQ2hoXkJUq5UC3sYqqfFDNIZG6CmuoB49SvfGJb7/vz7Pt6+3eXguznsPGXz55R165wbYKjU4kg7IQebN5Q12FZWtcpBQs8rHfnSe9//s09ivXebu+QV69o/QNdt4wRhaJMDOhQuMzu2j2XLJTY+yfXMRPRWUEfFux5eDW0Fcj05MyWRR6fpV+k4exW0JO4RFV8T9XY9ITw9bVy8z+eTjdHdq7N66TjSXkgaXzOwhVl9/g9zRWcJGkO3rNwn09OBbKkF/Fy/ZQ8j2MUREPt6DajjY3ZZMoozs7+HWjSZHf+tbfOKpEW5slnjmfI2nTwrTg4JpKLxyo87i78eJjCR58cUajVqHs4dzXL5RYN9ML/lihb2qI7lKb358kqAR4NKlVQKBMD2D9yPP/QMh7qy1+PW/KPKeh/txtRq1ioLV1fjqKzXOPfc4t1++QqVm0T8xhKGodDpNaoKon8jKpFWyJ0ejtsf2xg4PPPYgCzdvyTrCzNw+yXKKRoOyDrS2KgZHCjPzM1jiQmdbsj7gWB7NVoOJ6Wn2dgWMr042k5Tpw1q9htMxiafTLNxbkZ8dD56aIN4f5fc/tcjt5Rqz40LtB5mIwje+2+AH3hLng+/fz+ZGHSMUZ3d3k0AgKqtg23u7jI2N0Tc4wI0Ll/ENjXQsSWkrz+DkBENDvbz++nn6+nvkWci2TCb2zbF467a8b+zW98ilc/LvsLh0D98PkowmadbK6LGEBBOrmsWllxd4788e5Wc+lucLr+3x1INBNjbbMvVIE6bGVFqqxj88t8cvvS3LHz33tzSuFvDam7Rae8QGjmJXhGLPR/NjhFSTNhF0NYZqxDCFMckLyLS2V74i03WOkkYNmtK6IerMgu+h6EkwdAm60xtbsv9vdls4wQTp+CRtAY9zdQy9JfW4NiZafBS/tYUaSBOIj9BprmE0CzDyOF7pDUmhRxc4sjaBZArHrhPUw4iusq2IirNIWhbRRK8+eH/x6teX8Hr3oVsKVv08SmRS/vm+2UCJTqP7RdmbV4UlSPCFLAE1zElFajSapbv7On56jlD2BGarQED890ovim7hCyWga+ILXa0eQhOp4khK3iuFclX0/NXuOioi/RUHM48S7kELDGA3VlGyh9EDcdzdq7h+FE0ciIQNoXaTdvkWRuIQuuimdcv46aOoVhlE2lEo/4RZLdKPYmhYG9/B6z8pHOS4Zo1Qchrfa/0/gLuN4xsYcZF2D0L5omQCKJ6FvbdOcObt6IUXsMQ9Qvx8nQ6W4EJUG+h6FUIihRrHM2IgEu4tm25rEVWcvdKPEqJJc+E5nJRYYM3g60nsykUJC/RCQ+i7r92va0VH5f1dcR0c4Ql2TZTq65/0HatEOHVQbrrcTlnStj3Nxu9CIJrEE9tyAY0TU7n8eRShBYxNY5cvy4mJiKLYlodmigODMCRMS2WeUruLWV5EH3hEdjT8UAoldwxr55oEXwSMMLYax7dNNBFVtIpo6YOyN686O1ihLAFBbdzNE4i2cXWhMNjDKm9j9M2iaQk8YiiVK2h9J7Crd9DMHbz4jIw5dGobxOI56XkUBE3xgA1FElhCn2PvYAyewl3+Or7wskYGcXxVNCQwfAuvY0lit2IHMcxN2d93qlcIGmn8TD+elUHRXVyziFPdIBjsw033S1e9u7eGEZvC0VuowQRWs0tAWAOSI2hqFkf0WKrnUYRCL/cQinA3tgWzoCFrFGQPouX2o5bP48QnUQTJ0zLRqGGJX2AkR0iYGMQHkvhFqk30QBRXTPsiUey1r+MnpnD1ScLNe3i5GXmgkJYAMTX0diStUwIrGiUJLBTRLau+g5Hehx4WkcRXITpMMDZBa/VbBHtnccXvTAAUA72Sa2BEInheUCoCNU0nbLQoFStkn/whfv3pD/Gnz93inUfizM2N8dwLNxkdydIXDROMx8jv7hEKBnj5/AYf+tGHyAQinDo2yvz8fl49d4uV5UWi8QiFzQrnri+wudOl0XB5y5v309jbI799H67S7Ti8/vIK7/7AGX7xQ+/AMPr53Of/iXg8IDv5l16/xNufegc9vSnWNjY5fOww3/racxw5cZJGTRDlO6Sz/eQ3V8VnulTTSL2cIuoG42xtFnjg1AleeflVavU6R44elsOCrEgo2C7lsuiYuxw+chjP9yV8MJ5Iy6jq+vomqu6jGzp2p40RStAWLtzhEQxdk7Hui+cucfzoUa7euE6jVcHQgzz+6Ft4/fw5+f9lMwlee+l1JqfHWVndYnR8hJGhfnZ3q+TzRc6cOUOtVmFpbZn56TnqrRbnX3+Nncoeb37kMVlvGBrso7izw9LKMv19/aiqwvWbN3j8LY+ztrYpNZunTp5gdXWNgtgKhSK4ikanWZXOXEVVaDZatKoNOfkfnJyUUDnTbDGz/xD/7ic/xMT4JDvrO2T6cnz5q9f4jV99mvmBXm6ulHn8XacImjZnn/w9kn0xzhzMyZ9DJjfMZqnAc68U+MX3zPKJf/w4m2/cpSc7hO21sZwEQXUPs6USioTRUoO0lp7FyI3junGCAkrTLEtlUMTIocQHcDpVGUG0OqIONAQC4FVfwE+P4fsx2kufIzH2uKzIiESNeL6J/p7q3KbTDZM+9CSF85/lwJOf4fseSeNrSSyzQ9fscu5elUcP9/GX//03eP67L6EKPYvn89xz3+PRt5+U0diPf+rbnHlwlvW1IkZAxQjDd87V+fG3D/Dpz338fpoq+CZ++QMP8S9fusfTj88TNXTWS3vkq1Wmp0b49J98hMWr5+V75viRfTSqHRRfp2E1iQQ1YsEQ+w/NsVMs8sFf/ktS2RB+3Wb+6ATxRIBOvYXnuXznlXUO7Ovhhz/wCEdmptE0k/W1LRYW8zSF/SGeIt0fkc+N3/6jr/DQQ8e5cP4OT73jJMW1Zf7PC1ssfevD9B46S+PSd+iICXrbIZBOY9seQa9BN3mCeEBsub4puS2e18aLjuOrLoYkFU/IupbiBvCdKkpQxd67BfGjGHqXQCApgYp6Y1sSn0ce/zD2/0fSeQZGdp3n+bn3zp07fQZT0XtZbO8sS4pFFCVTFC2ZsWQ7TiLHLW5x4iSO4xI5cu+JLblJtmxHbiqWZFWaosS+y+3YggWw6B2DwfR6a3IO/5NYlJk753zf+z7PwhdJn/xFnjqdYjgRYHa/gVtvY7Y9bpodZv/PB+iJJVm+d4d0dgKiTaqLy/gz/cT6h6RVxio1CfpcCZv1RGSwXSGQHsRLJXF3TQIhHVfoUZs2pj9Cc+YFMkcflZ8Fre15WnULr9MmfnQK33gXH3r415mrqTzyQIp60SQQEbF6iwsDXby6ZRKLW3QbCe4srRAMxXj4cC9Lq/s0Qho371a4vy82WB6GmMfrBlXLJmGAqTikfH56uoP43QaFis2p/ji1aIiDzQo3D1x+/v0hfu7nH6BybZ2r1zdIpKNyMBpOpUklE9y7dgc95Jdw0lRPmvnbc7Lnmskk2VhaJdvTzeLiEoNDg2xtbBFPJGUiJNGTo7ixT7tTpXLgMnQ0y8hgnP/++3Pcnz/gp37wKDO3NiSw9sqdA375hyfJjInD86KM/9dLdXp6s1KvVdjdZPbuIqqjcOTMFPGuHLubK0AAI6BTLJeIBANSfSqo4S3HZGXuPgNDWfb3y9zd6JK1lEhYYbDb4NL9Ov/lff30JX38w5c3efqJMIW8Inu3iURIQkuFNqlQcBkc7qJSr6O6YRr1A+m4HhpNcbBn0fBMuiMJlsT7UVPJ5qKUDuokM3FqlarckESMHP/01RUGBgWENIo/5fHMd4xRnt3j2P/cpxb182DaIJOySOgRtqoqs3M79OcCBLuC5HSVb1w+YMuCjzyW4Jf//IfA303ly//I4uwGqf4+Bh97nL2LL6OLi3VkBDOVxp67QmhklOruGs76BsF4gtD5h8G06bTbhFIDNHfz6N09mAfr6PUyXu9JuYXrLN4mfOi8HCZV5y/jBiP4BITTbUqbC5lewtlhWm+9QODIebx2ieYbX6fr6e/Ha1uU77yFO9SD0T2Ne+0VtMNnCYR1mlfeRBk6jGEXMEMxcRaVBG5FvN+nTlD69gvEurtRBdByZxF/OopeyOPkuvH3TuDuLKNGBlAKG9QX38LWugikMiQefQazdEBj8XWUzT3iz/0gneo65VtzJAUctXpAONFHcKgHnHU++7llfuBjdxjr1+lO6EQ8h9Nik+oYvHBpnYxf5ZHRNImszjdvbfPGksf/eDLCr/zkU3KYs3P1DsFskq2qib8rTlc8g9IQCxCD9WsXSY4OEYxFaa1socXiUlXZcdv09A+zdOlNDj37nKzpVRbukh0+TO2ggGroRKeGIV9hZ2mB+MRh1FqFeq1G7qhQThc5WL5HdHgAQl1ojSaVpXk6RoiIYAfpFqGJBNkAACAASURBVD3nHmL9C18g0DtI7NEnYXeFwq0bxPwxQhceplEqkbr7TZonH2PofX/L9z2W4KDuUuzUyPh05iswnjJ4c6PGM1MJfvN7HN685MNWavT061gNg/m1AwZ6EzzyQJabM3vyfZDtFwpNj5WFKvFEmIGJGPtbVfr7Nb58tS3/v5trZZ5/ZIRUj8cv/eYSf/DRw8T0MpYplGaw+v8H/A8+9CBLq0J/HJIVI8FXGp8+xuXXXiOeTjE6Ncn60jK767uMHZ2QmuVSoSQHEI5l0mqbpHuysmsvgKGGFpCpgVK1jk+xmDp1gsW7c6zdFxd3H9nBPvp70txfWkIXQ6sdnVAmj0o3v/PPZZ44obC0BqVynaH+INdvtvnU7x8hFPKzMFvDNev4dZ1G+YDh6aM0WnW219dRPZW+kQGZUiztbXP1ym0eeOCkhAXGozFpGClWDjD8Me7PLXHo+Cij42Ncv3KD3t5eCWHtVIV2NyoBzJNHJiTsTXAj3vzGfd77SAJ/fw+nf+Ay6FGigQaxoCF1xLTh/LEY35gpc2W5QWnmV0nkhijcvSqXHCIVInhoXkAQ7QVLpylfP53CKgiavp7EL6xqmo7n6HhmHltpYBgjmAeX5eDdSJ3DcauyDumUG+jRCMHMGerbL0sFopc4hlMXcNgclttCKx9gZPvplArY5QW0eE7yujDCeIW3UHovwOpliGdRes+hHCyIHLA0qIkoveIXn6d9aJYrtd1tXw8+Oqi503Tmv0RQpD3SE1i2iq6JhatFu1NEDfTgVO+hqgFUV0Cfo5Ix4qHhFmbxhbvpNGoYglPS2sH2xVHVOKrPwdPTEqQu7jZKKIVdWZVso6YaldY0n/jeywtSla71PY1iFzH3bggsMR1PheYSqiGI+oMoRgZP2KYcwTKKyruYUlewIzF8mmAXrNJ2wvg1AeGLool6g19c5u+gCFi+nccTsfvqrtyj+SLDeJqokOdRdAPdn8SpbYNgO6g+9MYeHUfY84ZwnAb+VkUyzBAgasOHaqnY7V3swm20ZD9q4hSIS78jUjEljGgPWvgIzfzLqL6Y5F+JBaKo6iv+Efk88LXaNOtzUp+OP43qih2Hgdo+gGAYq91GKV/+Xc81twiQoN19BK84j9aoowSCuLVNSIzh1KtSYWAYCTHQkX+cgF/B8WzaxOUGTtPjuFZekildPYCiNVEtg059EzV3AlX45tsVXOGqTXbjq+7JTj5OFVIDOEoXvpLwOHpg+/FEVyUwhSq28qUVNLdFcOJ9tIsrMsKriO1SYwcrNoyvtoxlmqixIbSDW5Ko2RIXUlfE30UXUCi/xOVgA80YQhXb7b0X0SPn8NrrOHFRURAamT0MQb1EwzbFdtAvdRBedAi148NtbxBMDGM117HNBmTP42vnoVXCEhHl7hOYrbe7b76QeJFmsX1+vMI1fIpKwzXQKckDgAByOMJ9Wb2PFo1hKmk0u4pW28Vp1zH6zmK1C9IoYGk5LMVFb+yixg5BZ4N2dRM9GJfbEE9MrDoF1EBcqi/EJFuNTdCW/f0cSnkGNXYasW5wquvooTStZoVgpEuS1MXFVRC8XesAf7uB0vMArfwNQuEUTX+aQCeP5eny54QmSuYBXDWA0byB4x9Ba5Rx7RUsJ03ywe+mufZFwoc+wvseChL1ZeXFRVxiRDc6YPhYXdthaaXC808O8c7nnuLcqSN84auvcGd2iRPThyW1fH7pvuy0njw6JjWQgZCfX/2tz/GP31rixFSEw2Pi0l4gFjbo6U3wxX+Zpyem8fl/+piEupT29tkr1WnW8hw+dISuZJLVjRVi0SQ7W1uSw+DXDToiHukPc+7MUalGE1qb42dOUy7kCYYiXLt5g/HRcbK93VQqRVJdKV5/9U2GRoakeqltuwT8GlrAoJgv0dvXTalQZmVtjZ7BfuIhP6lsjpWVVXKZDLt7eXmZTHXF6diO7E4JBV+tXJZbSaEZrNfFBNDh9LGj+HSDpdX7LN1f4OEHHuHVN16VtNzH3/ku3nrjDQnziUcTBCIhioW34TU92R5ee+Nlsuksg0PDXH7rCqPjo6STaer1KlbbpdGuEI5F8akaq2tLJGIpBEK1KxFF0zXuztwlkghTL1cZHhnn/uJ9Dh85wt7+ttR9TR86yu17t3n2ve/nox/5FV56dYGn3nOKGzP3WNmyZWf6pS//Ea++9DIXr87xH370vXzt6zP8/G98nu98dhqz0WF1b5cLJ04zc/cWX71UZW/+Y0SGzrL/rc8SiMfwRwLUV29Kan+g92nB76S9/M/o6cOEeh+kI1JFgv/R+07ZH3fq23iBbjSRVAnG8Olh3PomnXoNX/YImpHE3XlRvn7Neh6ftUVLieBrl9EFvV47RPrYWe588xM8/fzf8PTTSUwrzO5+hXQyybVb23zv+8b599/7PJ/4m39kpLeHieNH+NIXviUvFj/7X36EP/7E3/P3n3+L40d7JThveavCicMDXH7jCpcXbc4eNfieDz7NV/7pdZodD9dvkwjGGR4a4OvffAtN93jk7CTpRBC/YfPgyRP0D2a4t7CB2XYoFqucPztKtR3kp3/pr4mEfQz3Rgj5NXyBgBz2fOvSTeYWynzg2Wl+9ic+xP3ZeTY36+wVK2J4TyYXYHFhk3d9x7uwWnvcuLXJX37+CsenezGC0CibJCIeX3vlgPXiV3AXLlLfWsefG8V2K+iBPujUsd2wVDC51SJ6QlR2HHytdbT+J7EP7mIoCVzdpbl/G392DJ+boFNbR1MCqKLjptl4xW28cByjs02tUCX7yPeyd+8tnnzXzzHareCEffzYB5/i6vVbhAIRfu/vFpn980eJpbLy8qqlohhCz1QoEpg8iWnuo1s6ZtDAKe8REEOewdO09uZRfEGpULWTUULxILVLr6Cme/EH47Tzs/hz59DCSTy1RLtaIpRJsXt7i/EPvgPNtTg0/WvYcTg1lJH2jNygIOs3SeSybK2UKNo6XW5dVnh2S22uzu3TFTUIxHWqRZNHTw6Q3xM2ihqRUJTNYpM7a23OjodoWnUCsQTpgE61VMEf9FNp2hSbGhNdHZ5/opvnHoihH5ugem+J9YUVak2NweE+5m8ucOzsWXa312k0moRDUQ5K+xKaWC+LPrxNMBjFF/DL/qg4vIva0+ihMVS/wdydJdkLNsTvZGeL//W3NSLhGA+OunhKjFfu7sp+5h//0lFm79XxFJE2qkkgabtSp1AokunuYvTQlDSoNE2T0q6IFjuMTU+yNDvP+XdcoNoocvPiNY4cP4YRDlDM79E7lGJrocLHP7eMHgwQ0XwynbRTcfieRwMcPhLnS/+wzId/7BxXXl0inQvw1hs7dGdDHDvTy1sXNwnGfKQTBqVqh5HhJJ5jyQHst7+9Jgca4vIjEm3r2xVGx+Ls7zq0WjV8eohyrUoukZQpmbPvPIxyUKDseSwvVjl/TNCq4aOf6vDx23XGunTODIt9i4bVbFKqKZSFknEwSE/IpuXG+crNGl2uzZW/fJr+01M0X7tK3QhhB5L4rTahbAw32Ed7dwnd2sEKiHpSEHN7Bbd7EGO/CBOjdBYXCIWCdPa30BU/pcI6/nab+Ps+TPv+HdqFVYyxc5izlwmdf7e0mrRufJPwuUeprtwlNjqNNTeDZcQliNM3fIzO/gpuqYp/YFwahXRHo13cQa9WsfqGcesdfEqLVrVAQFdxIxlJGfdMF69vkHBmgHariDnzuqxXutkUuu3R8QVwqgcYg6MopSr0DeLU92lvLBE5+V682ddlohShRQxnMEKujMMKUENt5RJ90++A6WHsxfu8fOU+P/npLeZ36zyVtpiciMoLxk47zKJQXvp9FCyFhydjPDLaxS996Z6M0375QyNMPXOWlq3gtFqUr99jcWGdsbPTJM+eo3ztBqWFeyRPHqf7xIO89H8+xrEnH6bTrBMdnaYyd5dYNES91aG8vEG0LyfBqXa9hj+VxhdVKM2vYyk+csODVAv7BIwQltchEolKUKOWikNLMBaEJU2Q32qIB2p4oJf9a1cwLD/NRJjMyYex1+9g7jZQ03FE78pxOpK/1No6IGW2iP3QB/j4f/g4v/76PucH4riqS9ty2NqG01MGdwot7m83KX52hNUZm+vXivSNavhdHz6/R0fUdxsKI4fTvHVlg3rF4QPffZRiocL1azuEwiphVWX8WBdtS+XX/zRPOOUy1u3Sn01LLfO9GyX++i8fZWe7jF128Av9pqOwvZ1neKSXxZlZoj1J+TyRVirPxbEtBAKgUW1Kkr4vYtA/NEij3pT1j1I+j6Kqsp4pkoKiSiuqlKLWGY4Yss5h1kS6T5HQT8F5Ku0d0D3QSzoVZ3GzxHDWIBIN859/+wYXjia5fLfKyWkBMnf54qsKZyc6/OgHMyzfa5Pr78ZRxUXIpN1qMXn6BKX8HnvLO/SNZWk1bcQ3LDRsAoLbKldodDq028JQ4Jf3lla9gx405EXUdl2GhodZnp8jGkkQSUaZv7tKJh2nVm8wPNRDvK+H2Vu3OPfoFL/7sXv8/Ocb/Oi7k2ysVwlEPJk8aZoOAb/HRinAeMrlK7e/QfH1z2DowhRm0ULDUA6w2yW01Enswn0EJVUTC8D4YVDbUF2RBHoteRKntosihouVFanVU1ITsqapCpJ8ew5P6cUUG19dKFhj2I1N/KJeKLgslX3URD8i0uiIZWp4HH9ihGbxCrpq4MUOYdsNggc3MEWd2xPcs7A884qhjqwG1RtoXh5f5BimX0VzfKiVe1jVMkb/MVyvi44lQMwJHKG6a+bl8tbVVAzdo10/QBfKOkMM+k1QDHwCAJoYxe/L4FZnsJdfxtdzFDcxJXkHwuSGHsPTVHx6CkuQ/KOCFWfitldRu05jtvdRm0U8McwQ9rP4MRSfLhloXjCIv1WlVb6Hmjgh0xJ+PYEtFuFCoym+ZmcL1RdHcRxUv4tT25e0fWIhWHkVp7mBOv4hVH8axdpDqeRR4n2yUu3V3rbJuY2yBOk392+gNrbxxYdRlKasVSheFBK6NI14B2v4YwPYAuqo2viMuHwPWc2aTBlofqES9KHWF3BUDV0Ti9q76JlxWad03TIC6K8pLWxhLgn34/M0HGHTUlxMpY1ar8lFjBafwjXLKPtXP+EpYvMuwGHdR1HrexJ84Do+HF2VoBMRFbcDYTRFtPJDeLUNLM1ADfahFa/gGCk0u41lNQiHE7TKRQmjcNw2nqCd6wmM2CAdQYxt1PAQ3llbPkw0r4kSn5CORgHxD0RjWIKEKZzfQs2niodrBZ9rYVZ2CGT6Ua0wtgQGtDH0ftqNDTzR1RDOSKtMoOedWKJn71io8XEQxPtANxxcx64XUbvPSCqka0uru+ypIOJhwkUpupSe0O3V0MMxLDcMmLhGF65dRrVdGctX2gfokTSOF0Gp7KGEAjhWDV+oH0tkknYvSlUWwqspiJD6MErlloSXiW6smDi7nQK24A0ERERT8Al0/N0XcPYvYTlF9OConM4ZeoZWaYmAVpJADC/Qh66rtPcX5aTZbySw1Dg+0fMIROQwwuc1UITqobWJqyffjthuv4IaGyUYzmAKN2RlET02hJWYRC8vo4b6aBUvERYxRXok5VmJd6GaFu7eHbyecbzt62iRIdTkcfzWXZoNDyMxgFlbJKh5aGdO8YGzP87lxX0eP5JlY6dMJBEiFtBkJGV7r4zuq/LYheP89E//FAs3r+P3B5hfXJQRyfzevmQwROIRTp44RqXcYGd3RXrnH3n8af70k5/hk194nQ8++xg3Z2bE8I/ekS6sutiedShWTT71sZ+mlC8zc/MKph3hwQcPySi1Y+mUSgdMTIxLtVM0EaKUL8nhioBYxWJJqcgTF2nHdbAFfVlkQjyV1fVVIqGw7IWJGL2AmkSDEYrVCo9eeJhLF99EEWpKx6J/YJDF2VnGJqeYuT3D5LgACW4xPDws/aWqorCX36O7pwfTNLk1c1tCaYqlgozLiTSFSCb09A2wsSZ67QoPnDtPq91i8f4Shq6ztLTKB57/AGura9y8cQOf4ad4cMD58w/S19Mt6wfXr1+np69XMh5E71dXFUmMjcXi0onbO9DHnVu38fsNenu6qTbqVMt1EomY3BZMjk5x595tyTaIJeOkuzI0Og3597I6Hdn76x7qYWP9gJ/5mV+XfXQBINRjCS6+vsiF80P83i//CJ/7py/SMVWef/4J/tsv/DHVVlBG3sUBYGIoQDAU50/+7jp/+3vP8Z6f+Ajrr3ydREKhvbuJG/ETz56Wqp726lcJJsexImN4nTK2tY8PA58WwBQPM58PPXUKt7aOU1/E7jgo/hRG2KNDjJCAWW5+Ca3nKRSzhdu4h+NlcMIxQkqDRt0gffIE1Z1b5A7/PA+eHSMdENvjDv0DKV56fYOnH53kxz94jpm5Kp7exoeOq/rIdKeoFRtcn7nO51+cJ50K0isI7TWd/u4I6aTCSl4AtxSyGR2zIXz0YnNRlZ2/fKGBHgiQzca5dn1ZRjSDERHn8/iRf/ccTz5xmFa7gO4Fee3aTX7vY2KSbzB5KMXOcomRwTTJbpWvvbYpo9w/9aGHODrVzdpWjbHxAWZuz1Iu1El3JYh1GSyvVBkeFAk9ld/9xLfRiJKI+ulLR1gt1dnYbZANe7wx+7e056/RcLsI+WM4pVk6rk4gOULLtPDrOTr1y+iGUDSmqMx+nsjAOZzwFI5VQKnt49lFrORZYuEUjeodeTAJhgdl4kaxKhJMJCLpYX8Y/4knaO+ucuGB7+PdDxxhfmmbatPi5GCcZC7E576wwNWr/4n2wgb13Sohn0DNpGgVD6A/jdZRqL/5NXynHyJ34X2s/dn/xPFHGXnX97J7/WVxrsAfzdK4dYNgT5z4Ux+meOcVAoIw73Uo3Fklc/4CXlsAaMOUL1+i4c8y9KMfxrz3It0PfZKe7giHMyb9uW6+cH2T84NhmuL54guS9CksbLcIRz0CPgNDV4glQxzslZgc6SKgxLgxO8fQWD/TQ/28eXsXn5Nn98AlHPfRHzIo1Ts4qkHD6ZAIJ5hfPMB2NVqmx/vPe/zM9xxi6JQY9u6zO2OzulWUILPu7jhtG46dPUFhdZWL37rF2UdP0jOUYmFmjnRPD7FcmsXbN9hZLHHmwWOszC9Trrc5+Y6j2K2W+HTnR3/tPkNjQWICjKmFJPNFvFd/4nt6WFspUKm0GZoYIJmMUq+1MBsmRkQnoAeoCb2c7VKu1uWhKdeTY311i1gqJutSmuZnaX6JXCZJp9OkezjL3nKBL11sMNQTxGqZHDQ91vIqR3MdPvzOLr7+WomRyQSl/RYDI1F2N+tEw0LdK7g/OvFMkNtvbklgoh5SmJzMMnt9h3BXlFDQJp0KUS7YBLuEbk5jd6dAvY4cygTCGo8/NcXsrU1KpSa5boNKUwDdWvSkYfx0D+rGDn8/4/Dj/2gQTna40OvIDaOpRQl4NegY7DTqjPUG+PbNDjuVDmFfkE/+xGG+6+f+FexsU7qxgmPZ+GMK9ZvL6IfG0Xr7aMzeIdgzgaFWaC0soE8/jnmwRth26eSGcFpFnIMCesBGyRzF3l/E3Jgn+si/xR+2aS+v4RscwVy+izl3kcA73oO/49GwWpj5LfmcE5F0vXscZ28Nc2OJrrPvgHiY5s4uTmEZ0lOEe4eovvRZ/GMTaKYPX28P/mNPUPrmp9BjOfSeScyFN7CMCOH0IE6tgmd0CMV6cSyXxu42etRP6/48kfFjOJk4sWSOnWuv4iyv0TV9HH82K6PfrbVZrJrGwOMP0Um7GMks//dX/4Gf/PhdUokAJ3pCxPv8FPM1sokwt1bKnJrqJpMyWLizRqorSscf4bPf2uA7RzQ+/dX/iLdwgFVtszF/i4BiYAxl0FseNSNC11AWs9Lh4OtfI/nYWZxqB8Vz5DZYMAi8cJjWxoaEq7aEMGo/LwAlJPrE9hUUAYp2bMnYEZ+96cMTbN68K0n3ZkdYlOJS5+cLRajdXyc6kEULhajVqiL/QnRwnEZhQyZsI34/JhbB0QdoXPwCkdNPU1u+TkgQ2s0OxtRpzDuvEj5yHqVRIvfDX+Fn3zPNrfWywDej+TvELZ21RoWbqxa//ZTBD3yon69+O887ziZFApkbd8s0q3ViEQOxpEx2CXA35IuCB+Dimh7BTICo32RwpJtWvshv/1OTvpzOQ0fS3Fvap6PafP7FOj/7byKcmuqiVDZoOg15YU5l4nKD3q61UHy2dMcLe9P2xhrpdEayh8T5dHM9TygaIOwPUK01yHWn6TgmOxv7snO/vrxOOpuSg8m+0WGuv/omvf19pHu6WZibZXR0VC5/5haXGejJEgiKPndLpmEHBtL84V8ucWPbY6pbmC5MWX+6dLdEowl/8Ysn0LravPjZWR5/7pRMIjVrbTqlGjs7eRJdQt+m47Q71Bo1Tpw+Tb5QpLgvYLkKPd3dtDt1ycrKigRLLsHlNy6SSorqg01bbL59Pjl0T6XTWJ0267Or5EazRKNxFu6ukOuJc/Shbvoeu8PJ011M9Fts7VqEDZEuaFOqWsST/bx1dZEbb/0aA6eepHDxs0QyZ/H8ITk084wMbLyMIhSeyYdlBF644oX2U1FNWq0CodQJXFv8LQyZDqayjCVMHuEQntYllZ9iqx000rSEblQykBZAF4MnVyZeFTWEWVtDC2XQPegIJpsvhBPNoQqiqiIutHm0aA9qcQaX8NsgwcSgZNJoiOd9G7ddpFXYwegaRBNg5ugoVmcXLTyGs3MROzaGkRJWuUsQmcRr7EomiZ45gymsava+5Lx5dgWluipr3k7jAM8IS82711jHFbZDrYmppAhmJ2gfrMnauK3EJTjSCqVw17+KPzKOIy66tSW05g6uABF3FBSriJYYxjMSaMKCFkjh5e/K5IQe6ZWqXxG3dw42pDIV1UNtlVAzh3CbRWlO8AX7sMVGPpCWrAFl8zbEuqRa0Rc7jqJ6tEwxBDPRhWo9kBEqCLRAR8IRaS5jNqoQ7Mav1KXqU/Vl0AQkuTyLXdxHT2RlEp1ERoIbFTcsY//CAOQ34lBbBz0sNtzYwqwiFr+ahi+UpS1S2gfX8YRBIT4sq+JOx8YT35NfJLeFVr6Bsv/6L3gB0T0Ij2Pu/IvUJNiJQRSric8R+okt4XAiEE7TqS3itCrooZwkU/piISynC6Urha+8KS9FduwYCm0ccSHv2JLI75rb+FUDs1lCpybJttJD69oYqcMSSKEa4lLRQPFaeMEcdCro4QQ+q0Vz5x565iieKXwoGnY1j2aJTlGIlmvjzxzBM2v4A6MQBK1RpOXk0SomRqabRr0IakhSgtulIr6gg+ZLI1IgihfAcXcQJwI1MYkb6EJvbdGxhOLhMFpzi8btPyY89CQMXMCrV3F3b8tJuG/4CYxgEqdyXQLwBN2x3SpgdGo4kW68YBhNwC1sE1+sH2tvAYKihybcmBGc5q6M5evCqamKB1sNn2XhNldA60PJncFnrWC3K28rDoNZ0CPoioZZmpNeZCU6iU0NrXBb+js1I4YjYikCnhbswor147oqmr0hvZD+2DRW5Tq++BBWfhafGPJkH5FRGsFK0MR/70ujdPKY9W3UZgklcxinPo8RPYJpeWiGhyv+Zs09rMxDhOp5GgfzpN/1b3ntU5/kg//l8zxyrp+t9T0ikQTDw0lu3FvDaVq896kpzkyP8ejjj3Pt+hXuza5y9Phhbt68TSaTY2i4n3AgxMHBPvdX1ohEoxRLdSIBg4GBLp568kH+8M/+nt/+i8ucPdRNvtwh162jmg4DfX18+9IdDkour7/4awQ9gzdee1VCAN/37LNURb/Pp0lX5kGpLGPwzz7zNB3T5Y1XX+XQsSNvR/X9AnbpMXFomvm7c9TqNbKZNJleAdET1QUfeiDC6uKC3OKrikYunabWrFOtlDl75gGuz1yVTvpYIsnK2hITE6M0BNzOU5g+dpg3X3tTkouffMejfOWrLzA8PCJ77a1Gm3AsRm9fH7sbO0RjUV7+1os89vRT3LlzG9VWeO9zz8lh2eVLr0vNX6Nepad3EL/fT7Va5vq164xPjvPghQu0qjU67Q4zN2cYGh6iUCpIhaFP0Xn3s++l2azx1qVL9PX2Su2i7TqSqSGGE2tr67Q6bck96O3tY3JykvmFOc6dOSt/d9lsN/VSgcee/1d85Gd+iUJ5n1q1Q6le4aBqkgiG+eF//Qjz8/c5fPQ8UQNatsZHfvuv6O5JMdyToGVpaHqDva06M3NF1vOX8Zr7VGe/DZlRPK0bpTGHEjsB+RlcXwG7lcM1d4iMPCJjTFb1Ln6vjRY9g20LWq2HJzpyQV1uMK3tb+IpUfTMNGp5Did0AqdyFZ+4YAdGaFXWCEQztBpBkofSVCt7DIz9J555rJ/+nix37q4wMjHGt1+9wyMP9vPffug7+fw/v0E2FyPblWNze5lcfz/5rR3e/cxT/M4ffJ437y4yPZyg3vaolmt0p5IcOdHLpSv3UKyArAeN9I3RrpewbZVas8F+rUNvPMrQQJLt/Zr80N/crXJ3rsR3vWuaw4e6qdarfPXFGc6fPEZZdLxXNzl7YhLTMPnnl1ZIagp/8L++j5OnRrl6c5O9/K6sPIUjIXnZ8ROiUCzy8EPTtFsW3/2Dv0soFWM8F6flNMikUhI0+OJrq/zSh4f40f/6A2zOVYj2n8Qv4EJqSLJROuZ9OXwxkifxXAuvuYPTruJ6ZfyBERxvHdcKYPSeflv9WtnEEwCetjCUNDBEukg8++w6jeI+udPHUWMj1PZL5Jdf4jve/ae878lB1gp1lteLjGVjaKrH+kqNL37i+0gdnaBTPMBbXcVVDakga0b76Z46hFvfkV+z94kPUd9clmAv2zlAW12hqvkIxQyUI4/jL+9R279P3EiIVCbG4CGUTgO7uolVq2NMnUK/u0ZH2aFRtun7rvewcmWLB/7NJzg7GcUNRQk1W4R7fJhV5UWUPQAAIABJREFUh+29BtF0gO5wmLsbJWKpCEkcevoSLG01uXj/gLMjCTotm1ubJb77iVFeu7LFdH+IiuPRKNY4MZJjv9mgXatzdDTN/dU2btwjHvLx0t0qVlXsFgweOdHFH/3HPvqnwxQWWmws7BILhiUBeWOjwPD4oDykRkN+tnfKtOt1Wk2Hcq3OO975MOuLC1SqLYYGhlB9FvsHbUIhVXIkPvm1IrfnC4znNOoHLQaOdPPSC1t89KeH6R0c4t7MHInuLoLhMGazyYFgBSiqHKJ0LEteAoxgmEq5QCQYktWHhlDF2Q7F/aLUrcXDXSzP3iWWTBOJdvjY5xqs5Rt0+31MTUT4l5kC//aJNBfGFUwnyNw9EXtUyMRFlFmT8K9ITFDRm2jo9I2ksGmxud5itD8oo7n1VoO7t3Y598go2yt5CnmXof4Eyzsl7I7O9FQI01O4f3uHTC4ikwe65tE2DabOpDjYqnB7ocr4dIrjIwYzs2Xe+xt7bPkM3jsSJKKa7IpUuU+EXR3SwSA+Hwym/by1UuPSosWjYfjr//0YfYfEFsvP1rdeJpCKEhg6Rbu8g950aZsVgv2H2L3xIrn+aWqNXbzUEL1jpyjv3cJVQpgH+8Qf+A6ct75Ku7yNlT2MungD5cF3omyvYkS78A+PULx6EYpFAkPDMjLtjh8iMXSEyvybNK++Qvw7fkAOEOyDPUK5YcylGwROPUWnUsTZXcayXYxwHBIB3KqFu3QddfwYmGIV1QGnhZ7tw/D7OLh+mejEGKW2LYqYhGOiGuTR9hzc1j6xgNh0baIl+ilXKqjNKr7G/xfQJzViz76f9u05vvF3r/G7X1nl4o7NeFYlFA7x5CGV+RXxuZ6gnG8Tk8v06ttWh3iQf3ptnzPDIX7uXI73/vv30Fmal+De2GAO6m1Wrt8mms0xcP4UXr3C/uoe4XgXLbNBoq+fvdUVWYU72N6SpG1fIEqyr596YZNQr+DIOKjhAPmFBTKT0/L54YsKDWpLPlfCAwO4zSqmq5AcP0Tp/m3UmkPVLJE+f0GqG4tvXaPvycdoVkrs37hI4sIzBGtF9FwP5YU57IXbKNEExuAIAV3HHRineP1f6Ir1Uw52kVU7BMMaz//CN3h1s85AT5iwT4giHfI1k75QgHQqzOv3dpn/vWma+RLfuN5mONdhYd3hsdOijtXm/mqR7qE4oaBOMV/BH/CTjMXYF4NZ00ciHaO8USR3fIi//MwSnarJ2HCMsWGN1++1GO9K8a/en+VbX79JMBlh7NAAOhq7WwVKlZJMHIZDQTnYqVWFWtqPLYxHhp+engzlg7KsAJimK0nlff29KKrOzuoSW9slkpkEwyODHFQqxLpi5Ne38AcMEok4e3sFwkIvLUaQHtIqUxNVsJaPqTM59hfX+cinGxwZ0QnGdXRhI4gaXL1jkgt3+M8/fQbBQCvu7MpzWqY7Jwe1927e5eTZwzQqNtneFPv7+8xcuc/koW5J/RfsEnG539s+4MipCZaWNyUJPhuLUBPAwJHhtwGGntjmNySPQ8BPzZaHKSB44k7hmfj8BpOnYvzXX7/Dn7wC75xMcX+3QCaqMt0X4fp6k+P9Bn/92gHvmejjKwuv49z5JgflAzxRO3YChHsncWo78gzva65hi+2xHkG1W/gEvS02gFsQr78dbEGLj43jdRRcex8lGsMrVsDXlsBbAXJXOk1Uz0QT3fXICFZzA19lCXoO4TZEbF6R1WlN60LzWdidKrovhCLgg6aN4ym4wn6khHDLV9Esh7bjIzB0UjDl6Cy9gJGeomP4CYsqUjBLtXKDWHwaWxH3QaF5V6G1ixLKovizdNa+geJWMIbehSXSxPm3UGKjEOtGEeq7g1kiqZNYwTCeI/Sj3aiNNTxPwxCKVWGNivdLlgnbr+BaDVSREuh0cIJ+3Pq+1CGKHovcqPtVyC+Bs4WnJnGMND6xHdfTeO0GxJOojQ0c3YceO0tn/5780m5gFM1tY7V2MCIpXFE1iEzjlG9i7r5GoP89dAq30Lv6UFwxNLdkfUqwIpRwrzyzak4bLzqJ265LnboSTuN26niBmFQzmpW7+EV+IDKCZ1Vw25tosQfxPKG5N6Fl4mKipY/I7b7ZEFpHB0sY8wJi+NaEmqjLC1KW0MfO4XlV3OgEvtSjmPk30T0LTyzVDpZQym/+iqeJC7s4KBffQM08jebTUYVujwC6z0c7kMMrzBPSPJzwBK7dQVPbNOwOUUWlU9ugU10j0HUSLZbBLV8HV4euo2AW5IFFDYYkrVFMIJxAGE+NoIdDmLvXUHwR3A6oAolm7qHGhwmiY5rbEBmVNErhKXd9Yex2A0NQn7Uoil3DDWbRBalSseX2Vdm5LLfivsQhrMYKml1Eib2DduEF2edRUo9h7r+O64hezDg+YScQgBgvhFq/i2UX8XedkgkDRUxKzSLNxia2L4c/IXooe+g0cZolOumj+Cp5GblwuiZxd+fRkn3gU9DMJlZTqCOamMUV1MwD6K08bu8pnNI9VC1N26pguAUsJYc/GJAqvYaAnPkUjPghrPy3UbtO4jR3JDFd9CZdJwqN6/iDPaiCrNnp0NEFCG1HVjMccYE1IpAcwSlv06quEIqPgFBsuHWZKtDQ6JginiLovut4VhHFi8m4k2lEcAU0LRCVL0y7co9Q7mEsTdDS6/LfkB2ZnRuQGwdfEjZuYpx7HD08Tm/iMNm4xtREmrVtQZq0JYV7aDhHb9jiJ37y+4kGEvzDZ77A8PAAy+urJGJJRkb65d9YDAy++dILDI8MYBBk5u5tCeMLBgNsrG3RnYmRGxzkpW+/ydz8LlfvH/DwiX7KpQblpsmh0TT/8tI82VyQz/zNz5KOZPny114lk03xyrdf4en3PiP1M/ubeQnR6+/rRw3oxMRwqNPm2pUrJBJdpNIZebE+fPQw7VaHZrPBwvyivASLSNubr74m9YmjI2Osb2xgttqMj49LEJcRCHDz9iyaz+PEsROUikKBpRAJhSTJdeb2LUlxHRoc5M6de4yMjUqYkdBSNtotKqWyjLh5LhT2dukZ7BXIBebn79LXnSPb3c3q+hbtRpO1tWWp8gvHIvT390tY4Ne+9hUGhkc4fuQYGxsbWK7J0vwip06dkh/M62ursr8eCgRkdUDUaXS/2I7p5PP7skOdzubozuRY3VwjFo0gpiaNcpXNnS2iRoDxw4eZvXOXnf9vEvixX/xlvutdz1ItO7znmfN87nNvMD7dy+LKFr/2c99PKhLl/tIG2/u7PP3UGX7rd/6eqqdI4KiudMgfVGgrAXYWG/zOb7yDD/zU71F6/TN0aibR4XFcYZjwhTBFxaXTJOxCp7WKFTyCYpbQ/BaK0Y1AwjvF++AW0JJH0NwgnnjPKQLANSK5AF7XOGpdVFoO8PmPQX0TJaRjOT45RffrSeJnzzIVP4MRDBDyW3R1JTl/eoDLdzZkyuhX/vt3cOvmKkZA9JILVGsVDk0fAaXF5GgPL19c4EvfvEXloE5WUMpzEb744gKPn8mJXSqmqTKUjaPpOhsHBWJGUIIVhTLWs0R80+Lo5Ai3xaY0meagWmZts8X+bpNj0wmCAR8DfTHWVvfp7u0j2QXXZlfZ3TD59J/8GM12gy998TWOnpyiuF+SSZeTx4/y1tX7BPE4fbSb7Ogon/qrF/jff/0azz41RUswPdw4y8uz+OJJLs3ssvDlD9M3foTyzi6J7ACljVm0SIJwYgSz7tBWmvj8Lm6jghoX/T+RyjJlzFdM9jUaspfsksCsvYUvcRRVn8Apz+CLDdDRbBpLsww+9/3U6nWePvUECdvHrQ0LPRskYVjoboDxoQj5fFNusTTXw2p4PHM6yYMjEcaeOkymfwqyCazFdQ4uvoV/5ChaTKO1vEnHMolNTNEp7BN2d7DrujRG+CcmaL32ZVyxHR08idKso6ViWOUazsEOPhGh3l5Bi0ZJjp+hcP8uoZhJ4juf4Ree+1V+/+UDnn+gl3u7BQa6AmSSES7P5zk+1E0yqvPCjVVGcknsZoOmqXHsUISGrZMKWBSqHdRgnNbOFqYgXHcUjmdTtG2b1f0GNduUqUBRy4tEFTbKZfl+HUoEKZliY+WyVPS4v63wqQ97fM/3TUmA4d03N3AEC6Arwp1LSxyaSqKJId1ensL+PtFAFF/QIJWNUS4W6bQtQqE4Ztsl0xuVhGF7b52P/u0ObT3MobTFWl6hL+cjX7L5Hz85RXVnB6tlEOvOsbu8hG3bDEyM0mqI514Yz26zu70la0+6PyDBocIq0t3bTbNdJ+yPS4huqVSUjvB0NEIgpfOhH7/Fv/tAluXNKpubKjWrydHBMO8YEdFnF0e1iQZCaIouU0jdfWnC0QD353ewOh6TR1LcuVngyOEMB8UGqytFEkGDQMCgo0NvLsDWZhPPMRmZ6mL9foO+kRCBgJ9b1/KcO98vQZaBQJjt+1vEYkGKdZHw8TMy3sVy3uaRwy52J8zx/7nJXAHO9an0JFSZZxSDT9UXZDwTYn7r7Z+tbpvMrAuWCfz6Y4Kt8P1487exYoepeG0aL71CzxPvxSys09Y0AvEcoXAXza27NCp1/EqHZuGA3LmnaTYKmPUarfVZgr4wajRIo14mfeYZzDuv0zLrBHuO0lydleeoQDZLq9omfvJRarf+hdbuDpGTD6GlBzBnZ/D8CuHufizTQxPVsMvfJHLhAgHHoLGwhDYwgltZw6kUUEdPgzj0hjPUN1blMkVpishuglrHItTxUA0kDFoLjFPbuEpSt3FGD6Pcz9NR9oj1pwkmknS0mORX/Mkf/jMf/eIOJcVHb6LDs8cHCIcc7q/UJVdh9t4eD50cZHN/X8KcU8kurqy3qJfb/PC5HL/4v96Jrqq4xQ4vfuYbHDvzAJHeGPtzyxSLRQYmJymtrRCLJKg19ijvN5l87GHyixt09eUkv0joXQubq0T8BpVaBdNzZR3v9suXGTp3nET/AIXFeexyhezQKPn9gqxJJEZ6UGp1NtfyxPsz+MN+mksCIiwWMjGCwuCAQ31jSfIFIpNnIBqTVUlFnFPFOWtzk9Dh0zjtNp1lAbfukfXY5uISsXOPUrl7mYEnTjF/bZHp/3yN7zuXYHhAZXa1zmKxyUg0QuvA5GoLuhWb27/Zx+XlFoU9i3Nn49ycr+A3TQYHk1RNE1Oo4XwBhBejUXcIhhSmJ3K8dXWJTH8Pg70Gr81s8+mv1nj6QloO63YPPMpmk0cPRXnmfSeYm9mUAMBMLkgilqOj2HSqVULRqCTl+zVVpvBi8RhGUGdxbo1mq0ZvTw9jU1NcunSZXDoplxfCjJRNJUGoPBs1SdsXyUKh2l5dWSEhWDm6RiwcRAkYNKtV0uk+9tYWCIZ00qODZHIhfuGjF1k5gEzcL/vnR44EqdY8Xni9wF/9/hR+N8wLX7zN9KEUKysFjj00hWVCOBygVamT7hXnvDr7MhWQxFFsQn6D+/NLDAz0US6WKRxUpFa1dLBPq2MTDgepVRq44oCGQyaTZmVlhcGhMfa2dkl1B2nmm2wWa1w4N0akyyPw3BJPnY2T8Nus5aucmO5jZq7FVI+Piwt5GmWLublPE3GbLL3yRXLDo5jhAXy1eXkm8DInUJsViA2jyqh3AJya9M6LKrDZBM1cRQ8fxtMDYFdR/GnaO2+CP4YvMYHXWsdXWaTtqPgG34/ibCNGSiIlZHo+aXVrrb+I6hgE02OY2CiixiJOLWoQn1hMig25GqJtmvjEubDdhFYRW9Tr5DBNww1N4Bf6X7sokMFo4VGcnTcgdQpFQJFWPouSPI2jiY216PRbmAI4LwQJggdn2Zhi0axZWFYTXBN/4jBW5R5ObQtj4sM47h5qdR5LieKL9qK2OyJTjq9VwLHreNERVD2O1lzBtjRIjYJY/nSKBFOnaKoBfGZTghc1sWgWy9W6SNpZWB2R9Elh+T05zBEVKNWr4iWm8Ow6qhrEFOazTgEyIqGwgU4URw1iV2fQhMUuPogj6u6NMnoo/ra9yimgOx4d8fvXQzJhbuYX0HQHXRXd/jZaQGiswW1uo4p7m6ioqm06mrBX+dEqd3BLu7hCTxftwy+S7a4l0+OqoUg7ima15YLcDk3i+hIEadAWz+twFMdTUYX+sFFCFcjmyuU/8jodsaHvfduNbW5LAJiuiv5bHr/onJfWcMTEubGHJiPme7IDIl7+QnOm1DexAlFJyDVSOeoblwgK+nMsR7u0KAncqpfA6zkmfbqGV0c5uEdb9BY276Adfxq9siBj7KoWkpdrPdqN7rVpuTEUypIiawuYg2K/raeIH0L1bBB+Si8A1g62noHWFppQQuhRrIpwtSrYImXQqGI0drBVoeLrRvO3ZddG6ZrAtUSHXUdzK2j+HE5HvLG28UdzoiqOFxzCqq6gC+K+LyxjNn5VxfNU+SI3vC5sr4XZ2kGPHkLxByQ/QXHqKJEx8HbxSKC2ljF9Paj7N3CTh+Xkt92q4sPCM7pQ9QBeq45CR8ZR6OzjGT3o0R7M5i7K9mvoA2doy/FISL7glOodtO5Hsc0WilnGMII0hd/RLuMP96JVl7F9Iex6Gb2rF9u1USobOEYMIzKAJ3RRVg1LxP0po3Qq+EKT4DWwXD9GNCWjQa7eg69zgNfews2dRmuUcINBAuVNqq09Uk/9JL/xQ9/Pr/3FLf7dOzPc27AY7e0ikQnz6S/N8twTU/zWr/wgawvbXLx4heHpYXLpLPlCAcu0Kebz6HqQerPGow9e4HNf/BLnz51D9Wvyw3/uzm0WlzeZmJwgHtE5NDnMm9cu8/FPXpQGg6PTPWxvFxkdyDE2McWf/tnXefcTw/zpH/8Kr770LRZWVkmEwjz//L9hbmlBDgHE7//1V17Ftk0mpw7LqbNQ0vT2DXLp4lusri8xPjZGuVLn8LEjlPZ32RT9t6Eh5ubnODR9WEK42u02S4srUr/mqRql4j5j42Oyyz97b47Tx46xld8l6A8QDBiy91SrlAkGg9y8PkO/6OpWy1KxF890sb+9x+5Onq5sir3tTakq7HRM2u0GG4JCnogwN7/AmVPnsSyTcq0iPbzicrm8uMKTTz7OxtYm9WpFOp/Pnz8rjQjXr17lgYcekj/TGxfFEEwlKrrGjRbdmawk2q+urdMrtiC6Si6dYv7+IsmuLjqdFvVqA78gqrdasq5RLZV44p3vQjU0PvN/P8/v/vnX+ZF//RCvXFtjr1CgXPL47ndN8t3f+SR3bt+VCYmJ6SnGhvp58vnf5MjhNGePj/HPX7nEqSOTdGddvvnGIpfX7/L/WHrvKDnO8073qdDVOXfP9OSEGWBmEIlEggQpUqIoSjIVLFmWHCXbh5bX63XYtc7avuu1LWllaa+lXce1vV7bkqxgWV5lURIzCAJETjMABpNzT0/nWPH6+3D5Hw9w5gCNqq763vf3ex739lepLeXRBh5AtbYxd64Q7HszVmAApfo6ipdGkb7pZYzuaTzhoxf3qD+Gtb0OIQVXfIHa22g76yiRPtxkBp9pgC74+j5aqh+9U0UN5VDNLWqldeK5A4SmH+R9R05xecXk0GQ3nbZHOumnUC1zc7HKR3/iKBPDfWxvlenp7hEtH/mlvbq4yuhIL6P7xvmZZz9Nw3SYGkwTjaeYWdiWE+vhbh+T44PcvD0vKyHL6zvsFMuMDMQYH91PtZnn3twqkYhPRvCuXp+Xh51ENEilYNE0Szz55tO8/uplaZCYODDON75/lRMTcT7+uz9Ho25x5soMHbMjTQuq8DLjkevpZebOsvz7HDxxjA/8/B+ytdWiqy8sCcr1lkJEVUlm0yxtbLFdqXBz4TbewvcoFsVmpxvdqtFp5tFVP6ohQDolAr4uFPFC0jHxlD6I+O9PtwNCTVfGLK0T9OuYoS7ctoui7hAQU+rIAZRkCmPkEWa+8x/5ufd+mZoeon9cQ+koPHogzPeu1IgHdN6+L8KNuQqdBKTbBqvlKrZP5/yiQ6Bh41dtPvbsYT78q+9Bm79Cp67gPHCapW/+CwG7Qt/kYSozd7ADOvEDD6EZJqXZDTRzDX96EKdao1XZRs/04IVi+NsaxKC1sUwAA81oUfEyGBtrxA/nCJ44xanTn2W10GCgS2fvaI7ltQ0ikSCeomPWm0QCOv5QQhoVnI5JMhXi9kqHhUoDzxIu4xajQ0E0T2Gj1GQ8lyUU85EJqcRsg7Zicmk5z0jkfmHuwekhSfg2gjrpgMJW05XU6e9e2GZ6LMgnfjLJ6cMR/IFuFlabVBq7RE2bYFcO3WdhNUwimRTVSp38xhY9PTkZGd3e2JZJlnJNWHI8Bnsi/Oc/vQVqhFxGYWW5weljIe7Nabz/vWnsaptIOk6r02Dj3jb7pkbJ9vdz89o1ttcK7JkcoVLaJRAK09M/SK26S3l7h3imC0tETR2bUqlCrj9HfqdM0LNID0T4r59aYs9kBL+p0tIdXC/Ajdk8//iHkyzcLHNjYZfp6X46NTGc1iiUmnSaDj2ZmKwXVCsNlhfzDI9lSUWDrGwJ5adJbijKmR+tMbEvQzhmUC0L5ovD5naZrKBY+0x21jp0dYVoNOpkujKk0i7bqy6xTFjS1EW6YaA3wBuXWjx+LEpvWufT/7rEx74b5NExg6G4y0LDJqEprBRMDgzEGR2McnehjGUrlDSPV69XiP2bluvj7+vmVz75IYj20769RPnWAp3yLoq7S2ZgiFpiH9rqXTzVxAmH5bPRp8XRGsKC0k2TBoFEDmXoENWXv4SvWMTYf5LWxip+xcXoy6GNHaOztYm9tYQ/Faf02o9IPvROvO5u6j/4PMbQPqL+DI3CEm5/P+ac8I5HCB58GGt+DiU1iLUzS7hnCFeP4tlN7GpDcpjatTKBPcexN2bRRVqse5TS8jKJ7pwcttqC59Ezyu7z51D1JTJ7jxA4MAy7ZeYbKT79P/6FWzMVVrdrvOl0l9RyhnWVSlPYRzze9eQe/vmHS5ze62N5S3wfaVxda/L6bJHHs/Dc3/w0vv4kGy+dw7D8bNy+R88D4xTvLhLaP0lnpUSyv4tKeZtoJCJTTrHBASzbxF1dp1ysEO/JQSqKVS2RvyWSTDp9hw/gT6dprC5TLxQI9PQSiEXYvTJDsL+HjqaRySSpbG6h+UIU1xbpO3BIpgNMAXB2HJInD7D5xmVK91YZefoZdLEsCnWhTk5RnTmD4uhQE1u9JloqKjv/ev84zloezQdq95C02FAqkr93hfTBI/KA+sB7v8zIaAzTq3J708eRUVVWUa+tNiXkt1J1+NpvhXhgPMPl2U1Caor5O+J60ggH/awu1Rgdy5LfLMtD+/TBbmavFaiWTAb2JfDrISYP5FhY2uAP/nKZNx/PyXfC9ZpCY8fBiCv88k8JhlaDZjmGEVRYX94k0RVncLiX7Z2SrB+KJYoa0GXysVjYlRDcgaFhcF2213fY2NqS933QL5KRMZm0XF9bY2x0nBtXLlAqNhmbGKVZq0htX3ZwiPM/eI2nf+bdPPfV/yvZRA8cPcLGv8FvF26vcPLkOKV2nX/3iR3GBlUSAY9USmF6LMHv/u8Nnjke42M/P8yOWOomozRLu2yu1InEjPu1u+0CVsehuz9Ld18PG2sbcqgkvrsESFgcfOsNkWiKUSqVWVpY4PiJh9nZ2eLS+Ts88vi0HD4uLy2QTGUZmdzD7Zt36evporhbkIlKy3E4dDTNn35plT993uHogEE6IOpQGp7X5vW5Dr1ZP5vzO3zkI6f4d5/+FcrPPY+S3YcVHiEgeoLNVbn17zSrEubn1Oq4SlvS6g0tgOsqcukoeuPiLOYYabHiw8Enl4qW0OPGkpJnYTt1PD2EpvrwyjN4sQP4RDqgvSB6yWhaAk/3YztFcGP3e/F2FVuwxpUOrjChdVZwW+Ia3ovTLkoAuW5EsM2iXCQ7wiZQuIwWGsVWLPzBOJZtoAaEyvcuquCndR9AFeD02jUUJQfxEdwt8S6uEUxP/P/K9TauiLWLBa/XQG2v44jOfOEiatcUXnQU3fVLjoTXWkYVW3ejDyUkqtxVlOqCTCyo4S40T8P2C6B7XVrutGgKuyOYbC5qRKFTycsqoc8XoLN6GU1XUWPDkrovkjJe5Qa+7sO0CvOE4kM4uh939TUUnwv+EdSeadzyIq6SxlDytJwKwfCkrGKI5KKrReWAWKhDXbshFfHiP9X2sMtzOHqEYN9JFMGQq69iBdPS0uUP9OF6uzh2CMMr3q9dykN8C1ew7GyfTHsYIsMYP4LnE4nkNGptVRqSvGYbt1ZAFfpB/xCeIwwNwgS0hKclUGqXP+d1tq+ipfeAfxi9fA1HqIIyx9DdIm6zhbP5z6hDP44nyPHVm/jF1lfEOZWqJNnrehDLn0MtXRXzHjStBzVk4JXuYpk1CZgQ2zjNLmEKSndqUkY75DRHbCCCY6hemU5tk2CkD8uyZITGCARwxZ+lIw63JTSxZRcUQnGxey56vU67Po8/9xitrfMEgnG07kOya9JWRD/Pw05mCIi+rxbGKt7Drl4mOPWrqKLfIwYXTl3G98Uh22qKHrGHU93C0ISyZxBPbB13r6B7ITxfRKoDBeTQpwWhNIvTdxpHwA2LlzA8F8XXix000M0iruigiJuvU5VQCNsuoIT6QWzHjAROZwM1PAbFs7jRY3haB79VxFbDuK0yemyajrmMJsjau6t4iUn84S5c4dauXpUETdsI4HdDOA1xAQv1Vgg11INbFbq6jNRyuZ1tCXX01CF0q4DttDCigoD7Q9TECJ6Wxqvfw5c8ja63cNQAdmUFfyiI48vitQrS34mIWJcvERARls4Sru3HC3skxw5QunGVwUf+iGefmaZ3Tz9f+fYb9HRDIpTj+Rdn+cKf/yLxTIK7d1akn3pzI08448du2bzrHT/GuXPnuXHrNqGIwbve8W52SgVeeeVFpicP4Dj3gX19Pb289sbr7OwUGR8ZlVPZV8+8xu9+5jlOHB4mEe6wsdnAo0jzAAAgAElEQVRC0TzZkSrWW7zvLVMcPtDH+TdmePDUqfuqO9GB6lhSjdXX00cyGmZla4vl+SXS2TRje0a5efUGe6b2EdQNtna28Yk4kG7QbrUpl0uyayR0NSLevnffXnp6+7l3Z5adwi5dXV3E4nGuXr1GLBpmaGSUa1cvk0wk5GH/5s0ZenpzTOyZ4MbNm0xO7WdhZV4mRtpmi7GRYTY2NhkcGiEQDLK9uY1jtSmUSpx88EF8PgHuW6ZSreO0TaLxKGNjI+S38swtzDE0NEZ/Xw/nz7/BQH8fN27NkM2k2L//ACsrK2xs5dk/PSXvJRGPEx24UCgq43zXr12nr7eHrZ08+a1tTj50gtJuRW7KtjbFxrmbSrlKUEDWXJtay6UrGZMx1v/2mb9n+tA0z/3gIrlcFH9Q9HZ3+KUPnubkiQPML25x5doN3vLECT79me+wZVs88dAEs7fuSfVgoVTh/EydzfkvEFELlJcL6PEkmhvGFB5bMfWszEGsHzM0gF9A/2LdEl7otBbRvCCeMGtogrMQwYkP47NdnFaetusSDMZxK6JGkEIN9UvtqYoA2axiOQF8ioNpFsgc/ynOf/tvedMH/5pnnzlCy66wtFLFMW1mFsq889FJPvrzT1GsliQJ3tBdGo4tQjaMDKb58je+z/U7VQ4fGOHyhTvkxgZoVit4wi7hOvR0J3jxpQXi2Qgpn0K8Ky37W8+/tkgkqHBgf49MfMTjCp1mB6ftJxr2uLO+i99Vefj0FGfeuE1vOkMu7SeSCvK+d56QMe83Li4TS4XpSseEpphUOklhpyQ3KI++6ZD0qn/yv3+d759b4e0PD8oeYaflsd7SCWllhkb28I/fuMad5z7M6JP/gd3vfhZ/5gRqWISI1lGcmFTuePU7KNGDGEaUtlPHp3bwGkXamg9faRW696Ma/fjsO3ScAEHBCqgK53CTSHaKcqVKxLeIHX2Yowffw8SUTvfQXpavrzK9P0F112G9ruI1qgx0RVnuWJR2ayhtj76Uj3TYIJvJoWt1biwUePFajTLw7NEQn/399xB85Ci11y/jd32y66wbNu30YZqrK/hqy/iH9mD0TUHUxLp7B1dAPwemaVbXQNS8RMe8LkBDniT5xqemoV6jtDBPz5ufwfJMDr3rLzg6JtSHDndXyhza1ys7lZu7Jcodj3TAR6dhMTwU5NtnSzy0N8dIeIuWGebEwQyt3Qb/+FKBg8MxXr5XZ8PSIawQanc4NOGjz/AzPdbL3fVNhntDnLlWo2W7HBgKsNGwONCfZX6zyPaOQqtp8qEnkvzaB3rky+HMTI3dcpuB7iSeX5MH73qnid32MC2LXEZEoh2anQb790/y+qvXSGf8HHlymg/+9I8YGUnLYfutO3V+76P7+fYLs7z78Rx7j0yyvbjO0uKWZABYti297vVqVSbIjhw/SD6/y/bWBqNj+6hWSrTqNQKRiGRpBII6Kgb9I/2cP3ONvu4YgxNZ/v1/vcq1JYenDvmIRyLcXq/zjqMRHn8gws17RdpNj0zOkBBH1VVY367TLwCCCwI8FSCdMKg2xbXsMDSSksMB0eW9ea1Ab78hWQEipdVxNLmtn5rokkOA3h6xdPAoV1RM8fnYtoTKXr66ypFjY1y9co/RPYNU6y2puwoJ3m61xvHjOX50dpN3/mldkr+fOh5nLK1zb9ljpCfM3GqJWrNDLuan4zlk03Hu5F0uL+YZUjx+5z05PvJ7H4ahfXizF9j49jUC7V38Dz9Oq7xNa3ONzENvonP2RZyYHyOZxYwNo6zO0fR1SE8+SH1ljub8DdIPvRUnEKd09mvExItxKoV36zyqrlBTVcJ94xjNEuXXX8EY34t/4jg+bBpb6wT2PIBiCW3gOv72Do6wpfQNYd98Cc9WCEV76ISaVK/eokt4s8fHaGzm0XNp3I6H6QhQmUV3z2HWq1tEdjZJDIyjhGy0qNCiWfzxZ1/gT76+jqkoDPR7BDXRse5ioivL7RuLYGjkHY+eqEYuEWdza5enTu3hb1+d5/KdGodzPv712SMMj/VK6ObczSUC2QTWzi7JsTHUVIrasgBFe6zcW6Nrehh/2yEgbCWmSWV1jb6pKa698BKH3/Y0xcIG2y+eIzo1xvCDD1NanJELIzXkZ+niVZK9GTRFwR9LYcSjMvpc3FjFrHeIj/QQ8nys3bpB5sA0ejhCIBSleP2ykEMTEYPn7iEiPb00rlxG89VRe8fR1CDt9VtE+g+gP/QOKl/5rGxVhEW/OduN49cJ9IxICntrc56uvcdpb6yQfOvjvPhnf8cTf7rAW8aSWIpFLhbjxsYGA7kUOb/Caq3DrWWbz3wgzPuPB/j453d4YjJFIi3eoX1SV7uyUZX3zfBgRn5f93Rlmbm3zd7pbtZur+H6g+w/NMCla6s8d6bC0GAaxa7iiwiOSVpyaT75GxO4PpWblwTsWyWZEekul3qlypioXnkO1fwOLVMAzAJUymVyvV2sLK/RbpqcOHlU1s8EA6vdqIEqws7g8yvy3vPhl1vceqUu382CkRgbi+sMjOYknT2WiVPMVyW/S4DcMDuMH+rnz/7mMlutKHv7Xb79So23nYrT0Tw+938afP3jSY489Qjnv3MWVXdlEmF98R6VnSqjB6apFLYxwuK+juCaFnfvzhOOBFA9H1rAR6vVICcGRiLq3jHJdOdYXrgnVYbDewao1wXLzCSRTXPllXMcPXVCLmvWlubZ98BBLvzoFkPDGfYdDRN7z20eGIiCWqK1rVKxbMKhAMf2p5id3+Xqgk2l9l1UV6Ny4Yf49pyms/Q6is9CSz6C17qNa1ZQlBjEx9DsPO3SFflcCvQ+LIGJitgQa0MS0GcLtZ4i3lvaqJawI3XhxKJgi0OUhSosbc0N9MwJdD1Na+EbqNEUvt7TtPOz+JwqocHHqW9eQjfiKJm9uNtnUf05XD2O7rSx6jvo2Qk5/BO9ffFrSn0RxHJWVKhpYDUbKJEoTquKsnIWDj0r/91Z/T6+aBrHy6BWbso+vAA/dmyPQDiH6TXuDyq0IE5lDkVJoCZHsPMXcTy//DUj0iX1qHbNkRYoq3odnxfDFQsHc00Oozq1HQwBNfWn8RKHUEsXsPN30EVKNGTQXj2PkjqIHslJ3oHSWsYUQ4L4oGSkebaO21hFCWRoV2Zk/cLofgynNoNXWkbvPSE5ARJIpoqE9iadyip6bkqS/wOxITqdurSrWaaOzyxJFpdti7qtQZ02Pq+DrgdoV9YJpA6hCPvB5iX86RE8p4En2EuBBEZgDEUYX8wt7MoGTigEjTZ2oAtfp4hri+p8N7YYGjuiRmrIxJbT2QRHw7NsXMGTMGJ4AuDYuP6XXruygVZfgNxxNH0AxVrAawrwXQC3sYM/PkDb7KAL5YIRpFUXEbc4miA6tisQFMqIDmw9hzf6XhFExyztQP0uRPdJYFS7WUQVkRCzgBLZj6bbsvOvi8iD2F4jIvMNGSHSBJilKmjRwlmrEIgPYDXWUdp5CYiwgln8ovfQqaHuXMc/8rTssjiVDUhMSNelCDspkTQI16WYGokOUWsR1Wlhh0dRhS0g2o/nuugBnU7Lh1oTQJwJfMG0VFd1KncJRkcwN87Ijb0mPNgCDtcWP9NB2b2Gp7poqYO4vhCemK5ZmjysKdY6akD0UFaxausoXSfx169id51C0YJ4zQKtnRv4s0foFK/g83fjiciP2sIVn721ihEZu98RaZjYu2fQek7hWia+zjaOZuAqniRUuiLyoTnYTgTMPEpAaDYCdNpNqTd0S3OQiKAZQ7TaRfztsuy5uC0VjSaucGPqPfcvpvwdtGgvdkX8mffjWWWp+2oRRwsN4bM3aOQvoWWPEbQtuZFJvOWn+ePf+Ah//LkLfOzZU9xcWGDmzjqJQJzzdyv81SfexeMPn+CFF8+Q3yrx4GMnCAaiXD93Fj0QpHdgiKChs1MooqkCkLfDxMSYPEwXdytkuhKsL20wtm8P6WSG4s4WP/zhGX78fe9muD/Cd154jd//f5+XkbZUwmBrXehFfHQ6Dnt7M3zy089y7vWLBPxZWvVdxvcK/3CURqtGuVjAEJUJx5VR+Uw6y7Vr1+R2NpFM0Gq3abfq1IUZw1UZGh2luFOQiphUIsmMOFx3ZWVtRtBhBRjw9XPn6R8YQMWld6CfjbV16bQNRSP4Db/UHzabYpBQlVFBxzSZmt4vI2aNVotKuULvwIAkzi7euyMp0Y898qgE+71+/hyGzyDX3U8210Wn1UBVVIrFkvxZIlbeFIdGy+TwkUO06k2++Z1v8u53v5vVlVVK5TIT43tpWx2alSp37t7l6aefZmtzG0UX3EyHk6cf5Rtf+xqpdFqmNC5ePMvhB47Ll6lSuUSpVKK7q4dsd5Kl5Q0i8SRHHznOr37k1/jh2QU+/IE3s7y6xNLGLtdulfn7z/0sfdkwb1xekjaId73rOLdvb/Kbn/gKfdkQDx09SFePzqVL87xxYYU/+vUTvOcP/ozG3XOws4orDCJGGhqrWLZDpOdhOl4Zb/Mmlj9DWOhlqtsyzuZooi/YRDES+CyHevk2geQQuk/D0oZwFr4iUz+K6FA1lumIOkF+AX9yL4GuPvJzbzC67zBm9yij8acYGouTEomBWJKAAM6JLZtqsHckwqMnj/Ht7z/P8Ogw1ZrN/uk+BgZH+L3PfIGFtQpvf2QcVfHx3JlbAuXKe59+kEvzi5w5t8lIt8pjDx5E8yxatsXpkwdZXMsTiAX57g/P0alp7BnpZX17i0S8h5GxGDduLWI1bFTXoiBMDjWTX/qJE7z1zUd47qXz7BnaQyFfknrPrlSEaqsloUe53h4OH5vkzuwan/qzr3FzvsSTjx2kXC8SDBryhWt9e5fTRyf52vdmGRn1cfb6WWqv/gNtxSCa20urtCtp0ZFMEq9exunsogmlTXkWY/gpzK27OK15YqkpqcsMGqaMJWvGKMFUL2ZpmXAmQMcZoqwY9A0VmPni3/K2//QaAjP3pqPjzG3dw3QjHBzO8NWzK+yPh3jbiTSvzZYJuI5Mi9y8O48RjlJpFelCp6srxY35Mg/tTzGz2ea78yU62xa/NBXik598N9pYltq5K7RaCRylJjWVc6+/RnJikvTQBKVbN4icfgpnbZbq3Zvoo3sJV0rkr1wi97Yfo/D6j0hMnyIo6gEdTTxryQS30U+8mw998Dd59bUijx7roW3t0jRj7FSbhEIKuUiGqztrDARjtHfq/MTjPfyH3/8xGRkllsBUMxiVKl4wgKU1MJbucvG1u+RnNvneqsMXL9YptQRo08dDOYP+viADUT9XVjaY6s7KjvYPL6/z+JhIqZVZsTV+eKHJI0Ma//ibo6TSTV6+0GDveA8lAZGLhenryXLp5SuM7BuX2wVJKm5ZlNsNooEAhe0KBw908+kvL7JbMnjLIz1srGxzda7FzrbNb/1chlzWT3m3RW64B9u25HPQtDqM7hmnWWqwtLQkkynC453oSpBf20BTPLp7B5mfXyZoeOhBARFryTRhfm2Xx96ynz/6H9eYWa4x0BWgWLUY7A+gd+r80tt6OHtll5PHx7h1c5FUJkWtVKOvL0WqK8jCYoGttQ6Hj/ZhmW38ms6VG6uM700SCIdYX61huCa7ZYUDB7NsFoqkYwlsr0mtbIMjeCEKSljFMV3MTptELInZFgNHBX8ghuFTZE84lAmj1lXsQJTergb+jsdsCb50zuR/PlcnaaicnoCKo9MXM1gulyULIekLYTo1SnUbzR9htWyyuFqh2w/Pnk7w2z/zAKG3vgNn6Tbb1+6SDse598LLGIMD9B07JeP+GxdeRbEN6VX3xzMojiUVkvbsImoygJLKoLZNjN4+WoUN0HR8qX7MjQVi/RN0ttdQDh7FKe3i3b0KqQH0oEpbEKo9j0Awjem2ceJx1M01SeH2T5+gvXAbtzeNsrFGs7BKcPwY8WCGnQsvYqg2gb4cqpHD2blDsHcQfXwce/EixVtr/PLf3Ob78yJxCW8/GCYXj+HTbObW6lItG4vGKHUcyWy4MbvDxHCK1d0dQqEkz13O0/1vz6P/56k0v/jbP4G9PEuhrNPereHVOnSCGmZ+h1guTbK7D9dsUcjnyY6MExvoZuar/4oWi8n7fWdjk/69k5i6TW2nLDWR1aVVhg4fZGNphdzIMPmldeI9aZxmE5+oxbUc6aTvmZpk4dXXiIcj1IQ67uAe7Ead7fl1YnHxTqXgFBuEJ/bS2V6SsFpfJIIvGcarW1SX56Q2UTv5drj5IpX52xjTJ3HX5wk/9uPY5XXat65JtpTQI3dsCB8+RH2lSEJtY6aDZIZyPPLM/6IZDHGiO0o7qLCSr8kDX32nQ1+/wuXb9zvpb/z3YfxmlcuzHqbaoV1TOHkiSU2yQ5AMpHNvrBEKehw+MkhmT5LLryyytVHn2MkhuruSLG8X+afvrUiQ5d5hP/lSlfy6wpGpKKcez1DY9ujuycht4/KtZcLRqNRybm9v49d9pLIpaRgKBGPyLHD75k0GhgelwWZgpJedzQKlQoFEOoY/IGpnc6QTMZJd3XKb3W425bu/AJALHV9DqLUbFrulCoND/TTrFRTVIBj2YTZtUl1+fvy3b/Hhp7Ncm2tRKdq87/EEV9cbpAyF97+rn3szKySj3egpUUerUNoRrBqDnv4Ua6s7kiXUqrcJhA2mjxyksLUpK4UiLSVAz0IBGAj4iITD980AzSaO2Dh7jhz81xp1mdpVwgZh3S+/Xz1PwaqUcaJZpqf8fPyvN/n0t8t84GSM9d06lhJgMB1CNRRcrc2/vlTko++f5k+++JeUV2fxV2ys5jxOJw6+JpZiEkodxV5/VSbNFM1AdUMoA0dxy/O45RV0MQjYvU6nJVgVj+CWN1CsPJ2miz8zLHk5LpY0JJmiuuc2UaNd0C7hc31UauvExPkr0n0/2t/agUCWYGiI6toreGaDwPBDmAJKLrTudlWq3DteG78/h124jtLeQh39eTx3kZCepGM2UdrbuIExPHsDn9D5BfpB/TdvqhfBba0J6iBG9wOYxddRYtOotGnlbxEUVP9gL7YewVx8Bbw1ItP/nk5jG6NwAUd06/0RFNOHGuuis/ayTDySmcbnF8rzFt7GebzMIRnVF+/KHlE8w5U6QHEdddrb+IO9WAhugyHT4IrSxm3s4tQXcAIRfP4eDDWG01hAiY5h6iEM18FRQNu+gRkwMBLTEtrqem2UZDfa+gxe9j7IUu3sYET34jp5nHYTL96Ll7+BEkiji/qq4cer3sb1j6N6u/e1rk0Bjd4lJM6jTlWynIzUOE7hsjQX+AefwRfrkd85Bru06gWpbtRCMQk+Vlplea4R95FISYjPWVUTUleotkxMz0SpXv0Lr91uYrSrKAHRcXPuKyE6FQkyoGmhaw1cI4cVrGMwBO42bnEVglmUkOgQuzQ7LmpL+BqH8No16ad09SqIaVVlESO5D0c35JeW0NmZggwQzolLEa98XVKGtex+FLEl8kXpNMuoMm6fxNm6jmqX0F0TLzyE5bYJJEZxdBXb7OATE5TQsAQxoEdQRFe/MQ9qSsbqlcoyiMmRFsFwGjjilFCdwwn3SYWEmJgohVuy3+H2PoGyfh4r0ovi1dDtDtht2pF+Aq444DvSTOBFsnhKA626jqsFsT0whApRU/EErVsQs8VLVuUGXmQM21MI2kIvocjtkeqFMSIxPAHt69Rw82dREtOooS685jIoAVzdkJ5qokmc2iJGuBvcqFQLqvVlqdNQI4Po0ThmpYYu6hnCrWm3pfuxY9WlwUB1Oyh6QgIEleYmVv4a9D8MWgK/pgqeo+z6dGol2SMxwiNYu3dkl0jE4sy1BQmXEn9HzxH1kAb+Pe+nOP88fbkump5Jet/HOLzXT8jXIutL0PEpXL9T48GpFP/9jz/CD1+8gaaFOHRwPy+9/LyMTmcyArhWkYCVl198hanxCdK5bl5+8QXC4SiPPf4m7ty8hmoYTO6b4uzrrzIptvL+ELriZ3Fpjnpb4Rc++l4ef+ZjbG6KuOoEyZjK3EpeaiartRZ/9elnuX71Bhv5Mo++6TTNSo10l+icGezsblMt1aVub+rAPlqtNjeuXmXfvn0Mj+2RdP9Wo0lSPDjaJgODg7KrI+j7eycnicUSzM3NSK5CoVji0MEDdMw2m/k8BycPsZXfkDEkoRWs1Gp0dWXlAGC3UJIU/VK5yP4DUyQTab777e/x1qffKhMCue4smk+nXq7Lh8vVm1f5saffwY1rl4nGkuybmmJjbU166JutJrFIXD6M8jtFuroyVMoldL+focEhxP1dLYs4qiv5BqKLGwkHZeWiXC5TLhVJJNNUy7uYtk1AqDBdh+WlNab2TcgIbD6/Rd/AAIZwm5oey2vLJFMZWSMQapmn3v0T/Nov/iJf/t493vnkPubnVmWU7vJMnrc9NsqzH3yE2dkCma4UptMi6FP46y+dJeAzWMpvU62YvOupk8wtLDDZG+ATX/siWz86QyhYwNGS6D5bJlX8oW5aa5chlbkfvdo6gxqJ4kbGZALJEZoUAV3RkJtOz5/Dr+ehsgLph3HNIj5hu6itoWqmfAhYil++FAbDSdHoo7r4HdKPPMz5fzrLW5/9C37xQ8dwOh1mr92jtzfBVtGi06jwT3/zh9y4egUtkOTunUv8+//06/zOf/lz/uIfzvHoI/2k4wb5vIlfsaS+ZatYZGWjye/9xw/y4fef4vadJVLpFPF4kvWFBQbGB6Qbefb2JsVSmVdfPc/Vu2V2t2uMjCQZGx9ma20dw9CY3j/KN79zUfrY/+z3P0yl1mZpYR49EpPXQaNcZKB3lGJxmSfe/BT/7U/+ln95YZ6B/hiT/Rl2GzWaIqJoagz3pnBaHX54eYWQprO48H3s5hKtrTU6dhZN3ZGVJ8tSUcwVOiJd5Qvg+LoRfgWf59HZvUkgO0QnkEOvrKE7LcgcxWtvyjSX7DHadez0CJnx/Vz+u//Nr37myyhth2xPiH17cpx7/R6hxBDjvY40yoSUCN1JjTtbLcrNKtM9KZp2izdu5Tk41kvKMPnGtTZ+pc4H3zbByu0d9hzaw5nLJb595R7poJ/37VX41Gffj57bS/XOPZpKnHCjSmtrAbFE8vvTtOwSjZ11oj0DKJlD1G6/jBH2Ee6dxLx7DfftvwYvf4F2s0V0fJzdtWW6Jnvxtiu854/OkDYc2au/eq/Krtvm8T1DLN7bgFicxdlNPvfbj/CO3/hxWl//EU2fgm6p5Fe2iPZnyY3n6Kxt4/QPEeo2sMpNCUa0O03yVoBPfuJbfPWSSSPgcbJXYyQXxXZCbBbEUNHloWO9RH2a3NwNDiepOTrnzpb4zn8Mse/pA6xdu8fGukEpv8XU8WEKJZPd3W0J8hRpoYAWxKq1qVtthieGsVpl/uZbZS5cq/D+t0ZptDUSEZcbcxbPnPYzMZzh+q0djp3aS36tQLani+W5u1KdqxsaYcOgURdqtKAYbXJvVjBeoiSzMSx87NnTx5U3bmG1Gjzy1GNYrRq2VeN//f0srh4inQ5jOnU2Vj3Oz5r8/W92Ee+NcOfqBiurbY49NkC76HLn3grduRTJsM7ObktWEQ2/S83SWblT4aFH+lldy7N/aojCroi+quxs12RMdmA4yczFPEeODXL11oLUqGZzGlYZiuU2hXKDtz1zgKvnFolnAtIgE012EaRJXRjI/T5mV8sybXD6wSHi+2N86e/v8qlv2VwvNTmeVTk66snkznbTI5Vx2NrxaNY8xpIB9GSEtd0ai6U2d1ZakiXzkwez/PSbR3j0eC+hvf2QjtJ4/QatGjhKiMql50mcehy2d7AFUykRIBAS0EUF267hExH9SArNbuKEUngbS9iKQ6B3DKtVBc1By02iL92jJd7zFucJTDwgX+j1lVXK7QqR6ZPYVaF89NMqzRKYOIlbKEkQZOKBacztIqpl4xsdZfXl79K9f5KE3kTL9qL2dNN46Ryf+up5vnoRSqpCFGEJ8DOoNnji1DSv3tlkZbvN1ECOmzPLZBMa2Z5eyVQ6Phrj/15a4dyiCTY80a/y5d97F/Wly+jRDK7You2uybpaNJslMdLN1pVZfLYgslvUhd3n1Glqq2s0hZKuUScQ95MYHMM2bTYXF8imEgTTWWrFLYxMD7rmpz57k0KlxP63PMm9l14mPjqA23FxTAvEu1G7g+JXEb603L59lG/P0agUSI2MUW408fkMzMImejAg1c/xQ5OwvoPt+vD8Zdymjn7sTbSvnsFtVaXmDkuntjuHPxompIdpHzhNuLpKbXaeSDKBk8qyc+ZbaKEk2e5B1IPjfP8fXuO9/+sib9mfxOezqZZUmm6dvUNZxiIKLy3UWS/bHOsN8KX/ECe/2+SFaybjvToRf4gz51cYG03Id/V4Nka1XmGsL8O9u7sMCUClyO4qGnfubXL69F5evVDkuddWefSBHtY3Khx+oIdvf3eZX/mVafS2ycriFkF/XII3u3uy8nAv1H7CJBKMRrBch13BE6q3OPrgCfKbGxI+nEilKJdqslboeRbtphhyqmR6svi1AHPzM3SnuqUGeX1jDb+mkcpkGJ4YY/bCVeKZDMVKkUyyi7XFDclIOfLoFL/1O2dZaqm843iKtYpKXG+zvGlydy3Eb/y4weNP7+HV794mHINDDx1la2GdezNzZHtzsssvzE4i9d+sNugbH2J7ZZ3iToUHTz3E3fm7pNJRVu8tS+1yJtvNTrGI27EkpLDZaZPpipNI52hUaii2S6GaJ5sdxO9vM79c4cRUN14myuDbX+P00S5GBl2W1xXmFnfRrABDozpb2yY3llqUl/8S/AHWnvtnksNHIL0HtSoqxTZOchiltYFj6hgJERMX7DCorb8gtdla+kHsxgwuBmqnhOrrwk32QK0IjQVpJlOwsFWxZR+l09rEVcIobKCJSGhbwTMraH2T2M0m6uY5vN43oXgV2vmr6PUyd9QAACAASURBVOFRfOEBWP08dD+F1Smg04Prb+ETprH6JppVQc/ulbVi8V7daq/jdwN0WqvofQ+hm0Esew1dj+LYAjZfv78RFwOE7ZvowYxc1OqBDE3PRm2uS/aLqCdYpet46X3o4TSupeDWl9GjXShaFLsm0mDdeAKq174Deho7kJHJLa/VwXQbaL6o/PsTytw3wim2VPWJ2rkqrXU6SiSH4o+htC2ZPDBEKtzTUKxd7PQhNKFGLczeh00H+qUBwVFS6KEA7u4tXCMDiSnU1W+h9jyGI0B+moHmBSitXiDYN40S6LufLI8OyPOxKhSasX3oghGVP4MeO4ZtdCT0U61tgKhbCPuAW5aAa2Hq09N7sEwFtXwRT+9DjyRQAzHatSo+kQBpFbCtAoGuh+Xi2LHL6GLgbTZl+lVwHZTihc94qohZiC6nGkAtvYjiG8ENZVEqt3Ei/fLi61hbBCJ78QRwQmigWncxlTiaJoCBRazq8r8JpSKoqb2yd+8KIrRPkw830R3SYoM4mxdQNBXN34cgOnmagHYJEn0MOzSIT4tite+hh/vv6/bqS6iJcSxzG0UN41RX8eUOSHK/XV+Dyhba4EncVhsnoKHVRMypLuNwnijvF5Yweg5htzZR9QjtwkV8kb0Yfp02pvReGmLkGsvhCX7A1jnInMArn8F2OujhPdgCeKgoaIG4ZCKorQ6OLg7yEIyP4wpAYmcbt7ojacBCH+GaddRoTtKxlZaF6zfvUzyj/TKqrwiqp4BCtLYIxnO03RD+gIHjBtH9ulSKiG20X4A0RA2j3SEUCNESfVRd9NRdNLsuByAiFS18mIp/FPE/bntFdmsIZlCaK7Lf7gsN4YiIiojyC7+q46LEejFrYutryA5Yvb5FRAwvco9ibr2AJrorqf2YThPN55c9LtsLoXsVVNuP7jVpGn7Sx5/gD37xJ/nbr6zw8LEJFtbX2D84wL3lAku7DX7w+V+lsGvLh4Hi19AdjdtzsxJ298iDD6MBO9UKL734Ag8cPCKBf1evX5c3RLo7R0AXhncXt9VhbX2dSCouH2jNVpG9ew7wwksvcvDQAV69NMPn/+Us03vGpAbRUTy6Ut187eW7fOrXT5GJBOjLDVFudDj3+ut8+MM/T7XRlF2tY8dOkM/n5ZZnbW2VyekpSYIV/elENEpXbx9bGxtygy6iS5MTe3E9j1AoginI/a0mlUqNzfU1CZF6+NQJbs3OsrG5yVuffAf1cpmVjRU8x5M0/XgiwdrmqnRVb66tkUgl0TQ/fr8m4/U3btzi4YdPsVvYwQiGiPiDJONJ5pfvcujwMZbXljBbwpV73xmezgiS7h5mZ2dYWVqR/IEjRx/gpReep23aDA8OoAgHb7UmKyx3b90k19PNw4++ifm7c9ydv8eTTz5JUziMOw43b17n4IGDVIVaMb9Nqyl6p2EMxS+jgzdnZkimU5IlcOXyRanPOTBxmFfO/5DXLubpH+rizs15kokYRkSjsG3zOx99jIXlbbnBK5a2CIXDfPErF7i9UuB973iAW5cXmRjr5cVLMzL2/MWXv0r9wvexqiv4E5O0dRFXX0UxLRk3E9tndJHsqUobiNnsoDp19MQIbqsgrRZ66gioDayqhRVJEhKv746A8JlSjakpdTy1hqF2y+RDfvsmfSNCX1dDq1TxPfoh3nH0NGYnRDyucuLQBOtb62xuu8zc3uTnPnSSn/3pH+PSmfPs27+Hr3z9Av/n668x1BfAp4aJpjUunF/lsUfHeOHsAscPjfC5P/ww22tbcjg1t7xKOBhmdGI/X//nf6Gvp4dgJIziWYzvG8a2BRjQ5U/+x9dYWryfIElEVI4eHOP//uAyTzxxnPnbt4kQ4ff/689x5/ZVqnWPlu0Q0BT6+tIEQxF+8NJVPvu3Z5ma7GJqNMzdO0XJJxjqj7FSKDHYG2Pv+CivfP8qf/XnP8u+d34c5+J/o9wMkkgP0SzfRfFP4PPVMTeu4Rt+C7aSwG/exKy1cfWAkLPgiu1Zelqmxhq1CyQG3029tEjIEJDF+701/8ghqq/+FQ/+wrcodSwe3JehtGUyORlleXOX3miCaMzjOzdL0LbI14Ik1Y78XlyvdjjUG2HHdAgqNlPdcSYyCgNjPfzDc7M0Wj4eHNUJ+x2adojB4R7++pvXySoGf/6fH+LhZ96Cs71Aa2mTWqWElh2SsKrWvUXcUBAjFCZ05CG2L7yEv1UkMnIYa3EGJ54htGc/ZrFMIKSgVQUYdongxD6e+NDfycTYUF+U1aVNgkEf3WIontDocnSG7DIf/eKz2BfvsJ6vksiOoxS38cw6hbU57CbsffhB1vJtilsrjO0dx2g4lCprdD3zGKgmxas3+MzfzfLN13a4W1XoygV5+oDOk2Oj/N0Ld7A0m5Cu88BIjvq/HWa+dq1N01L51kcjPPTkNK9fXpEpsmxaJTswxMzl2+TGBlmfv0e2uwvX8dhYyjN9ZAxVq/HHf75A12Aav+eysNVkMKuxka/zgbf1MDU9gOPA9laNa2du0tMXZ2RqGMtyqRcrdOUyLK2sEDAM/P4AoXCEcCLKxtIyjmtIUGYqnkAPhVhf3qK+U+H0W6f53T+5hFtVOPpwN616mZfONxkZjPGBUxoxwSK5tIYwHwUCEfp7IziKwtxcQeplQ6kApe0myWyC4o7oIodpuybbGw16h5JS9TU20csXvnCLh451MTaZ4d7NXWqNBj2jMdKJFK+fvUM8GCLTH6ZV8yQB+85Mmf0HeogEVHZ22pQqRQb3ddHadcjvlhnuS+FadWLhEF17DEkr/9X/meefrgkjUIs3Dau0LYWUP0JTXsMaO9UaYU8AR3UiSY3J3ixzc+ucX22RtzzCpkd/LsSnPvIgb37mAK3rrxI7/GbJNPFaAVrlLdp3ruDWNaxAkthkD67XTXtnjk51G2WtTPzJt0OrSvnuLKHJQ1i76xjlNlanKuuJkX3H8XXadDpVzOVttKE0ztIygXAcV6lCZA+eatG8+CKq5aIfniLqNlGSAyjtBlpUQRs6JF+AV68ucuf6Ff7xuUU+f6PDYByGDUhGDB590xCvnNvAtcLE0g6XrheYGouyWWgSDehM9cWpNUy+e7dO26dRq3X45YNJPvufn0L32lCZIb/RTbw/x8rCMjsrS/Tt24vqCdBxDF+qC3/AY/vGTbGjoe/4ETavXCI5OkIwGMVUbcxilfyt62Snp6hv5BFl++RQD7VCHa9ZJdDXjb/dodKxiedEAqDN1p3bBKJxeg4dkZ931BdjXcCKx4alQq++PI/iD5DoEr/fZnt9CQOF9N49NEXc2vUR6u8Ff4LarYvsvvoimcMHiWWG6KTjOEtzaJkuOvU2oUaBTjyLry5qFYO0Awm07QUJDQwNHKaydJWU4uB/+2NkB/8Lx6eiBAMqc0u7nD45il1qcXl+S9C46B8M89oSKK7B7O+FCPgtPv8vOzxyrIvdlin1fZpms7ZYkNC9aqNKvWoyPj5EtVFDN4I0ah2MoEt3b4iLM3UuXxKJGU/WN0VkOBY3efvbH5RKyxsXZ4nGI0Si4l7eZHhkiGK5QnmnICGgjUZFcoNEDW1rfZNwKCp/RlgMYqIhQmEfu4Uy6UwPlYoAnXpUSwX8RoR4KiGByiOTE5x//hVpDugb6KZRq9M/Nsy9mwug2wxlc1hWkaod5+P/5x6H96foy7rcvNWgbGoSHPlz+1x+7Y+e4M5ri2zc2yKYS9OTCWOqGu1WTZoP4qkU8USExcUlqdEN6EJbHWRjbUUmLR3bkgR6kbK0TIdoNEyjUaanf4h6s4HPH6Iq1Mo9Od547QLZrqRM3t2+OUs22UVD1Th8KsJXv7DEL3zB4JljflY2dglF/BTKLQ71JzCCBl96bZu//8Mn+OmP/QG7r35bJqZElbGzeRF/92GcxhZGdB+2ULX7xUC+hF3fwdcuYvkH0EVCITGC0jZpbbxAoPsBLF8vgcYCZqeDL56m0ymj+4JY7QpKfhaj+5CsUgpFu9Uu4AV6Udw2qtBlGRFJmvdtX8TuPkRQ0fB8OTwdLEUYWILyIE7nJj5fD0riKOb2JZzGHFrqMFhF8Rsxuibxags0W3n8agAlO427O4Pi2uipfZiOgiIAe1ZTkvOdcJdkvHmWSFaIz17oxodk7dQW3UYx5OvkJZRQN9t4IqrvFtFLd3FTB2hV1tGbu3jo0mzmGQ0MtxtPbeOaVTw1LBO9bjCAagvKjoXa2qVZ28Qf7ZY2OGxdgpmDRhBbSdIpniMYzGG3qmhJAVm/LdroOP6ETFSIoaEqEKxBP261itJZRIsN4WrdOJ6NT9TCm9uoKQG276CGRJrSxPJE9dyH2qnIc6rphPBpdZzWOmrmOGp9Ry5J1UAAWyTThOKvsiAHk1pkDHPhm7j9b0Z3toTiAMcVAEUNs1hAiWZAi4IrbHMDKGoStyPUi65MTSj1i5/zbBFnF/0RVcfJz+DoloxzeIEEni8ppyRWYx5NHwO3hOezJZ3Qbgpw231/qRHag91ZwWfaeLqOmjiAt3sOT0xCNB9WbUcC1hQZPHQwRf/BrcpIry8ktukJXGsHNZCUsULHrUu2gKd34zglrPwN/D2H5YPNawpoig8TQVLsRe9s3IfpBQ2pDVP9EexOGUML0+7syDiw1xG08BB+f4pOfQUjMoxVFi5MHbe0hBJMyY23YBoQ7UIT/sqisAjU5QuugLNo1gZ2+rBU5CkdHYSbMp7FrBbu6wsFMkpBduw9QdwXPsq2JdVYrqXi6UE0wy+hGbaq47V3JQtBUTS00CDtekGCGLVgD25lXn627ab4TIRnVhgIBMU/QH3zLH4xhYv04+zewheMYokDjaAlO02hU5AHa0tEcBMjqK5gKVTxu0sS5qbEDiLy3srWNzED4wQEZEMXXcYu/CK1YJg4wmCQ3Ud15Q2iqRge4gszTMAXopG/SqhTJzIxAVqE9IFnGc2E2TuSoivpZ7nYZO7uLscPDvE7v/ZTPP/SGVxPp12r0NPfx/SBg+TXlrl4ZQaLDsO9Q7z5rU/w/e99h3g0Tv/w0P9H0puHW3aWddr32nutted5OHufeT516tSYSqWmJJUJwhRBBEEUEUHkUru19RPb5hNt+1Np9dNu0camBVoEmQICAUIIIXMlVanUPJ6hzjzss+d5WFP3+4a/gFyQVNXZa6/neX6/+2Z1cYWBwQE2t7bQdJW26LoHAlTrFYqCxmvbMqZfrRa5fu0GH/7Ih/nEn36WpZUyd+0bIbezzkBmkAu3ttk7NcK/++Ah1nI1RscPs7q6iap2mTt4iJ21nOxDBYJhCczZ3NmlUi0RDYUlgyLoC3L9xlUs0+KRN78ZyzS5dPky4xMT1Gp1FEEOHh5hcXGeRCLJllDOdDvy34uhUsTbwuEIp06elPH53NY2O/m8vE4fOjgnoY3iS3NzY43+gUFUVcBhHBkbEpcNoeyZ2b+PCxfO06238fq9rK6tMzUxLrU2gvIvlheC8v3QIw9LxsH8woJcMgh938zcHlZX1vB7dWk9mJraw7kXzzA6MUo4FpP02r50kpHRCV4/d55Gu87cvv00qhVm985RLtelxjDgUaUuUXzxLd9ZZmx0XD4vUB16PYNOvcns/kl++cP/mXgiIp8JtqPRUy1u3S7z1b/7MPFYiOdfucHEUAbHbfH8c7f40blrjPZHpT7s0Gw/P3nyKt6Ii+de+QHKzuu0DQ0lvh+zk8fMX0ETgBvBFLGqtMSXh+Fgdsqo7h5KQPSlLJxeB9PVxYsfo13AFk9pZQCXuYbbHZBcDU9gEscO0jE25cDtFRjd2AFavRJBqyzCGfj2fYDG9le4+/5/wK11mR1MM5hM0KbK5maNxasVPvyRk3zooz/PX/3F5/jKd2/w2Fv2SPPFa1c3GEpn2NotslNq8K77h/mtj/8Cays7bO3m0ATJW3cT9Hk4deoETzz5I6YnJnjiOz/k0F1zkmNx9eItjp46wuGDEzz+rZf4y398hhNHMnjdLW7e6TI6kaRRF15hF0G/j4ePjRPLCmdzh16tLhd7//1fn5fRz4Nzg7KfeufOLvccnuapZ6+TFYP/cJqnX74sX2Zv3szzyPEM//zNz0gTSO61FwgmB6TOpusK4x+YwlXZxSxvgDcukzmm2UR3qXS74orSwVS8eHwZ2pUruE0P7sw0lrgSbtQInriX1tIF7j71e1giJj3g58HjU2ztbNOpdAj7LJ47X+Vq3U3WZ/GH75vg0btHsDqGXCD4Qi6eeXaLJ67coSRCgmsKw1mVw3vCtGptzhZMJmIqE9kY5y6u0DecRgQeL95qsJRrcfq+FF/9/95DKxWk+dOzpEJRKuLnaNsg8th7sQShXQdPLE7z4lm8UzO0d6pSlVo5/wKhiQGs1DTs7qAG6tSrXh7+o3MMjnkkvDUbC9LraWSCLlZLddaXOlz8zodRGnnqqztCyI03PYYR9NO7/hpaSmz/m9hBD4q4vE6dxhDVikKVjqeNqyQuI27CU0nMvnGcW2f50hde4z/9tELPLZYAYanpzJcazE2lKezWpa3Dbbq5sFEi7PbzrU/vYzBmcO1KGW9Ep7SxTTieYvruCS7+9BLZ4Qy9dovFpXXCapD+OZ0bNwM8fztHiDbNbgS/12Qt3+W3fraPgE+j1WjguNU3IsvlBiub2xy5a05yRJYXF2XvOByJSRd5MV8mEPITSQZoVep0BLhvOC0HiNxWWRK1R/cm+M4313lxqSMvrif2+ymXbVq9Lj97b4xMxMWt1RYTw2mZjFm8XSAYCZLuC6FrovLjoKkGlVJPwkAF2HRtuUm0Tycc8rG6tEuzbuJocPL0NDcvrNLq2GT7QzJyHAkJ644Xp6lhuw0KhQaTkxlKpQq1epeRoSxnXrnFYDZC/1iG5ZUtSsWmNH7sLu/QcmmcOt6P2QB/pMWdtTrv+Ycmtwo++qMNHj3QT6O6y1rdS1RTpM2iYULKrzA8lOa7r29wekKkIeucv9Ok1elIvWCrpvLgtJuHj41xMhtg/+wAwf3DeNMTGEYZdXOT6uo6u0t5MvuTmLaf7pqA6kIgM0puaYG0Uqc1cYBkOETlhe8SvOcIveQklSd/SCJqY2sx1P4sqjdFJb9KN7fMwKkHKOQr8s+diI9o9iCGUkXbXqDRDHLt6i2evVnm289ts9EyKXQc7u7XiMV8JFwGY5MpVtcrLK/32K43mBjw4xGDgwDxOZAOh5jMJvnsi3co1nsi/csnT0X4nXftI3HvBO3VFs0FoSQOUl7bJnFkLzRN1s6/SDQ1LCnyweE0Lk+A2tKCXLpHZkdZfeF1HL9GKttHV8C/eg5NWQsYwTM6SunCJdpC4zc3Q2JglBvf+h6JyUHJV8hfv8Hwvj0S6NvcWMcOBIiIqtF2DjWgoyWzNHfW0FIDxBNRGhsrmJIv4yI0209wbI5eXRDIBV+oDYvX0UZGcfxRjHM/wXX4NFZuHVWo1TwhCXVTjR7uvixKu0F3YwlFdOiXVwhk0riSggewRv/RnyF39Smye4f51y+e40NfXuYDDw1R3+3QC4Ona7GZb+ALCeCfKqF91xsWEb/Ftf84TM9vceFSQ8LK6hVI9OvYbYjHXbKDL+o7olLjTyYJCICYqlEu1bBNh7sePsmXv/g01baO16XQsRUatTIP3TfK5GwSn9vHS0+flZC87EA/rW6bSrUt9X/lUoFwKC6HZHHNT6TFxdWgUS9jOOALxfC4HVl5FPWAO7eXadfKTB6YlWnFVr1No9EimUrJHn5+J8/w2CCFXJlkOibrov2ZJI1ag2gkyshdY3zqj1/izPUuH32Ln5bZ46XrFprW5cREkve9f4Qnn5pnbmYERe2iury0Wg0GBoSuep1mtUYik8LpWaQG+rnw+utotkp6MCEH/nar8cbPWSzCzcvX6B8dY2r/Xrm0Le02ZJ1BLFaHJ4boWV3GpmbZWFlE0QKovSqrGxWOHuzHFfPz1l/fYKVT4tCURtgy0RJp1jbKJJMBFtbKLK1YlBf+jnpbJaB5aTSquOvL0uferefwJIUGuYMpnPRuL+6oYHu16Zbu4AlnZVIVO4+piOejKin4mhjwvAFMQfU3G+jxGXqlTTRXDdsWLnmwrRZKs4krmZKJbIWAhPxpkZRkrjmNFoqmYFS20MKir5+m2ymheIIIEaohvPJqGHfuNt1ODdfkg+jtCkrlGr3gHI5SQO+pdFubeMYewqqs4zR2cYIKbnUcu1dEjwzLeoFIcrt0wXT6vw8HoyJZapongWkJiF4DNZhAa67RFTOpuY5lutGi+7F2n5UcuY4rie1uoPsHMEuLkv4vqs0u3cE2A7L6IA+weh+GL4Sqq3Tmn5NJZ1HpdjxxVMfA2rmAEZ1FEcfs+jqewAg9WxyaHRSrhZO6C0OktwPD8vOrdsrS3NZrLuFVfHTEUbhVkowrYUpwiTmqeQ13IIvP0GkLZaFbFWEjLEXoI1syBWAZqoSsWysv459+N2btBrY3ier2y3du4Wp2Cpexk8egdlumeU23sOu55LLMrYgZ+g04qY1b8j+shkjmb+JKHJdV5HZhHqX86qcdp7n2xsVYDP3i2q6ncYw3ri4CguSihSkchv40bv8YRmcFXRQPwhM0ln6AOGMEh96G1anghAQYyBG3apT2PLZrVMIrRKRF8U9A5Tbd6hZ6SoDkergCcbpiU5U+LkndAjcpdClN1cIroBGZcdxtk25jAZftgvicpNU7iti+GzidMu5oBnP7Mo6Tx5u6T0IfRBxekB4VcfVUu9jCv2i5McVvihpG84bpSU2gF1xt1NgsRmkbXbycOUH01gp2ZBy7dgPLO4PiFRt4FV3dxSyu4x56M2Z9CbO2ixoblx8qW2zWhKbKEVvUNGLdgfQ0djFDc3JJ0BM1CdWS0WRBgnSJDokDHbMrLwgC+NdrVfCIDx1huktfRR94BMesSIOC3i1iJI+gKHHMxjVUsc3yT2J1FnArUbyJETo7l+W1HQELFMrB8bdKkJrTEWyBArZSQXeFsLQIhjeK12hhq0C7jdVag0A/vsikdJT3qkt4I6PiRxK1soka9tJxTWAULpC65zR/+tuf5NP/coNHDqfxBhxpRrh+p8hENsz73nUvfQEFR0+QSET48dM/IRSJMNI/RL1dYXFpg9MP3MuTT/xQulU9ms61K5d54MGHub28yPTEGJVKlXKxTDgqQGmmfMkU3atkMiFBVl3DZnV1mWg8TNM0+NSffoXH3nw/y9uLXL26TXYwytJKh89/+v00Gx3+91cf59Of/kv5JS3Ag0eOHeXa5SvEY+KfMY6q+9nZ2ZSQokgkSqNW5+bt26yvrnH8vuMykh+Jh6lXmnKw1zSFja0NGVFKZTK0G0IT4uLa9avMzu6Vkf9LV68wOTbJysoSHlXHH/BRqtYJB4N0DZNIKCSHaFEHGB0Z5+57jvDM0z8mEU+wm8+zur4lo/fHTp3k2pWr6KqXmb1T3Lxxg8HBflk/EITd7GCWC6+9zr2nT0uarSD/a7qbUqnI8WOnWF9bo9FoyIFfDPnf+/53mRyfZreQo5ArEU+GGBuf5sqVS3S7poQWiijf5NiIfNkRf49SMc+9p06xuZ2TNoCAz8/2bo6+VIaxoQzv/8jvEolmuOvABLdvLVPomqwuFvkv//ExBlMJnnj6eUYGRrn72BR//d++yis38pw8OIbq0kgOprh4bYHU/72Mff0H38G4+TSmMHB0qnRMG6WxIwdnMzqI2tiWvlc9OiP5H45glMRmsHLn5VLGCQxju8SGOo7TWpCfM8EPsawqWigiabK20QYlihrwY2z9AM3O4kqP0a4V6LSr9E9MY8RDnPv+k7ztA//EOx+cxK0Y+AIudnNtcsUaKxstPvarj/DK2Uvc2Sywf88Ixe0K/miATtmg2W3w8z93nEcfEHA0m62tXTL9CbqdDvFUgka5zpVrl3j4TQ+zuLDKN7/xbT7+8V+V9Q/BWiiXGjxw/wGe/N5T/ODFBZbWmtxz1yB9iQD/9tQ1xvt0AokEL11Y45O//ijjaS/7DgwRiQzwwM//J/ZNj+J22XKptVMUM6jQPw2ytlqiaxkEfQ61jpvDs5M8+9pV1rYNaDqs7vw1Vm+E3s3nabvCeKPDcqlp1NalK1gPDGOI5EXXxB8J0Spu4hHfF24TpWxg9a7h+EZxuScwNp8neOwU/r5JHh5+mMW6wz37Mui6idU1iYqu9kaF7y90mIp4+PH/OEF/f1ZqV7HKcnloqnFpL1FiOmpuHYZmOfflH/BHT9zk5SsG00kfv/amQVY2i2zuONys9ggGuwwHQpw6NsKZ62s8fb1EuAovfvEtpKcnKa9t4FW9dJUwHdGJK97C24W2aeJLJFDENa5VxvEH6BU2iYxO0LizgX8wTHBsH7/0vs/wdM3m/nE/iaDFal6l1atzYCLC0+fz/NOvHubedx9h99xt/JkRNl56kehQH05mAKWwjmffcdpnn5fKQV/fCM7uMsXN6+iRUULpAeobi/iTA5j1Cr1qlYDaIfre91G88Bq/8dvf4Nl1H36Pxeyoju5W6Ytr5PMOPaXC4ZkMP71dorht8ZM/z5IdC/Kjf9sgX+jy8ANjVCX1X6PRtcmm/aztbBIOJdl3zwhf+/JVPvO1bX7mPp/8a+J98gvfL/Pp3xnh1OEkz/30DlOHh4nGU+Ru32FjO8fI+JjsPnYqTSy3i3giSaVaYfXGKlOHJqS+9PLlGxKeqgkJQs9EVyHkDzB8LMSz363x559f4vScn8m9IV6+XMEqKxwbhmOHwqgBH7vbDWbvitGo29SLPQkgLBWqUmUqzDC7OyJO38MvYta2APv1ZL1E6E2Hh9MUq2Ua7R41sVhx6WQGA1w9J9KFDvG0w8T4OK++OE/X1JjZm2B9uYLA4iSzIZqVN2ostVZLVtBEb9elWQwN9qHoHp57cp5qpcvpk1n2HAhIo8KZV/K870sGhbqLqYzJ0YE4jt7mymody9SY6w9S4+vLXgAAIABJREFU71SomRqabhN2FLouL/cMR1isOGwXiqzWHNY2O4jGalZ3CPkM3n48znvfeZC5rIirb+HvS8DcSdgtw9JtDL+OJkC+7YasPdZ3rxGITaGWylSaHZJTk3QcA7VtSUK4/+Ak9vxt3BnRy+2+ofb1dyGswoUbfOnvv08vOsKzC/O8frHJnZ7FeCJM3O8Q8fSIeR2isSy1VoegrrFVqUqOQ6tjMdYXQvFoRFWNrWYD26vz3OVdurbGr044nDoY472nRgjtG5ELmPziFoWlIv4BP5rqIb+8jaZ00JsawbtmMJplOcTH+kdoCn1sMUd4aAwz4CcYDtLdEIkDC8Pq0SpXiIxMSL1YcWlJJlKEPSQ5Osj2jVtkDu3D6/XTyFdQGx3siB8CEZzSLu5UBD2SpXr9Iu1KRTJ+MoMDlHMF+ZLuj8exDAj3DeGamaT406dwO038J9+Ga/MOldsXiJ9+N73FixDvp93s4iquSPOAf2gKTyRNs1FEVcUBzcbbP0lj8RJ6o4Vv7z6sQonKxjyJBx+jc+4VfEJM8thb+PWP/Q2fe67ERx8ZYXFzjagWw1IMvAEvfs3CK6Tehs2XzxelbeTMn0QZCPlZXqkxOBrgzmYbu4NMCsUzA6guA9trkc2E2Vit0202iGXSdJod5vYMUhJHi2KHxVUBV66TicfkXKCabQKpCCN9adpGm52dApqjSXifYCItL64RjoepFQuMT09SKFWpFARzRiWbyUoO3e2bt/C4NKKJqNSNb25ssffAfslyECplkZhZW93k4N0HWLh0BbfuJRIJyyNWZniCWqlMu9tia7HGnoMKvZbG7/1jgbcdDXPXXj8vXxQJVx+Fgsl9My7mDsapGQEqhRwDiQy3bt+WwL7jp05w6bWL9A+nqdc7+II+WU0Ug9Tm+jrxSJie3SUmuFniMmA70iK1vrElQjCMDA+yub1FKBTFFmYMj5vtlQ3CwlDiTSD+8NZWNink6vzc+yb43FcL/PqXc9w/7JK66WK9zVauxlgizNBwlH9+eo0v/M7d/OLf/h35H/8zLo8HfzAmB3lFC2HVclJ1rtk1qTJU04PYeFFFnN8TxdUqYelZdKECL13FqN9E1yZRImlMuihbl3Gi/ejBPno9H67eshy43d4BTKsqe+0C9Ovaeg4lOIRbHD0dNy53iJ7oqTdu4/OnaAt/hu5Htd3yWIxYIDhuyeOwjG30gVN06mVolVAbK6iZ4/RE5cht01n+Cd7RB2Tlubt1AXfyIK7OloTmKb4+0afGtgzcZhvHF5PvepolxqxVVE+Irn8UrbaIJdLWwRRWeRU9PIYVjWIrftT2JmbdlPMlmg8nf1WaDDyBAF0tgeZyS023osdoN/OobjFPFqRSUPGE6FVu4lKiiMyHS49gCm28beG4PZKNR/kWdrOAOvhmnPJV1OSEfDcya2V59UdWIzXJjLIDCWg1MeqLb9SqLQc7OIK7tS6hi53aG7VtontwCYNBdUUqHMUMZxeuoaRmYO0spA6D24MjFI/1dRDvsL0iis8HqUO4TDfu6iVQIliBcezmKqpbAU8Sw6igCk2nY2OK469Rxmm3UWoXP+s4AuQngHzZfVjlDWyrilvE8nsNcBp4Rden1aBnN1Bie1GrC7K7Loj34ofTqC9JUqpwQovYppOclZddr1D6OW56+cvoagTH5RW6YhnhV3oNbLOImpiVsfBObRFCfSjNKlanjD97F8bOORxdqCgE02YY2jnMyBBW4abcFIkHfWP56wRHHsXt1WnlSgT6+ukUb0NjF3f6JN3dl/GOPIDLI1IADdmNUUQ3vrshL4a2iPp3StipIyiNbQndcPlHcFXnpXtYDe2D5go9EQkKDONRfBhbL2NHE7hdMRnTUCNjmI2m9GL2WoJ70EYNzuK0tuSV1KjncJIT+LQoZvE6hlB0xfdg5C/hTs+B1Xij0uDJoHs9tGvr8uXZrQdwKQaqk6Zz6b+gjj+GHZvCWHkOdyQjVY2qfwjDFr2jEubWDVx9J3DUGLqIEre26OWu4pI8gzZ2eAJabRSzIHMYJPehomHkX0X1DckNoC3gP/4YRuk8huWTQ25b/N6ZIdT2FmalhNM/jM8E31yW0/t+habiIhuLyshQoVzDMl0EdIU/+9QvsrK0TqMtdD5hSc13bBfXr15ndHKMARETa3UlAXZhaVFucvfu2cPVKzdo92qSLm1ZJiOjIygut4xuV8pVZudmWF9Zk/H9pmGTjifx+7zcc99+Hn3bH2G4YCDtZ2hkiHK1ztnXt/j4+6flEC46+d2OxZve+nb54qcpLnTdIyM6zz7zPAcO7GP/vv2cfe2ChKi9+90/w/KtRWpic23YLK8sks0MkM6kaTSbWIYY3OtksuJLs4Xl2AwPjrC5ucXe2WmZCBgaHmJze4NSPk8wECWbSbK6sYnRMST1PxSKcGf5Dgf27yORSPGvX/0qe2dnpV/WGwrx3I+flLo90VXzqjr9o8Mszi9w5epV9s7MyAdbuVRmYGhAfnHmc1sIYEPL6JER1wTFxerahhwSxsaHWFnfllfdeDRJp9tEETpLw6DTaTM1vYeNjQ3WVlfJDKQxDZv1VeG893Ls5ElJwi+Vdqk3WkxO7WF9dVnCsqqNFplkiK/+21P85JlF5vbHSMSTVOomz7w4z3seneXff+RtnD13mdWNDX7lF36BP/6bz7FdMIiFvHJ5o3ThztI2DdPN6to36eTW6DRd9CwDv9qTJg+X6JIHozJB4yovyw2xiP1bbaFbW8YSFFQ1hss3JV/UxH8WnTRCk6gCnOWY2J02qtmRwE1FPNz9GdRano6lYnq7hOwAhvC+Bjzyiured5z3HHyUQg8mJ/tYnq8wMZ6iS5Nmw2FtK08mEsGXDLB0e5PDB0aZX8xxa6XMl/7ugzz80Fv59uPfYnRogsnZPXz+c59lz569sgZTzBXYs0/oYpr0DIt0Kv1GPcq2ZdIk5AuzvrnNww8fx+eF3/zE5yjWLPqzLkpFhYGkKv3rV7ZyPDw3zP/7iQ/x+rVF/uF/fpdiVXyRt/F7dGZmstKtPbtnlIWFefzeIPlyi37xgq54Keaq3H1PH7oW4CvfvszQeIhXX38Cc2eRerEondlOs4yh6ihqTMY0DbNIuy4MER66rTZafFQC12xbRAkNgoLTIrSsSgP1wAl+/S0f5fM/2eDDbxoioCjUqlDolLm92WK5bfD7B9P8xR+epDU+jfr6HXKL84T2TOKuqZRFgqsnoKZBilu3mXzkbbiDPijUee2V1/jE31/kYt1P0Gdzd8Zg31wGd9vF7bUqesSksm2RGEmytlnn1nKNpz/7K0yOmrTWKjTrOyTcbnLlMsnUGDWXhRrI4o2GMEvrGB0bt9+PGh0id+FJ/JkxBk+f4AMf+DN+su7wwT1BbjdbtCtuTuzv54dnF6n0NG7/r/fKa1DLFUXr7NIW3eP0EJ7pu7HXF+iWdmleu0rs8BFc0Sz5F3+At3+IYHqMev4Oeq2Nq68fU3MIxD10OgIUtIO3L0loaj+9S2f4uf/npyy1bfZN9eFt22wbZZp1m1TYJhYPcnOpzcaOzc2vCYexKn3PjWpTqruEn97ndTM7M8bWRo5SvseR42E+84XLPH5G5RfenKVarFHpOFy+3uI3fi7MqXuSaL4RasUNbt9cYXx2mHq5gebxSEOK7tMI+P1UK3X5TFHFCi4dxxfwcfHsZQ4c2ScrRfPX7zAzO0XPAlsxWLpT5qkX60yMRJjfbnBzucPBqQBvnlLo79fI5xoEozEWFnOMDwhNl0JiIC0tA6KGWCl3CYc9tFqGtIUMDSco5A1c7jZbGxVSMR9Dkxlu3dhgemZYghGLuz00n0IoGmP5xg6HTmTRfCpbG2UiAZXr18qyAma6Gnj1KH6/JcGGrVJLqsRu3RbxcI2OgOhFvIwPePjxU2WCfV6OzmoMDPho7dh89oU8j59xsdi2CXp6xAMaBzI+aegRFb1KXZGX8VBIY7dqElF7VNpiFg1iN1vMTifl4qFt2Vy/3kLgG7dqItXUI6sGmJvocXKojwP7MgzEPPT1B7AMh8Hjd1E7e4vwURGxBdXvgVYFZ30NJdsPpV0ZD3Y8iH8SXn/+PMtbPfK1Ds8+u0DL0VAEbPJGk0QURjMeejWFo9MJwlqPUtti/2CMK6s7XNtuke1LUa816OQq3H/3DLleUzKRcptFnplvyxrhm4c0fun0KO+9fwDvqAdzR5NMp1q1RW6+SDDmoVMuU+j0mDl8CK9YLhbyuNHouhVSI6MULl3A0RUCiSTVYglXo81ufpfxE8fwpvro5gpvAM48Hmmvya9u4W92UQcHMGnhbtty0NXCflau3WT61H044TCN69ewvDpKzyLpC9NLiYRLSb6zWO0WgcEUijeEuZkHXcdwqyi1Aq5AAG88ilWp4NIMytu7ZB/5Zeq5TbrzLxEcPohCj57SRVESuIvrcoHUWN8kMDYuNcbebpuuUDQ7bpxEBqXXIuBWqNQNghOj8nDgqpfw7hnk9IN/zbVqj0eOZmlXy6yXHaaTYqhRqCs91tdq7Jv2Yzga33qxwuN/mOKx4yHq+QZnXq1TdZocmBqjWu3g0hyGJ6LsLOVRgxH5nTQ4lmEgk+T889eZPjxIq1xlfr3IgRnBCvDwN395ntMP9dOf9lGoVJmYHKFp9thdW0PXNVnva9RapASLqFphcHiIYqFEu1aX6RaP30M0FKVaLpPoS9Buibi5W5L0i9s7rK9vMTU5gaprrCyuyApRdiBDJV9C9Xop5XbksaVaqtCpmgQjfsLRIIlol8efL/PMa3XGY16m5wTXaJfvvtzm1KSPT35ijheeucNofwrHo1Iu1KnVi6SSSXkRrZYrkg3l8unkN3OkE1HyxSKTszNs72xR3y7StSxZewiHQ1J1aHRMYn1pmq0Kg6NjaIpDJV+Xv4/BRIhutUEkECEYD/Da2W1OPNhHdeMS933Sw+Cgl8XlPLMTaUbTCldvlQgmHUolje1Kk+3Ss7SX13FyK9IDbzTFhdwjCv8o/in0ALSLq2guH44WkItIsy0gq26M8gJqMIniTdFavYJHN9FF1L5VxepV0BUVy5/AcVpyuPYExiWjxW7cwuvN0hNgusLL0ijm+PtwBEdNF8XnAXRPnFZjAV0MuHYVSyQqYkewcxdl3ds3cIKusYFm+XHE5T2YoocHdziGp7GK0TXoNKtomo3Xk6Sb2ouVW0RxW7h6JQjvwXaZuGvLWGoUzRZX+wqmFUA3i5h9d79hg/Ga2LvX0GJ7cMR/Xy/jiP69HkRziePwGmangxIYRAkNoxl1rMYCtjsoawyCmC/S6bZVlOkCYRXodFuowVGsndcki07R4yh6DUsMrh1xn95Gj5/EbVXo9bZltdbtiWKpaZzmPI5li8cceqgfu1eRUHgBglfcXhR3RB7CpZ9GTWDRkhBAO/eaXDC6ErNYJaEzrL2x6PH04xa1fKtBq3Yb1RPHzL9CIHoIw5vAcemYrQLuSJ+EwjrVJVymhavvIO5ejUbuPFrqIEq9JO12AuzoUuIYVg3bqqE5AZTa2b9yxMNM6RZpuuP4XRb22osog/fJmGe3dAVFjeP3RGg1trAxpcfRNfQAeuESZq+Dlj5MzzHQds/Trqzh3/dL6HaX2sIPZUSf+H487RXqhct4Bh7CbuzgcgewI8OYuy+CnsUTHEBp3KFX3cCVPYrh0nFXb2GEpvDQgm4Fl6Auiv6I+EUGvFKrpespzJ1LdFQveuIwLmNXutgVt0a7ksevtLE9/VhOWT68sb3ofgGMEPaCGLbwbdVuoUeHsdp5DKGvCIjBuAPNTUzFwW0qKLpbLhCM9P2o5XNv/GZn3oJtbaGYiqTwIyIetka3sSGVEWgenF5P6jRwxyRR3+3k6ehp3D0vjleVSg/FWAXfOMTTKELNJ6770SRaU8T/h+j4NNy5M9hqGlfmEOb6i3i0ID2xMKltyTiJoriwmm9svzXVxBZqQAEZFB+8XgfL3ERRYuCIjopQNUawynfQsnfLDpGbMmZPxP8jksRvm3Wpa+laQXz16/RqO9iZe/CnBunM/5hIYghl/DRHD76XeDJAPOKj3m6TSqZYXN3mPW89zG/9+4/xo+/9iIWFO4xPjTE5Okq+WObSpYv4/GHSmTgDaUHQ7rC0sCShiXffc5TFhds0621GRsdIpRLcvH5bXtUb7RaNeoPZ2SnKtYrUsmQz/Vw89zon7j9FcWedL37zRXJVi0MzKTyahyvXNqm2bU4fSfFLH3iHHKbWVrd56NG3s5vblC77vfv2UymVZdXAp3tZWrxDzxbX7RBecXnazTMzPY3ZMZmYnubMmRekBk/TdSrlGn2ZPgbSGa5eu87Unmm2d3bY3tkmkUzKQfzGzRvEY3EOHjrIlYuXZH9ePGh6XYPB/n78oZC89k5NTVGrNXjhuWc5/dBp/P4w7WaT+fnr8uEkoXuOxfXr12QCIp3uo16ty1j+0vKyjGkdPHhE+o9fevl50v2DDGX7qdVq7OaLHNgvIv1Fmo021WqVmFAu7e5w5NBhdktFivki8XiMo0ePsb6xQTG/TTiW4MLr56VzXFxLMn1pyXMo1Cr0p/s4d/4Cv/jBX+T2zWtMTYzwjcd/wF995iccvaePqfFhFlZyXLuVA6vLqz/4b7x2+byM/j74wFH+6L9+nis3RQc9SNeByYEIpZrNq+cWuLPwJegVqWwVUQU9tbmD2ZzH5R/GrhRxh4JSByg+ax4lLKNPtrBzpKakrrG3c132Pd1iweEXLOI4Ni1c/v43nhEtA0v3oSo57HITOzWEhzQGbZz8dRxXHDU9Q2P3ZfoGD0DGx7ve9Hvs7BjsnwnjC0Q4c2aVqf0ZVhe2wd1lQnQgayIKV+XilTpvf3CKd77pkPwz3tgpMb94S8IsxZJndWWRUq2O3TN59NE3Mb8wL9MmnXZbcjqS0ZTsHGcHB1lYWsFuNvnZ9z7GV7/5OJ//+gX2TmdF2pvhoT4K+Rq5rSrDQ14ee9tx/uBPvsHtipsD4x4OT/TTFuYQ1aDX1tgsN0kG3UwJ4GCjQ7lcoFNrUW5ZJFMRzEqPEyf28cf/9Dxf/tRJPvC7f0Lp+lXUkA2mV3boKBchHMKpGyiiq6sHUeMJHKEv27mK0z+LL5DCMQKEnHWUuUd48Rv/yMMf/AoHxqJkE7Cbb5HJRki5ND5/ZpdPvS3Df/6fH6V7a4HGUouA0qYbCKAZTXqhCM21JWKn3k7j+hWU8jrq/p/BXV6SUT79zW9Cu3WdF77zBF//8R1eKYcIKTaZmE231sWt+6h2HUQtd086xkvzu1y50eNrf3CEUx94G03xHCg2CVcrtMIREAwRdwJvN4cTm0FpVzF2buIdHJEQWk/Sg2dgiHv2/QeSe0KktQCvzlfIxm0SiRgvnN3lzz48xa998Bjb17cIDg/L50B5+bbU4WkhAX5VMLoNfGN9mIvr2L441sol/HvvwfZ5MHYF0LEPXe1hqFk62zfw9fWjedzsXFoiPJohkGnjz97LJ3/103z2QpO33NtHn6Wx3SoTDouIriMZG8t1L367xKVn38zaK2tsbPWY3ZPklVcW6Q8GCfUJKr5JfrvIzKCbc8se/u3FAmN9NrYlBlGbOzcU3vGWEA/fNyu79xvLq7jdKolkBJ/uRhMOcN0lWRyFXJHRoRFszaK0tUux3iLbn8QUHVSvoGjbaG6NO8urjAhvvVvBUC3+/B+3uLba5pGjAVIRlaWNHr/9jgyhkADvOpRqClcvbHHygQnKOwUWl4W1YEQmkKKRMImYzsXXd0kmIxSLBfldd/TkGLVyVy5pGy1DxpQjgTjhgEK51SLo90onuF/3sL5WZWg8wtpKUUI3Ox0X5WqZZDROtV6V9SzhIr9wdpfD9/RRrSrUug3SEZEaa3Po8BCmUeTSKwXiwynmF0o8dDTDWKaJRZi//+kOXz1ns9TUiZkwOmLjqffwxQIU6yadtondUwgndAJuh1zDZMAvLm+wWrQZjLgkbK7WyJONxal1Fc6uNYh4HG5sdfF4XDhdG79LpWeZBHUXnqCLpGKxXXNodiGoQiThkTyNnq2idk1ZERIR4ZZwVAhbkrg2BxTSPi+JWIj3n+hjZbvGVkGYcBwi0Riv3Fgj4NUYz4Z54VaRoxODRKlh6w4LDUWqD2sbLRabCnGXzcceSPKb9wo9bQRiAvJssXLmBomJCKWCSTwpLvE7mKZCcHicUCxAr7jL4pWbxBUVJxUjNjXMzrlrxEcG5K8llE0RHs5i7OZpLKxCKEhFLNZVi/GZfVRLRcqFHOnJPVTzeQanx6ntlNAjfrZvzJMczMgX806hgBIJE9Q9snZntwo0ihU8QdGfVUhMj1FavoNlKnSLJbIHj9Lt5qTGLxLrpyuqsF2bZq+J1hXxlgZd0Y2PJmRN1Crsyqi9SAHpySjll3+Co7hJvPln6a6sQLss9Z5KqyaBzoJ8by7dQd97ACpliiuXSO69jzvXL3DwI+9j58dPMvgbl0j3+Xj/oRSbFZHuMol5bdoeN+XdGsOpIC1F5/xyE7ttM97n4R0Hg3zql+OiN8DqcoNKQ0H3RVBdInIMrZbgaITRHA9Xry9JO8zxhw9x59oysXhcGmlOnJiTg8j5S6+wuloj5lY49cA9VGo1KrkqyYE04ViI7a0dbl+b58R9x6jVq5I1NDOzh3a3iy7ieAIaI+LKhuCd1GTnX9iQdL9PJh8vnnuNSCRBNBkmt5ln9vBeep0WS7fXpFViYnqIKxevMTw8IiHW5UKN2ckErU6LD//pHU7NZvB4WphKRxpxvvWjOl//4t246gabK+vYjk6na5LKJGg1qxiiaig48GaP0fFxlm8tUavXGRztxxeOyaWlSCvt5nKyKiD+tbu1i2L00D0ifg26IujxLuqVXanH7dptfOLXqcdkJF4Ya0QqcOaUn7/4zCJ/+0yPE0NeWo6LcNBFzzTY2uoRS3h49VKTb3/6rZz+/U/TevUb+NKDEtRrdGryA6oLiJ2IlocGqDbW8Yl5xTMo4+GK2aPXXkezBK9MvOOEINyPY5t0Nl7DE4zjBGJSn+zqWfL/x+3zo/Sqb9DthY7PLGNVi3LZr6g92vWruBWh0ZvD7XNw2WF67RW8vgGsyjJ2Yw1TWEFEhN83h1J5DVVR6ekJyfNwhQbkMtPti9LbOo8+cB+mXZKKcd0do9eexxWdQTHdOO0NTKeGT82gxN5IENqpY6giHV0Qys6YTE/b0Qzd/ALBwftw8hexBOHeyeM0G9A/B0ZAvvdYtQ3coo7tz6KI90gbPGKWdIqYLmFScOESuvPONo4ADgp2lK6i5G7Q00BJHEWxHNz1K7Lnr6h+3E4NK3YMo7GOrvtx7F1cngl5bHP1chjdNmZnGQbuR8WPOLL3bv4LWnBEJjEUXxZ6TRx/CsSfa30BffoxrNIKrtYuGHlssbUNiZ9jH7Y7KXlQauEORMboVG/hFvV3T5ieWcMVGkZtlLBrN7GD/TiNLfTQiIS7C1Of4Y3jiYwIlilOcR41PI4plJLlC//dcZrbkrqo+NMoagazs4MjoDUidunRwPJjtW5JsJ9v6CEZHbAql7FsN1glTOJofXOo9SUM8YNjJ9GDUXo753Cn9rwBj2uu4hLDe98+zOUfYwdieILTOIUluo6DOvoIdn0Fe/2b6KGDMHQfVu4cmh7FUL2S0OiyTSyxvRFXplZVkvU9wwdR8WLtnkfXs7R7RbDq6KoP05tBsTpYrQ15PVRdoiPRQHFiuNrrWEJT0uxiiApAaBrHqaJYQq/nwu0DR+uH3QvYWh9qdIrO2rfxBgdRPQma+ZfwxI5geKLoVguj28LoieujX/IDhBPTbZUxO23csT10jbyEErrjs+hCpVi+KrUtZnEJzWliZe7FlzmGUjiH2dzEHeynF5xErcxLUqYiIi+q8DhbuPBiu3o4jg5GDkUQub0jeLUgptRMFOW1TKQvXHoMPZCkp+qovSI9W8ExWpL03m27UBWh6hIbvU18fccxW+to4o3An8Yo30YJTqGIH/bKIr1aB5fSwBsewrv/fq688A0+9ptfpi8VIBINSTCg5k/y1LM3+eFXfpdSqQOOiEpX2VhZpd01mZ2eYHJ6rxzyBVF/e2udfLlCOp3lzsJNZoRGCIuN1S05KO2d28vOzhbFYpGOiMeF/fLaODExTqtt8P0nn+L9P/9z8opQ3MrL6/8n/uxxPvjuk2zniyxv5KnVLZJeg3c8sl/So3/mXY9x9PgDfPeJx+nUatx19zEM2yaoe1lZX2Xv7B7OvPSK7LKn+7LcvHmTe+87RrNlUSuJiPG2/EL06F5SsQRnz7/GvafvldeIxeUluSzYzgk+hg+zXadUqXDXoSN0zTblQpV6q8rcvn2yS59M9En1VL6YxzRM/D4P7W5P0vlTqT5KhTz33X8/Fy9flEoPj88rN+R79+4hGonJLbQn4KfVqJOIxbizvEI0EZcaLuHaFZf7VrNBMBLBNMQXzDb92SybmxtyUA6FQvJKUqlVGR4e4/y5sxiWJfkLYnv/wAOPcO7cGUbHxtjZyFFv1Ljv1CleePlF5vbuZye3JQmuYpFy+OAhnn7+x/zjF54mFg2Ry5XJDmeJx8I88+pN/uY/PEa9XcLri3HX3XP8y5e+y4/OrbJ3OMr2dpnhgTSLW0Wp+Hz2lf8fCnlySw1CiRF6AvJZ3cHx+XG0JHatKqEnvfA4XruHKRZx7gxdwRbRNFSKGEpKAlHcQqOjrKKF5+gV57FaO6jRARTPgPwZ9w+cxGwu0Lz+UwJ73wLVmzhRUevRsAor2IpO8v6HWbu1yd3HPs5H37+fcHCQJ549QybpYXvXZGZqiNev3WQwm2Rjq8qeiSh/8gcfYnenyfef+CF333MXo0PD3FpaZHJinKpwHbtdlHYL8voxu2eGq5cvU69XMWy3rMRM7Rnn3KtnmZqYplgqc+H1S7zrnaf5H1/8Idev7jBvquuGAAAgAElEQVQ+IT4LCldXtpmdyFJrmly+usPTX/tdvvHUj3j6+XWigTA3Vgt4VQWf18fSRpnRlI8j+4f46Zl5cX7loXsHSIYizC/kCUa88or18rkiD5/s43/96Ns0nv8yiieG6enHq1lUKtv4PWIhakiHt+qfpNu+heKkUKwiekfFjvppzL9M/zt/A7uwQWr8I5w8FKM/6CMqF08VfnIph6lbHA3q/OCVv8d8/nvMV3SSoubms/G5/HQaOcxWB9vrwzc4APUylXyZ2KFHMFevUNkokN27X0Jz3COjCGz64//wBB/54gJzo14+9NY9Mhb8o80WP39kmJdeXeVKT1wuDNp1iz94e4wPfuQRmreLmNEZmsWbVNc3SR84CJvbkE3LQaBx5QxtobzcM03q8GFe+cqPeM+/3WIq5meqP4hb9TC/vE0mGOPV+V2e/LOHmXnHvax87TtkTzxEeX0Lj2bRXLpNRxCYexr+vbO0tlZkl9a97zCV11/Ep1oogQGUYBSvYtGqV9BE5Nbx0Krdkb1n79GH6V2/QO6pp5n6/U+gp7x87ME/5sndNvfPDdDvU1iud1ldKTHcH0WLmnz92Qa/9lCcz/3Xe3jme6/S748SCPppibimmDCF3tJxEQ22uJbT+N/fKeExKyhKkKlpAetSOXzQzfHZIGdeXGdmLkUi3ieTQq1mE11VOHjkLq5cvEo0HkFMrburO3ijHu665wjbG9vY7Z58zmQHsoSDIXLFMvnNMuG4i4GxFB/+vZvcfzwkGPc0GjW2cy6O71HZO6hSqLoZmghQ3q7KK//AUJztzZLsbtaqBomkVxpRPMJEEBQL7ABlATkrdEmPJKjXKtQqFrGoABOabG8axJIBSrk6AyN+PJrGxlqL3UKdsYkkqAapVIpzrywwO5vA7Cq0DQtfWGWoL8rGRolGsSuTGSPjSeZv7LC23WH/dEQO05ZYtCsOwoa8uVnh8D4vqYxOJBDgmQslPvqvBmt1h4GIwtvviVLcqtG1uviDIda3G7gclbZtMJlJs5Yrkgz7pPFoOO3l5qaAEHvYNxBgrdKTyqymYjGViGC3m1RtH8lkiFdeX6bkCeFuVJgcjtG2oV4HnyYSlxXuOraHize3qLerjCSDxL0CjubBqu3IxGOnozK/VSMZ1Kg3DVTbkB3oUqMlYbJDMfH8MfCLqoD4rjMsXlooyKrTRL/GQwMB7t0X5F2nxvHumcIuFTC6DneureLqdui5FbJDw5idFoX5VeJjY4QGh3E5HWo7a/LK5xlJIZpalTu36esf49bTL3DwQ+/H0FyUfnoGLapTrzWJZPskk6KyU2R4Yprd7Q2a+W2ye+bku8/y979DaGaS7m6RwUMHaFZahONBWfcxi2Wq+R0CmRGSs3vJ3biB6teIJRJsXbuG4tEJi0v9tau0i7tE7z5BbHqG6tnnsbwegocfoHrlJUKjs7iFJSE+QH31Br3yGlqiDyNfERMH3mgWy7LwTh6mcfV5NH8/3dwCnngKNTtJt9cgGI7Sza/T2dggNHMIs70L569QGw4Tj0/K62F4KMCVm8vc//EX8Ed03nk4xtXtArohVNQOStCi0TOJunx4PA4tpcvyLZOSW+HRaRdvPx7h2FCAdLyNE0ihGk1aepjLry0zOTtEQYCFA14JOO7UOkSTSRRUVnd22bNnUvbQLbebq68V8Ott9h+dk+8h2ys79I2mJNMqlkxKavn89dvM7J1ma2sHv9cnjSBrm5uEoxFS6TRba+uy+un16Vw4t0gqE2DvwX3kC9uUdoocPHEPy7fmKdfFQcpBdWsMDYmjRpVQMEKtXMPtU/F4dNnjj0ccdrtxvva9dUYGIJOJSdr79880iQY1/t17h2TNWPF76DYthqb72FjOUdrdYXxsSGoY56/dlrDioZkx7ty4ycDQMJV6DaPZllwu8V6tuVSZ3hQQ1VqpCiL9bLvlYSUolj6GwcThOakQXZlfo9U08Oui6+siMuZIUOlDn9ikZWvEPW2aZhCv3qY/6aNjdrhyqUM0qnBj8Qs0rj1P1xoloBQwxAyjxiXczu52cBqLIhWOK/sWXJaYMV7FdqVxonskZ8LVrdEWF2VPDF2p4qrtIhh64qCphqdp1RfwCB1eaAzHKaHUOzgC1li/jUvtwxVIYxtFnK7gQvTQgyN0nTIuJYJSmcc1cAqnsoJw0VmxvXhrO7TcLVSRGq8to6PTE3NW7TqKOo4WDMvUqQAB2rpO1+1HE51/ZxdX6n5cigenukgrfx492I87LKL1K+AREPW73qgEllflsVMM3rY4VtpNCVVVIzMoYiRS/dJ2ptsKhuLDG0rRLm6gxOJoThRTRPEVkZyMYbg0mZxAsBF08T8WqV4H3ROl3V3G3l6R2lVXdi9qoyHZdK7QLO3yDdwuB7tdQosexuytiUIEVquBo/ux3GE8nRVswVcTdfRAFqu0JHbSuOsNSE5gFi9L1pSaOQhGHZcpTElCS9vC9mcwmut4dfE5En+tjeUWlXE/CHNc/nU8ovrgi+AuLGD1P4pdeAV8GZRABqcqFmWC2SBq2SE0p4OjiRmgLhOyqDpmfQOl+vrfOkq3LR9Mb6gVdrFNH1owiVW7IXVEanBQXoMdf1JGS8SmSPP1ye2JiEz5zQ6Kb4BeOQeRfuzGMnZ3Fy08KHViHvGBEBT/yhpuSfgvyg+l7U3jCvWhGQ1su03b9hLSdDrlK9j+ftyWGzUUo9dYA+G413W5DZfKH6UlFYOd4nkUkrKLI3R5ajAEIk7bquLN7JMRl2b+LFr4Xvwe0f/QMapL6EoT9FGs8nksdwCfL4KtDmO7K9i5JWyxREjc9YY6QfdiqTHswnmM6By6P05v9yZaQDALqrhDKZx2VUIgLFGHiB1Ecwfp5a9KfoIjonR+DVVx6IUOoIlehlHC1fk/JL0HtKRXeab7/KlyrlN16uScOucgtUQGSRhEBuMwmLme5HHAYcbGc+079rUZG881GBh77ngwxvj6GmGyQYCQhFIHdY6n++R8TuVc9Vf9YWbv7rW0Vi+tXqp11FV/7f197/s8e5iWjicxSXf9x9j1PXQjhNt3FrtRlv0wTQ9gie2mHsY1dPRuE0NxaNe2BWuMbtsk1JNGiY1iV9bFeR7N6JWJCbu6gpaYwBYXJ7MqI6xoQWzhvyovYZk51PAIRiCCVd3BSJ7E3L2ENxCho/vlG0xtlem4mhyuuOE27splmkYf6TNP8/3P/DIf/a2fcOpYgnBQxSxbbNYaqKbKn/zxB7h7dwurUmV6bo5yrUIylSK/k8Nxu6STfUQSMbZ31rhy5QZnz56V4Lp8Lis39wLAt7Bwj7W1NYb6B7Fch9OnTlCpNCiXS/LCdPHiFVY21vg//uUv8qUv/k8eOX2M0ycOce7p3yMW1ehNxwgG4nzjhbv8/i89xs999I386R/9HSPjfTz59LvZ2smSE5fp/bO0Ow7bGyusb+7wtje/SW7tM5kBrK4p46s3btySVNfRoQE2NrbI9GYolkpo4v3UNeUl5dCxozRaTVZWV2XM+mc++lEJ1huYGJcQpJdefJ73vPcDcjvfaLSYnpwhEPDRFZeRRpN8oYjZ6fDUO3+Ka9euyE272LwbuoqtaKRTSfkFf/P2HRntz+dKHDh8gP7+Xv7+K/8ffckUs/sOsLm1TjAYkk7u2X2zrK2ty87TzOyMvPRvbKzKw/LoxDTP/eD7aLrOybPHaTc73Ll5k1Nnz1IsFKXCRfR4BbhnZmoOw9Ck+qiYzTF3YB+F3QLFcg6za0qdzyNnzvLt7/8zz/7wNXzBBOVKlW7XJpOO8OKFdf7Pf/tWpiYHWN/J88Y3H+Ofv3uR3/7MD/noE/uJxkWHOcbi6jZ/850FKtc+Jbu9leVdiPZIWr8qUjSyO1ymqw/ihEfxttZp26C1iujxQazda5iVHfxjb5M0/25jG390lGb+Nt7kYWwxWXZ8D+tMdoVOvYohSKvii7JxHcM3IzeSTvcBXidMy0lganv0ZM5ijE/yD//1P/Lv/sMLTE37iAaED9hPvd2g1X24eROT/LvLdb76P34V165TLnUYHBpkY2WVQDhAoZiXB55W26TebHFg/xzFYoWlhftM75vl5pVr7DtwgFgsydVrl3nyiae4ce8Ox44cwGyZctL/nR++zJe+fpOxkQRnjw3z/EtLUvmVjAXZyRb4lX/xKI8+cpgbV3f48Cf+luOzccIBB9VWOXZihtev3OP00QnZiX3xwjK1pkJQh9kDKYJhl+8+u0IwIMCvNq8vvoJ5759plWrY0X4MEbELRFBKd3CqWWzRLRYdu/IGRniYhpMjaGl0jRB2YZ7EW3+Br/w/v8O/+o3nePfJMJaYkHeFnspH1Y1y4dUlXvjJJwgaaSrPfgVHT6KnAzQ6htyOJQ4corW5gS+oYonKWbP0MFk1cgR7/iJaVPQSt2lXG8RHD2Jk+gjE9lh94Qqf/ZsNdhSTfMPLeBqUuktkOE1Atchu5mgZOn97ucZnn+7hV37j7VhkyF5+BafsEjp+hLagEq8vYPoHCGVimGJAvNKi93iS7/z9RX7tm9vEDZv+mB9HbxOwNVyvj9sPijz3mTcwcPgEhb0y9Ss3CGYS+MYmyP7DV0i+/8PY4tBY3JSVCtGjbOe2CB45J2PL7t4aVr2N2qhAb5pO3SJ9+Cz51cvkX3yR9IE5EqfeRPH8eQytjXd8Eu9UP//xZ/+MT59v88TBCCGjTbVmMBAPULBqDPbF+OIPuvy3n2nx4V84wfmvLzI4EUfzdsntiJqfRrflMj4ZY3XH5F/8wQI/+3ScTrkrE2Gv3m8wFlH4/J+dY2Nhg+y2hT/iJZmOovu80uvdLDfJ5YSC7zQPVlZwWmLQ7MHjVVhdzjE8MUgw4OXe7XlZR+ofHxWhUxpNAQ5u8JVv5TBdL9Vsi7FhL3VbIaS0+E+/dISbr23JyKS4aNayHTw9PiIeg5W1LPv39zN/d4VgqEeC6GzNYeH2FocOjYBXIbtcQA1oRMJRPGoXX8jHhfObvPt9+/jG1+8iQoAnj0awDT+rizscPj6M2VC4fX2d/UdGZdpMDC9qYpDc6yOW7GFlaZN0Kkiu1JIqN9PtEAkZArdEtugwPurHdprs7EIs4aFvKMlrL23SmwiQ8tdID/u4dqvDB79SwWn6ydouMc1if8ZDXG8zNRFnYbNLKOhKBkPT1FDUthzOi817qe7Qdi1C3hB+sUBQvGwVygxleljarhDwutLGJP7/+z0q206DUX+Ijawl1b8iuvvmA1Ms5qoUWxVmMn20bZPzV4uceyTD2naFZkNQ1iPcL9bRnRbJQIhWwyaiG6R74rSUJlfXs0SNMNd2i3hdg7TH4TffNszHPnJWDgnUIDTmc6zdvknd1Bk5vk8mnCrrOySOz2LeX6dV2pWfm+TgOJ1yWSa3quWShLnGR0YI9GQoXb2Ar78P29DRQmHqyytsr6wxNjVDNZej78A+itu7JDIZ1m7fJjA4RHqgR0In3XoVTyCEKuocuRzbC8ukR4YxfSpKo40vGZUx9267g9psEJyaxTUblG7eJCOeP53GQ8OT68P1+9D8XbypScxGATY2pBmh4YIv4MFJ9uPPDEuOgFmv4+l2pTrOFpDZ+g5usAf30KN4q3ma1y/jmzsoQgZYNy/gOXiCNhqx4WOUF87D3gauN47v+Bmyr/6YzMR+KqUNOkvbTL737SzcmefEr/wYj2XzxiMRmqbNZlPhUK+fB9kW7Y5CSKQ5/Ab1dpFi2yDX9pErWvSlXPq9DT72liHec0hhcDZCq2XjdD1SQxtL9KEpfkIxF8e2cAVvo97mznmhzgsweWQCFAOrZUljUiIRw/D52VxZpN7o0N83SDjmY3dtl3BPRJ5bIjHBTirJZcvQ+BittkV2bUPCkYdHhulNpyWUOL+XZ3J2Sg7Qcju7VCt1RkaGCcdjUiV45Mwj3Lh8GU21JQMkNTyIisndq5s89eQpao0d/vRziygRDz5XZf9whJru48VXs/zmL8QYHhzi9t096vkdDj92kljIw+XzF2Qq68DpY9y5cJm+oUEGx4dZWVzG79WlutDw+ehJ90iDTLXckGnIrBhqNVuMTk1RzGYxggZDk9O8/N3n6OvvRfMGWJpf5cQjx2m0azTqebYXWzzxdD9f+5HJh/58lTcdFkVchXJLYTASx1A7bOSK3NjWKNz8FE70KNX75yV3zVW8aEFbnkvFMb61exfFP4LHlxCHIMl9cEIDGM01mrnr+AfO4bR3sUwHn9rFTpyWujpRmXTaWQzLxbJyCMWKSC+QvUZXi+HrnaOtRvE11+m6XhzdwCheRkmcwm3lpEbQ1XrRRK2oU0axbVShQTcLqLE0mhmg2b6Hx9svNX3O1hLdZBqtuIwyeJbW8vfxJ3pRA0MPYYamiRoZk/ph1xjAEOmNjQc4gTDe3jO0awsoYjMu/lzmIJqq4/OmadfWsY2ArHwrjfsgtHyRKdzabRmPV72DKKkx1EYBt7WC7YhO//DDZ0FlDbfdwvBHITSE27Uepr51j4S/q73HQdx/RJXbLxR7CSxhQVJ8aGNvwdp5EcfuoPSfQ6llUSvi3hpF04fkvVFTXJzOLooSRmvu4gy97aGWfu8y3eAcllWUCmXVzGG7QRyPg2aWUIRVKThKV+gB1S6djo0REnwJBdcqout9WJ4oanVeLoYdAddvbmJ6EhiqUOX48dhFmpVVvOE+HN84anOHTvEedKt4Mo+giEFW7j5K9fJnXU1ERgxF9ghoFXA8OkYTXH9Q9ie6jRxW5S5KqBddT+KIPqaWx4gcp2vEIXuRjqNiqCUcfQjXqeInQTcxhFNZkYR/T2wAc+cF9NAwqphguU1cAebTfWhC52BFsAVYR5DFNR92ZRFbMzCiB9HMbTqNTQgPoNc3cWMT2ITprr+CHu5Dq93FGHjkoQbHdVHSp1DLr+I6PpRmBWX0DVDbo7H0T3gHz6DYQRzdi+6PYjuqUOSCmpc9Glp1NK8hY/GKUMHGx6CxjhMckDYAw+5gKx50X4JupwF7F1ESx8AjolZ1+Ya2a7tYzTV8sQkc28bstvASxhB2Aq+CmbuCxzeEG0hgeKKYdgWFPhR3C8NycNQQ3dYentY83Y7onk6gBMPY7SquYqFaPrkJsho7aKlRuYnrFhfQxThJ82AaQbyBpJxWeXLrmN6wjApZhh/DruPYEumHJvQaSheRANH9A5h2Ha1dRdEVHFVH9/bTzd+mrXYJaAqK0YMSmyO/coHxx45y50cXePznv0gqEaQ/arB/ZozX725QKzV54fu/x9LdZa5cuy9BdP39gzIif+zIIQqFCkFfiAer93nvu9/DCz95Hp/XSy67J/uYJ4+fZn7+NtPTs7KXtbObFWkxQoJkXCwTCgYIBoPs7uUlDG9jdZM7t+Z513veTD67yb/+nX9ksD9OJu4jGu/j9oM1fG6L//zJ95KvOfzouz/izz//l9yZv0emJ83VKxcI+QOkUmmZOrhx+ya6rkv2QDlfIBJPcOPWNZLxpPz7LBSyDAwNcfrkI/zg2WfJDPRSLhRloqFcrLK+vcGJk8d58GAe11VkTE0QsSOxGLVajWx2R0a9hQIuk+mX211RP5iemuall1+RhoF9B/fxnPhvp9J0HVeqBsVFPRIOs7uzw4EDB9DEBj8S4qWXX5awj8npOdZWl+VQSEymxUOy3qhjCWKoBWNjo+zt7VJtNChl88wemsPvD3Dz5jWG+ocZHh0jt7uL2e2Q29ulLTrpvUk83gAP7tyhf3SEwd4+Lly4xNyBOe7fuYeiOiRSPYyOj5HfyVLvNvn0p7/E7OxBtrYXGewfZX07y062yq9+7K2cOjbFt777A5548jG+8Z1bfPnrrzE3lpTxu1NnZ6jW6/zF391i/faf09uboVm1JTCru30HI5HB7RboFBYxgsO4gTg4AqDlod1cQ3EDGKEx7E5OAjgFVMayQnj8ddptD8FEBpMwqgD8lLdptbbwpA9Ic4LRqdDuVqQDu6mKrdkmwWgY2ycGPWukvSlMvUH00ON84l3v4UvP7jEy4OXwgTGZbFlbydOX8VOoN+k2Ovzuv/8woYDG8sYuj5w5yY3b88xNTnNn/haNRhtdh9HxCba2NvD6QhgelbnJGRZXVqjVGwz0DXDn9k3S6TTBUJylxbsMDY9SLhakCuZTf/UCms/Lb3z8zTx//johQbSvtMgXGrz17BhveuygfE49++z3+NkPvgfLp3Ln2gpzY314Il6ZJIqEHL734xv88V++xJHJHlK9Saq1uqyLHNs/xDPfWGF+88t4ilvUOz1oMQNz8UdS0yqei1Z5A9W0UCI+3PImbjCJJzCMQp5qpUHf1DS1RouhqV9hYkrjYMpPuetlrVChx6dTqDb43L8+x6Pvf4z8N76Ff/8bqbRMjJV5tNEJDEFmF4mnYIjWxhq2psgEkmKAqsTpmjWCw7PU1xdlX1bVOuxttghM9NKzbwqjWefTv/U/+NMXG7z7LSN0WiXCjsHUYITFtRKb+RZev5dn7jb5T2eC/OFf/wKdG/fZzbakbSZ18BzV1dsE4hE6Wxu0BTTx4Dki0S7/9KXv8Tvf2uKJR9Jkt7oYHgO3a/P6RoVuxeLBP3wYda9Ec/IopZuv4fFHZFJG8To48WHspUuoXZPI23+e6s3X6Ny4SOTso1gVG5/eoSoAfTdeJzMkqM5tjJnjWLkKxcU7RHUXZ6AP79xh3HvX8BbBMzOCMZXkE7/2d/z1i0XecCbJpNch29Hwth0mZ1S+9EKVQMvl4tdPUVgrUa5oWHaNRLSXUlkM/l1SQwF2Vgr8/hcLvOG0j8FYiGzJ4tlrZQ71evntj/exlW9SLpj4wn7SfSkZhQ2LWoMlevgBCS1NROP0jwk1bZfV+6syZt6fTnF/YRGfVyUeT+O4HSr1hxTvTFznv/yPTW7sVDh3IMH2RlsCN3Ndl199u4g5NvFYYfxRL9GEysKDLIl4jJ3tEuOjCQyfMHqYXH19ndmZXpJpP9m9GvceFHjiHdPs7VTY3qwxd0joPz0Uc21iCZ31TdHbDjDcq3D9ptjAKkyNxdncbqCoJiNjcZYXy3TbKtMHerl8fpVkLIAvGWZzZZPhgSQeoQncacn6YDKlkUikKWyXsBVb9izbjvCdN1nZaPPG08PsOXWGAhqDR4cw93aprKn8050O376cZb7sp17TiMVMUkEPKY9OMOaSr4KuWOwU2/Qng2R6gly4s8fR8RgLmyVSiTDxqI+tnYaMsYthbTwkaNeatDzczzcZj0VQw138whFtNTA7Xjn06U8bdK02uapGxXI4MRLhxoM8noDCZCqEJspTdZtUb4BitUpLDfDKpSwtAcQSPd5ul5+ejvLuo7285ekjsie9fXuJWDxNYW9XanuDE70UczXM4h52sU44FWdzPU/vRI80s2QOzlFcWGbz/iLDx4/TqVUpb68yeug0G/eukJ6bJR5JsnLjNsn+DJ2uhR7yYdZbuG3h/XaIDw9S3dqmXa/JZ7qoQYjf+FUNI92DLy3SrS1ifYOsv/QSjmITiCTparbkCQQ1nfziA4LJGK2qhRsVaZEoC9/8ZyIxg9RPvQ+9L0P55jzBRg7jxGO0ink0q0s0laL2+iWUkSGsRoPuwmWi596LHQqjlitYRcHdsWBtmU4ghCfai3dsAJZXafoNPOMiGfuA9tXv4Xn8KXRPkk6pQMB1cCp5yY8qi/rV5ADefBclkiR6eJbS89/i9K+9xJJp8jOHogSDETb26qTjsFlSyFXa1MwmcUNhZjCBpXSwHFtCT69vBNltOzhWm8mYzR98qI93vSOJ4TPQa03angAvfv82pbLG1GyCzGA/xYqw5oTxBzxyaLh6Z4GZI3MUcjnanTbJcI9MOnp9BtFIkgcLKxgehYBPgCaE5riCZYlhdUxCLsXyRbAAVE2TYFCxyYvF4iwvr0jOh9jWh8LiO9xHvSoWChbhaFwyxmr5CqFYjJC48ES8XLp4h5GBfnpiCqaj86m/3mZ6WGOrbhJ2NXLtFidnPfzbjz1CuWKyfH8Xn6ZSylU4eu4Qe1slSWUXijbBOAr6YwSDBhVR1XO7jI6Ns76yQrq/j5XFVey2y8isWFTq7O5sYpouycF+PKqDa9m0KhW8kRTxuEhQVVm7u4GtQm9fhv60RXI0Qf9HFxjvj3JuQmFhVygB9wjrHgZ7vXzrfI5/+y8O8Eef+xOat27KOwuVHN1QQsL0/EKn7k3Q2f22TL6pPQfRgzNgWDib12lZJkYkiKdjSbuaVbuD5RnAE9+P0tqkXSug94zLO58m0t7RCZziTVQBqdM80ijjqim0ziquUNwlU7TrdWi08PsV7JAYEoXpVpewFQvD04vTKuAK0Hp8Bqe8jRKdxG0toHk0HDuOtfgdAqNvw9UcXM1D126jK375WlZlE7tTQA+Oye/LTreN0cnT9YXwBjO0ll9A9Q+g9k9BdkEOepXNS7ij75fvG7XwCtrEx7B2L2O1NvBkHscuPsAqX8Y382GoFqT5zRg4IVPkiuAD6DZmrY3q08EXwyMWp2KQYoWwHS+egC6rv0KL7kYjqP4U5uqreJOiEtxA9YXQI/00hD2huUQwPEtHgNnLNyExg+3oaL44Og2s1h62ICz6wmiWJc9Mdt9ZPAJ+VVvBrgmt4TBuSADyl9HEwGPgFE6piuoT91QbrdvGNmw64pzkNHB1AT1so3crEqrv6Tsg012KY6KpXmlMsEXVQ/MJCIxQ/eG2l4ExoIBSfeVTrtvZxYmOyem1uPQ6NKRru1Er4I+m0YLCcxjCKWxBz6h0z5uNLH4xvTHzOJYg0ffi7VZlD6NZvIs3OYLImohetyIUddEkbmFDguZQHRS88iHubS+hJo7hRFNoxdfpMIIaGkCvXMD5335r1x+SREohXNRNDVMc2nU/GBHsjuhrnJbqEruxQVdszaM9aG4EzEW6elRGO1QliBWJERB+auEZ9Zo4vhToUUkHd70nlfAAACAASURBVNQIupWl2yji8SdlX0K4UqzaNmowhdpuo/rjKG2heWniajHM2l38ImohtBdqSHYoHaeKJzyF1d7EbTbxRDK0l59HSx7AmHwM8/4zqK5fEi+d1iZuq4xj6BiODz0xSKspNvUOht/FG5imvPoc/uSsnJAJCJ74mXW3ACRRxIHLdnA9PlQxFGlU0SKT8i+cbl5OkVQBumhtycEFIjIk9B/+MJYuXOMeOmZWklVpdiQMxtED6B5NPqCNrg/bKiLUzaodQNeb1MttPD2DBNwq3mSX//4nP+SP/+ES737bLPntLJulOmZXTDFVPvkfPkZuq4LZFYAfAU0b5/LNO0SjITK9/SwuzksV1JnTpymUSqR6Epx/9aKMrx/av5/1nU2WFhZIpHrJJNOEoxGWlhalAzST6ZXqMBGTn5k7iCo0irotvaHicvVH/+2fZf9ReF2jAT+X59fwOQp/8LsfYX0zy+LdG7zhre/E8HpQbUtSb52OKS/iI8NjrK6ssLuzzeT0lOybKRoyneBYDjNzc3ztq1/Da2icPfcoV15/XQKwJmdmWZh/wGBfRioqw7Egqwur7OztMDu3n9WlZTkIEfRY23I4c/w0VbPJ0r15egf6WFwQ+iwvR48cZWlxQUbmwuGQTB2EAmFu3rohKZ6zM/tRdJWlxUWpphkbG6cjGA8ucjAibkc7W5u4rkUqlZF6wIGBAWkTEBtfsYEWPt6u1eLWrZtMT88wNT2Hbbe5feOO1J2MDY3I4UShXJD8gCNHj/HqK68xNj5Cfm9PDjXSA/2ysycOvWtLCyR6euiNpwmmwvybX/x9jpzcx6Ur99m3fwKz3qTatjmxr4f3veOtPPPtH/L0U2f5x29f5MrNTWbGEyys5kknDAolh1t386w8+FN0tZfK7nV0N45lO3Iy67drMh3keDSUnauSmq2pGrZZRfP2yYu/VxP9rP14BPFUPOiFO7ZURg1rqD6hV9pEyT+LmjiBqgfoGhH8SkecGbFcDZ8/hh3sxyqsEIj2YmWvyw2lmPf5px7FOzLG7a//T973C1/k1KkJfF6DYqmIbRusbVXRVZPPfurfYLZsOs26/Owura+jCVdz3wCVmhjkwdDQMM1Wk1gkwoWL5xnuG6Jlm0xMiGdIm+1slrHhEXbyO/i9IXZ3c5J0PZCK8dXvPc+FC0vEQgHalqhsxFnfyjEcTXDi5CiHDw3SrnUIhROURLe93ZDsk8V7D+hJxtD9AsJU5H0/dYZP/N6XyfTq7OWQ0LfBgTTbewVeuZFj8fufID7aQyWnYYjnRSIi0xe2Y+JpZ+Uzp1V4gFJbwDf5HmzhrG2soEQShKfeyO9/7AP812eqfPzdYZolg5iIhmPz3I08UcXi3rc/RrWmody/zI6pMjg4RMcbJbu2zPSZtzD/xS8QesMJokIL1K7KrZGezEC7RaO5iTb0CDoVgrbOxuYqybH9RPbWya/cJ3jyEJFHz/HMH/6//NZnrvOusxGybY2VQpFHhmOk+nq4f32R6HA/n//xNp//YJpf+uzv0rh+l8r1n5CZfIyi3cAbTdCq5TDW1rH7R+lJwh9/9mt8+rkuByejZLziWSo6nhmu7RQ5Hujyhb/5N5ireeort4icfiftUpn2zVcJTE7jRgVsLkn1+vfwhYexy7tyM6H4xcPWg62r6G0R8wbv5EG69+9gmzk5KGqHMwT8IVp2i3Ckl/r1CzQDAdKaQ/DAIdg3yhv2f5Kbls27DiYkdCs5EOT6taY8NNb9Xt7db/Kp35liZ6vN6lqOaLiP3qE4lXwefyiGR2vxqa9syAh2IuaSrXa5vmTxgcci/PsPD1Jox+V3bb7QlJ//dDqO2+pyb2GRublp2maXVr1MuVCVSaVwLCrVp2K42qjW8HkVysKCEo5jWgq1QpXZ/TH+4L/fpVENMDoakCq+kNfl6n2Tn36zwXtOjbFaqLO+vUexoDM55mNkuIc7d3fozfhpVFzq7SYJ4W8fTTJ/Z4mRoZTc7m/nKgyNxihl2+gBD4u3t/D7NXr74xLalRmIcvlynvGREKFUgCsX1yQ4U0BXU8kwzY7z0NoRC9FoVQkGvUxOD/Li9+/T1jq8973HuXplFbsrLjoK9YbJ8HCSSs3m5p1NThwZoLQjNLsKBFQSgTBbG1XUVouBTJRip8G5416IjXPph4u8tmVzPa/zzcslGh0fXq9FLOAyEQkylFEoV01abpdCVqdvwEuxouDxtEj4DRYKLR6fzPBgvYLpCuggtLom8UBcAnWFolgM9zstl3BQnMMM2laHfUO9vHhjh595coZcvsqtrQJhj8HVjRJ9iTiLG22cgEN2r81w2IPrt/jch07ztndM4RddUluRrnShX1NrXrLLRXpGQ7g9UfKrq4RCMSq7OyiKi1dstXt7yG0s0zc2RHlhSVaJmhXRf+6RKc9asy4Tm+KS7tZb+PqT7AkbTscmJGLdjS6R2X1U7tyX1YmRMyd48Pwr9A6PEJydYuHb3yTaN0gklcQWHJ/bt6RzOzIxSSwVw/UbmBtCEe2yd3+VyGA/ZqOB5vXgDYVolHKMnzxLYXcdcIkdeYTWxjZadhVFUzG9AVmt85ZreI4/TDs4t17DSaVwC+uEXB/NoSm0tkPrwQt4BscInPsA1UsvEOkZoD5/icpegeTB43gNH22RwI2FUHZ2cQIh6sUdwv6UjEm3F18gdOZJnFJZLqDU0SM0bj2H45gkTp9B1R3e9+++yw+vF5nq9aJ224yPBWk1BE+2TdiXZrm4g1lzmRmJUip3aQpwpUfYG0R0Hl66V6Pe1emNdnl8LsBH9ju8+X3jxMQFyNRpFtss3tyh0miQ7Iui42VhaVNyQA6fnWXl1hKBZA+9vUlqlQrtWpeWW2dIROSbDXJbWQZGhyW7SKgW93ZytM22TJLUGm3Gpqe4dvEi/UMj8iwiiPtLDxbpG+ynWashvp1HJ0a4ef6mrG4ogglVrjIwNoJuGHIjLlKWTduSUfV6KcteJ8KPXspx5GCK2m4Fzefnmz8p8MvvT/DWpya4dXGHRrPI2nKNt77rGJuLa/KwN3Nwjtu370qdaNe05WuJpGY0lebWpWv0puNMHjrEa8/9RNYbxNmtN9NPPBkhXyxiCeBkQFg4WhiqF086xtbyhnx+jAwM4ZtKsfdgg0yvyp//t1v87ncMTu83GA4prBYamG2X2akedrfKvLRq0rr023g8CUoCfFEroRoRPNFxzFYef3IEs7iGxxukI87BLZEey2EbQYKZR+hUlqG2jZWaw2vE6O68iBuawmlu4dcU2v4xjPp18KXpdP34/Jq0ueEbQMSNRN1bCAFF/1zzj+FU1+may3iFGczx4DSz2OLelBlFoRerNk+3lscz9Ca08us4nszDy3arKCHqqrksa45G/xRKK4km7pp6E0eAdj2KNNE5ioNSW0GNjOI6gqRvSSVfty36SxkJrFeK97EUB6/q4Hji6IlRzFIePZ7G2r2KondRoqdRlRr25iKuL4LmbGOHZ9AD/bjdTVnTEMsEx4pitHZResaxRVq7XkKJ9OLUxXk4Boofu7kjq9KukZCpAI0KpicljQ/WxmuokX7wiH/80NmVvBChmhS8u643gz81TGPzBj7HROmdwe7uoZlCXT2MKxbena2H1RRfBtUWwGshZBEaYENWvwSjQTABxPJW8RsoLROnsSXrAGIQoQUyGKE4TnmeVnWL0OCjso4gBn4+I4ZZuY8eFEmHE7jV19HVOF2PF6X48iddQ2yziUuKvy0OdY6DImIb4gUFIMFtP+zF46CIvoUqwBJVGqUNAqLjkDiAI3rn3QqtVplAfIyOZaC2F+jWBG01jurrk/EQzCJOeD84VTCruMUV1EAUKzgoNQt6JIPdzqHaunz4uZ0qardB159Ct8VmuoMaTmMYCTqie5KdR+k7IOMbaruGLcASYpLjzWDRxvWEcDcv4upejNQsuhahnb0pH5oChOf4U1i6RXdnnoDVohvsRQtmUJp7Ehqm+Xtx9AGc8nmUTgt98knswhZuZwfXn8HotnHbVRyvgeZP0/X1o2w9hxseQfeO0c5fxScqEKKnbzUfpg70Xtnv7DZ20b1xunYD1dBxTQWvtUVTC6EEBjDcKl1PCrUsHLHiizsqabKK1Ub1RGjbIlkgOkEPYySWNy01EYZZp73+Atrw4+jRSTq7L+FqIXQtSLe8AqoXb+YwZuke3vhJXLVKN7sgKd6WU8Wo5DADU3g9Nh1NaCMChINJ2tsvY1ZKRHv3E5gZ5uTYz5HXPZya7WOnVMOvtJjfMHn85DB/9qnf5G/++9/wyNlH0bwaly5c4Nixh1txsQ4aHhJ6MoUf/vjHElo3Mz3F4OgIu9t72FZHbiJ7e3tZWl6Q/TNBmhdOUxGRHxkZIRaLyP7M7Tt3SaTj1AotWdWIRC1+7798j/3TaUZGe1lZzZMtmxi6zZc+9+vceP0yX//2D3n/Bz/CqUffyA+/820mZqZYWlvlxMHDWHRYX92Q0fu93RyPPvqYpJxfuPAazVaLxx4/R7vVJeRTefm1S5w68wg3b96SsMChTD83bl1lYnJCVmpq1SbFcoEjR08wf/eW7HzH4wlWl9foG8qQSqa5evUyQ2PjcshxZ/6ujLgnUileeulFnn7301IT2G7V6B8c4sa161JxlelPsbeTJxFLcu/BvGQWbG5uS8pwJtYnoYA5oUqKxSVxPx6NMzU5wuuXXieVzpBJC8d1gWq9Rr4sIv5FYqG4HCaomsqNq9flw1hEXQUAcU5EIl1HbgAi4RjrK8sUCuLzoRKKhsU8j7GRUV67cIl3vved/OxHPo5GFNvvwePYVNo1rt+q8JGfOsTb3yh6jHEmZnr4q7/8Gi9f22YgGQTdYXJggou3LwsABS/f/DHWxlWa26Lr1aHm1AhFHkUTNoB2G8sblCkYt9t6OADzpnFbG9Lg0aGAXtzENitoPfsxImlaxS1ZqXHMJt74fkwxrCysofhaeIJHMFsrqHpYGk9adgOlvCfrSQK2U8uvE4pF5aW2eut79B59lN2r8xz6wJ+xb7SP4ZSDFgzRbHd5/tV1fvrpI7zjjUdYERpGr5ejhw7z/AsvEeqJc2BmmmAwzJ1btxkSscZAlNt3bjI1PUFZHJxabe7euceT73yKxdUF2jWTuugVRsNkevvQvSHWVu/y+pWb9I9M8PKlRTb2ShyZHpYqJq/fIGHAb/7yR7mxeJ9uy2Sgb5DdvT36B9I8WLjPqSMnaLWEXs+iZnr41T/8Rw6MJTk008fLrz/g0MlhLr68wVNv7eVTX/gy3fs/kL55RQliBwSwp47XL3plHdyWRUscdBIRXCdIc+NVEpqLdvQYCqP4Bj/I6VGdNx0Y4tZKneF4DTXdz7e+vsyNVz6GUWpT29jEd+AM1toSnpgPs+Fi1gvEx4/QeHAFIgl8yX5qD27i6Unj9YcoXr2I6jHwHn0U1q/j9XrRPD20Z0/i37pC5/ZNWuNzJMWWItbl4pe+yleum1wp6qS6NTphQ8KuxqI6P/3+gzzzzH3+8uoOX/jAML/4f32I0uINvIUk7coypVqL3kfegl1t4Ny9TPyd7yC/Bx//9c8TDwfYzjeIxjyM+r3809Vd3j0V57Nf/WVqS1naW1l8AzMUXn4GuydDOD6AnV/EOzon0weN1QVsQRSvF4gdegdUi9TFpUMMbMQlVFS/EkGstbsoWg/+uJfGxjqRqTmKO+v4q03Ch9+AuXOT7I3bzPz6r0F2mYPv/wrlTpc3Hejn3nIJjwrvedMwL5zPMr/T5c73DuMUiuxseyXAS++Y5LI19s8N4hlM8MFffpm3H4niCXmo5Yvc2wigGB3+/8+c5sbFZVrtLtFIDH/Mw8bCDq5iywhvx+4QF6ow3UOpWJDKLPEsDEbjpFIxXj9/gZkDMzRLTZaXVjh46hhOo0DvUIyv/dMuL93OEQkbxHyWjCD/7Q+K/PQbAvz6x/t4+aVtDk5nuPMgT0/CT7MtfMdN8mWLbqXL0VNDBIIaV66sohthNKfFxL4EVy5n8XsNJkajLCxlCYQ1Rid6uXUly8BwUMK5XvnJApGIh2Q8IC+FPkMMSy1KhSITs3Hq1S4/+lGFI4d9zB3sodvpkBAwuZ085aYqQYOTMxHSqQhrCw0218tE+ww8jkq5KYY5HvoHVLxqlFQ4yN88c49js36CyTg+zcGs2fh6AtSKRTJ9BjODYbRIlKIgt5+vsdxosJQP8cJihVzZZm4yglqvo/iCjCUi3FvL0Z/ysJl3SEREl7VL2bFIBg32ai3mekLsNh1JmZ/s0bBdl82STippU6y0CPu8rG6WKHc18l2F8ZSfnUpLXvzFjfxwwOXpMzHe/thB0p0GU289iKWHsTotKlfvoXi7BIYmCcV6Wb/8Oru37zE2OYon7Gf9/hoTZ89QXN3ArOcZOHuGwsIq4bEhuk0Lj9mksLMtB+BYoPqC6ML51XZoawqNbE6aegKpOBgqfiNEaXubYDqFork0yyUa6ztysO0ZSSPofNu35xmZmpR6QJGEtCom9WIFXzCIJ6Si+IN0yk18qSTV9VW0rkp0aoKNixcYOH5YRn7NzSW6rS4D73wXxY1dqGzgEUuXsSNonQbW+j061SKKyKM+8iS1m6+hB9K4pSzeiWkcu0VrY5ng3HFqr/0ENdlLYGySxtJNfJlx9DNvoXnnGurFb1HTovSceQJr4XUs4fH2+bF2NvEefhTaFVp7W3j7h+huzKP2TaJsbuAGNRBpv4FBrCP7+b9/66/4wg/yQsTFyemQHGKJ2miu3MBnNOmLDrAuyPmmgxCoVKsdBlNhAj6N1b0KI/1BNpoeLt8QgGyVWFjhTJ+HM30WT54Mc/TMMHpYlxq+bLbG0ioolsWJo7Pcfvkq4aiP4WMjlPaqrFzYomc4TCDyUOfndLxsZLfoiQXkAsET8aB2PRQFILEtFJtduZBJDfVz9+pdejJxRqdGSA+MPoz7KxAM+WXFSPTqRaVgYHyMnbV1VNemXqsxNjlNrrhDPlthbt8I8WSAv3/mHlOjQ9x7UEQXrADVlKaLD78/jV0TCVgBZg/htEwKuZJ870X8guuzQ09vRi6GGq2GBP+FQlFK+RLFvR1OvPEMC3dFldJmeHhIaqLFQchqdWQCUzF0qYDOFwqy0jAyPiqUPOgBP7rbIb9VIBDzcuBNhzn+9PNsVducm40xv9WUdZjZgQD5XJOrD6p85U/fwbt+848o/+QbeEUV2duVqQ1RMdbiQyi9j+FmF3Dqq7gCsBoZR/GlcfI3cT1eXD2INzGJUV2nIvR1Sgy/7sVyWripQxKIZzkllM2rEJ3GTooUZRujVXh4gba90gzn8aZxDA2lo0JnD8vnx1BTIJanBPDGxrHqK/KOp4VnsCv35SJFV3W57bfrW6hSvTeI0lwSm1dc/yA0N3DCA/JOJxa5igAYxvZjdlqw/TLK1FPyM+22dsEIoetCibgnl6kiwWBmb+ALZWjVVjHcCK61K9MJjjiXhCJSj25WFtHENi/QD3ZL6vlcV5O6eLE4tBvrMu2AiNYLOKCro2s9uI6oHIYlV6rdLKDRxXJ9GEYb1wmLtSpmu4wWGsA1XFlRdFXBBPLREVD2pmBkiTNyQLK1vAKOW8/jdoXFxZVAQbGtV/QQtjeI1snKYarV3KRV7+AJ+tHDgyhWE0Q9UqTTxcTOVVHsMlZgALdZQPXF5LJLLOERaQ+7IxdO2A3sagE1MoQSCONUtqGdRY3vk3cNpXrhT1zRqxPOSxHXt5orGEPvxhGk/+4SqprCCqVxzQJKQ2yEBUF+TL44VLCNMUltFEo1RfGjVbMoE8forF1GV1QUNYCVGEFt5nC9SZzsq3LKqgRGcIq3cfqeQnPKOLUdVDGl1hQ0ET2vLCJQXqpwt5Y3cHx9qG5RUu1p7eANDj2kOlo17G6TjlPG01VQPUFs7xBK4TUJP9CEjoEibr2BG+rDKzgcnTpK737cdgmK9x7Sc0OTdEsb+PxB2loYyjuosV40dDqGB0ekC+yWpEmKbp9QRAgQIYKf1Kmi+KZw/nfMXNG6KMVbWP5pVPFiAgYkCJKKKgcahqvTrG+IuTuqEkJJTtGpbqCUd1Ez+3G7ptRtiW2QrgSkJgjxIe5W0FUvti8tu8vCBSnQo5o/iGapmK0KbiSIz43S8SnYWxdQ+07haTt0xfQqIbo2e2hieOANy+mk4hE1AA2rtio7IYp/P25n/aEOMDiJUb6N5YRxfS7d2gb+8CSWEpTvhZ7HPsjxkSeo0GIyHWZ6vJemafL6vRKzaT9f+Nwn+eo3vs3s2Djz9++yb+oA0wem+MY3v01fppdSoQyqUB8FKRVqnDl7louXL9GoV3n03Bv4wQ9+yPDgAH6fj0a7wVNPvoMrly/LS+bI0AhiHHXo8D42drKUi1nJFhB91Jm5UT7zlz+i0ewQ7/Hy4MEO+/aN88MX7/Pvf+YwczOz3HlwnyP7DzC+7xC5rU2mpqdZ39jg1vXrHD95QmpKBKm/Wq7hDfq5ev0yQ/0Dsss9f3+BsD9Gui/OhYuvkoqn6Ip+lVfn0LEjkj5969ZdYpEgM3P7yObLNBp5QoEYmcE+nI7D5voOsZgXS9Xwe/zk9gTIUVQFRmnWGqytrjM7NwOuTTZbJlfM09MTJxKKcuv2LelNP/3IWS6cP4/ZcZicHacrvni6FpubWwQjfqLBMI7tSu3c4oNFmbwQyYTcXpGW2ZDDl+GhIba3txgYyDCz/yTPfvd77Jsekx7eVy5dIBZLyMtrPB3DdRRyhSLteoNsfodmvYXZfdhPmpyZkXTUoaE0W3tZPveZLzEwMUgimmBra496vcZu0eTkvmmOH4zQExmmo9f55B9+g7kDw9REH9oSEbs033zhPn/x2x/ig//pk2x95++IT5ygXS9hdDYwMVHDQwialS5gaV6h3SyhB2KoroLVEB7aivz34mAiqN1mu4Ui/oyIbNltDM2WUbry4rMkRt8C3mHs/APcZAoaVWg8wNRHCPhtFEXHUfvoNJZwg360pkXXsIlPvpHNl/+Wn//E18g3uzx6cpK3nprllatLfO2Feb786Y9xZN8IL7x8D0VzOHbiqEyHHD9xkuef+5FMY/Sle4kmk6wsL9Kb7qOvP8NPXvgJb3vHO7h25Sr7j+wXshg6ponVceWBvS+T4srlq5w8Psd3fvAyf/UPr/JLP/d2/varz1Epd3n6iYMEhCapmOVfffwpGhWhqBQGEId78zc4feokaxubHDgwLSHMd5ay/Poff51MKkA13+LXf+5xXnz9quzLfvPlbV5/5l9x6KkPsvfaPxMwfA9BPOKLrtXE3LmCGh3BNSoo2hB6tB+7sgCJIeztHRKHD3Dha3/PuV/8Jr/9oVl2t8usbleZm83wjfPLfPxNg/zBJ3+W2t3bdHZ2YHI/shdRKGJ1mujxJK3lRbSBKZTSOt5wHOK9KGLgMzqDeesVlFIdVwx10oNyYy5qZd5inkq2ROQ9H8VavUNAjWH7O3T6YsSbFu/6+Jd5bsPmyWmDZCZETNF57sY2I8NRabr5h/PrfP03TvPe33svG9+4QlSrULYyeLZXKBklUkYG36mDNMtZfuPffZ96j8Jo1Me9bJ1U0Mdrq3mOxR2e+cpvkb3yQELAHK1OZ6dOYKSHVq6Etr2EM3KIbmlTDgGU1DCetXWsmGDabEG+SPTwSVqhMF7bT9fOouTy+B77ebb/8T/jsxyCH/iXuHdfpbW1hjJ6hHCtQF1V0RSd1FyUW1++xKG/mOf9x728/dEprt0sc2+zwNkDAb74bJkjg0F+8OVZrr64RjwRQfAct9cLDA4HGOyL86H/cI0nzo2xtlqgYlZJRqJcvlfhmS+cYOXBDsVijanhMbZ21/B5wjJNIXSkZkuoMRs06w3ZKRUu54HhYan0EnpRAcA0uw7F3C5+TwjH0bhxdZl3vaefH/2oyue/nuPcI+JQ6RLQGtzZsImqXT79q+K5XWUvVyUR8+PVNco1k1RPBF0zZSdeaGKj0SArD/LMHEhIb/bGTol94ylu3MgTi9okemN0Wzam2SWR9nL3doWhsRBBzUtbDF97Q8zfXcOxNB55fJRivopqg+Lzks02uXVtl0fOTUjWhiqqdKqLJSKzHaE79HD3Vp6jp3pwTJXtdQFQ0wgngghQSbUFtXwNw68SDBgMD8cp77XItSr0hjys5Vr0RT2M9seoVCzSA2k2the4vBmXz7xnbxW4vmsxORBHcxV2C1VCMQ+tprAwuxzLeLm225Aps6ppsVtqU3ZV7IpIT7nE/B6yxaZAeGB2DGxxUxS/NAj5PfgNcYHRGMy4nI15mUgb/Py7DhEOdAmmeuQZSonHwWrRKDfYurVNvdtl5NAhCoubYGYJp/skjHdwcppssYjaqBOdmZTnIE0Tgo0aRiKMvbVLOJnEbJuyNy6AboGeGIrPQ3V1W6rkxGa/d/9BikuLqCEfHjTsWotiuUJPf4pOtU61YzJ+7hzFjTX8imjuNPD3D+O2G1Ty20R6esnPL9AzOIzVEnU4i8SRo5Tmb0v4qqYYZFdWiY+O0CoLmraPeDxFW2lhb2Wpt8tEA3Ha1SzRvgGZCLVLW1Kn6Z87Qde10TYXUfonqa8u4g8otOo1jOiAhLQ5JcH2eJz63YvEAn6pmhWfCUVsOYV4bXia2qUfEJk5jj51gma1gHX3EsF4H874DPbqMo0HV0k8/pRk23QuXyAwfpLuQD+tlbvyTNHUvfh2tvCeOEh5e5uf/eSPeXGhwlumVEqWB18gSKFZJqrA1MwwDxa3CBo6fb1JbszvoQdNTs0Ms1VokN3Lkon42SiL/FGA1bpCvVuhVtY4PePhd96b4M0n+vDobZS+IJ61CluFKncXKrSKLnPjPVTMNv2pELmGiT8UZWt5EY8/xmB/WiY3o8mIrGXs7JYJhwJk+uOsrogUlE0gFmJ6apL1pWW21tbw+8OSnTM42M/163c5dOwQqMpNwAAAIABJREFUK/dFrdQnNZniZxMDyt3cLslUmomZcVbur6F6dIrZDSI9k/zJ5+9wcNKlg49w2MOFK2X+9UfGecOTAzy4tEouV5eMDsU1qNeq8uLfbLYZGutj4dYDVENj34ljzN+4Tqss9G+2HBAKBopwqkejYRpV8X7LMTw1zfLCMl5dkXpAsy4GuQGp+LWaNal67M1kaHXaeC1RjW3yx3+9xh+8EuODhxy6ukKjosjnkc/X5s66SEOYPH/9Jexr36NkG6TTg9SyWbzhIKbpQfP5MLPnsT29+GKTOMVb2BGxXbdQw2M4po2Wv0u1cJvI4FN0IzpKq4BRymJW1mUqmPEnaG88j2JV8Y+/l1b2ClplHfqfQDW8OK09aWkTWnZP8jCmKerCGxKk7Ipha32LTm2JjjdGKD4tL+W208UXnsIWCXO/gKOGZaLHY7do+/rx6F7aWy/g6XscSzDjmmUspSYHwmqvYBfk8HWbdMP98k6k+hVcU8cVnf3GBk55EyWxXzrtDUWhW9mBwTeg+/2iI4hd2URx/di1+9JW5E3sl7woj9qm22zKCpoYKKieMB7FQ7d2F1sJo0dEjb0r2QZCGaA4XRwtIBXyXsHKEZfswAS6tUdHJK9FNTWfxTW30TMnsDoiBbJNKH6UjqhSt1doN0Xf35QWIcVyJKXf0YTu2eZ/kfTm4ZJdZ33uu6ea56oz1JmnPn16Vo9qdWuWJcsWlg2yMQYHO5BcyCWQ2Bi4xA/EgBkCOLkQBt9wYxJsBhvkGBk8yJLallpqdavVc58+8zzUqXmu2lV7SNbqR/+2+jnS2btqre/7/d5Xiw2hCEW9q+IExKLbxN74rqT4dxIHURxb3jE73aZMqLtiEe8Nwd51nGBKDk4cX0AutzRhchH3Zq2Npg7Qrs+jWS204Mj99LpYLHhsCdIWdQClcuOPXKuSwSNAcFoCxWoALRnxaNU3MO/+LYF9z6N7++jWayipYQyrhNm0UBwNp3YL1+1ih0bxRadkl8FRfYhivdXs4u+dxGrloJ0XjyNe/wEcT5BuaxavnsQqCSXBoKQyCuKpYnYlXK+1+RLG4GGcugG+EJ6eSezC7ftRSTVCV9FQKnPoPedk/15tWdhmHVdrg38crVOB9rqcMok4cEBsj2tZbM1E8U5Aew1NkPu1BIZXJAt8qB4vHaGYMgzcjn3fm9gpYxe20NLTsn9ibV9CD6dQ1STt4hJ6/yGc1g7gQw2EcPbexg5M4HHFw7pyf9Li7afbLKC3ltDCp3G7y9hiUBIVcScdQ7g4w70SImhV7mv9hG6R4h4eoezzDchetqsrKJYuQY26N4gipmrtJlo8hd1ycGtzKMYAmuLQ9YXx+3to5i/Lw0ew9wG6npAkoNt6CsOuSLqnVVpGj0ziCk2G+DCIHsD2KTjFHJqzhZY4grl9AyEddf3jBITqUNnGO5nmsdOfZDencv74MIWqSV9vlJdfX+LUTJg//O1P0Wy0ufT2ZULhMLFkkt2dHdn1H+wbIJPLsrq6xk9+/OMsLC5K+IuIrdcbbcbGxoknYly79i6JWAKvN0CtWZaT1B/7iR/j3r1ZZucWEPZiRQe/4pUXqNPHj/G971/gy3/3BkbAS6PZYmJshNWtAuX/EwH/zV/6EO16m2ypwMrCAqfPPc2JB45w49Z1RgbHyWR27ycAlrd49rn3S3fmzRu3mJnZTyIeZ/buXelvb5sm2UyGow8cl0pDj6oR601x4/oNBlK9DI4M42gOma0M7XaHvmSchtlkcHCEhYV5eWg4/+BTvHzhW6ytzPOTH/tJ6vWGhAeeOn2Ku3fuEIpEqFSrEt5ndkwZjc7uidpDgXPnn+Td6+8wN7fA2bNnaImUjd9LyB8ms5OR7574fyh6/Ml0mru37kgl0syRgziWKqN3imtSKhZ54qln+NY3v8tOZp1AICGtCyGfS096kFrVZGV57n5ktNmUA4TBoX6qxSqRaIT90wfIZDfRvQG+f0Go/84RiQZYml/lt373Lwj6fXKqPzo6wBvXlvHpJu89N8kLH3of1+/O84dfvMDB/f0UyhX53zjeG+G7rxe4+PUPMnP+vRQXSnjiQbpWRypPlMIyltvBG+jBKq3IabJ8t9wuaiuLL3WEZn0ZXUliecMYdgvbUSSYU0ByOvoIqlpD6dTxRkZpCkiMgLW4ddTgBE6zDm6dDkGC4gPWF6WyeYlgNIXl+gmg0jBVgqkx1NgiP/LMf+Zmvkq/z+XMiWnCiRRf+ofLfObHDzI5dUgOGocGR9jbzpKtFhkeGpRMCVGyEgpH8dzvm94n0y6tWo3Hn3yancy2VKvG4jG++/IP6EvEOXHyBAuLy1SqFRlJnhgeoNyBZz72+/SG4dyJfbiaRb0lUicV8sU2v/xvn6CcbWJ1XQbS/ahKl+kDo/Slx7jwg0vcmpvnpe/MM5gMMTYeYiPTkikP1+7QtHR2NkrM7n4LPdOkLbR4aBSWvkY0MYOemMbudqRpRADgzEZLbsQc4cvtTKLEDGKHH+RHH/sAq1s1PnRunL/69iwPHU9xcamNL9diduHXqNzeQa1nqFYbBD1B6tvC1ODHl57B9QVgZx7P/kfZ+6cvQjxB/xMfIftPX8WIhvH3jWG2SgTOPIeyepNqMYfqNjDqDTj+BD7BdlGqKLU6WipEcWGTxLn3YBhFfuSh32JB9/DD5wfoVF1+cLPAsQP3O6rvzNdYz9W581+fJXBwiE7ZT6iWxzYzmKZfqp2ikTjVWpmn/91rxIcNzg4mqasBrs1vMTzoYeD/RHP/+Pc/Tn5hTW7ZIqkUnqAPq1mnlc8SGhpEC6Vpzl3BN3UKs7oqK3F6pYY+dYhO9T4AzekbRSts449GKL31XZSQUMk2CQ5MYDkh7PIK/sFDKIZJ4eL3SRw9hmn58Kd7CY5E+cTP/gVfv9Xgcy8c5PWFIht7JaaGDPr9Mf7yjT2u/HqMcDrB3VtFRid68IrLrK4K7iA//xv38PlCBP0tTh4axuyW+J2/LPPd/7KPoX0iLmpw9/Iso/uG6HYdGtUiuT3BS4lidRwGRvrRdS93b9ygd2CAcCTC2twquk+TelRVbCc0Ef+v0TcwSH53AUuL8mcvlvG6TYZ6dUKhIIlQl9UVhY99yKFeitDsiIONTrVsUS+XGZroJ2iorG0V8HsVhiejNMoac3MZTp/rx6x2WV+rEEv4CUcCtDtdKkVRQ7QIxqL4FI1svkJ6OE55q4kn6tI3GGFxdk9CV7PZqqz4OU6dqZk0fQMR5m4vU6lbhIMBxibjzN/bFfNLetIxttYasjdsGEh42bGTaW6/s8rQ8ABbxQJDqQQVwYNrNCmXupzY14/XaFIoFTk4M0I93+Ybt/Pc29X45r0GywUPltuSHnjdtTk9HiUW0dneLDGYjLFXL8sNq2tCq+XiDRvYAmXecfAJPa9tMZ4WsFKL3WyXI4dTKOUSEb+Hc4cGcIIJ9FYDTzjBZMqmmysQfvopqDagmKUd6sc1bVpC9dXto1FeJdwzxNLbr5OOBmjVGvQ9fo7Su8tS5yuI7HajweijT9M1unQzJcr3FsmvLDLzwWelN72WL+OPxbBaVUKJOO2O+OFNLNvEG4xjNZtUs1kS0/tpFnOEevswvD727s6SGhykWt2Tw51ANIxTa1Ha2MCbShBO9cjEaVfYokwBZfRRtW38ePCP9FKvNOhJ9LG1NEvY4yd07Bj5d6/g701JW047VyH62EPkv/ttyRYIdB1Mr0LqxFnccEAOmFTXi702jz0ohsRh2ss3UUVidmhKDoK8WBIM1l5bQbFahA6cwRUDyp0turEQnUoZ1ePB08yxd+kN+v/Vr+PsrVG5/rZ8xqKnn4flN6iLzXYwTLfdJjw0iTuyD6VRp7uxTDfVTyjdg7uZkZtvZ32B0HPPE/P6cBQTz3SKnddvc/ynv4GDw5mpJJt7XfK1KmdPDJDLVQmFdJKRPioNcS7X5GKg1hXbepXHZvqptk1ymRyTEz3cnt+hZKpsZztyOSZi8Q8nLX7qhQCnDvcxNTOAambQfQE27xa5s9hgYrQHxaMQj/cxP3ubQDjI/olhbt+aJd4bp1Ko4BUDkWYXr0clkAhJ+HNxL0ehWObk6WNU6i02FpbwGF5s15JnnHgsye7WhvzMyOXv1xuFknR4ZJyNjTUUp8OYABTvbOMP+5mcGeBXfu1tEjEvsZCDL9DLXqnB0mKFL3x2nL3NJh1VJT0+ws76rlSYDg+lsUVtUEw0FVeed2K9PURDAfa2sniCOq1KVSZBI8kI21s5Tp47xtytJVqtNscfOkkxsystUdVqjanDM9y6egPVcfEHDRzHS6I/huqUCQR70a0Wpz69xkq1xk+dSbOWFzwineOTBr7eNH/6lTv85efO8uFP/yrV+VV5mZVgdpFky72FEz2F4RGLyBpuo4AdncGqZlBLN/EOPY+lZqFZQet/ALXj4NRnsQXYz3YxrDJtr443sR+r3MZVbdkt1wM9tPILaKqFLu4OzRzkFtAsE8tngEhJOwlpEbNVAbLtgfYKllAhaj04zVlUs4ITGMWVnfcGmm+Qrrj4NpbwxA7SbYraZAdfYoR2dQe/EcTSXOxmDTUo7GMlmVxWm3uoWhfLP4wh9MCrr6D0nsCj+Ok0d3HDEdSGjpYcw2muYuU3MLxx3MgwKg6ucGfEDqJYAoy+iOaNYQslOpo0fLi1VRm9F5d23Snginuw7UA4gSa687W8rGor4jmsCWBiAqW1JqvjtoDFa34U/wBu5/7PK1S3dmsX1zuGI9Soe3OyAi8g1nYwjW5maBbmCcZmsDW/1FI7iKSGVw7ENfH3CL5VV8PVa+jNMo7Wh+1kUDTBsDKwjH704nW02CTNWhaj08QIj8rfjVgiCwWj1W2ieuOyOtzZegvTaWDofRAfRfMPSIacUr7xP1zVNbEbe+ihgIx0msU7eCNJnN73oBYWwdzE6nsQyku4lTnp3xYXQ7W6iW2bONYump1ADwRplrfQwuN4dBdb8WG7NmrxHo6l4PYMo1ZNlLgHp95GE5dKRZXbqG7XIzdPXcOQ8RO9MCvJ7+LDVY+P4Whe9HaTZnMLf3hMKvfs2hbe1H4Zr0PV5YUAy5SdCkX30xVUfZEIEF0KoXaIJWk1aqjmNpoRkJRcoWvQA3Es8YsTGkJ9ANvcwmmvYsSfAMXEtXO4rhdXQBI1L5ZrYogDsNuQFwPVMbEMH4YvTbe8AvEZNM3ErubwiMiG7ZO9McusY1UX8Qh7QCAlh++qiD8JaqbgKLRK2J7I/fiIuOw7OmpjC7Oygjd5Ek0MSqrLKO0CjpqEgIOh+2lnN1B7DkunquusowoghScmdSKq8E44LbyhQRlXEi+McN+qgSAURBJiBlUp4XRaqIF9mOVr2J0qvuRD2KWbhHsP0jAdvHqTbmWHQEeh0akTPH2W3/jp3+bz35jnXz46ynymRCIeZG4lz4mDvXzuMz/BnRsL7InD1UAP/pCfO9dv8fh7nmZtZQV/wC8vw8eOHZMDl7ffucyh6cOUq2WstklcbLwjcV678H0efvg89VqFWDxBLpvlwMw+bFXh6tXrkrR59OgD/PkX/ztPnn8I1wjwS5/7KmdOp4mFDXb36jQb9z3SP/vJJ6WtoNm02d7eIdE7wAdfeJ4b796gvyeNZZnMLswzPjpBJBhkZ3dXkuzFNDfV30elUGN8elLG1jK7GU6ePoljiy1th93stuznpOIp9go50j293Lh7g/c8/iSz80uUSkX8fi+VUkUCDIMBke4A225w5Mgxcvky71y+zNEHjsgpfCQSZWB4jFxmSzpFh8cmWVpeuE9qtVUmpoeYmj4iCkxceesSt2YFAGeYqclxbt25Qz6fZ3JiWg5WBgb7pJ9URCzF/8NO1+XGtbd47v3vYydT5qMf/xxnjqf44Aef5tUfXKVWyHDo2CF+5TO/yte/9jeMT4zJIc5uZofBoWH29nKSneHz+9kWusbeuHT3XrryLvGQVw4VfuiFn6GnJ0Ch1GV8PMXsUh7NsfhfX/4P+GNRjpz5FPsOxwmiUGt26EnGWd8VwKIy3/qTjzNx/sOS6N+sqGA171/8Y5N0Ovn7nTSzhatG8Og1HJGk8YWh3ZQTbSM5iupUZETM9vbhtrO4motuxLC7oic3L4yKaHYFPXmEjh6C/F0cbRAtIN67rrSfqEYS1w9ao0BXj+DGT6Fu/TPRAycoLdxm+pHfYng4yrHJKKubOXaLJrWWw1f/7N8wNDzNH//Jf+GJhx+Wl/fpg9Ncu3qNR849Lj8T1tbXpD3ixLEHuHHzllRODQ4Pcf2asJrAtOAyOC75XIZYNEGl0mRxaQ6fN8RjDx9kp1TlF37tqzz9yARqRyMSV6i3HdZWSqi2zX/8lQ+zvbsjkzLHTh0mX27w5msXeff2Flfu5CnXWpw+Moip1mkVLI49MI2mNpidK3L3bomv/v8f4eFPfJz23B2KW6tEeidATcjPRk2NoHiTmLU1Os0OwbgPzREe7/tJovhoGi1okBr8DD//k6cYCXT5zqU1OuEQP7iyzfc/e47Djx6kuVXEEeAFkUDzhbHKZRy1iu3rwecJYrb2cKs1tKV3MR75YQmz7GxvozfyeA+donz9Mp7xsfubxNU1bLeN58xzVN/4LubqHXpf+Fd0dtZZ+ftv0H/6AMFojPiwl064l0d/6K/Z62q877E0ainH4Mg4dwSyvezQCKhcvFWn9Lfvg2OPs/7qSwT6kgQJU212ZedcCXY48fyLnD4Ux+tWeG3e5Pz+BE7Iz9y1XV7564+iCSvK0j0S8QCNXAV94iDdpUW8IyN0/YIY76O7u469s0zPRz9F7dZFtK5DVwxn28LUE6S2c5vEA4/geGNSHRY//SRmYY/O9gZOvUF43ySup4fi8lUSfWnMhko46kEbiaMul9j37/5RAtKOHQhx9tAI/+v1WU5ODvL1d3b4wIMp/vjXT1Be3ZMXymalzuBElLGZJD//H25QNFXG+lTBQ+SBaQ+vLaj89JMaByZ6MI0Qs29eY3hygP7xcXbWd6TOTXwWiIHgxvIqPf19hAMh7i3cIxwMEQ1FcAxbXiyspsuRB4+wvrHD9lqWs8fHCKSCfOBnrvHgIeiJeNgt6YylLL53q8uf/dteqSu9dSdPPBRA9aiSyi9SXtmsSBBp+DWNYNJgfbPMxGiSXN7G0DtEI0Eyu0WSaTGE0SlVazx0fh+ri7uEEiF21yqYVo1UMsXOaonB0SSlYkM+y+Kf8YMx6gVH1gTGD0Qo7tn09HrpHwiwsNugW23x4KEpltf3mDkYZvVuhqbllYml/uFedhbyrJdMjs5EUeodRqYj9ET8clAvBm+FhsNXL3T56h1HWnT86v1/N5rQOBbVifl0unaLQ309rFc6XLiXJRkz2D+QYmV3j6jfx750giurOaaSfvLVLlqnxTe+8DwhUQdY2YKjAnYqogIO7Gbh9Cm5EdVe+z4dRKw7Q3BsCtP24xSrbG1vEi6KTX8Rz3CcVrvD2A9/kst/+LtMHz6Er6eX6tJ1gjPHccsVthbmZf/eMzlMa2ULzdBpV1skJ3qpZHIEegZQAkGqa5vEh5I0ioKGvi2/58OJBMFIjGohS7NtMioqbYKuX67RElvT7RLDTzxEp5BFi993gFOvUt0t44Y0gmKDF/WQmV0h2t+LR2hx2y0CIl23u016ZAx/NMH8pUtMPHyK8vwmSqOMd2xELrGsjiUvoVYiTndrQ3ZuQyLZ16wRO3cW1RuhVaqjtbbR7SSd7VsoiTRduji7eay4Tig6hFPYoBNO4ceg06ihpwex3QaUG9Tevkhg/z4CQwck0FJNH6Iz9xb+wQEUTxTFblC/M4s+MIwxdYzW9gL+lilBh/ViFr2nh/b2LmER9w+EsVbvSKd3KOCjtpyn95lnWfn6i/hH9xHb10/QW+Dn/uAib8236Au3qbQUzK5f1pmGBcuiWaOrqgzEIBzplX1qkZpbEeDSVpeTDwxz404Bj9liZjiF4tfpODZuxyRvG8znLAr5Ll68xLxdnjmu8QsvhDl1elRytypbVbyRFBdeusehc0ckoT6zWyAuPh/nNpmZGSYcC1MvFahVLYKBKM1WFV1swKtVor392FhEwgHKhSbBsE+yIfYyGalbE/F/xVUoFUtyOSFg0X0DaWqlitQXJhMxokMDrC4uy5TVN79VIBnysJ2rogf9ctk32dfkyYf6uLdY4eTZE8zeuM34vgGWZ7cYHBT1EoVcNk80ErlvRdJVFI/BsTMPMn/1KtVChYF9k3SawrhSw7G6TExPsrG0RiafZ3RylGalQSrdS61SlmamUq5EWCQHuqocEIp0w/7xOP/vi+v86ss1PjqWYK5YxFF0hoJekkmHl96pCFEfe63XqV3+AfXCCr0T59jZvoNfUdBjU3j8PbSbZbqZC/h6D9Kp76ILVd3wGWwrBYYpwbnUV3D03vuVY6eOEzqGprRRMhdRRfRcmNs6GfTQBN12DmoZtN7HUa0daSHp5BYkRFBU1lRzDTt+GN210D1+OsUlPKF+bC2KmEi43phkbGEHcWvvSq6AYoh6j4FVXaNTWsA3cJZuZQFFS6D3Hpe2CbczjyOUwq5IkekolXm6/iG83gjN2jq0C3iHfwjqc9jtOp7oPrnpVjUDry9No1XH317GDk7g1m5Lnb0lEuc776L1ncYxa9j+KoZ3ElfA3us7KElRf41Ky4LaWJOD9k54CNdqoRtxlNosjgj8C96AfwircBFP/8NgutiiA9tYkfwtTYvQ7VSlxl3U3N3tK5LKr/Y9RLewiWKXUAMJFC0kN/W2AMfrDkojizJ0Fr2+I6Hfwn7nFOYgNIOVv4xXmOYCMzjtvOQHOWZOLoKFMUH3eCR/xVV86J0a9ea6rAq3LR8+jy6XYYoYbohaRruI5tZwvGkQwPfmlS+4llf0IBzZp5WR9UiKtil6tDmID6CK7Y6t4REHZ1dofcaosYfX0yv72aKXJSco4pfjdHBrGVkRUMLDaHpYXlIs18Zrd+h0tnCqDdSh07hOC1Ux0NUQrhGiIzbYnSZO9ABucJxAfZZms4buD4C4qLeaOK1VukYUIxhFMfpx3Rzm3hq+2AiK6qFZuos3foBubgE10i+jJ75O+f4WUfwsmorTbkLPQdTyXamPsLQkSuII1t5LGP3PoJoNLEvQgYUCRUU3IqA0cGslXAG1UEqSmimiqvImpPXi1m/i84foqim5bbM7JTyCj9Csyk6yR+/DDfRjZS5gDD+EUtPoqNuyJtH1T6LVV1G6HTyJGdqlddxOHiU6DvlVHF1En/ejuFV5yNLDAyiug13ZwRAvXD2L67FxBL08lKZb2kCprOM/8BTdjiCsr+C6IdyWCBULtcSAjKl09u4SGDxBt11G8QTQIwfQWzuYwtwQTEErjxI+gNVt4LVLmCIBInq30UGCh97Pb/70e/nc36zyc++fYGmnRqfRlMrHK/N5/sd/+qAo8/Hu1VnSA0nOnDrNmxdfJxyOSS2O2CaPptN0FHHJEbq7AIlIkjsLs0R8QfxBYYNW6Dguucwe0USEUCgkn8+tjVXGJ6bJictROEGqp4edzBbHz4zzJ1/8Nq+/uci+ySRWR9BhFarFpkysPPXoAD3xJLarEAoEefw9z1ApliiUcxzYfwy305SasqXFBQlnO3xAkNRdNjdX5eEwXyixu7XN9P4pXnn5e1IJc/TIA/hDATY3tmVnV5gYbs/NEQj6+KH3vo9iKceLf/8S+6YmGBnrl57P9NAYVy69w9jYMLlSCUPzyNh+0B+Sccx7N28zMj6Fx/Cwu7dFOBqi1WySHh7AcAxJ4H355ZdZ2yiQ6gnJWkMkECUYiRJLRthaW5HbiFqrhtUSgLgR+tK9vPXWW7JHvrC8yKMPnmHm9En+xUd/hit3Mnz4AyfZ2Mgzd2+DAzMjRCPwgfc9xdNPPsU/f+c7+IMhurZFOByWVovF+SWee/Y5Fubm2drZloAej8dHPBImPTHEZz71u9QrRXyBiPSMX7m6xAMHp/iFT32AP/idv+TGfIPpAwlU25QgMXFJ6ekfZG9nW2riXr34X9DiA1TefBlF9LnEe2trGEoU166i9gxii47o3kU8vj6U/vOQfQNb9MEmn8cUxoxuWQ4+hJLTEraQyhLtag433o/aLMt4mBqKoCcOYS6/iBtMoKlh6cRV2ntYa9/GP/NzkuTaqL4lKwDhhIJv+id4+x9+l3/xi9/giaeOkNvcJpGIML/SRNWa/Pcv/DybO7vcurnEc889RSFbJZ4MUhfmB2+QxeU1eXDL5vNyCHj06FFZ7TBUlVyhxOGZg6xurJCMpRidmuC1Vy+QSMYlZ8FyVFIRePniVX7jj17hp144x9+/9Jb0dw8Mxmg0Hc4en+YTP3aarc0yt9fyzN9a5OW3VulJ+chlWuw/2CPVUMW6OMTlePrRs3jMEt+5usFKps2/eHqA3//qX1FfWEUR9Qc1Tb1TJBLspVu8i6WpeBL7ZRXAMLzg2NTLJfypIbqWRXxqmrkrX+fke/6MX/nAKDeXs6SiDq/eq3M8YfDVS/+J7g/epLJbx+hVsRo2Xk2XtFoBJxNbjEC/cLdbhBJJ2XNWYgnMa69gByMYQwelIshvqBR2lghE+vBGYzQLWXxDU7Q3Fgn0D9GsVND7RnGLayiNCrYTR22qxD70CHgNBk9/Hsdt8G/ODfHW3TJVy+TcqI+ehI8vXyoQ8NjceOVf4c5usZFX6Am5VPJ1Ej4N72OPcPCpz0sl7TMHR1nKFegLBXhjsUS1YrH39s/KS2l5vUGjVUbJbRN75hncboTm5Vck/0YdGJN8EbOcx6y1CPYNYLVrktpuZkWEsAd1/yGctRXcoaN4qKK0OrQbWekUN9UgXqtOdS9L+vAhyuUmZnEZb7UhlVITH3mUv/iPX+HTL+7yof0KwVCUm3MZ0mkPREZ55e17LP7PGbbuNiVYKDUepbJRY3Kml1cuZPn8/1zkVz6vz8CcAAAgAElEQVSU5u3VguxKihrHDz+WYiSu07ZMegcGabXrOB0Lx6uR287zxLNPcW9ujspOlmK5SCgUZ+rgyP3haG8vrm2zvraFa1pEkiESoykWbi6RTsTQdJNf/sI6+6YiGK0me3WH6UEv/3DV5Jfe5+fhh+N865sZQgGVdDyKJ+HBcDoszecZ3icMLQaVfJNEUiU9mODa1R0q9SaxYJDBMQ9z94oYSpD0mJfdDaE5son3+ikXWhIIWK2UZIUi1Z+iUS9RzpmEYx7yJcE1MEj3DYChsL2+TSQSYf7uLvsmU/QMBrhza1OCOJtNBbsbJB4xub5YQddc3vNgmmjyvrlic3WHgtnmpTseri83eWOpiihTTkYTcsh9YjKB3qnQVDwkDA8blSaG6sFsWSTCNpFoP6Vmnd1sg6BhcXiwl5vbJUZ6/WxWWowlVDxGD/dubvP9LzyLMRZl8501SVIPJ/pZv3ebgYMTZC7dltyMnVqF6Y/9CLlvXqBUKnPk+feSvXoV12fRe/wxrO0V3DB0r9zG99hTOHs59tZ3GTx3ivz1KwRGx/FUG5gBB0/ZxI5GpK5t5/ZNyWgJaw65coXJJ5+itLiBubOMqofQ/CqR4RHqm7t0RWrAdFHEs9+x5LY3megHpysXGG2vgqEbFOZX8fYk6R2fZPP6NeLpPvn9LMBfDcG6GeiXh2m36ZDP79Azc4j8ygJurUP65DF2375MW3EYfPRJrOw21Y0c4VSc4s4qvUOj2KqK220THNkvuSbQweO6aN4wpbV7aG0Tkn242XV0wX2aOYNuu7T2tvDG0rIaYPgiKJEAhujrOwbNW69AqAffxHF8mSXMUAD2smjpKTrXXsVx2ngGJjDOPEr11iX8wifYFdXaMN7hMQq3rhAe3Y/XZ1OtCZVbh061RTDeR7O8hscTQvf3UcpuEvcUqTSHCWkO8ScnOPLsf6N3NIxfF7NxYQzy0Mq2abXL+MfHaG3uyu+Tru5Kto7lGKR743QtQ0bqA7qXhmUR9GiSj9GqtWVVWMAjC3Wbw+MJSoWSrBlcut6m4bgcmApzKFrjsYPwzKlepg/FwRti5eIsu3VF1jYzewXKOWGbMhka7mP53iLR3h6CoSDtRotoqpdiJkOxVJVDAnFmzGWy8iKe6OtF9Sos3rpNq96lJ52UZ8eO0yUZ76Gwl5W1OcHCCUTCcqM60Kfz6uU93r5aYmrAT6rP4LXLFRJeg1/6lZPsLGdRMajUSoyMj3Lz6k3Sg4MYfj/Ld25z7MwpVueX5WAo1ZNmr1yUJhA0Xabf+gcGKJcrtJt10ul+CTgMhAIyil4vFPH7AjQ7JmEN5he36BsaAEwJitvNmhx+IExPb4zJj68QDKscH1XZyVmSfaTbOvtH+/niK8us/+AXGd5/jMLFK3iGp3DtEronitUu4LoVPMERHO8ATm2Pbmsbr2cAR21KTZz4jra3r6P3TYPaj+1uykQzjh9DqdIursqaoScwipYYxBa9csuWdWenvYWt9uFP7ZOdckcLy+SArYdQahlsM48ifPXi/CS+17w9WFYL1dpDEZQ9/xTd8lVc3Y/u6UMJ+bFsP4rVQW8XMd0yupGS6jxD78XMXcbrKlIxrPWdwFr8GhBDCafQW1s4WgjHl7y/8PT24jHv0vIO4hXcN8FFCMZww5PotkO7fgc1cATV2pW2OqfnIQmNtgQLTVPwCEuBuBALzb3iwalsoffsw66sgtVACSTvGxACSRRLxcndhrAXI/4IdiMDak1+l1rZa/LPeQYekhYCgRvQ+w5AfRuix6C1KGHyjiEggYImHcEWEHizhid1BLdyV7JW5JDGL5LdedxmCzs6KeuVWnkRt1Onq6j4Eg/SLIjzaBEjdZSuPwGlBVyljWH5cFwFbyxJxxUta50OBlpTVOz7aJeX8IrUgT9OVwwACpd/z+3mbxMMxuW2rFNZwBudRPUfQNGrtLevYsQHcTVBQmyiRMRFNIsne1UqHATh3gn0Q2WLdqdAMHoSu7lAt2aiBgQkwqElVA/9j6JtX8AN9qMHJ3GtMm4jjyOSAnoEr12T4BrLkwAxsTB3Ua0uji8K7R1cNYxjRGSkyRCdXsNLWwvIraIj4BCBFIrofOg+3MQJ9OY8iuKT6jssQeL20qlkZPfZIx6qThO7tISjVPCKzn90ALXVpVGdw5c4iG3EMEQKIZhG80elz1ytr6FhQvwolriMtNbklFIQUcXDb3tUnJqOR/wCTeEZL+PaghOQxOk2pH7I1QPy4TJiw7iiE+LtgU4Ft57BmzxCt7ONYuZR/ftAD9JtbstfrObtQ3MFACIj9UiKL0GrU0FXNDkREt5a1xCXJD9GJIG9ex1H6B/8CRkJEZM4PRyinRfmhGkU4W63d/F3LbqBuIQ96vU5FO8UWvoo3fU3ZCVB6z9Ju7SNv1ugTgCjsyHhe/GHf5YXf++X+fDn3+AnHhuikC3LqNa+w/v44lfe5PWv/yYHpof5i//2PwiFwkxNTbCd2cLn9TO1b5K5e3MUcgUikTBev5/BgTS7GQGWUzh0YJrv/+AiG2tr/PjHfkxehna3d2WXeWR0mG6ny+b2LhNDY2SF890T5IEj0yxubPOp//AVTp4co1Kpycn+4JCA620w2BvnR95/DIHXFNT7b774dSYPzfDM08/yzX/+BkeOHicVj7Ewv0QilcAbCLK1tow/EJFEf/FhHY2HWV1Y5ujxYzSE41ckF966QjQc4uwjj1Ao5Fhb2yCVjMhp74VXLjA+OcbZs4+TSPei96XJ3Lwi+QJds8326hY72YxMxwyPDbG7nSE9OMCtG7elKqa/v4ftzfuVlHKtQiohNqM6b166wpf/7lVyjS5BBc4eT/Pg42cJGxozwiusia2Gg2kKdq5LrVpkZGiErZ1d0ukBdnbWmTl6FLXb5cMf/wxaQOeph89KpsHpE2fkBbWcy/Frn/15Jvfv5+233ubg/v2YnSamAIPi3I+Aax7WN9eZGBtH93qYvTXLgaMzYLf5z7//Fe5t5kimQli2TSzo4+5KhbKIh/aKCHWVmYNDAuYuFYe5cp7TJya5dTPHrdUmcX+X7NbfYVfukb1TJDByECdzBaP3BN3GjnzPDbF1KW/Rra9jxMfpamG8QpOiNnD8+7GbS9CsokcncUsrEPGidAO48QlpwXDK86jNVdSep6QXWygxdculowSwWzt4dT928Q52bIJQcAqzcIG6Okbf0Se58fef5fl/LyL6Po4cGiURDvDm9Xt0Wyq/+K8fY/rAPjrtAKZZZn1V9OwMisWSPOQ0ak2pP/IZBorfx9rSMvfu3ePDL3yYYqkgO4e7EobZJRAIkssVSQvdWmZXciIiMZvXL27yxS9/nyfPjbO7nScQj1Gp1ehLeRkaiDA2PM6FH7zL/GqOSqVLqjdM/2CIsFcoRmvU6yrxhJ+2aVHKFfjIj57j059/jaemXP7x1S9JgFW7IIhcOl1aqNVlCZJplyrY2YsYI8fxRY7jVtax1ABdMXV2bFrxCXpOPc3f/unv8Auf/ho/+sx+3r27Qm8ixJvXSsy+9C/p6wmy8b1r+CfTmLsC8hnEe/ws8WCInTdelcaZbmGN8MnzWNE07M7RzRSIeV0asQGCfeO0lq9h57bxnHwvpQt/g+/Ue/AnB3ArWbwhD6YAPJXK+IYmaLbaaKt3yOk6PUcO49naJBjq0Bzfx9HH/jN6KMKJtEaxbHN0KoTX1JhvFXjp7Rafe2+M/+c3PkjxUp1KbonoTD9UVRJn9/E7n/0qX3hjj3OjHmKxMANBP4ulMm/O1Xj9c4+z/+gQe2sbki6sLc3S1kMEhtK060UCRoDW6l2c0YMkAin2Lv8z0Qcfor2WJXzoJObeAhRKuKkk1sQRjMsXsZIRaeqxikUI6mjNFq6w62RWCZ95CsurUn/9As16jdTEBL7BUUq5bc5/6ntMDYRZ2qsxPBhjf8qR8dQvfbfJ638QZtDn5d2lCgcPxbn2VobHn57g3TsZfu9rDf79B3v4yncaDAzV6bYVApbDb3/+QZauL9G0NTmsNTttBvr6+cGrbzMw1Eu0PylZIYmEIHzXJShJAFFrzSZq12H6yH5c12Z5cQVDCRGO+1DdDoph8Tf/2KBkd3judJzvXamRCti8M9/loYNefu5Hh3n3SpaeIY31JYf+QS/egEqp1MZriM5vi83NFg8+mqKYb8jO5vFjvbx7a5uoP4hP07hxL8PoUJhI1KDetEUyFk/ARnMtYokI2ZxJp9uhb9gnjFsEPC4NMeVp6oR7VVo1k5GBXu4ubmK4BqMTYkyd4s6tHPFBm3JVxWy2ODwZYd+QTscT5d0727Q9cf74H/e4uOlQbTsMJMPYgkqvWZwaCjOXq8g02VDcxR+O03BNdrdspkf7mN3eYrwnyFKhRRyDs9MRdsQyxHTZa0KlBmFNHMwVUt4otW6V2Q2TO1/5afTsAmZFJJoakl9SdCNMjg9x7R+/yYEnnsBRHcxSF1/CjycUp7a5Stfukkr3kXn7EsaDZ+hTI8x//1uM/PgnqK6tEjV0VMth841LjD33GGsXrzNy5hxmN8veGzfpP/0AtWqbsIDUGX7auT2yS8t4Gha+ozP4k73kb96g99BhArEotZ0tIvsmaG7uQKsjnxl/XDjjGyT7UnJYZ7gq5d0cPsPBVTU5EHZtUDsm/gnREW7T2trD9PrESgrXbOPrSaAbHmpri1jeiCSc904fY/vdyxjhKAhSuKERHpiiubJC9tYtBp9/hvbqrKSiJwZGaazflZWC0OAozVoZJRjHIy7vG4u48Sha00T36Jh6EH87T319i8DQEFbPKM7yLG4lT1Ac9tOigiasBjqKYJM88Rzmras4uXVc3wD0hNG7tgSC1cu7hGNjmA2hPPbQ9ARQOg6eSJxuZguCYTrNPKHkJGZ+FZ/ipawZpNNedm7cZfD586y8doPpT9/kJx7uJ1OzKNU7EjZZqTaJ9fVw7pPP8OU//Vv62h7cSlXqEBvtsoSaBpNhNEQVTNigoGo6RCIaGxlxQdMZTITJ1cpoXZtaW2f/eBRXszHbNss7depuhJ1sm94QpOIaL5zQeO9Ri/NPHaOSKcqhjdeOsj63yHbNICksTz0u7bqAAcLEuIAp3yUc9VMT70g4RL1ex2zUpVpSFxBAxZVLHMEME11mLzYry1v4DJ3pAwfICkixbWOJd6PXJTWc4g/++BbpVBK1XeHmlo3Scvmpj06hGnna2Q4tRyxLknTwUsyXOPmYOGt0uX7pbabGRdJKlRaqVr1No1mRCc3szjZ96UE6ZouVtW2mpyfJ54WG2CIUTWJ3WqzMrjN5cJKtjS3GJoZwbZ27t2Z54rlHaLRdVq+scv6jo/zkL9/kb9/scn5KYTIdlwPKpa0S+0bjfPdagYGQh8vrL1K/dRU1MAnNrEClYLctHK2NYTs43l6U1pJcdNqxQ/ICKhRwanA/eu0WHTWMnX0HJTCNJ9aPY67h1LbANyU/f0WKudPYlvR9LZFGbZXoVvfwBQZp1xdQRF1Y89PN3iY48CC2XZCXZlXtB59Ou7aMTzzP3ggKDTqmiJ0nJAdNbc/TNYMohgddQrw92Law36SxKqvo1bs4iRkJ19PCSazqDqqYXWx+B0//eTo9x9EqOZTWLWmC0o0A7XoO3d5DMR2I75PmMl9oHMcborU7iy/YC6FR3J2XsIefRiluYlsNfKEJTHNXAvs8wSEZ5VecOj63iKmlULxDtKtbBK08lgB7KkGcTg5VWNNaHVyPg2K25dLcExrEFgnrzJsQHpJLSqu+iy8yimkE0KvrdGsZAn3Hpb2Hxi6qJ4ohnhLDi9bM09V6pObb1v0StK8Jc0NdVA86GIPP4LaLqB3BstuWwESl5wzOziUM1cJOHMDduQbhNKo/hC0ghx0Xj+rHFuwGXZcwYbVbxRUDUtd3HxIpGA71d/6rKzR+qmKBbwi3tEqzcBlP6jBGapp2OYu3voGT2Ifj7ZETC0NpYrtRVN2SsQOnkcFwhXuzhOYbwTBcqeXC8eJ6DJzNt7ASg6jJR9DKb0PhJsrMj8sHF0H5FxOq8iZKpFfGbqhtovj66HpjeLoWdr2IFvBiKlE0w5VwwE6niCpuonhk+sAR9oLaMmrPA3QbDXSxLTerKIEIjhvAExpBrczSoYXlEV0SMYEDTfOiKjq2W0JRYyh6BzO/jDc1gqMI4MtdjL6ziJGOW9tAswpYhoFZy+ELTOH4Umh6G+FSsRtrEOwDLYHqD94nV9pFSbO1OnsS2OeEDsLuNzDCD8h+hoh0dOpboAXR+s9hN+Yw/JP3aZr5O3imnsapF/H4IpiKX0bF7M6eJK+r3rQkceoC7mA7dEqLMprrS03hNkzsynWUYFpOeixcfLFRnHYFXRDAOyVZ69A7XWy7ep+075RlDYG+U2iFdazGEobo1YgBj23gNFblh252bY/U2dNce+UCT//LL/HRJybYztZR/R5GkjFWdzNsbxX40p/+vGi2cm9RUKNNgj6/pNCLl35u7h5Hj4j+/W0uX7rCJz/xSfx+nZVVMYkUkDc/ZqsuY9KPP/EYd+/M06w3CUd8lMsNzFabJ59+kr/8n3/L+HgPn/iJD/CJn/kdFtbqjIxE8SqG3Jxfv7sgP1Cef+8UTz9ylJXlIlXxMvqDVKsWL/zYx2QfdHdzW4IAdUOTlPZgOMrG+iKjw+P4AwHZm9/a3mJ0ZJiFpSWmJqc5cfIkX/+HrxGPJaQmsFquyynyU08+zubWLjubmzzzwgtkVm7z53/+JV767j0aTYVnn53g3/7CT0OpKjtAkXCYTDYv7QBnHjwjf4Y3Xn+DRDKB43RlEkBAkR585CRf/epLfPozX+aRk2OE5FY5Lzuam7t50skQn/21X5SuWqGeO3/+POsrG+SzGTz+AJOT45IhsLqWAd3l/Kmj/LvPfoH5hV05rOlPaZQqJo6rUcyVefDBg8xMjxEJxRgcE3EohdcvXuDpp96DphncuztLMBrEb/ipNlvcvXubU0dPMDiR4vO/9d+4ObvB0EiSvWyds2cm2N4ssraZI9ETlhfPA9NTzC8vSsf26aN93F7MUi67DCVD3F7YIjHg59LVf4KtecpbedxoA6MzjBHxUq/OY9c8eCceoLP1Gh5XQ+05h6o5tFf+DgIH8cSGpAtaaABV8Yz7BZiphtIsYyglmkqKiGHQsnJiXCs7mGJY6A2N0anNo/Y/RmfzLaqFVVKT5/HY61RzGn0PfZDa9mucOv97HD41Qz5Xpl4tce7BfXz9n+/ykfeP8Ru/+u/51itXKBUzHNy3n+s3b7Bv+iCDw2kuvX6Ryf0HOHhgP+9euybrIF6vR/q752fnCQQ9PPzoY9x89waVSoEPfPB5tney5It55m7d46Mfe47f/sO/4q++eZv3PzRCT3+M9bUcXo9BrdphO5tjPWPT2xPiPY8MSxBiu438M2MjSQbSSW7e2mRmfw99iQg35vd4+Y01jg8YfP/af8cJxsjefIewz0NXCYCI1msKHTeGX2hCvfsxN/8RVQwGfHGMoFDIBqkW7hIQmtAjU/zrhz/C7raFFoOUP8hstkmq7vC1Fz9G9d2blNdrjD79Q1KpY1d3pRKrq7rEx2fo+gzUTk32+FoCMteoUm/UCJz+EdTqDs2FW3SjBnp0GN0XQ6GIZ3mHTlChs7eL//jDNBw/6uXvgBbAOP8c5OexCtt4egexMwLKukPi/R+i3Wxz8vHPc3hEo2MF0IJe2UsdGQgQVzT+5NUKC3//OH2P7+f2//cG+5N+9kwPvT/+Hu7+9fc4+enX+L/fmySzW5VwqEgizo25Msf6Nf7mrz9J69aiSCujDfXB2ib1co7QySfwB6J09A7d5bt0a01C+/fT2hGVhzyBAw9hrd/DFjWtSh4lGLkP3Y0P0l7fxt+TpL67SGLsCA3VL/8Ob8jF6Z3A2dwlNNiHY4Rpr9+j90NP8vHn/oSCVycdET7rfm7PZ/HETGJ2mA8+7uf/+kiaty7soIQgoPg5dH6EGxfW+dyLu8zEHGxH5dETSW5v1qjs1PjDP3qGt1+8hS/SJRxNyDhtqVwkonvxRKIoriX979FEr2REbK6uyrqQqO6IyO7A8CCb6+uceOg0hUKRxl5NxvhPPT3Gxdf3+LO/LzMS6xDrC/BA2s+3bxZ4+lSMMwcNOmUdy3GJ9XpYv1enbYvvFS+6p0M0nqRSaVNttLHMrgS87d/n595ik1KxyjPPTkmuitlRCfvDUiNbKQu+SoyGeEfqtmQEHDmWplLXuHF5mYfODlBq1dle7+BiEo8EWFwu0TMQ5uSBQX5wt8j6Vp2PPOol7ovgGwqwu5BD14N8+90831728E/XBZ+jy3jCJN0TlOCn8ZDLTtWm2IKJQYNiQSUYcqk3LGzHQySoSFVgvC9CrtZkpl9EoL24mkq53GY23yFTdknqXc6PRjFpEwwIsoKPrm7z1rU6r/3yMWYeOcjmq29S9wToCcToefIhcjcu01nexowlCBganbUN/Ok4XbE1Wl0ifvgUfp/G7txdua2PT/XhKH6yr1+SW7u+Jx6mvJvHKe8SnzwkOFm4tTLtepPo+DjF+RV8YZE4bKKnUgTDQVrVKrVWnYAviIjN1BdXiU+M0lLFjkrQsH20SjkGzp5l7/YN9G5HxmsDPUnyxRyeTpeuZctOdWRggJ6RQfJLG7KX3ak3qYnOTKmBmohIGGy8Pyk10FZuG70nRnevgDfZR7WQJzHaR3F2Hk8qjU9zpSFCGx7BLArWh4m5ksFz9BBa2CfPVfbqIoH0AWzdxilvYkyeoyN0bFvvyDOu98EnaeW3aF59h9jYNKbVpjt3nehDT9EqZWnXy6QGximuLcrzrD7zEE5+HmfoMB6zhhYyaJfqBFOjtIpZuXn0HHyI9vy7+EJi+VSnk7nfg3aDUVRRwQsF0cf30ZpfknAv//gkwVyRlmYSe/w8T370S9xY3OLhQ/0sLGeYmBwgly/Js9dgOkl7NEa0b4iW00apt2ku79Is1QnZqjyLJGNhCmWHcJ9KPBQnV67iUVvEglHylRbpsI6lKGRrdap5MbgwOHwgTKPTomoZJBWDVFTl5bk9Kh0ByTN56lCQ9z4QJNiq8P5HwoycHKe0U0RxfGyt1ZhfysvtvFADdjsm/ek+FI+GgcHWxqZU48bSPSzcWZAVyeGJIQnX3tpclX1w1VYJxgKsrK8RSSSIhILcuLTAuWePSXPQrVtlbt4rokc8TAyG2Nmus7Gn8eu/kKbZsChWfVJpLvSC0ydPkt1ep5IXdoERVtc3aYmB1GBC2qp21tbJrGfpSfeS2d793yydd5id51mn76+d3svMmd5Ho95sS25yt2MnDo5TIKGus4EAGwLLLiUbICHsUpaydFJINgkLLEmAhJg0xy2WLcnq0kgaTZGmz5w5vX7nfG2v9/X+5+uy5cueOef73vd5fr/7Zte+cZp1i067LZ8xM7smJMPA7VhyofLg4w/gM4K8cfIVDhw8TNNs4TZNqs0iS5vw7vce4fLpqxz8+DozIxn6jQbpaEgCBFfWhbo8wCtzZW58/RcZv+8d1GbPonVKdBuLaNEMrp7Flz6A01iUF3Y9sQ86WzLm7QRCsiprqUFUw4eavyCp/b7cIbpWk4Bn4AnQubhk+uJ4jRW8WA67Y6M7JkpqTELrnOomXnIClQTsvETb9hMavVeC/bTtMzJe7oWnUAWTSW2h9twrf4+6vYNnpOVCV1DYvVqeTv4CauwgiqZhBGzwdBRPpOFW0MNpvMQ4SmVRpkfU1hpOs4Dae1hesO1GBbWxjOK6aMkZyXAQdzOROBKpHVERtBJ7UBf+N53kQXyhYTr5c0Syu7GEX09clLsLuHYav9rEUqOonW2cegO1/2680iya4GkEk9IQIOD2TmMLxSriZnfh2j24mz9ASyTxQlNgbQpUBLrjwxIQe0UUx0QHv4Hm1VDtBt3AOHowJaP7eqeAI5a2kjERQuuu4zgqXWE6M+chdgwjOka3eh2luYYbFGcc8EX34SoNuoUr+AQE36mB2aDrODI9qqX2SVWi17qBEhyUJgp7Syy0B+kGe9AFNFHCSRvy7iyW18rWq7/lhaMRnK6L0hVLZxdP60H1CjSqZYJC7WCZqLUl7PgIRm0RJ9CPmtmLVp7HtJv4faLbl0KxCnjNBZzQjOzXa14XS3gNizcwLY9wVigL6rLzoaYPoXdKUrsg/kNobAmKBV50Gqt8HT25C58viuV4kvLb6ZQRHFi3K8ASQziuiVpdQRfuQ18Wb+cyejSNY4zgNC7LF6Gi6oQiOapb51CzR1FF6y2UpVO6LtUKjs8P23PSHGDZfnwGEvznluZQVfHLNHBr1zDie6XTURyERO9LqVzFF92NF0uBWcLt1tF8WRzx90Sn1arhKqb0deLPoDa3aVvbBAI5jPi0jNF6ioFllmRdwe500JuLOJFRAm4d05eQ1H+ruY3x/+mNPhw6IvKRHEMR05zOFpqvF9OyMRQNR22gWW00O4yJUFqk8YX78RpLEiSjp2ZQA2m8Zp5O5Qb+kEg2BHEFeKOWf0tXIT5UjQ28UIpg3wS0Vaydi3gihRHMyg6WYaRprJ4ke+QolbxCbv8HeexAhGRPisVrG/Rnw7Q8ePn8Dj/xzB5+7Wd+hNNnL7K5s82+vftZW17BHwyQGxKDCRtVNWg3W0SiAWrluvz5iofo+MQk6+srzM7e5J7jd7O2sczQwLDcjvf197C+skqh3mB6eoChnlG2G3X+4E+/RTCsMToUx6+raIbK61fXqRc97jus89/+84c5+coVSeU+cudxeZk6eudxup5Ds1pheGRCbqaXV26z98BuCRISXWnhS08lU9y8cU1uFPbu3cf6xgapeFJwCNnOb8qkgOoXehQxIGzT1z8IHZO23eUnf+73aZo+9kzGZGT0pe/Nk0obfPlLn6CwJeiebcxuF6fr0eq0GB0bJ5lI0G2bsvPmOHDfYye4eOYUb8bxVCsAACAASURBVPux32MiY/DYo5N02gHmFtaZmRKwqhbvePtD5HriLK9ucuSwUL2ZrKzckr7TXbt2c3N+gVBYJxSMEQwohMIxHn7mN3nknjEa9SaZbJpmvYIR0FhcKPLwPdO8771PU2m3uXjxIg8/8BCrG2tC3kCzaRKOheVBP5nIyIFCtdIgk+nhgYdO8Bd//Kf8ry+8wuMPTtFqw+rqNv39cZqNLvg1CoKuTVt6wut1D9tuEA0bhP1J2QUdnRziC1+/zp9/eIoP/vEXqV77LpoSotHxE05k0JobdNt59OgAeBptp4pfDUtVna100BxLqlGoLktHuy85hSLANaXrmLTRiOFP9dMWD+CdWbqREfxOjXarSDiRlh3sbnMeJzBC2J+lRRtDwGk6OxipJMGJSX70kf/Ia3MV3n7fDFeXdogHBAhulXc9dYRf+ci7+Z9/8GkeeeQ+Du8/wqsvvkQoGieZjVGvNaU/WdQnYokYQcMv9ZD9w/3MLy4zPTUmL0qnz5zh8cceY/7WvPy51es1sslenn3PU3zoF3+V7762zkOHx2iZLtV6gaGhXhYW86STcVTDYWyohzWhoVN0ovEMefE9t9oyyiy6jeKz3TDrbK16PPfuA/zmp38bq2vQ2VhC9SVRzC5u6TydmKh3iG39aVylhH/wbbQryxiIw2pAbov0RB/dktAoRYkce5ynBo8RyRhCFClNCCdvV3juvmk++dvvo7V2U1J7qzUfsayfrhIlqDSxVlcx+4fwl0uYO5uUljdITIzjH78LSou0LINwoI25ukE3qJEcmKG4sSjhi82L5wk/+F5aF74Drk4gN4DjWLRXbhGa3EfHbBJodwjkBtnZXCVOGyc2SPxgGpYrHP3Q19h0LA73BRjKhKlXIaHbvNzskFo3OfX9X5CR/u1LpyiX24z/yPtZfvU0B3/qa/zsY0NcWzPZqVWY6I2S8Pv4u3MlVj97D1rbxWqakvbtbK3R1nSCfWOY8xdlpcYfSdKql4iLeJ5dkd1qFBtzcQHf1CGZrBEUZ7tdQEsMy251sGeU/MlvkLnvETqbK1jlqgRwaZ4A426ixzO0uhVCbYXQdJQXXjjJL/5Vmf6BoLws3DmZoGYi48f/fsPjwh9kqRZczFCYbDxMt13n+e8s8cXTKiemgxQrLQq1DofHAwz0J7j/kA/PFDreJFu3tvGHfQQjBvVKi2g8SqdtSaZMZnhAGj4azSaH7zxKs95ga2tLRs93NvPSoX3mtbNM7Z+UJp+R3gSXL67yx9+sc8dUjK1NAW1TuLDoJ6I1+e0fDaDFe3n5tQIHZvwsrZfY2ewwMZFhairBwtKOBBKqwn4yk2RtXVz8OxiqTjYTZHunJNNdmytl0tkomYwYRLZZnNsm0RsjmYwQNDyWFupUK03Z8Q8kwtTzTXTVIJKNElQ7LG62yQYcBvojDA2EaFUqBPpzfPory/zgWpO5dpSrxSaWrZESELYRn4wEr++ISLnJQE+YStNC0UVdQKFda6H744QiXdlrrjRMmSoU9ZqbW1WO7+tlo1DlyloTs+thdlR+7FCQp+8c46knR/jiF67ysRdXeHTPWywhAYp6+Wqe331sgJ967m6ufPMHTP7kj+OcvUilUSK+ezerp8+RcT0C9z+IuXGLVlXErbPorouaSsu+c8cUyrUonfIy3UIHclk0y5RqQzIZCVwrXlsgsXsSu2PiVNsEelIywu8UytR2tslMjZNf3iJgKOQOH2TnzBWcTovQ1DB0O1g1k6Cohhg+Vl98hXhPiraikR0blgnSbqWMVbGo10uM7t/D9rWb9B3aQ6NYZf3iOXJ3HZFEeJH22H71+/TffT+hoWG2T/8AIxzBDQYIeZCfmyc8vQtD2AbMFvVGm0AmJnv1zY1VInsPyPiykhshMjxG7cxLqALQNjGNt3AVNxJGdYPQ3MIRHu6ugVdYRhP0fsWgdvsyqf3HqN6aJxBJyM2vIMCLvnkw3ovimrKrbhgiuWBREcpAI0XsxDN0Cqt0Lr2EFQsSGzlI+9YCnt0glBmgKgj6/T0Ed98lhwCiTqtsXZcKQev2GiHHxLZq2EaE4vIqu979o3TKN4k+/vcc3w2GX0DqROouIqPy8d4Uy8u3CA5NEugJMnv+Knc++xj9PUkunbwohwC+tkPt+i1iUY3ytoWRUt8yeol1TlylUeiQTQfpti36Un76+6OcvLwhfenlYoPx/hS2WyeeMMgY0FViXFoqUTFt4pkYxbrCxladBwdsfvdHs+w+ECCSiFLbsSjsvJXc2dmps75ZpyfjkhocIZWIsTJ/W5qLTLOBZVvUKzWZzAyGDKqmzdjYIK7VZW15E1f1GJ0ck8wjkSjJxKNsbszz5sUCV69oTO0NUKk5nLtucvdEk3c8ux/NF+Lm5VX6+zK0zArlfBlfMMieI4dZun6DZl3ADcepdRq06lVs08PCk8NxAREUIN+W6HTjJxSNcOXURSb3jUi18Ny1WQ4fPcSNa3PEowmSvSlmL16iJ9FDpDdAMOCjLxbio1/Y4v+8UWRcvEciFnrLI1/rcnhXlm+f2uDp+8b53PdfZPvbn8AIxgjk7qK9fQ09HEYTjKNW8y2FeysPpZt4QiHnmXQq6/j77pBqZCOcguJlLDWGkZ7Cc3Usaw2/IS79NdTSNbp6HF9iCKedlzF7pV2R22UjMky7MotWnEcNRCA6KYHiHTeEGu6VcHJxUegWb6J3ayBAec059OEHMHdu4EsO4vn6MSrXcFJjKPl5Or5+giLV0riOJpawuHStApoSQ42O4DomVOdQfAkUpYPrG5Cwvo7toos0kNqP4tzCU3qgs02nuU188l46pQ5q9Tz0PwhKi26jimEEUCIJ3MoKWjsP4WG6dgdHUQmLhbKiYKsJOrU3CGo5rNR+lNppHDuAEh3H6Gxg2W384m5lBHBdHcfcwNq5TnjgQQla1+oXUQjiCDW9P4MrjAvZSdoiKdHtYggdXyCF2xCfU8G5E6x6AcPcj2Kt0d15A6VfVOT9ctHmOR06lSX8noedOoyvcZGuYOn1zKB0q9jtCgHDwgyN49cMHBxZaRHMNwTzTdb0xT1vFa1nWjIUFAccPYFSv/AXnuu6uKK3LzRbib24viCqeNC5PpGPQxPOe0dHC4XpNkvyA99pbaG3TNzMgJzMia9CdORxOhsv4tS3CA79EFZnCU/ELz0PJ3kYx7wOtU2p8jPCaVSrhBdMyyi+4suh9EzjbZ59C3QWGgMBUBE6wmCPJGfbkbTs9lOdJ5i7E8esoAo1XiiCvXESvxqD5H5cpY7qS+EJBJbrYdeu4boeqp5EFb+g1C7aS1+TUVM3Ni1hPKpIuwptkdgIWgWCRhqaBbygiOGbKHYeNbEfI5jDKZ+m3azhi/WBK4BkZfwp4bXPYDYFJKuDaoLpU1AsFZ/akBpB2xUP0ylcsV3URV9NwRGX664nX9qKWpEffgGT8CwH122jGDE5tVM8S7ILLN2H2q2hK0INFkA1hP6oJT2UenkVp7GN13NARlOEi1nA0BwvhtNtiSEbht7C9Y9hBPppb7wgyd+B2ASd+jK656Fm9sm4iLvzCpo/JgnIndJtCPUQ7dtN69b3MQIRlPGnoTTH237q49hKlMmUn3bLQtE6rG7UcHWNwnaT3/+VZ7nn/vv4h7//Cr29WbRAiKXFJeKxIDVxYAz7GZ/ZxdkzbzLQ14dt2ezbt5+126tcuznLXcfvYau0iWrp1Botrt+4yg+/51kq9RqzV6/LbvuJw+N87H9+lZOX8hyYSUn4T6dVJpLOsbhepy8a4r//lxN874WL+GMxnrj/Ef71O/9Co97gqXe+m97eHi5euEJ/X69MBvjDARYXl+Tmuz/Xx7W5a4yNjbG9vSUVhkJxJfR54UhMPux6sxnJCLg+dwOfz4dqKMTjSZlg+KVf/SPMVodoOs7M+CgTIz2cefMqZ2a3ObQrwec/+7/4v//wFXLZFNPTu9gpVST4qNlsMT42ycbaKvv2TBHqTzO55zlGh3zsGuuTUTnxvS5Wa5w4upvP/t+TfOXzv8HM9DiXzr9JrKdPRvqffeZZqRVslkuS7Nuo1ohnMkQjPvbt2cc9j/w8Rw+kqNk6cSOAPyJKGH5Onprn537yUd7z3ndy+9Ztsj09sqKQL+bZt++ArCZEYxG2t/LE4nGa9bp8uN66vcSJB+7lX7/+Tb770hUmx3t59fV5BOnz+OEx1nYqZOIBAqEQl29u4LZdUr1xyts7TA6kiYQMljZL3HtkFyvrW7z4gw1ml/6ERLif5fMrJPsiuE6DYCBCuVwgHIrRFZBKAfYR+spaGSc+hOoL4tZvoXoaltC9tB1UTVgBgmiaUF4KkF2U9q3vQfowkcQgdnUeR0nIeJcgvxrRtHyZW90CdrNJdGAPTr1K162TGL2Tr/3NJ3juk2d599MHWF/ZIBCJSFL3kQN9PHXfcc5fWZBQtFqtxb59+1hbW2Fu7gZTU7vo7clKkOTwyCDnz13g7nvuF8UKTr32Bv1DfdKl/uapM9xx973cWlphenKUb3zzmzzz7negOnU+/EufpW8gy9qtbSKJIKGETquikQi7FCotDk6NEs8GKZQEDVvj9s1ljIiPZCpLq9Pk5Nk1zLpCOuzyF7/1JA989JfoXnxZTpOJ7qKzOYeRGsRe+pa8yER2PwMiOSSGtc0dOWkO9s1Au4rwxgTI0Swvkto9jR3J0dv3Tj769nGS8QTnlvN84+UV5r7wOMk9u9CLeYjEUEZn0MMh7GYRfXGFDhq+mQMobon28hL+kT2UrpwitOPQFMPgooPmlAn1J2gsLaGlgjIphBYn4HoUlQoxU8GMxPE36piKTXjvXTg3LtPY2kJMeGNhl0rDIhAJEE4O4NY9/PtSXPnW6/z0/7rGvQ/30d5sUOwI0nyZgWSK5+e3GIrBhbnPUz35A5a+fYqJ97+PWKfC8BN/xUhKJ5VS0Loq+Vabw3vSfO0HBX76vgE+8bGnWL9wlXDfDLXlZUIzg4SbfhpmEacmal/CNWzg9o7i3jyHb3Iv6rU3aXhd3EYNLz1KfGSEwpuv0H/sScoLZ2UVT+8bwVcr4PgU1MAQ7VqByNg0TmGJkHgfhjO0trcJC0CZz+VPv3CKX3+5xEOZAGXXJBYKkPHbPH+2zu/+6Cg/8+MJ1moui6dK9Pc6rFQsnn+1w76xKN8/X2B0IEwgYvD6hR1++ek09zw8Rrsd5PKZSxKCdMddB7m9sEyxXGCwf5jZKzfJDWbpNpv09PfIRJUAj9XyRbK5HHrIT35ti1vz29x17xSdtkosLsRVFn/xOZFYcuhJBwkFVNa3Orx8tsav/sdB7tnj8cIPKmTSHof2D1GpdXj+G7d5+P4+yi2XeFzhwuki0weiuJYfs9OkWbMYGs3IwU2jVCcc8pPMRGnWO8yvV5gaT0oWkWeb5IXKbG+U7GAP3/zqFfZOp2Rc/I2Lt3jw2Dg9PZaky7cErXxL5ex6i2/NdfnKFZVKwSUa67BnLEKl1mWsr5d6vUhM9RgfS/P6+S2crsPuPYM0zS6O2WZ+syF7srsGIpTqbSJ+j0bVJqbrJAYiVGsNbtTh1kKT/UmV//ZoL8d2xRl935OYr59FH4zzjedv8dN/fZ0TB6MyKl+q27xxq8WvPeLn4z/2ELWAqP4VZPe87CHfYetz88SzOQJiO25DeNco5TMXiaSCNFd2KLaaZA8colsqEohFaSwtEhmbwB8LUV+4hhrqQQmo0Ong+oPYtQr+sNjAuRiaJs9bZqlMYniAzWsLBHvSpPsH2VxYIJLOkBgWho2S/M43bgvdm058Yo8871XrNeGywhIWm737yc8tEcnFCCZz3HzxJTLDg8SGslS2G6RiCW6e/QFjB4WSTyzjNiDgoYkzirDXlEv4cv1oTpvWyhbRnl6K85eJTE7jioh7PEtnU9g0+lGz4wR6B2gt38TKL8sBjbBTqc2O/PcxOoQhqhSJHP5alWatTMBuYyFA0C2Uyd24F96Qx+/YPU9Qm7uAYSq4U5MY9SqW+J+6fZ1uwE/s3vfReuPfcEsbWJ6L35/EGOjH3VrB8Sfk5lswTrrBQbrrV/GnczidPARThOJD1P0uXDmNtVXA/44fI9gu4V67hPvYvfzGB/+Q/3sF9s+kyRfqTE/30+w4GK0u+WKNzP5+UrtGUToK1+cXJHU/19cvI/e94v9fwFY7HdrFErXNIttXVomI9Krb5MDkMMub63RMhUQmSaVRQw34GMpGJSujUavT1xejbVq0qkKfBhHdJJhKsLRSJhdLs38mya3NKt+/UkJrKwTScP+Qjw8+kuLpB5LUzTKhbIorJ/PcmiswPJ4mLQxKp2bphlz2HxnFrYcot3ZotxympockeLRQ2GRzMc/EyADbpQ0qFZtULCIHBm1HIxRVSSWjnLla5twVkyceynL5cl6CV3/+I8ckU6qe70iTSbHaIBAJUdnekRXMwYEcl05fk0u+sclRNEN7Sxfdm6HTbFEuV2m1mlLRtmvPbmpCKakqFCoVhoeG2VhdoSeTk4nWjfU1fJ4fX8ggNZSlW2lxdu4Wb3vsGIuz8xz7ZIUfOe6ntNmSDLN2q4Ee1EjoDt8936K4/SWZWnbza5iuS6fp4AvHcVvbeFYcLfJWpaorbhPrb6KI2kzqiFxamot/hy8+CKEReXdx25uonjhTrcvvnGB/GYEMHUHtr29J4r0aTPz/mkAYr9VEG7gTd/lVVLuM3ruPVnGeYHYG2+ile/XzBPv34YXvxKGAt3NJVrG14RO45WXU2CCU5lH0sBwodLZuoLlVGH0C3Wth2ga+ljAh1dBCSRTLoysU6P6ETAQ65haOSCwEYiA4BXoQN5xEaVs4xVfxpfZIUHs32C/PSXphCTczgyq+p2KIHunB6HRwDE9aZ5SdyxAbxqncRk/vlrULb2dWEv+1vt24tg+3vogmbFLCvNCtoIlkZK2IYubfgrn7BmQt23FdHKeK6migNvF1/diZXSiNdTxHQ4v10hVWNmFuye7DdFrSFie+I544w0ZSOJqO4QgWioXmE6BGHc/QUE0LS++itFzURAYvf1bWF9TIJKpImYskoKGAZRDQdSxRG0LDbd2WvBLHEz+nXjSxnHZb6OEMrqWh1M7/red1t3HMJoqAOHgBbFNcUEUcvgfbWkO3VLxITqrDZJ9AfPjkNEXBi46LygPehuiMB9DGn6Y1+0eoSgy37wEZS3V2zslfnqqDo4xid5dQtYjs/MsJldPGba7IrobPs+lsn8dSdYKJCazqFl58AMqXJOBOi92B0r5OR0vLCZOAF2KAFszSFZMN8cCO5lBqFdzuFh0nQDAxI6chuic85jfQfINosRlcp4zbrsgBgOIqWK0FfGLaJTb/qkGzUyJqObTNbQnI02KDuO2bOF4SIxjFae+giZdOoBfNrGCWZwn27MKJ7oKtMwSDKVqBHtTyHE7lKgQH0PofxRD6PTGhM3w4tQK+oLjELKOQRo8JC4EpugkY4STN/AK+eAafP4lZWEKP9ILhoFTLMjKrhJIYtoUpXqXCmKCFUfWQBPeJy4vbaeNEhXf3BVT/CEbvBHqtjC0mHgExvWrjC03IbaoqTATC6RnJYReuYytpQiJe1NnA6VYpbq0REbCW8F469TnCxjazt+u86yPfJR31OLx3knq1KqemAsJ2Y6VKfyLCd1/9Sz7/B1+QICnRQX3++Re598T9sue+eOMm+4/M8NV//Bp3Hb+PWrnKjfnrHLvjLkwJn9RJZVO88vKr7D14mEP7Jnn1+69SLFa5//57+ddvf4sH7j3OZ/7h21SKXdI9CWqFqlT29I2k+cYrq/zprz7OxGAPX//Wa7z3XY+S7OnlyoWrvPzqd/joRz5GbrCf57/xTfpHR9g9Ocn84hLNRk0q//I7W9hdi0wqzbWb19m/7yCv/+A1gv6AtAA0uh1pNchmsvgChqT95zd2mNwzxT0PPc4zT72PoIhWtmzJvQjFEsRjIV48uUhPVuXPPvkL0pc8P7fK4HAffsPB9lRCwSD1aoNI2ODhZ97Pxz76Ub78jau8/4fuktupS5cWSfSGOXJgF6+/cpEbyy1e/PZvkc0Os7WyzsbGlkw23HPsXk6ffoN0PIyj6lIreHV2lgdO3CsYpOx95Nd499vExtki7AuxJAYbYY2drSY/88GHeM+73svJ11+np7f3rTSCZbN3724uXrnCI488SrNusrh0AwWV6Ylx6o0G41N7+MRv/SrX58p4ukhXODz04FF2SkW+9cJVItmI3O61O3DPvjT/5bkT/OmXTrKwU+fuvTkKxTaa7pPcA5ohehJl/vHk/0GcXrcW5+RwxVX91IuXiYhYv4AnqlE69U0Mz5TOWEIpDJ8uH+BeZx1l8G7JARCVG8XIogvlZ7soYTeB1EFsAwm00UIxPCVOp3heOmBbmp9s5iBqokt7q4JdXZV92ei+D/DKp3+Ej/7eComwghHSZKVIVfy4Wpff/MX3MjKQ5s1zNyiWGtL729PbIyOY7XqLvQdmJExscGSUf/vGP/Po409RqZVJxxJySJDp7SO/vsHkxATJbIZ/+fq/8ORj72TX3gy/8Iu/z801k3RPgEQwTDwRYXFpg81Chcfv2Y2u6VxbXCUcjeG6JaJCfZRfp1x3yReCVGpV7p4x+PPffg9TT78H23HpzJs4XhGlUQGfH0UTyqccutvFFayS7haesCQI/WhHWF/KWC0HWwviC/fi2B3JJBk8coKtG2eYOPZJfuiuHlbzTQpbTcYzQf7t4l+iiM3/q69y9fU3ubpp8tJLC6y4kAqLDWmLwYEgk9O93Hhzg0/9whPc+c6DcmOmODbNmoe9fovapTdJJvpQRvpkbatim8QTg7TWxLZsEDfVR+fq67TPnSdx9C6siB81vwb903Q2FiSY0rd3P60z5/GnIhQ31hh7cDef/eR3+JVvN3nvPVHmN0vsG07LQ4kWSPMn313hn35pN8/812do/ftJupFB0gGTP/znOf7s365ycDhESPFwLRVbU7BUeGm2Tf7f3kMkl6I8W6O9tkry7sNULp6ltZmn751PUr88j5GISxqw4GrobRMjF8MeOgZzF2RSIJRIoj32PuzL5zA0j048h1OYRykWMJIJuvkSxsSkYJKj7tRw2030gYxMczgrt+j9oSeYf/089/3ctzm6O0Cj0eXQriF5sBTJhcGUzj//0X7mz65ze7XC7ukE8fEBnn7uVd71cD/3HIry2ukitzeqdJQAv/i+LOlokktXlhkczZJOhVicX5Wq2vHxYfy+MPmdDfr6BqiIS0SzRWFlg/6xUbpuh2alSjyTFLxgevr6aAngXr5NciCO6pT50lfXCKT6UGiIhCNHD0T5nc9s8BOPR3nP4xmWr7VwIzblqiYvnmogxPhgTPaQS6W2NAsJ68v6UoMjxwdRbZtK3abtdEmGdOYXm1LRNjbdK41BpVKV2+tl9k5niPgi3Li6yb1vm+DlF1fI9Sfo7zcZ6E3Js8nCWptPP19mteTy/HoLq+wjmI7yxLiN63YxtATXF3YYG46S64nw3UuiD6wy3ePDF9BQLYXtcpl6N0k4ZqFYFuPZMHNrNRoNj6HeCLWuSVANsrhWYr3l40iow+8+t4dH33MUT1RUbm1QXTG58cZ57nr/Y1x46Swf/NwmQ/sN3HyT8Z4Mnzub57Pv7efH3nWXtAyYizcJJNL4bQV1qBen1ZGgw4Cq49ab1He2CI8MEc72k782R7QnRbe8KQ03WjpBz8Ao9VIDc3WZxOF9GLbO5sXzpGZG0X3CaGNT3hLgyiT2Tot615S/m2A0RmJoDCNusH1+lkAmKWtEG1fnCCQjpKd3sX7uFD27D0PQYO31Nxg/dhdaspfbb7xEuidH4uB+SucuUy0WJYenaTkMTE7Jemm31hL3FnTXxjRb+NJxEokeNm9cR3MdrHCQRCjO+vWzDO25AzWXo15YIZbop+u0UAb2SnivfVuwD2ys1YtE+0bQQnEa16+gHT6GWtqRZ4B2YYeoT6XVbstFhjEgtNC3JYfJE1Wp8Wl0YYqKJyn8018Tu+sEnq3K4YBV3IGxXcQDSSqXXiLcP4Ny76O43/saXd1D7xlDs10arQ1ig/voriygpYfx7b+D7uv/jrV6A29kGKOjSAd4e/k8wZ49Ukva29PLwvoa4/ty6I0Iyru+wNtPjOPWyzQc0Vs35bCntLQul1w7PX5m9u1heWGVPTOjeIrC3OISw8ODXL5yVSYbd02PsL5Tp2c0jdFy2FnfIYBH9fK6HO70Toj+eINGw2Fjs0giGSATC9BRNJbFP6v4mJ5K0GmKTaPFREzlhdkqK9s2T90ZQ+m2WbcUmu0unYbBVlulXHU4MRXhPUeE/UPnqYdSaKNpqjcWiQTSXDydx4krhGNRzHaNyakxbl4W8GUFq22yky8zs3eczFCOC6cvMTzUS7lqkoz6qbfFhtUjmxOwUJPf+cMrBFJRnr4vzZtnVghEYjz77F5W5m5TKVaJpEPy2TA51s+thduoikvfQB+XLwst9G7J/i7kS+gRn1zgZfv60XVNLm6sbpuFG0uMToxJmPSuPfu4vXCTjdtr9At7gWOytlniyJH9rC9tUN7ZZnh4mKV8icfePsX7f3mWC8smh/b7COohZheb9GYCHJhM8xd/P89//68P8bN/8Pt0b17F2tlG9RqQ6ad1+zyGqBInsihGCrVbBjUk09mtjZcJZg/hqOLOI+pRonbjQ/FFcVtlvJaoSyfw9AwBxZIJgraiyvN/1zCkPlqxqhjtDdqFJXzJ3RJy2CGOEhQV7oIcTglivlc+Bf4gXuJ+ebEWF1lhmtNSM9jV23S2zuPP7JPAa8sXJdA1sYrXUZJCbSgwXUKlJyp5Lp5IXIYFz0moiDtvLQ4qeVTdQAnlMDwBp7xMUPTtC4uQOYQeiOEWLqALMH1HmIYUaRSwqgtExt5Ht9uk25wlIKrNqoFnmjjla+jBNAwcxy0Ku11bNEy9RgAAIABJREFU8uoMWijtKmazQEAq3xuyem2WLmGI1K+ewLW3UF0/bngYpbWCZ3dRxD1S3Kt9MdBDaEYYT/WjVK5j2y10JUxX3HEz4zjF25hFwYXLovr7JT9CGuKUNghdfGYGp5LHMRT8PgFATOK2VnHFgVPcL80GenQYpz6H0ylC6g5Uo4vaKOM5Km4shb55Hi++D18ii1lek7UKxH9j6fXf80REUxCxxdRDXIgdaw2C03Ii4TbXRVYQzx/HKc5iBLK4gUEcq4Su2LhmAy2VplspoFTmUJL78MS0oX2baP8xWs08bmeLYGAUO9qP01xCFWQOoe1rt1FSI28pAi0Td+ciRt9D2N0bUoGnR0do7lwlkruDdqco7r1ohold6eBZGwR6DsnpngDY+enKX7RQrPjCCTHcElhHVMNPc/kl6UL09d6Ppvpg5yxtr0t45Emc9jpmoyC1hW5kSGooRPpBdIL1WC+08zjiABwdwC1cQzEr6OHet8AVtNBF/80Th44YHqak9BtWE1t8YHUdI5BATe4BPY5uLklHrNss4fo8NN8AtthShoZxLOHw3EAJCouA2EKaGHoGV3AFIr3YnoaTvy5TB0pkCFwPR2g8yhsy8eAPiN5nFlv10NsLaNoglt+G+ga+7HGam2cxtCBaMES3tirVGU54EtUWP9cNOh0/ugAmOkVJw/QSe/B18rSqt/B3bLz0ID6jS70trA419PwlwkNDfO2fXuM3/uwS9x/v5c3ra7hemwePHZW6vlKnwesXqvzKBw7xM//p3Zx85TydpkEmE8dTLcyWw4uvvsJP/cQHuDE7i9npypf4wYOHePGlF2W33nNdeZF96NFHZSpgaWmZA3snOPX6afYenObo4X186GOfZn1+i8N37ia/JcijNmZDwdEV2lWFj/+nO2l1dIanDlDcus5Lr5znwfse5OK1y/Jl9oEf+3E21tdl7F50llRVZ6eYxx8MkYwlWLq9KNMAwqEQCOr0DwzTsUzm5m7KHlKut5dSWcRK03Lr0Kg2iGVibK+t84lPfYaZPbs4d3aB/fsHWCuWGc2lqZQcVra3+Ye/+g1ywzluLd6iYXbwCcmRrhPwBeWG+MkP/EfOnfwGz773U9x9/17SfpW1rS16c2lur+ww1DfA9964zKf/x8/x5H/4ab78h78lJ3uH7roDyxYALh/FaoFSsczMrkn6c0OyVqH7FTllfdeHP8fHf+5BTr4+T6VaJx4N0fFMFhZq/Mmnfpi4iFdXW4zvmuL0ydcIhMNEI0nKxaJ8wRWKRQzDh9lq0243EVSavuEB7rznMMfv/A+CosXh/b2ogjCrBrhwY5Nat8NEOsT0VI6+dC93HU4TCGd49qOfZygtXnpIW0IkleXYoQzff21O1kw+9qW/on35pgTRaaEEoUSUcmmdgOpiljfwJQZw9aC0Alh1MR2u47Q8uhsvYIy+Ez27i055Bb1VQglG6DZX8PUelA9SVbABVFG08aGJVExEJAhEhK2CZYzhql2CXo1m4Tqp6Yehd4AHD7+LaDxMOh6kVnTZqRVlKmJuboP3v/0Iv/Bz76flerzx8uv0D04SiQRl1eWNU6dp1Gvyc5SOJ4gmEly4eEFaL3rSKWqdNrpPIxdNoxgW33z+Fd7xtgfJ5Qa5fOsWH//EZ9m7a5BkOsnlK4scPzLCwuIq/uQAI3GFUxeWsLwgm6WGBOWslepMxmHPUIRH7h7giWffweRjb8Oui1PMKu2t83j6FGpiDM3dwHFa2MLlaxYl9FSwE2huQLciLzmufwDDyGI1ztLpeFJviZ6m02zSe2wv5776FR7+ya9wYrdIlGg89+BxFrausX/XHr78ue9zuSbiaRBL+PBFQ6zeqpDMhSlXOoTsNhMjMc7ONYlHNLYLXR7cHeaxuyd5+niczO4xitdXMe2ENHyoAtbtidifjr9ZpxFwCCdH8VUK2DEVyxXcGA1CGv7sEJ31Tez8Kv5du+X2wFxdQGn6yCShOZThQz/7d1wua+SyAd53T4pXL25IvkG95vLGQokLn3mK/jv2sfDX/0zfM4/SbneYfvbLPHDcR62ko/kgpCvcNznKP7wxz07J5fZX3k43OkTp9ClCoSB2ZgBrZ4ug2cDpHyLoC9AsruOPRaicuUD0kadRqgW6V0/j23dcVrukqq1Vwmo2SD38LObNWTorSwT27kNfX5bPMSUcwvGH0MoFIeahk05jl1wSWdFES3L0fX9Hrdvm+IFRXj27xJ170vRHVb7wwg43PnOQcERho9IkpGj0T6b5yMdPU27qPHAowrlrJWYGQrx00+ODj+o8/egMr7xwk713jFErFiW8NRqLs7qyQbFYZGh0SPYMby0sc+SOgxKMFUtEGJ3Yzeylc3RbwiKQo9loSsK3z1KoASdO7GV2dotf+6tlHjwoBoUdAjFDErY/8FiWQ4fSnH+lQCDqY301z5Fj4/JZMXvjNnt2D7O6UScZVnFVRb4Dlha22XMoiW4EWFgsSsVeujcIAZtOxSOW0mWSSndVvv/SBulciCMzOUylzkg4KFW7wuxxccngw/+7wkZHo161iKseqZwiu/kiuuzYKgO5JBvttqRPT/THJYVZ0Ldtz+PyzSLhmJ/BVPQtzbEgrFttBgIBim0bLeyxs9Mg7rlcbfjRCnWeezjM+568j7HxHuxGDasb5oVvn2M4C+P7J1i5Pk/v0Bi+gMsjv/0yzTac2BUh1xvkL79T5u/eO8gTH3mE018/S1/TwQ47mM0W4d4eaItlAdQbNXr6BqnLhY5BJJ2gVNohqIcJD/UTDMZZv3QWPZIiOJChtZHHaTWorS+T3DvN9ovn5aU+tXuMqB6gsrVN1Yax3aNSRWs4Nu1Wl6AAB6LiExfw1WWalQphEe1Oxyi2bHweBEp5SsEQCdWjZfiw5m5h+jT8yaS8fIb6eqQVSBxrNudmMZtNssMTcvOla8LnXcEOBcnmppg/8yqZ0UGCAhJ5YZbY/gNEjxyndeMKdrdJYGI3zWsX8Wf7UcNRuHEJ0+8nODRNa/mK5DYZE0fwuyI+vY06PoO6tUljc46AP0Bg93HMW8v4kkn0ySlq188QFhyJ5UVZ3QkNjFBZmcdICi2aiVauoU8dpPHmawQVi26yF9/6NfSDD+G1iuI4R+v6BXx77kVpmrTy1wll+vD8onrQRkn047RNlOoObm4So1tHKRQlAypiGGwXlhl+5jG+9Gf/yE/+4QqP7jfkmb7lNGUiUehBXUHcjfjY+55HaJSbLC8uy0jywcMHefXk60zP7JHVsKPHD3HxzSvyr+88cQeb2wWCfp1So0xYCVFe3ZYA0kbNlFo/r9Zgp9zCH1QZGkkRNAysjstGvi6NHbc369x7eIx01CVftOm4Cueub7J7uJdsQGek3896dYdyTeO1m1V5qdvxQapg8txTgxwbqnPHkTjDUxm8WpNbi3lsNyKcKAz3D1MqrLNTLdEXT1FsdLFxiCoB+qaHqCyvUCpa5EbieB2V27c3OHDXCLfWq3z1HzZ526M5+npdZudqRLM+dk9lUO0ILbPGtqiuxCO0ak1pLBkcHMa2uzKhcv7N6xw+OIWtCk2xsOkUGRgawK/7yZdEYrCLpwp+ioseDJCJJ7h+9SZH7z5MuVIj2xvnhedPMTY1yvD4NPFwmdPfW+b4EwN88VtzfPivXJ4+qBMKhMh3wdcsk+nL8eaVAuulNo2dT+O4cZoLl2l3dgj6BnE8oS720Jy4hOEJWr+4n+npDO3brxAyenHDEbToBI4ApwsdZXA3XnsDS9HwJSJQFT9bBVsx8YvPXXhMZJLREwLc3pH3Q+qzKMmjoCdpb36PQM8xeVHXbVMuhJX2Om5rCy84iSei/LERnI2T2NVFAsOPYsX68Ns+rO4qOF0IDqLbHaz67bfUeZFJdNHB71SleUEOFWJZdLON1djBr9exVaEDtbHNKqGAH1NP4VPEAMpCFX+uXUIJ9ON2Wxh+5a3UupKRqWulcA2z81a9ncQQiuXiKR2UilDcH6WrKeiNEu3qKbkc1aKDWK6FZrekHYrkbpyWMMa0IDqK19yRAy0l0otTvCaXyILf49h+/O1Vuq1VWUMwmmUscxPFF4HYkExeeNYmXmMVNdr3FqhP86PU1yS43YkNYdQXxQkMf2AU1zNl3dyN9OK3WphdYYQbRjVFYkLFEndkAbJO78esLKE7bWkQENA/W0AF7TLB9C7Jc/Pa2xDIoFTOfMpTHbHsElFCHwjFguJJCqGjiIdPS6of1PgeRDHWbSxiBzME1DB2d4NOs4s/PoUaG8cpfAfV9TByT+CUL6KKNkK7jNrzEFZjHq+1jRbJoth1SfUXFEi3sYURDtMpXJGdeS+xF83tSsAIakRKDISuQTNydNor6LUl3PgU3eY2urg0OzZuWGymApJ075llXDsvdRZi4oIq/nwAzXTlpNVr1/FFxrG3z+CJGEosgR4YQ5S5u+0tFE0AKUQn2SGQyEnwhZPYhap2oLQso28i5iNzG5ULuKFdGKqFJaZcSgJFwMbMqkwhdEvrdKsXMBJTdD2FQKuK0ncAtyPmHy1sNYzR2UHxiYt7AqMmejkRtHBaphkEzV0TQwmzKSERqk/Bq97EFZv9hng4pQVrFPxpdKdDqzFPIDyBK2Khni37UJ5gMBshglYTx7Po+GIEgwKKI6joGt1KXR7ug7mjqLF+qK3Q3L761lRfABY7eTQx2eo5Bm4VXSQVtFEiA2FpNPjh936IsZ4Yiq+Pb71ymT0TaQJ+g4tX5xmfFH7oFZZ2VH75J+7i/nv2ceqNqzz+1Nt48YUXpLKnWm4x3N9HbmAIS7GFsELS/0uVKrn+HtLpLOu3RHzX5dhdh/jCl77Mo/c/wvShEdYWV/j6t6/xT/9+jj1jKeIxm6WNBifu3C1hUN87eYs//cTTGHTo2j628jvEIiE28zt0xUXf5+OOA0cJCaDM8DC1cllOpJdXVuSQolyokIhE5KEo29sjIUez169JHkB/b78k7K8ur9Bs1ymUq2RTSfbuOwTY+EMB5s6d53P/+K/05fpodhR8qsJmpYHh07h8eZmpqUH+5Z/+mivnhUkgytLiipw0T0xNc/HyeSbGRugdH+Vt7/x5Iq5KvDfM9kZd9oIOHxlE8I6/9aLwn1rMXvsety6doWt5tJomgXBIHq57cj3Yrs3s7DVJ091cXyWVGZAT/lq1zrF3fYoffqyPxaUyuXScTCZJW3E5d3qR9zx9Fx/96HO8/NIb3HnHHWxvLVMoV+hJZST0a2npFgMDgzRMk2N33MlOIc/mZp7psRGmDx7g+LGncYkzPhnmjfNrPHLvDK+ducWBvXH+x2/8NPmlBRwlzVZxixP3Heb3/uhv+NeXizzz6B7qzTovvrnEnfv76Zgdvn1qm+f/5od57EP/iY3v/z2x5BSqACIZKtbmPB3Pwx/vwyxfxx8TYCoXTQw0q7Nolo6aFF2vOrqnovmieKF+3Mo2jlaD+hqKsGxow1jOoqwJyVxi6RrWTp3AngfwtTeobl4ic+LHsRrbPP62/8rZy1X60hrTw8JO0kUVzxOvwd6ZCd54/QrDk7188c//kK//81dpNx2MkHCQ18hkk0yMTEjY5enT5zl6aIb8do1yaYd77j/OletzUkPl2jbZZB8Bn80D7347//NTv8tffv4UiUiYO4+Osr1ZRnUVYqInfbFIz5CPjnAo+2M8fHdWJpvi0TjjM1mOP/ku/L2TOK3baMHdmMUC+ZNfRstMksxN0smfxW+E0OJTNMoraPEsOobUA2mBQTkYtKwCYd8onleDUD9eMIFTaeALlDH0PirlRbL7n2Hj/N+z7+k/5gNHElQrCqmYyvkNk1LJZaDHQfUbsieqNjr4EwncmsmlnU0OTA/jUzsU8jaBdouFeouAOGAFM5y9vCEe4/zJrx7m3f/5Q1L5Nvsnfyzp7qk7DmB1xOdgCSUaRfd8BMJB6pY474ZoeS2cwhY+PYLV2sFVwzKtI5gohcVZMseOUz13kdGJfjp9GYbu+Rz37NbIhlQWix5PHOmjYHr87+8s8vBYmC++9us0v/0S4bYP/+ERJh7/W3LJAHcPROXBqaIHKeUrPHbfOH/+z1egrnD5Ox8k2GzRangUN0o4mk1/X456pUxlfZ3w9Ai66iO0sUo52od/8yb6+DS+A09SPvc85ux5sgeOyvd0p1rGiKuYq2so9Sb+A/dhbd1CDwRRElHI70i+jZYbQ9czGOurhJ+8i+d+8nd4da7LR95/iN//2zd49wPT7FTXWd6y+MyHhwn6NTpqiNbmAgefOMA3/3Wd3/vSMo8eFN8zi1xvnFfPbzCWCvPrvzTD9koTsy2UoMtM7x4n05MmFAzJFFQ2GefsuVkJBExnsrieRTKdpdZs4NN1GsImoVk4psfQ5ARdq8WV0zd46tlDzN3c4cOfvMVz78ywttVgectmfCTK2kKdd9ybpL/HIRxLojtdml6XG+eLPPr2GW4v5umYtqwEiff36HiO22tbVIsWflVjz8EsN64XcBSFmbGEVPZVW1WWt21SKYOh3oA0u0z2h3CjCV7//gJ/9HyZLTPIxU2dRLxKJhTF8DnsyoQpliuMTfYyu1alXBZUcpeQptObC7OwsEPZUUh7GrmBIOlUlIbjcXZ2jaBtkIrrtD2FA6Np3rxRoDcSIILJfNvANkwu/fE7CA5EaF28jVlzuLFa4dD4MPM3rxJJhogKqLJAzlQLZHomOfzLX2N4JEVYeJ+dFlfWbY73+vnCx49gtgNUq2LT2iaZCOGpAuDmkBwYpbq9hi1SgNEU7Z1N3GqdxJGDdCpNGtVtqbVVmnX8gmjuiF1QF380RqNQJjM6jG05bF6+St+dh9EUwSkSKQholipysLV8ZY6g5mKFo5IvkNs1TbNYJtqTIJjpYeXUaWK5DIWVbTLjUwT27GP1//w9asIld9/DKPWWXEDVixWwuxjpOGLSoYYDGHoYXQwLCmVCQwM0V+cpz9+WcX4jmcYwxQDXjzo4hD8zSGt5Xvb29cwEsf3HyX/rSzi3ruFMHiAxPoG3uYU+MimVu6xfh2iart0lFktR/38kvXd4pVd5r32/Zfde1bs0mhnNjKZX27iCTUshxIQUICEJOUkoaeckJ+07kHISUkmAjyQQ0ughBtOCGzYee3qXNNKoS1vS1u59v/sth7X837RrLrX97rWe5/e778XreHv2ScJ/fe461vAhPJUcrcVZ3Pv3o7j8sDQLew5TX1okOn2E7Nc/R6BvDH14L53sAj5fkqbewNswsEenMVcErEvDWMsRPjKNKTae25sypYClUL/yvNTixcaP4O4bolJawG27cO05Tv3ac4S6RlHKZazuNH63RktTGXzbJ5ge6kcrb5Npu7nvzBiF7C6Xrm0zkAiSOrOH+IERzv/n83R1p9FDHkaG+8ltFYknQ1y+couzZ4UJaPE1kny1jT8WYXNpVQ7VhsYH2cpk8QW97J/aT7laYnctg71dpJ5vSv5HSIVsuUE6FmRoTxc7aw1uL29x4mhKbn1nrhc4PBXGEhA0zS+ZEMs7HVnfLNVb3JnPc9+xJJtZuLSQk8aePVGH3qSPP3hfP9NhFXevSm3bZjtXo2B7CdVMKu0KPWM9RKJe8pkauAWMLkBhe5dILEyzWcHlDuDxBtDISQbSn33sNgf2pxnvFXVnneGRJM1GBc0VoprfZSeTo7e3C384zNzCIqlEnPG941JTuJXZwurYDI8MUiiWqJfr1OpNhicGabYaMo0cEuwIly51iZZlMTLRz/mXLtIdjXNAAC8z65gdnXxGbIDjMgEWTcDDv7vL/vEYJWHEEMNMLLI7Kg8fifLpZzb45G8e5l0f/lOat2fomDaK6qPd7uDxOTSL62huHx5PBLuzhW16IXkEdi7hmDaW4sIf3yOh5U2ljdebkourTn0LOqKvfo7O9gWxisKb2IfRKtIRRjCxPG2JQU8Qq60gJstKfQVFDN9MWyZu2rVdrK770JUyVGbQ/SM43iS25kPJz0KrjhMMyqqzaumv6Z3NCrY7LYfWIipviMR4YBA1GAejiF3PvqaZVxxUlwBzOpLlYdguWRfXFaGwL762rHX3oOqqTMh54zEsUdmuuUERbBQPjpEFTwq3O4khzEaqD9Op4/V0UbU7hKzN16rveDAr22h9x7GbbVxeA1qqrMGovhDt3esS+mdHJ1HUCrah4nKrOIaN4e3CZebB7wf8dHZvosZH0bUoTmUWS9Toe09jan7MzZdxJQ9IyF9z5Tk8yXF0f5S2o+P2JGlX83i9LozyLpq9jRPuxxKVJN2BUFJG/5X8HDgu9MGHMBoZtOoSShtI7YVOC3P7FZTIOFp0FGvrMu2dK3iG34juD6GUL3/SEeAEfEEcEUFvLGCKLf7uVTQRLQkNg9VGccWwtCi61kFpZukQlBo7pTgL4XHpaHSaFZxaFauzg+IN44oO4ZSXsQiiK4JY2MF0JVEjCakSE9RGJ3sLK5BAs8Ul1qbtsXHZAZrLT+HvnQDXELQ3wRvGcgsYRRHVXMPlBGmpfsxmBY/ewkofQnV0VOFL1Dx0XD3Yu5fxRLpf00AYbRSliVXflV8YWxxyhY9R7WD5fChNDau4hm/wEB3bi9JaR/UPYWy9LCNXet9j2OU1mWxwgqOvqTU2nsFMH8XtEu7eDUw7imGKSFIfpubBFRRwxQ6ujoPZuIJJAlfvGSyjirF7A48nieZLYuRm6NTX0XvvE+xIaFVR3A6q0cLRI6hCs+VWsbZeAG8v7sAeTKckSZMty8QnPg+/D8cJoXp0DFNDd1uwu4IS68YWJ2ejKV+8an0LKzFGq7hDdOAQRmlV+ihF+kOJTsg0hlJbxm7cRUufxW5puEIBGisvyphPfN9ZGXPSx/cy/91vcu6n/51fePsEG5kynZZB2O9mJ9+QvRWf28f+4TjPXF6DRpv3/fz9vPnRE/zX115kLVvlzNnj5LPbZHfyJKJxFNVh6sAhVpfvyX7SkaPTzMzMS73ZpQuXOXr0AO/5+Z/m0//4WZZWCswubPHCxSwH9rg4fmo/y4ubbC0XSPfFJQDPH/Twu7/8JtbWc3iDcTaWF9lz4JC8xGY2luiYDSbHprjvoTfwyksvUWvXZT97bXWNwwcO0mw12dralpstUQUQQwBLqM4aTdqNFp6An+JuliOHj/HKK+dJp9KMTYxx8cJl6acd6E3wmc9+npnlJvVGi3JBeLHDJBN+mm2T1Y0SL3z3E5RyVRbmblCqVOjuEZUYjZHBAdL79nP8yKM0DB/DfS4OjPezuiPi2AapLo1KscO1+Qx/9Gs/xJve9jae+tq3CHtEEsXB5VXomA7Hjh/j5s1bFLNZjh4/TrPW5N7KAqfOnBRITXrOfIiffcOQ/BpPHzrAy+fvyAl6s2lwfF8/H3z/e7h8c4YeMQBpim2Cl/HhIb74hS9y+vQ5+W9HRoZYXlomEAxJVZJQBR46MMnv/9Hf8dz5FfaNBCjXLYaGE1y/ucHUaJr/+cG38Sd/9s+cOX6YQNpFOhilvyfC+//gPzEUk1TUQ1csiqkI732AizcL3JtfY37+H/CNTGJcfpWOZuP2dL8Wh7ItlI5w0udeq7OEu9FiB6T6xDYMTNWLSgulIZy5DcnWEBWbTqv9mqlESeFWMzj1gkzuQADNux/VmJfPqcLKFdITD+Iem+Tw2DlqBY33/MxxvvHtG/zUk2/llUtX5MbEMHVa7QapHh+3b+3yJ7/7o+wZHKBatdnMFqnVSwx0J+XG5+K1Gxw5Ns3EyF5pV8DScbnd3H//GV599WVJ/D5xcBjNn+bjH/8Cn3vqOu/96VPcmrlLvSr6qS0Z17y1UsEf6vDomIv9/Qne89G/wG4UUHtGsNtBGb8zd9ewHBWn0qKc25DDt0CsF8XJYPsegtx5ars38Q7ch6O5pD5RqJZUTVDJBZ/ERFc7tG0NzWrjVlXMZo02HrxiyxlU0PI1/CffSX3pc4yf+nN+7olhfKqLb11Y5sieKJlaiz5fiPXNbUzdz6HeJOvZDRoeD+tbHY73d3NpcZ3evUNMpiN869mbPHgyTdUwGO6Oc2M7x/derjCUdvGFD51g/+NHMNoKtZyBMztDZ2wSb+YeZXH5mDpH8/p/4wqE8Z18EJZWMQYG8ZQymMtLoKuo0TRWLERneRfvkLgwmIQGI/zF33+Hj35xg/undIa6U1QKVdbaMDbUxVe+tcjT//Akxx46QOHpLxF/9BSz31vm1C9/n8PjFt1uHT0SI1stIgIxw0EPlzdK5IsuvvYnRzj77jdT+vIztC0/rv4u3F0J+R7WXNmhUy8SjHXJSLuxO4/eM4btD+Gsr8qUijfVR6eQodnWiPYm6GwsSwaOnYpLcKtreZZ2OoUbL+1qAXeqi06+ikON9Kl9vPDl8zz6R9f40eMBCcB7ZaaAV8DKSvDy02/FqG1x5bllDj84KrecV15d4tf//wz/4x2DvPC9FfaNpqSt4vqVHf7+w4fY3ilQq4ktl0NXfzebKxkaxTJN2yaWiLBn7ySbqxtsrK3RnUzSNzbO8vwMgViCyalJFmbmZH9WQNyE+US12vjDXgIRF5/93BbLmxX2DgkGj8Z2rcPGdosPf2hIJpKaZYfdXEleaAUtPxj1o3TqJLtTsmbgc1xsFwocOdhLMOLnxtWsfN9Kj0TxuWwqOw6K22Rtq8HIQIqgViLdm0IkuD/8xWVeWPIwX7KxHZtoyM1gWGEy5bBRVCnXO/R2hckVK3Q6Oh6/m0Swhd8XomXoLK+WCIZ1gl4fgW4vJdGNXskTEfostU4sKc4uGteXdxkNeiUAS/VruDWLb1+q8PQHRnlsb5LrL8wRHOqm1nQxNhqkXN7CExrAm0qgqirXvvFNjt33KE4Q3vL+pwmPRLHbDSLBMJeXSvT4LT7zw4MEJ/exu7lO7749FDbXCUbjEuRaXM9gizOGV8cXjJCc2k9ucYXi0gLde/dQymQIBaLUC9vE9h9eJDsNAAAgAElEQVRCbzrcu3iB3oN91HZaxMb7cTqmHCzUKhVyc0sMTO4hOtHPzLMv0jU2TGx0gtbWFqFkgpzoPnvdtC2b+tIKycl9lLMllFoR11CvrBduXrpMwBMk3NNFbWeL8N5DVNdXMCoVAl1JWgJo7AoTDLpxedzsrC6gezRcCQEw3sWfGIBGEUtoAWtlAkdO4hmZwrh3A3P2Bu6p49jlPJ5YlNpqBnc8hjeUoLC+iF8clsW5ZWgS4/Y17HSKyMGz1Gcuy5i0HR8QYm2couAiRGgZZYxKHVc+j3f6FHZhF7uwjO17Teklnpmm7kKrd9C8GrbuQU8OUl+6gsebxtPbLzexZqOF1RHQxRrucAJvbx9m0wBBFh/ux7x7Bzu/gccvEhhLOI5Kx1KIHt5Lc7uIJ+IjnDT5849f5n99q8l7H+gi1Ovh2e9liYUskvEY7bbNVqlA6vAwDVWnxx/mzvwSo6P9VMX3rlBidHxMDiQ7tk0oIPhGDvntXfk9O3f2DM8+8wyJeBea3yu3wcLslFvPkhrs5tQTZ3j1+QvUMyV8LcisLOPpyEo1Hr9DLBgkV6vTk06xUywzOdzDdrEmKzACfmzhMNQdpN6waFbrpBMeqg0Lw+tCqRh4usJ858U1giHBW1D5pTe4ef+79khOxu7lZbZ2TRYzZY4dmWB7cw2rYRGOhWWiU7DQArEApWyN7mFR8TW49tIyTzx5nPnrazz30iY/9LaDzN9eopBtMH10kEbboF4VStGTXL1wVS5tXJpL2kxu35iTFb7+wX5uXLyIrnkYHh9mfnZBVkO7R/qJxqLcunaDSDTGztY2Q8P9FCoGLttE83qoCVVrLEZ2bZO1nTIe3Jy7/wi1ziY93VE+8HdZ/u3VHR46EEU1HAmPrVY6xETt2usms7TL1XufQfmB+rrcFLr1Eh0ljNsTwNYcnEZbAr8R1PfyAnriKJZioxsZGfMXtq/29kXc3cfkQNAqb6BFemWFWCTLzfY2rtAwtuZBq9zBMh28bj/t1g5a9CBWVfwcFnFHJiXJvt3KYm5v4Bs6guXo6LpCx+XHrmziMYWGtIGqWdiuCIoWwNm9hTJyGM09iV29QrW0QbDrAVSRBC9fxAnuRRGwvMIGiqZieuK4WwKuXpaXbS0s0todeYazK2s4tiBseOUiWIAyhapQMbakys8tFpnRYWjmRY4IlBZOYBTV2IbIIFZ2HrfmxRZck44YLsZomSbuu19Cm/hhOmJjix+dktTqdSxxn62hxcaxCndl9UEAAoVG3qnfwlL9uAJ9GKZIpxt4RHoiN4si9IC26Dg0cPsTGME0TnZBmtoUcVgQcUZRE/BEsUWUMHsHVygqa6P1zBWCvacwfUMolRkI96GpHrnJt5U4qrUiGRBiIU11BuKCVzdMp7GE1qpj+xNoloqITwm2kBZI4rQqogLwh44kDSoBlJbopi+jB6dwbAMnmEYRVMd6Bcyc7EiJOARCjdAp4Ratw46OEUhJSr5ilzHEn29cx+mZwkJEf1toQXGt9aGrSezcZXC7wZXCsmpSqxLoPkCrcA3N0yu3IM38Iv6+U1g789Tb63LCo/ceR9HFZKVIXUQ2gl5cbQ8ut5+OcHxbJZTYiEwZKFoQPZLCLK7JHxahKaJ5D0dQLl0KSiWDR9gHeo5iF3IoxrbcqKsDh9Fd3ZJAKboomilW9Q52fQE8YyCi/o1VFHeajl9ETjwoloVlFSXIR17ms0LjF5YdZKNdQg+O4GxfQE0NgXsIa/MCamMds/ccPtGdbW7hGFUco4AWnaZVW0fzd8lEgngDUEWFwjHQAxHMrPjGCnWGjUodRU9i2fLViggu2G4VWkV5gNf0GJbSRBPkP0WV6QnV9KMIHZOewKm8gq1344qOYAmVhFGTznFTD6E1mzSNovw7p2PLZML2vSukDvw4HV8AM3uJrvvv40M/8tt840KWQ6N+kql+moaBqinMLa8TDEVo1mpyYh3rDqJrLr7z0hK/98sPcP/ZKQm4e+XVKzLBcfX2HKlImHyhQjrVQ1dPlEg0zOz8PVo1k33793Boej/PPvdN0skePv7xr3A322K0v1uS5bdyeZyyRaI7Tizu5+XLC2QKTb78ifeTjLv4xMe/wOGjB6VKRRwaVubneP3r38B1yQF4gSd/8qeYHJvg5u1rkt4/ffgon/3nf2ZwQPz6MNeuXUVHp1yrMnXoIDvZLNFoWMbexXa6p7eHaq1OpVyku6uPnZ0MbcPGr3Z4+dot/vazr9LfHaSnO4ZmdnB7vZLsms1leepTH2K3YKL7/RjC1Wa3efXlW/zGH/8+l7/3fX7q3X/IIw8fI1PcRm0aLKzmGBtIcObUNF/7zqv89JOP8K73voub5y9guxyMepOtXAGf7iMYEJFz4ZHfJRQJy6242L61Wgb+gJ/erjhH3vRb/PyP3Mf29ibLq1n6+pKEAj6+/t05PvfJn+XQsdNcuXSdcCjKzauXmTiwX9LGhfeku7eHi6++yuTEFPNLsxyaOiChVTev3eYNbzrFi89f5f984mlOHkwwOjzO3J1ltqsGPsXiY3/6c6yvFVjO7ODTbUxH58TBCUp2gx/6mU8xPZpmen+Cu7M5+sbSZPNFXrqY4eSBAN89/884y1fZzqziT5xBi6ap3/oHfD2vB9Hj2voepKax6+IS28EVTEh2gVAjim2y1a5jis6XFsUtBpeuIGZzF8Wx0P2H6JQvY4pKgNDFiK1MOUv8+AksT5w3n3yS9ZLFWx7plwDPb33zEicOj9Gqtyk32piKmN/ZDA7HaVZbZHM7vPnR4+zZk2KgN43R8pDLVSlWxeWhyfTUIfwhH3fu3JZDIgEz6kvHJOTyR37yXXzunz7D333yKZa2m0wORzhzZIJcqci95YpULOZzWxQbGr/9o2EOTg6ReuwDBGiTW13F4xEXeIfc9g4RdxzLHcD2hQk5RSrFEr6h+2QcTqilHKOEWzyTNVGbCmKV5+XnIhRBAq4lwN+O3cKFF9MUQFU/impTK82jhxPYmTWa1iaDb/sLXv3Gp3nsLX/Puf0OvUJl546xsrYhFZ69qQi7dYP7xxPcKTUJeoMsbW6QcLkpN2vE/F76AuLPdjl9pp+XXt1BS3go5asMe0MyBTO3scN/32jy2H4f//XcX2NeeImG0BkFJ1i9/iLdo+NYioa5cY+27SY6OU7p8jNQrRJ548/S3trCuPodlK4RvOK5VdmSQ7fA1CRmaYnw5ATvfMcXyBgGP3Sqm+/PlqS/vjdokq02WShanD//h+hXFynpKqnHpnnX6z7KF+YzTPlUDu9Lky0ZrG+0sDWb+w/28c2ZRXYyCp9+3xRv/9W34rgDFP/zv6g4AXoH/TTXRGRRwxkdRU/tp/DqU0TdIn5axO2P4OobormzAZVtXHtP43KJ4VhJHrbU7Ka0Joi4sRgsWduL+CdPYzS38HoTkkze9cAB6aLf/+Bfs6fboTcdYKsmts5we7PAj93v488+fIbZF+bJ5R3SUZXEWIIHfuIKDx6L0hu2pJFH9TusrNT4s988QSFXp5TfoSvRgycYlMyOrZUV3D4vPo+HVseif7BXqmO31jdYXlhneGJAsl9effkiIdHdnxpgd6csh5Y+0W9vOgz1hZi7V+Cp77c50K/w/TslxocjBDSDoSScnE5x5UaOY0cHWV7YpVmz6B/xsrbcYHg4QrVewivo56slljer3Hf/IC1hHxKe8lWIe22yzQ77pvs4sldBS3XxmY8t8tRqlZWKTn6tyuSIhuYIO4cbs62heGxW1+p0FJXJUaG1c6hbitTy9g6kqdU7ZAstqVMuVKv0dqfxmSZz9/LEvALo5sI90oVvIIrfdLO+ksHcLTAwkKSSr1IxTGazNcKKl5Uv/CKViy9TDkfw+BRqZQvRtm103HTKVRw3DE+Ps/3KLH1np3H8HX7jt77CyzmFR6cScgghmjHeUoE//8VjEO9iZ3adalVs9N2kjk1TWVuhnN2VwKjhg9Psrq2hJiLEwt3k52Yw6zX8XQlUcVHeyhLqH6awsUwiIC6+Ncq7eSL93VSWMvjjQWJ790kLSGE3i+4Pku4dwLDaeMTF//INIWohOtDLrtjQx0ISamwpPhL9UQoru4SGesncuo6zW2fs8YfYvDFDIBqWy4dqtkzA56VYq0jtX6uQZ3NtmYn730Bt/Z68mImzafrRx6nN3KJ65zrRPXtw7z+FtTgr62FKW0Xt70MNJqQG1ty5ix3rJdQ1hGEZaOEEtbkr+BoWHb8itYTeaC+t5TvUPQq+5DDB3jSNK+fxHr6P5tYyarWOe2Qvzs4KhjeEb/oczotfpRGKEx6apL22ij4+hrW+QDubkVtQ4Te3OmWUpg2FTVw9A7K2Y68s4BuewD19nNJ3voIq4IVDY7iHpjCLOxibN8nVFNIjB6TKVnTQO60m5cwOE2+4HzUeYuDcnxNOeAmJrarSZKgnwcxCVqagWs0WB950mo6qsrG6SSydxGp1iCQj+EMhyuUqszdnmNw7QWZrl1g0QrGSJ5lKs3T3HgemD+Hze7h66SqhUBSX7tA3NIDS6BDuiktj0dLaCm1R0Qj4ePjRB7j+4gW2r81h1zt4HYV6zcQVFTxgP4olwIcWTdtPPAHFmoFRbsuNejjtwyu4Co4tlwVPv7RIX7fOQCrOykaN22sVakaAlK/OX/7afh477CEa99Lc2KXV9PPyxVUSqSiK3ZCaUAEw7h/q5d78XflaCvkhFOsiHPZTr26zmWmxuVUDx+DAvnFiXRFqlS1ZJa4UBfG/gd/nkudHAeedX1ggHArT05+iXG5z++oMY/uH0UQNyuelZVvYhonu0glEgyzPrtA91EMiFefmxeskknEmjx/iu196mj37D9I1lkYxbb785ed59MEDJHuCfP+ZDG//py0eHvPRttwyGUdbY8dokO5P8+yLq1z/zgcYPnqWrWsX8Sg+PLEUTbGYrWUkq81viQuEh7aVwc7ewtv347QKr8j+fbNZlHctxRvDo1o0C3ex3WHcwV4UeUlVsIwteU8TdwoBI1T1MGpzi46eRreKUqFuaxqOKwK1LbR2HjPQA5aKq3aHZvA4nqAXu7yBXVzEsjJ4Bn8Ux9eLVZlFM9ryvumkTqE3BGchQNssS7WfbnboFHdQ/SE0dxSzuiTWUrhtj0zmOJaBpbnl19zWFWkuUFz9OLF92O1NVNVLxw7Kj0mPRdErZTpWUdLwrdwySqIbT3CvBC8b7SxqYxvb1YfiC6AXrqFET2N6bMzll3H1ikVQm/buHYgMoQTTaCKt3hGJEg9WS5yZbIxm8zUFom5C28bxd0lekq12o3QW0QSMPdgjKfyapuDYbhzHRBXGN1FBUOJoquDXCBdajFZtFc1rotk+3K1tlK5TWGYHJ38Vpes4lhiONHbQR14H1QLGziu4E5OYekKaGUyzjery4+guzFoBrXCZTmQaT98j2OW70CmgFF7+344m4rDNMqrwOIpOgepAaxHD0HGFxqQaQdCexaS1VdnBFerD8oegVgCPF10S7sVhOyF7jB1blxdntbxD22rhVgUZPYDdWkcJCJBeBSeSxtfexqCHjj8ImzdR08Mo2Yu02h48Q6dRPWmpsRMgA83rorVxQR6QddE/EZspQwAeOrjc6deUB6aBKrZ5jiKJ93ZpE1Xrh4goFYtNXwql2UatraMI55+/F6W1iKUKJ6O40zRkZEJc8tXEfkkFxt+HqntwitexGhk8qVOyf2SX5tAT/XL6YpZvQ6cBbq8cLBj6AIqYtNGQBgW72qJluYiPHKO8fhlPIIYWmsBqr2HZHZTIKRxBwhT/pxhoaGJaY6L6/NjFORrma71WOX4W0i2rIl8sqtVEc/lE4wlb6Uggodgakr+NI4AcUqGhymiM0Ec54qHaERNRA1UQsFsKiviBc/I4qh9LOCRVFauyIkmhIqVhOgLSUUVLDqDqCaqFLVJ7kqzffJ7X/8Rn+fBvPsGXn3qZzHaDVMRLvtzAFwoRD7nIZrPyASSi5aGoj5tzG8zdrXB8Ksl73vU61pfWOHX8IEdPHGNpYYVrV2+JLz8ra/OMT+wjGQ8TinjotASZ+SDv+ZXfky+QkydOM7+yRq2Yo1C16agt3nTuCHOL62QKHXayFUZ7wvzGrz7BnRtz0gvd09uF1+slEokwMzNHT1eSpaV5+voneODhN+A4FsVSjkbtNQBjrVxifM8+MhtruHQXA329rKyu4Q8H2d7JMDG8h2q9IjtewWCMpYVZBoeHabdbkmUwfewoz339K9SqTT7z1VeIxsIy4hfzuyWV/uKNLXriPv7pbz/E6voa5ZrFA697gO89+yyPv/UJNjY2+KG3/T7HTiao1UTMO0g9X0fBTTzo4tL1FdlXfforf83Fly/SbGiSYZAQ+phYXCYXRAz26rUrPHDuIdY2V7gzO8v0gWmqxRKBcJD9UxMcfeSDuDSdQ1MpQj7xuW1y+MAUX/z6JX7xHdN84Nc+wJf//fOMTU4SjoQJhELcvH6T++4/ze2bs6ytbzA4MET/cD+qpkkns4DI+V02Gxsr/PxvfYYHT46RyZQIuxzmN3LUf+A8/Z1fegx/MMri7Cy1eovewZSsFb35jaf4v5/4PF/6ttgaR4j4vGTzVRLdARK+NN88f4dHjvfzyW9/mva9eSqrd4j1HKFZX8WoNvEGopiaUJkmobGGJxCkbXiw1BYe04DYBFbuLm3hIvF3YXtDOMU1nPIcvuQYljeJOGELeqqCg9VsEN/7Jux0jEM9J8i1VN7x+gOs7pTROpZ8gIvXcK0tnjsG3d0hKlWxVewlt5VnY7cjH59WLc9H/+8H6BnqoV2rsb66wnPPXOL1jz/MxetXifhD/Nz73kurVuClF1/iuRcvs7FZ5fyVTYZGkng9KoZlk/Cr0lV+fHoQQ/XyD5++zC885uLNj7yOY7/yATx2jOzNZ/EInY5SQ9HbmCWL8MQhWtszkl3hjg9htix8njbVooOmrNNpi0e5uKwLqr5bKjAV8QxoVPC42thtA1ukt6jJjYLi8aJEj8DuIpo3iT9aRonHyd4t8873/xXl7SzTIz6W1zvcq8JEv4eES1gJmgT9OoMJN1v5Bp6In4vXsjLSe7hf1AW8VDsGbtONy9VB06LcyeySBI6OR1ip1dkoeWlqsHonz9vfeoaPvDOFHg2xlVVRdjYlQKixOU/o1BMYC7fxpdISytdcX8F79k34PX7aF74tB3oCuiqgUlZxm/i+g6zfXGT4eFpaEw598GVOpDV+SAwiZjIyQXFsby9//qU5vvxH9/PgY0e4+fQMR87EKPyA5zH5nhc5vT/Fni4vC7k8w8kAqxUN1RQQuTDLG7u8ONdmJAbf+T9n6H3oIaxSlfz5i7jGJ6nMreDydfDvOYmZWcUV9uKUytj1HXzn3k773nlaGyX0oX6U/Cp2pYLjjhM4fh+NO5ekblDJLqNio93/ZrTZK6jdk1jbs8T6p1Ae2svZ/b/DYgOefLiL4k6DjVKdeDjG9fk8M//5IDsz29T1IJnlGe5/02l+5oMvs2/UzWg6xOKWMLw0yNea/NKPDHNqOsjaaplgOMTmZkYetMXUOhqNoXtc3L0uwEo+evu6qZQK5HfLkncSj8a5N3ePvpFebNNhfmGR4YF+TMuiJi4lPpP+rgjv/8hdaShZWtthvCfCjeUqjxxMcPZQjAtX1xgejVAu25LAHI14KAnquEDfunUaLZOAH0q7FuG4j5ZRpVZ1sX80QN9kDI/X4Nq35rhY7+bfXygws2Nh6SrJmFckh5kYalOt6ziiC57wsbVak1Ow/ZMJObib2yjRHQvRNgxZP0r39rAxv0u7UJfQ2la7RrXdwR/wMvzGA+QFrynsJxEIcfXfvoHH0UmHYzjtBoW2w0PHu7l+e4NcrsPtrzxJfbdOZquIsp0nkkqRLZVJdIdIJLtYnV9CETPYts3clSXOPXCQS/M53ve1JaZCIhWlySrn1bUCl//wCE6ih9r8pnyNeaIxSivLRMfHpfZM2IIKC/fompwgu7iBYtcZfOKtlLczNLZWiUf66IT9mMUSLqGlXVtE0fzE9+5Bs9tUGm0SvX1U15Zp1yvER0co3FuTZijDUUn099DI7RBIpVDFUC6Xx7ChVivijybweb2UN7YJD/ZRXl7E39OHFg6Qm5lh38OPkV1ext8n6pQFyjtZUukotVKL7n37qbYrNHdrhPYM07x9HccdlZfUjm4LCRYdl4fm3BXcfeMyXt1emscXG6C6OYNv5LCsp4iOsVrcRe3uR+8fRalsU8sX8bs9tOJdr0XtA0HU1Ai2SAjURL1T1EaDeNweimIQMtaDuZWls3gL19nHsCs11HYL2+NGsxxsRWz/fbjqOQnbdo/vxyiK894OWipF88otAgcPyGdaZ/YKgcnDOOE+mi9+kcjZx2mqNr5Clk58H7azhT/UIz3yruIugXYL19mD/Pvff5+f+psXeOfj/SR9YV68tCKrqqm4n5A/zEamQHsiwfTxA+zMLpMr1zh0eB8XL96gWChx7r4z9PV38aywLCTTrG+sc+70GbLbuxTyu1JTPH30AIVSlVw2JzfrAX+UcDzA4uI9Du7fS8dRaZSqWIYhE5PprgHJ0BBpouzsOma+Qm86iFk1WFstijsSyYjK6GiMa4tN+bodHgyxtpunUezgtz388BODfPPyKs2sxqEpH0vbLboCCj39Eb7+whqZagTbbBJX2/zr7+zhwTN+zKxBeLiP7MoCNgnytTarswvsO7yfanaX7E6BgycHePXVDZKRAH3dXlR/Sojc+a8vXOfQgV5OPrqX+TsrtEpVAgEfLreL9ZUtIrGItBbltnN0ajZd/TGpfbQtAQuvyoRltV4nFoqRz+0Q70pSy5cIdnUR8rmkCnXu9jpHTu3BH0mSWV7FG1Bp1FzyfcLSfdR385x9vJtf/6sCz88WCIf8dCyDVDBAqangMoqsrMLPvvso/98/fYzylUuoAkZYqWNaFXlGNr3deGxDKvvENFAJ6riT0zjNMrawobVy6ALI2tjGnZ4CJYJdvIhSN1DF7zFRa3k6ioVayWL6RKK7m45poHsSODvXwBWXxiRd1AEbFXn/MUob6NE98t7mogxqGicUwYgdQassY++eR4scxhL3QquCo742QFDqJVnNswNCteqlvn0dRI2g52G0zipmISd17cIeoDgeWUnUw8NYbbHkFOFJP2prCSs8glNdQxWMg8R9dIwyPsXE6pQQcw19+Cj29oIc9KuDb0bZeV48SCG0H7O5heJJ4bJKmKVlXKPvwG6toZgKZnUBWxgS9BSdZgbdFqBkHUeA2MWlxRTsBBN3+ARNawevkcP2j2LX5lCEgt1w5LJTExdzRSzLxekyj6r0YimbuJQEpqhsW0X04JD8v63iTZzoEbRgP+bCf2B6e2SnX2sWUQTnqlPH1c5iKgaaMOUF92BtPY/iHkSJjqNWLmDaAVRx524s4gkMYdZyKFoJy/BI9pxSuPgnjiDiSrBcsyKBfYpPkF1DtCuL2I1VfOlDGA0b3dWRl3EECbqVw3GH0YMJ2hsL2MYqSmoan7dXmgM6ih+fR4BH6rJHj9A/dCpoipho1WQESnclaOTvYreWCHY9REtzSSCdiH9Ur/4tke6DOKFhOmKjvT0noWYkRtGNsnTTa7Yfx+XgOC15MbIdFcXth3oVR7MlCENt1VGDA3KrZYuHcWUJJT2OlVvDNqt4kifo1O/JjYro/uPSZd9CFYRH0fO3a5imgm6t0qEfbyiO4tep5bfwtRdR+96IXdkRwHBcuoIpgBCxMZT6Knang6b6cUT8xB3ByT6HIqY+/gnp1XQCKk67iVlalekF3ZNCcycw8y+iCY2h+JgdQW7XJTnSFhMhERcRVEk9iFFakJBGV2wYxTOApbRQ2uISr2HFRtFqOTEFwXY8EoYo2ASCq6CplpxW6WLo4I5it7LYviR6dASRW7VzN/EMnqOVvYHjE3GXXtqFZdSAhRLsJj79Bn7qkTfztefWePsjQ+SbLSo/uOiKzc3SSpFM1pSqpKmxLupOm+JmiUAogMvnMDzUzcXzt7m2YjLW7eb0yXHCmsnR6Ul+9O1vopjPygt6X/+ABEtpP+Ak/NFH/4Vnzy/QQaM36mF0KIahqhRyRQIeN4Gwj960mHYvspNT8f8A4PSZv/0F7i3vsF1oMrVnL1/43L8yNjbKvqlJGnVDHkI2V+/hdfkYHN/Lvsn9bG6v0myYHDl+lFqpysb6KtlingfPvY5v/fc3sRyLw9PT+P0hZu/clNWAna0djpw6w8LcTVKJBH1DI9y5cQtNV9HdCq+cn+FfnzrPxGiKjqEx0p9gLbNCqaxitBp84V/+VB5q7t5dlQmAeqvMw4+/hcnJN/LwuUmmJvr4j688L+ODIsrnC2okIz6++p0F/vmjv8Shk/u4eeU2+/ZOcu/eHPWWGHakqFUbjI1NsLG5LTtE8wtLjIz2ExeOcBGNjIblwOft7/0zzh0fJ7OyxdjeCZY27uEyXVy5m+e3f+n1vOvn3sM3v/ZVovGUpOo363VpEujq7uLGzG2OHDwm43XZrQyZrQKK7ZDuTjB1cB+f+fTn+PBffJvTx2JyAHJsaoQr15fRPCr7+mPgdSHMJdGwl30TB3n+xe9jWi1+4d1v43/83j+yulWXkKHB/igRt4t72Qyp+CBf+MZN/vJ/voH3/clHqDzzx7StFK7BJzB2voddWiQw9VM4rRy2uYNlhVFyd3DHBrAE30T0wBQbrylAkZuS9qz5ulHcSVBsWlsvQTBNILyfauaSjHJFTzzGOx88yuVLbX7hF9/BV//zP14DtthN9uwd45nv3aWvL8BIb4JCscaBg0MUCw067RbJRIRLtwSULyTd56Zh8eDJPj7y4fexvbPD7O0lCQY8evQEK/MLfP7L36GpaszO7rJVaHH25Jgk0W7v1OjriRIIRcnk8pw40M83/nuWwz1NPvbNT+EERsg+9+qP5QgAACAASURBVF8kI0E0V4xKXcUnNgJ1A1d7FiU9iVEX16Mauu6lXivgMlsyHSG0e7bhxajX0IMmjhrD7RX60QCt3CyWpuLSQqi+CI4A9fjFG38EpbSN26uixcMw9AB/+MQP80/PbzJ1MITPcfDhZrNp8sBEgsmgl7tth1evLwtzJllDpbZpcHLQI0nK4sJYr9S5utWk1FLpaBYJTeWB6S4WNguM9YQYjOlcXa6QtC3SAyH0QJD/eGmFSl2n+sL7BTaX+pXzqN2jFMU2VphOWgWUehPX6EE08VwUb9a1bbml8ETi5Bau0XP8dSzenKEr3Y1ZrmAHHbrf8DAf/8DH+d2ns/zKG7uZXcrTDHgJtA3Wd5t0uzU+/7n3Udu8AwWF6LFpPvZ7/8LvPbvDudEUmmDPODZ1oyGZL33BoFScOlGFb801McoWf/Yr9/PLTx6jdvsC3okufL5+Chev0G4b+GJB2pZLQn88U/fhL+xQuH0VV38fgfQIza0FXJEInUwGOxgjsP8o5eVrqDWTwLm3YNx8idrmDEHBARDJrrsbRJ+Y4md+4cu8mi3xyHiM52ab7E9DreOl6LT53h9PklvYRutKsbKW4+jxQT75b/M89UKVh06HKGRaTB1JcPX6Lgf7VH7xvYe4c2NdGkA6zSa+SJhQ0CfjraurWU6fPUypWOHuzTmG9ozS29fL+soKuUyWvrFh2Zd0+91UciWEDLlrsFf2i1XDYrDXz8u3tvn3b1b5mTd1s7kllH0G3SGHx04ESKYDbGQaZNerTJ/sZ3uzRDQeZXFhmbE9A1IfKF6L9XyVWkfnyFSCjlMnknAzf7PAXz+v829LFp6mQcJnMj06QNJlMNDr4qlXdiULyOXyU9iq0j/gJ+TWCSZ0dreb8gwgiOLlShOzpZDJ5OWG0KtrJBJJtrwOPckIxF307dvH9voWuZUskZ4QivB6X5vBo3nweFuYZdHB9Uv3+AvXMxz+wSXtq79+iuzNItt6kx5XGMVrSo1qbnebxnaN4SMHaZgt2rkdlGiC0X0TfPYT3+VvXlzlxFQKl+mQadjc2cjx9V87ydBYgnJZxd/TS6dQIvPyi0QPTuPyurFLu7SE2ssfJL5nL83cNrm5FQJBH5ZZQ/XFsd06mkeXMWVVtSQ3qV6qEYzGaJfz2EqLerZOOB7G1dVFY3GNSiFDrG+ITu01NZo/nsKoiHqVRqPWIBB0E0r1U9nNycGxuyuNO1/AM9jDvZfOk0qJ4ayfrcuX6T1zAixNVkwFxLL70DGseoPC7C38Hg13rJvK5j188RQeQVl3x1GUBubqElqqH3f/ONQaFG9fxNuXwt7ZwpdIsjs3h5pvkXjj41KNqiwt4DtyGmPmFo44Cw4N4/UGcGo1GckX3Wqf0G9qblr5Veo1A5/HJYcdgcG9aPUahZWLaJpPLsL0vj20FxfA58Pb349dbOB0i8P4Li7c8qzoGDpa0E9tcQ5/sg9fKkXLUaC6g9Y7hbG7JI1WhOP4xqYpPv0pXMEoriOP0r7xDD0iWbo3Rezxz5IIeOlJuOmPRbF0k3uZEsf3jrK1m6dUNtj/joeYubVATPdSqdSYmBrFHfTz1f/4Br6Ayn0PPMj8/LysWl68dBmv10PQF5YUd6Gu60r2UCoV6e/pllXTrd0s9UIdW7GZGB3CMDs0jTYdo0WjUMcd8kqlcHqsB6vdRg9GKeQyVBZzjI0NszY3T2l1B7VlkvL4EIvkSsvGqymMjPVwaWaHoM+hXWnTM9pHp11i/l6TsV4fik8l7A6S9jeYWzfYrGs0rTatusOvvdnDe14XJjXWJVMm4md1495r+nI94SO7kiPiC+OPuOkZH2R5cZt2owpicYlDYbciwb5iYbV3bx9Bn0fCJBfmMwyPDZIe7GN3c5NqtYIh6i+NNsNDQzSNGjtbecb2jtOSrBOPtOOIpVCyu5c7V+6gKg5940NsLq9LvlUuX2bvSQFSFcsDLwvz2zh1m5OPd/O5/9jg3f+Q5S3H0vg0h+1qh60dgx97ZIhXF9Z59VKL4t3fphk9Tf72d3GpfoJeDSV5GLO0hrX8deg5hKv7CTqrT8uaryswilVeoaM2CXlcdDoumuIJLsICdgU1dUpWLMyd76D2vxGlUcaurcjBqqXZ+D29GGLD3angDg3Tzs1ie9O47LasRTsiVdBaoe0EcYcHaOcX8AgVswdcrTqdygZatE++Z9i6gOHtRaWCaTsyWWqVL6OKiFNoH5rSkglntVPFNjrgc6N5e1Bs8f5ZwO0Xg/s1nNgAuj+BlZtBi+7DFArD+j2c+EHU8i06nmk0a0smPDstN5SvYIe6cLt7UDzCYpDEMXbR6xs48X4UJYWx9I9YwXM45btSsa713odT38Sub+MJ9GGSw2yV0PwDaIRkNcKpLODrOi7ZSGqnIW0D1LKo7h7sUFLqAAWIzxvbg2I2aJUWJHjddqK4I3Ha4p5pN+SgoO000Lfu4O4+CD2nqK1+mwA+7NiQXEjbgo1QLUlotUjUu0S9SPNj1JZe2xPrQcxaHU1UV5IjUMthNwW0MInQb2luR2pQleKrf+Qo7TJqzxmswm2chvCmHsOsiAdzDqvTg65kaFkKLj2EO+KnaUfp3P4srvQ0rr6zqNVN2tVtGTUQH4SjNtHUCB2jJv3xLqeBLbDPYmK09SodbwQ9Po6y8QJWcALdyNMybfypPqkp6VSqOGYRR0w3e+7DtitY9W30mJhU1bENC6u4gh7wonvStBrb6FYLQgewtr+HEojhSh6VDx+jOQflipwAeUIjdFpZHKuJT9Ow0kekTkyrZ6Quwqlv4fgG8YbSGEYDRyhzokls8Y0WU6XYGWy7iJV5Fnv4Lfg6NSy7jSlOtC1LajUcKysnMFp9AUsAGsQPg4gRh4bolK7KKInq7Zc+RsvtxtHiqHYekbPV4/torb9Aq7BAaOLH0Vq7dLyib1WVBgTLHcOqr6FG9wMd1PwMTrAXxx8Vf4li5mjviu7+QVxeP3Z+ReprXN4AhimgVx05IHGbJh1blUAJ8WunfBkju43WcwBFVD8soRccwmIXp12nWa5hNetEB0cJTQ5jtzVi3U/y0IkxJvsCbJXbrG9s0zMYw2cZMlK1UxaqJRgYSVAW2ifhVHe1CbjExHeYK9fv4igeOpbF7bsF/G6Ts8dHhUaYseEuFpez3Ly7him8oAGYHOoi4NKp1sWlxcP6UgFbtZkYCtIstcg0OpSLbXyawm+9/3Gq1TKZtSxHjh5FcanUanUCbh+z9+bk5D4WixKLxaQi79SZRxiZHGZhYYloICSJ2uKh3dfbx8ULF9h/8DCKaslNebsllGMRbt64SSAsDqLd8gAgqPji0t8RBOixfYRjQbKZu3zyk9/h5ZtL7B3vo1gokk77pF1gZTlHsivGJz76u1yfuUFPupvcVobTrzvN3/3lJ/nfnzzPA4cCxINd9PX5WF0qU6xXed3JCf792SukNC+f+viHaDQcUrEU8/fucufOHO9597tZEJvxYp5cLs/IyDhN2yASCrKznZO+2pjfzxt/4sd5+itf5p0f/Ad+46dP8f0r92g3Wxw5NEKtYfCVb9zl8598L4+84S186fP/xplTJ8nuVlhdX5Td/7WlRUKxBIlYlGeefYb9e6dYuDdLPCnUoRYHD+7jxee/xx/87dOcOtRNpd7GMk264xHqTZXJEZ3xoUHATaFcwB8I8eCDD3DplfM8eP8Jdotlfvhdf0Mo6uLI/i6pwdze2SYedHNzpcHmVpFbz36E3lN7KF66iksXNRcFt6dEpxRATQ+hOj4crfia4tTrQXEN4G3tUBbaGzsvuJK4I8PY5V0q+Tlio6ex6EMzl9GwJOE3eOgwX/vrf+VH/td/8nNvOwydHPWczpHTE2xu5njl6grVHxCeP/I7T5It5fmLv/ouI8MxenoCEkZ2Z26H02cnaZTLLG42pOGgWq2KqA73ndvHiUMjLG/luXh+hguzOYJ+hYfuO8iGSEo0ajwwPQFBh1cuLkgFHKaF4BsVV+v8ypND/NZH/x470U/z7gXqi9+XAz1vOoHZqkNkUm7C7MqKmG3gCGtIcABdDDZdAmgjNvsWrpCPTvYeqrdP1gE0u4bl+LHVCroRRQtDaWkZb7ofrSUMKRF0X5jazjxdDzxK/dozPPrj/8ZMJs/PvT7J0qpF2xHgHIfBaIKaWaZS1FnYLNLx6ry+P8jZfVEOHJ9gOJlC8dcIjvYAQZpFg60L11kpZLm9avL0fy9xteFwYshNKBAh7oHBWIh7lTy3lkzGk36ubpdltWTjqV/F565Su7qO+mMPUf7UV0n0BWmH49S2StK8kjx4lPbuCu3VHZSQB1VzExjZj5FfweroBIYmqbz4RZKnTmEYKk9+8F/Zslz0xdwEmiabZQj4HF5ebnLhr1/P4NQkrc1NvOE4ztnD/P5b/hd/80qd1+1N8MbDftaKOldXcrRLLU5MdaO06xQ6Lsq5Nhc2KpKZMh2xedcD0zzwI4NEBqISTGQoHtxOEzwapuJDF/3j7WUyl+4SbJWpWlXCb/0l6ldeojV/nUD/MB7R62vUaRa2aK3NkDz9AHVvCn+lwc7CTcZ/8sf5i9/4JH95vsG7Ho6zvFBhel+AL13Zor3b5vbXH+Xe9Ty5Wg6tUCI52IcWdfj137tLqstHxOlgRtyopsPmrsk//T+W3jNKrus8031OqDqVY1dX5xyARk4kBIBRDGawJCrQQZbDHXsk5zz2yDPLlsN1lO2xLVnOGkm2lkwrixJFSgRJMABEjh3ROVRXzvGEu/bm/Y+Ftbqr65y9v+99n+fTx/jyp8/T3RPlnlN72NnKS+OC6dhsLK3jDbplZStfyNIVj1JpNHEaLUyrQ3dfH6tLK3h9PuLi79WGXDYrYX2CFr/32ITscP/en9zg3pkQu2WTUkUkEeDee0Ps7uSJeHxUmxqlclEyd7pd0PaLoWKbbF3l6EwYs1IgnIyiWA5/880GX7hQp97RaJgOIW+TkMdFd9iQ27ByyaRrIE69XsfpWKC7Wd4s0B/xYPi8Er6a2y7TstuEgl7yuSqNpsPARDcb2TQTZ44xONzD7k6ayZlJzn73HB7dhc+no7uCJKf6yVy+RWt5l2AkTKpQlr1YUW1oaAEur7b598eCfOjXHyN9fl6CLcVvQ6jtRB2nsbZNaGaSWjpPObVJLJmkXdcYnpng61/9Fr/+XJr3no6znm6xXLBYytbZ/rsncHUH2L4mftduyZvpP34Iw+sls3IXQ0DyekM0l1O0S0W0niGaGwtSq+eJxqk360QPHEOzGmTnNtFVMbTxSFONUyhixOKUykIX6DAwOSwhaJXtPKHePizVlFDIdqmO6nNLPWVlZxNf9yDeSIx6KUNlO0dkJInT7KCHvLRNcFUa0p6gDSRJnb8gIdDBaC96PCCWtNQym+jRGEasR1p4RDrAGJvEnxijOPcGzZV5AskhrNgwqseFs3odfWgaJ59F9yjYjkdu/5WhYez1Jcq7WSKHjmKurWH5A7hHpqi/9DV8w3ux/H46xQy630UbQyYohClKKaXRhHJ66hhWfpva1RfxdE/Iqqfe3U1j8RpsreP0D2EoQve8iat7D41cikZ6g96HnqI6ewVjcBq7VqGy8Cbed70Xp93EeusNtC4D95HHyX3rP/HWcyj3vxuf+Gxe/C/8Xf2Yk0exd6/hjvVSyu9y4DeuMRRqMhRKkvW0qKYzDI+NUK7VqGyU8Y5F6Z6ZIp3JyApOJVugd3iYZrVMJltiemKYt16/SK5a4YEHz7C+vsbinSWOnzxKLleUSZ3pfeNcv3iJAwePEgh5ZY3w7QuXSfYKW4SX29euoRkuTp85xZW335aLqFq5zL5D+3n93AUmRsawfW6Z1rGrLamQLRYy+Fo6C2/cIuE3CHo0rEabqZPdbG3WWForEO8N02xBo9nEZ+jEgwZ+TSMY8LCZT7O73ebpd01yc22Hy8ttWopDsaDS3eflZ05a/NqH+ol1W2ysdGTiLRQSXI4a+WKDRjnLoftO0ijWKafE72SASrNEsdWiR3dLHtHc3BoHjk7SrNtyCCeWIaLq1DvWi0v1U84U8Xf5iUSjpLZzhAKih99m9Y4Y7ocJdcfICvuMaRGMxIgnQ5TzJXpH+theXGU3XWB0bIpQxMWt2UXedeYgO0sLdJQu7v3tBe7ZFyOu1ShUPezWWwRdFhG/xvPXarz4dz/FIz//YZY//38ZPv0Q5ZXzqNG9uDy9lLZfJRQI0JYa92706iamu5vm7lUCkXGUvuPYOxcx67uo/m6c4jzu8D7aQvleuIG7+xB2W8Fxe98BDdoVXP4+nNwtLFNYkwIQSMi6sqKGJPiuunsZV0RAMcWTS4DcbZT8JqbHL61t7fRNUITCL4aZOidBgGZkAkPzYoqaYv46hri4e8N0Sos41VXU4D7UYAyzto0rsJ9OdQG1ncXxDKNYdcl8s6rrEjghLup6owO1BUyxAA5PiPgDdvMupuXHFZhC6WzitNbRCNPRY1ieIGojhy7vYwJP6JK8AQFKtUWSxxvF5SjyHiFAjooWQ3c6NFs7GEYUUyxS3EM0C2/KOxz5W9ilWezhZ1HrBanzc9w+dJGy2L0oeW6Ovx+XYqCW5nGio5jufllN14VysdFEdVXlOdopz6NNfwS1VkTTM5j6Pqzcd7Fz27iMKIw/iZ1fQ2sVMAXXSHDyPAFwBCE2i6uaoiFsD4pfLgpEFdsS1TV0lE5OQAD/jwjM02lVcbtM+cOZnQZKa1sqV/TQAK6OjV24Iy/53vFnsNDopM+itBzUxJQEBbraQtnQkORQETMnFMdKLePuOyZhEWTXUWOTmCWxDWuh6L3opiCam7SrGfyjT2G1irRzlyS0TwkPQ+4u9fwtQomTWOJgUV1HF7CErn0otQ2shviAB1A9SZxWEcuyUcP9ktCviehLp44Sn8Butmg1Mvg8ATqqn7b4RYvNVWBaXg60zhbtRge3oE7KTXkRNdJLu7GL7ngktE9MTFAnaWVeAqGTGL4fvbGA6unDaovIlyWnLZ3iOo4qCPkaLm+QjihlVtdwdxp0xCRJTNTrm9hCmWGMipI/Lk8/Zl5YEAJYngiuehqr2cSOJNHpUCsXMHQPRrDnnR6mN47l1FBaZamosuw2qpkVrT+QzIVxOp08ViWLHh7BcrK4RDLBOyp/vtbuVckrUI0YdKryS1zbeA2cOsHBp+iIf6vUpCYr6B3CDtoUN+dwVYsEHvlhPvvx3+X3P/0KXUNRDvTFqXRqzM2n8fj8cov9xb/9FTwui//41pv82T9fYN90lEdOzJDJrDO7VMLt81LLZTlwcJzZhQ3C3REqxTpmp0PbFFEqi1LdkltVv6rRlQjg93nYXinIXmG8pwfNZVIt1aSmb3W3xO3ZLD//k4c5uW+U44ePsLC2zsrqFi5NwFvg1VfeZHhsjMnpCTbXl+UmtdkyaVRy/D8f/WVW1zfkBV9sr+/O35VTb3FRs0yb3oFeDE1nbX2NcrFG/1CfhGGld7J4fAY+n5t6o83m5gZd8S5GhoYYGhrj9//wf0vlxp2tEoatEU542d7NvdN1rbbZ2SnxV3/8y0SDbnLpPDOHj3Br+SpPPPspPvr+Y8xvLOMyArgFPblvgLX1FLpmcvPGFl/+r99lcnSSxbkVWp06rUaLiYkJ7i6vSHjh2NAwN27d5tg9x3j77cscPXQUVbWp1WosLS5w6sz9fOe73+YXPvFlfvTpGdKpMo2GTTzgIlsqs7Xd4A/+1/s4tO8Qb1+5wZ7pKW7empXVgXuOHqPWqHF3fpmW0Kz4fOydnGZje1MCfSJRQYlt8vLLL/Onn7vKf/vAIZZXdti3f5ClxS1eeG2LP/z44/SFwqTyWTy6l5GhXu7MLlJtifj8OGfuHePc+Vl+4ne+ysEhLzMzSTZXysR6PfT443z94k3qOY3twjfQi4ukdupSUWjtbtMxOoT0LgQWxnH3oVGnXVwWAGKUroO08zfxRvaiiAuxY+BoPkqVXdTMNWI9hyE0Qql0jZ497+HF//prPvIrX+Kh00MoTYWW1ZIDoFatytxyhqYJv/RTj/Lg8REZ0X/++5c5f32Dq9eyPHRvN4WOgtWpST1QVyQs1WibBaGQMcjsZLi7K7STCnsG40QiltQ/thsWG+kSpw+NE0h08fL3L6O627z/PY/wn//5LQkL/N7lv8efOEBj/k1McZGIipf1CrrYeLi6cdfmUGt1LNHp05p0mkJjU0YLDNNqCZijG6V4FzVxBKWyTKuyjpE4gqkHUOu7kiuiWjaVwgKRkdO0tCCe3CxtS0MLx6kvvUD0kV/FSp0nvP8TBAyX1LTdvtNC8TXw+9yUCh32HEjw+a+sMu3XePpwgN/4xfcSme6D7bdpHXoGQ0D7Fq5h7zbwHRhFyxSk69kYHQOPn+JOjq9+9hW+c26H28ttBsZ0/B6Duyt1BpIeLEPnYE+Ar7yxxU5DI/vaT2IPzlD57st4yykaiUMo0QburRROOI7uctMwFax6CV+riiM+y4aDtXILxTIJHb+f/M46On76Dg3wH599mY9+bpVfeaiHTENlo9jkqeO9fPJbt/idJ3r4sR97knauSa1SxuUvEzt4jF/9zc/z6VfS/OSJfnbyGUb7e8m3yrx1p8ZTh2Mo7TazFROv5mZ5o4rtswlU29TqCn0xg48+e4Qvv3CZiYSLo5PDfOW1O7hcUd43YfLu953B1Ztg8YUL9O0TZGSf3A7bBcGQiVJbvI5r7Bi+8aNUF94kHI5JrZEWChAY6uNff+cv+OWvNPjIfX5WcnU6ZYvR8R4ubpn85aNFjr/7IN5gP5deEFFCF8ffPcbv/HGKciPDyaMhSlsql1Z3adXh3/7kMKsrabbXW8wcGGRhdg1Dc+gAk1NTXLx4lcnpEbweQz5zjt57kmI6Ta3ekDWxwYlh8lspKoIVo0KpWCUUD5FOV7A7FWamE/zTlzZwbD97x31cn92hKxZnYkRscYReKoJPtxjo9krNnq67mTnQzebcLsfvSVJJlXnuUplXl1x87YqCy9tmJGKTr1qc2R8iV+vQbjikCjXGxyL0RiO8dnGFgXiERqdCz1CCUk7QzLtYWNmmXhH8lneGwGMz4zQMBT3s5cCZe3jr1TfYt38fZqvBwuIKPdE4LavN2somH/rg03z6r/+NRz/0CNnri5iLaZywh3KzLrvCh8a7aOPi38+uc+5n93DmmeNsnbtOu2PjDcXIpjZx766jDvbRc88ZUlduYtYqDB07ys3zl7n3A0/y1X/9Dj/9ubt84oOTLG0VObuUodOBl37jHiLDPubPbXDwyVPcfuVVYuE4lWaTnqEhWm6hnSohitG6EULP58kXc/gGh+RyoFIs4nbruEU0uVShUcvhCQQwggEauQJ6JEAgMYjP62b+jbek07vn5HEJp1x7/SyuWIJgV7fsrFvlonznxk4dor2eo726gWdklNL2MkIYH5jeT+bmHD2H9tJUVbTFZTyHTqJHNOrXb2GLs0qkC2tzB8/gEJbgY4yMoIiES2oL3fbjiF55vYK/1aFqNwgOHUYN+GgvL1HIzqM3m3j3n5HbYNvjxdleRYn30ymlcTU6WFFB1S7QFAyVQydRrTr1a5dxP/w0Rq2Ik9mg2bDRBoZRk1240xVaZlmqvYQNquWOoTbqeMYOYOXWZdKz5fFhplIYVo12VoDT3DhGkoZdkHVDr+aj4wkQCMUoXX0LSin0yRk8Q4eo7N4hNLCP2o3r4NUwesepdiy6G2VaXW68RoFf/a3z/NtslgMJD4MDgvWikd1qooVcUiu53mqz/8nTLAo9bL1CKBkh4PWxsrKGrgq1sY9IOMLw6BDLq2ukdnbkpe70yZPEesK8+PzLMqUS7gpKwGqjUadvYFAqmuu1loyoW1aH0ckxbt2el1HmnbUdjr3rGM1Wk4DPKxXD+Y13IvGBoEGpUKXQrMvFxInThzn38luEvWKB1OLlr1xiKO6lJ2igJYLkMwWcDnR1R1jZzuH12PL7lauW5ZB/O5NluDtGKlsiORJHa7apFsrkTJtUJoLlVPngUY0//vljRN1p8jWdds3E1j3cuLbJ3j1+BiYmuHLnFo2STjBksHdymJ3NNJZVIb2VZWr/Xtbn7lJrm+w/vE+ec5fnV9l7YJJytcr83F327Jsku5OilG3QO9pPuCskeUq3b8wxNT6KYgi3Pexup2RiyBsIUcwXCCWC1FJl3H4vdtPEk+wmu3SXe99zhN/6+BU+c9lhvKvGZF9ALjnE/sAfV7h2LU0k2cONpedoXz5LWdyD6hnctTJqbC+GP0xl5UXJYdN778PMLOCKDEiBWbNWQqvvyMu2olhYwvBmG2h2hZbmxhvopi2SQe0UrdI2Ll8EPTxJq51FrWWlAUwYAwTkUROMtdA+lOI2lquKyzcp7UuOSAYEp2i1dnDVVoUtERQ/dB9HtXfe6ck7JZybX8KODeMeeQTFFaQtBmw1obRrS/6Q4M2JLbpFFY8vQrtjoNTv4uhe1NgR7Mo6ZK+idd2L2tql1srL2rmQavvcfpq08RgBzMwN8A+8k150TJkEtXJ3ZaVdC4j6GvI5JBKYLquFFRtHqzXQWltYTRHNPygBhWpogJZpolfTdERCxhKAw6CsvTueGEpgAKWallwlBQ92bUWeQ3VR6e6UsDwxVDFE8CiYuSUJ1NQ0P4rVoe1NyHRZq7AKguvg8WO5vdhqP5pSxc4vono9qK4uzE4JR1gWCldQJa/OS0Np4jG6UX1xbGFBaZVl3UKAG8X91i7dkFYNxxvFKuyglC/8mWO38phouPwJOoJgWLmFZgh/aQKFGqaABbh7MNxu6h0FpXELt38/nVoKqKB4+lEFnd/lop5dkqATf2SaZmkNp5PGcQ3iio9gZ+9KEJkhpseNOUzPKKajoIuyXllEJXRsNYKuBhBuwtbq9zB678MyAmhanU52W06h1MS0hGa4tQimJbQ+OooSlgR9Q22ElQAAIABJREFU2+PQ3rgBnQrGwFFahU3UyBiaO4xdy6FoFpqYyDp5VBEr83WhNLKyk2EbSRyXcEL65faf8g0Q3RSXCyWxH10cthrb2AKM0drGzC+gB6KoehdauIfG7h3pXBXxfVtAMcIDOIJA2S7QaWzhHnwc1XZhttLyguR2tXBK25jBaRynitZq4HQdwWpuy3itKyoMCGXaphdXzCewvbQEM8DlwhB2BRW02B65kWsX5mRfUQwAlMgwblcE2zCwCovo0SOSfm5baZENAVcQzSxJGJolom7BPvzePhr1JRRV/CFrOC0x1BCkZFuCXdSWSnAoiGmVOHr893jmkf2sNXJE3D5u3UyRM016u6JMDhr85s//KH//qef40R99kue+/gJff3WLqUkPSV+UTK6Kx63gC4vhgofV5S0auAh4/ZJ2WajmmBjpp1gqyS5rsdImlW/hVR1GJvoo5kssrWQ5c+8oK8viBary9p0c732ol9/++Wf47guvEPQnmT44wdnvvSojetP79uPTDXKFDMvLq8S6uwiHgtJNv7y2znve+wEUTTALtulYqnyhiW7i/PwciqKx/8B+7i4tEYnF6DTF56YTCEVJp3dIdnWzm0mT6OrC8Bj4fT6e/87z3P/AD3Dl4lk50PjTT51lZDjE5FgPt6/P8/AD7+Lq7BZvXVnhyst/w5VL57nn2Ax2uJ+HH/4ZTu8bJd6t8cqlDbpjPpKJCIuLG/T3x3j1Yoqf+eFj/P5f/TWXX/w6tY7QVoptrs3m+gp9A0P0JHuolUvSVyv6uGLLZng8lKsVwoEwV69dobcvjm26efq//QVPnxnGZxiS3yAKVdGAm++cXeXXf+40H/nhD3N7bo6eRJKF+WW54RId6qWVu+xsbXH02L0cPHKAL33xc+Rzee574GFS2zuMj47QqlS5/4f+iDOHIzIt4feH3vmdr6f52Q+fkS+P/UeO8Y2vfoOgL0j/4CBoHao1B9plRscHeOvqHJ/67Fu4AzozIyF5KdXEQxeLL55d4zd/aII/+9wnKN1ZxtvS6bSy2AMnKN58kdj0GVBFzE2AU25hOy6Mrr2YxSUs8Z1Y/S80fwhn4H7c2ghW4TU66RWc2DTxPXvZuHWWD33knym3LSZ6YaC3i9mFDE23h7HeGN/43jxf/aefozcS5vIbrxNIdktLSndvH5/9wvd549IqulcnGY5RKpc5fe8EyXiYr710gX3jQ+QrgjuRYmh0nK6wwbWrd4kFdQm6qrnddEcFLbjKxmaJfKVOcafBwb4g//jcxwlMPoZz69sUW1687jKN1F30uDCe7BVBMQm2Uu0smham1cqjmEG0gB+ntElbVJ4i9+D4/ZiVFIZZoaOHcOuim9bAEqwUkRAQU/7MbdRoAi3+AK3iRVx1RdY0wuPjmHqFkbHfxBWA/X0xBvt9rG8UGRGRybiLVy6nWMpo/NBjffz1/3wSd08v2uYq1VSO/G5B9mgFSDNAgXq+RfCJH8Te3EHbnUXvnaRe8xLzZGBmCHfQzV/+r+f59FeXSCbCPDhqUXXczObb7O2J4AmpfP2VdfZFQzx3469onv0ujaKDYglq9wLG8CHagRDVK2/jUXJ49zyM4g3RqOfxOm06hSK2ruGU2ihdHlqZDpFoFb1vholH/56nTndRazq8vZ7n1FiEF2crBL0W537/JLFD0xTu1Ejd3aT/0UkiQ9NMHfkjivU6hgpPnhpEdxzO3RFddh89iSgrKxmiIUNSgQ0Fki6NZS3AndtpfAGbkO4iZbbodWusFTsUywp7gg7f/pdn8e9/N+31G2x854skp2ZoBEIos3N4evqoJvsJNBtoo/fQef3ztP39ko5vt6Hvmfew9dKLzPyPNxlJCm2USdCuMzJo8NaSzR++P8zTj8fIr7eptW1CQY2RA8O896dfIRA2JNNhfatJ/4iO0VIZS6q899kZXnnhNolYgET/O89nxa1IHsDK7F0JOwrEu2gJXZloljZrkpHhD/jpSsYpZcu0RUJHVWVqTRD726YiK1iDPT78sRD/+g/X5OXDH/VyazbNqZku9ux1U8y0ZYpuZ7dFQnXYuzdMZNjg1vkU37zU4Cu3TVYLYcnMmeoJcGLKTTpXZqfoosfnoq2pVGqW5Gs0bBNvyE2n0pGMg1g0TLdP4eatFJpLQNRaGAGNA6f3ktc1ckJ1mIxRadrEPF6BQ2ZlYZHueIJ0Ls9gbz91y6Rf6P/aHeLhIPlOlY2XbmA2WvQNJNg3PcDVt5YpNto0bZO1apvFTz/IQFcX1Y0mpVYJb/eQ3L6L6l6rUyJ98xrJQ8cw2m22LlzGc3iGoSNjZF+5xRN//hZur8ZI0M3MniD/fjbNN37hEPHRbmqZKtHJEbmNXvne9wlO9ctnqSUi5POz1KwmiRlxxgHFVLENF7s3L+MOdOFzu+i4RCFPwWk7aLoL1aVJkGB4z17sUpVaISe1pl3jY9QbTdnL7dRKdPJV3FEf3mCUar2Jx1ZomjVUxS2rQ9HuPorpFNtvvM3EIw/hUloUU9s0t/MEurtp+/14BZjLG6F4/iWiP/QRqeWy0xu4HZ308izxkXE6wontD6KFu2mWhTrOwbI86MU1qkYAT6eOf+owzWIeBJvIcGFXs1jFLHZykPD+U5i7GSzh5Baj4nAvVmoOz/geShev4lItlLEpbM2Hp5Slmd5EmTiO3srJBBlhQ3bP9f0nMO68RblQQh8alWdmMx5Hq3bQxKC+koMDD+DObdFevEir0Sb6wDO0VheoX3sV77FTqJ4A7vgA7eoWuiX83mU6S2u4u0dwkgb+dJbttQx994xTXFql93/Psz/WZiDkpeg2aOfLRBLdZLbSJKN+cqLyNtqDR3NR67QI+QOEgkEyuxlsW+E973+K5/7jOXZSGd516gSpVAqX4SKV2iER62Jkcpxsepcrl2+yf2YPqqphBH0UM1nWNjbpH+wlHAiSy1bxBwxKxTz7Du2TJoHVzS3uzi8Qj8cYGRlgY2OH1eU1xidGmTm0j1wqS7EqNssqHk+A/t4oG8vb3L2+gVmqEfOFWb6xLNWcvrhOqa0QMNwS2CeUgdGAD1wdZsb7SG2UyBWaJGM+lneLOLqHyZCbpWyby1stfC6HRydVfukDUe69fxzd0End3OTqlTUC3UmGp4bplDJceXtW1pcEGFE8GxJDwyzPzmPWGgyOjbG6siaXCW6fgTcQ4PaVO4yNDOIJeFlfW6N/eEAuAxLhKF6/n+WVZVyKTqlUIDHYSzwQ5dbN6wTCMcLxIPmtPLFkRKpr7968w9CYsKp5CLQ3uX6nxfv+ocV77g0IzjkZcRYZdHH+RpnRhML3bzUprP0lRqNIZmEB/8BpbK+PTqWMZlnYZhU9MiZNSIqAG4uLamwK3XZobp8FVwh31wksSqgdFZe/F6twnbbAXouBm6pgFjbw9J/CblVptdbwBCexFR+K0Y1ZW0IX5XpfBCc9jxYboemOYQgNuS3uEFlsxYsWmKBdXkStr6Mk7kfLXKDRqmAM3gelNLYviqiiCxabYKfZ4j4UOIIq9MrVu3IrLxIBIoFk9zyMS2zn01clrFkfOIKSmcf2DmCLZbO7Tz5HHFN/xw7lC8uzptPZQPeOSiW9O3YAs5KX8HhRaWyWtiQTylHcKLU0qtePaozgKBX5TBBnHi06jau6BnqMtq5jtGsooWksmrTWzuHyxFFEVFtNYvl7cLa+iprYh254cRodCUUXCVBTBY8Rl0kyAWS3w3Hamdt4VAPTFJv+KJbqoAs2ghKgs/pFbE8CIziBJVLnvlHs2hye4F6gLDWJHVFltb0oZgvHZWFV8vh8UQgdwDYa2NkdLHHPb9dQDQF37UGp7KJULv2NYzUy4PLIF4IQcggntojAe/Qqin+GdupVTKHWGXqYZmkZXTgXLUNerBVTkP+baPVdOp5B2QWx7aLsYWnCv94so4nLtbcbw8zKlICaPCUp04oaliAE3ejC2ngVovvRQv1yG+W2HTq1LYzYlCRQm62yJNLrzRJOtBczewtXaBhHi2ILurtq4XQ0sJry8GqaHhTDoLX9XbwDT6O0RGcjgyovxkFcpk3brqAFJ9Dr2zTMEi5PN1ZRRENq2Lobd3AvTdF5FdOf4CQdTRD1NTQzL60BmuPG0jQ84WlMzaGdX5RRG6/hxyxmITKAUV+h45lAdXtprr+MFk7KCYzebmCFh3FpHcxGDUskBNommj+AoQsP8Rj29mto3l4UkdHwh2gVNzHsHezAXjqFJdyC22BE6GRvoPhDuKPTmIUFbDWMIbSJrQJ2cxU9fgynvE7bLICoAgS60Dx979gcqmmaZh5vSMAZK3ICZwv2gFbDqJZpCmVGwy91QYlHf5yv/N2v8ZFfeYHf/7VTvH52kXuO9bNdsFjYSOOx4elHjhDQOsRGJthen+fAnimu3Nnk43/6PG3Hy30HIyR6A1Jjc3ctxZHpYRburkkNTjgcolZucuToCBcv36G/N0kgIpzKG4i/zGR3lHKujuoP4NWaXJorcWQsRk9c58PvOyUPrelMhVqjwer2MmfuPUMpX+LN189x6vQZhgb6uHjlMlPTe5lbmGegv49cPs27zjyBjs21W5dlNGxgaJDhwSHaVoeA24Pb8PL222/T09sjwXCCBCs6Ud95/us88dR7WBU++06H6T37aLQbXLl0iSeffi+vnz3L5asXWc+0ydWRPcbR3jBbu9tyGnp9tszsG3/GW5du8vSHforPfOr/8PE//DrPPDSEPxiWyYILF+bZs68P3TG4NbvEbq7FhXP/wMLtu6ysrKO4ke7lM6dOsr29LXtlIjo+d+cOk3tmSGd20TWdcqnM1L5JSpkym1ubTE29kwY5/f4/4L9/6Ahel8n1Gxt4PT7pwv3sV2/wWx97F7/ysV/kzq1bLCwvceLEcUq5Ejfn55iaGJODBgEbNFwu7t6dJ9Hbj8fwYZkNBvv7iUV72X/fRzgwGSMWj7C8tEEwECJbbnBqJsHjjx4hEIzy9tUrKIqXZFeYRE8Sx1LI5HMkYkEZz331wh3+9ctXZX1iuCfJ7N0VDk8M4YvF+NSXLvFff/3jvPeXf43tb/wl8cE9tF0CtFeWvblOfRPVN0mnsy51Wx01glPdkbwTwftwBQakJkgVPfjwCK2iRde4OABOMRE7zeRomIHRQVrVGsm+OC++Nk+t2aFdbfI/fvohHnrsGF/75kt4BUjU6eAPuon5VO579xO88OqrvPDtN1nerJFvdgh4A/REFLn9TEYMbsxu09cfIZ9uMDwRIZ8Ttt8mumkwPJSQZPu5m1Xm8iliHg+/9zMP8ezvfQK9Uyd75dX//wXRxKxv4xYcGr8XNZhErZUxVS+qL0p15TsER5/AEuDQ8hJW/DjUKyjk36lk5dZkokgJdUsFj9XYxBWakio1K3MbY/Q9VK7/B+5YDJ83htup0J55Ar1dYWDkGYxIjB85FuXcjU26Ij5GEgq1dpRUPcPsbJNX//x+hh4/AXdWsGstsnfTGP4G6sEnaTttXLUKtdlL+PoFdNSDk9miPdJLvWDhzS6iVg0i05M0evxEurup3rrNvT/xFfrGQ9Q6Ct0hL1qzIjdWJ6aH+Mwr8xwMaXzjzT9i+/wqgZVLNNwKirdH9s1bvgBGowGpFKZXwCLduHtHJJTLym3jG5kUsGX069doGX66fuAkn/jl/8tzt4o8cyIBlpf19Q3cATffm63zym//AAMP72Hr+y8Tn+inNl8n/uFHufXct/jIp25x/4Ewt++WKJdbDPkMpoYj6C6Fy0vbMkK7slPnvQ8PsLKUZatqMerX6fPY3Ml10Lwuhnv7GBqMsby4zvk723zjt99PQN+gJGBiyZP4p8ao7yyReeNbdB28H2PmKMWv/itmopdw1Cv5FoL8bnpFr3OdeJeLgx99iaii0D8Wpjegc2OjwtW7bX7tRyL89o8m+fY3Uxw/3M/6+i5jAz7+/lubXFtT8DWFTkvlh36wly98bZsupc4nfvcgF8/tynrP2J4BqqU6sWSUXCpHemeXQ8cPsbO9SavWxO324gkGhJQGQ3fx5rmr7DswSjQalkrBeCLK2tIqPWKQ5nFLivfA4CCf/OTr5B2bB/f28PpSjn6PzZOnesh22gzGI/iCDgGlxGba4mtXVL583eRqqkVvlw+9WuTwdBelbBUlEAWthdtSMcUBzmWzsJwnFvBRbNVkLWdwMIJgS9+8vUmhAr39QVx+HyPHxyk1LKnnNTwaW8spJvZN08iXWVhcwKu62XtYnBcq1NodQv4gqXSWkcE+rl27xuHTx6SNZ+f585SbDRlhdgc8lCoOjz4yzSvn57k9V+Gt35shrjj4BidpNW2qqW1pVDAOHqB69Zq8SDQ6llTz9R8/Ks8A6fkbDI738oM/+2Uy7hYnJpIU61XO3iwx+7fP4j9zmLXPPyf/xrsPH5TPrrCA7m2u0dzakPHU6PAItVKB8voOkcGErC8Jkni7XMXXHaXdbBDo7UJRPDS3tuk9epSdO3MEexLkBYeiUCExNYkT8VO4eYvq8iax/TMEor0svPoNhp94P/XFO1Q3d4hNTmI2xHdWuB9MlIqNt0fYWLzk1xboTiZQ/V2k87tERG/XY+COB+m0OrimTtFYvIJSzKIODkkejaDZVzdm8eviohHB0z9AdWUZfXgCe2serS0sxC1cbgf/+LvIvvFtAieO0c6VpJ1BEM8dzaS0sCg1b757H0ET2+2V8zi+QdwzM2gLt2X3lv5eWrUC5q7wjudQvRF5dhZqQW9igHZ6FUVYsyZnUNMZas0GSr2OxyW6S72SpeLEonSWb1ETNY49RyRfIHfpLVw+g+j+I6hdQ5iOg7NwFSeaQDciOM0mnd1ZXGJQ29OP2Sei5Ume+sm/I5Vusne8i9curPL4g6O4DIPzlzY4NDPESi5D2+sh3h9n394ZPvOPX+TYsf2Eg2G2djZpmg59vXFCoSgL87MkuhPS5NMVTeD1aJTrdcy2jd/nkirBTrtNV3cXr772Bg8/9ICsUQrz06VLF/Do4t0vPtM2zbYpI/sewy3/vdAfp3ZSxKIxQpEgmldj+fYSmUKB/r4uJif38sYrb1Au13n34w+yUdygu6+bwnJRxv6Xrs6iiUOULdIoCtGoLt/DvlCQVL5ET7ePiM/P4nKaYNAFAmrdqjPTF2VhO8/eURdv3DXZyXUIOyoBtcMHT9n8+s8fwpscpLi4wfbiFqvbbU6fmWZ2PUVpZRuP7pAYHaBeb5HoGWBzbVlS/KVZq1lldGKKbCqN2+eTA7KCOA+F/XQaLZbmlkkOdDM+Nc7F1y/jCXikFaWSF7UL4XXXJIC22ajSN9CDN+ynlCsT8XlYL1bxNGyOvW+Mwz94hWLbxXC3KdkZrk6Ha6smzzwQ559e2OZvf/khfuIPP0nu7a/jFVWxjtDVtekYBh4BKcaLZbXwqzHa9VtY4QmcaumdZWjHkXA9sWm3GmsyEe1JHpD3CJfXi+pK4IiKeHQ/zdwsgdgQNdONnXoZwjOSxWbY4mLp4KjBd2qGG6/iGX1EJrFb7QxuJQDxe9HM2zQWX8E/9gxOUHBpvoQdPYzLJyDsJRRHDOVW0BInMPOb2I01jORpmloTt+AHNCpoAtSuhyAwitpcoSWSnd0PoLQztBxwi+qBqaOFQsIZ8M79q9nGEEw7dwxXu0Jn9XnoOYMnNIIpHg7ie10Uw7A0auAAtAu0Cy+jRQ6jEpdaXqtwC5ceoWlEcDmizir0t3kJWjRtD15fn6yeOELjZ+3gbiuYApQsvg2ZVZyubtwi5u+YdAqr75jaBKjULOEz4hAdoZO7iyOWNeEJcTQVVX20TlVCB10uP25vj/xMVT1MY/MVXOFxVMWLo3ixtDYukToQgxeRzvD0oVTv0C4t4koeRKulMH29aJlZFF8XVuzEO8OY/LmPO5pwIIoeu26iGgMSGKA0RLwhiqK65EO20xbqrCV8gTi2UNsJXp7LpN4QpGYXSmsX1Qjj6CEUUdruCA9lVm7bO1YRzazQjuzBKdxGD4hLbQjH2qTjTuIR2+ZIN04rTH31y7iHH0C1KiiOD1fyGPXF5ySpW5s6gWaJOJlCK/WGhBvYugCeBGUdQWttYAZ7JeTKFmrA4AhqdRVLXGjruxjBbhmfFVhuU3TfmhlsXwxNQBA1A0XoEmoZVE8XptVCqWdo1QsER5+k065gV+dRmzsoYgIjNBrxPTTSc+jJgzitHIZjySRCp52Vm3hV9UMgJB8URm7rnSlNoB+nfBNV6CDEVEqkC6yO/CBt1YNVX5ExarcnLOEqqlWmLSImeg9ufy+tzHm04LQEBlpmDcsU6YU2piNgWr3YzV2U6i5qdAxFvGzERcfThaI2ob6DpSUltdSszmIJiIQ3jEvAFQN9qEYAJZvBDnkwG6qshAjfsF210UaSGL0j7B98L9lmmfc/NM2tm/P0xofQjRapUguzUuUL//K7vPHmNWyh5TKC1Otl9u4ZIV1p8srZ8ywt5zh3JctAn5iA1YlFNY5MTbGdEz3hCn29MXZSRRmr8nl1vG4XsUSAWqvK8maHzQ2heFJ59HAPe/aNMTHSI3+2wZ4e5maLkgx88uRhrl2/xeWLF3nq8Xezvr1Lq1Wlr7efVrMtvbeJ3h4Zazt79kV+7Cc/RqGQozeZJBaPc/nyFdl7O3PqFIVinmKxhMft4tjJ4+xspbi7sko4EJCgIK9XJ5Ho4/KVS1iWyZ6ZfeQyAnIzyr986tPEB3vZ2Njl/M1dmtUiYeEPbjaplJoEukL87Sc+Ru/gIKt31/jBH/9DPvLMPWxsZlne2GLvcD/+aIxcYYve7n7+8UuX+I/PfFS+wNPraaqiN7u1TiyRoFKskOhKyDifIE8LVY3hdVMtlUkmkjTaFtnMLgcOHmB5ZZ2Z6WE8kRDH3/1z9IfdHJwZQtWDXL95m8HhBN9+eZt/+9P3cv+DD/Ldl84ymEzKTmzbMokEw9K7Wpc6wQAry0v4DQ/H772X7Z1t1lZXGJoYJhnr5Ykf+m2mRiJspfIMJiJ4wx5efG2V3/3FR3jo1CHOv31TahEFDKVeKRGKirjwNrGY+NtpMjSc5MEzR/idP/hXvva9Fd73+B7uzm1ImKQvqpLbqfK9t7a5efMLxLsMdu9cxNfRqasuFMNELS7hnnwKp15HqdewRc/LzqMZohcsgCs61ewGgagfS4vi0QJ4D/fx4MizbJThzKEwW5k2B6dHmF1ZYjNj49Sa/Mh77uXxJ45RrDYoZots7+zKCPMPfvAJXv72q7Iacur0IUrZErFwlLPnr/F3nz+LN+gjoKkcnOmjVK3T3xNF1PVvLa2ybzQplXr/8Z+X8LtNim2VD5xM8Jf/8jeEvFmcRJTK4jZmtgB+8bzuQTNzss8lnkXVivBsR3FpCvnLf4t/9HF0TxLFbKJaNartNF7/AXkRskt3MXNzEJhEdXVQyys4PQ+itFJ0qtuorj4JYzK9SSguYHm8ePqPQWZRErR/4/3v45/eKPIbH9rPV769wMSeMPlcA92j8fZOi0CpyexXf4TA+BSb//Vl2q4IrnhUqviEn9nnCVH16HS2cziFLKrYknWEerELR23i5JEK2OjEcYxGme31ORTLy/CzT3P3jTf48V/4HjctmOn38LGHJ7m+lualK0X2jHs5+3aBp0Y1PvfdT5BN5zBvz9HemMPj6cJ95AS63qGV3oRcBysSlA76Tm5ZKm49E/upFYuYa3cIhnzoQttltrnnY89zYNjHbqfKdKSL6aTOnz9/lx8/FuTP/vH/ZXP+Ko3UBkOdNu2uCOubqzz08es8frhHPrsC/jA+w2Rvt0E+1eLNjEXHblCutPjwY/t46dwiJ0biNBWbtVKLWNTLtWspAl4v411tSaK+uN7gk0/2cfhDz9Aol3FHLFpbDbRwSA7s68vLqOEQ0aGDVBfOYtXbqMEwVsUkcM8Z0i+/yMR9Ixz7sa8yMjpCs1nEsDSOHHDzzZcreLwWr33xFDurJfIrWTLVCntHkuyU6/z9V7Jy458tVCgV3Kzvwoef7uKpR7u4M5tioFskoNzsptLUKpYcXvr8furtsqx3jY8Psba6RbKvT1aysumMBOYlBnuYvT4nxCGEw11kchlq5brkx4TiXhqmJRLR3Nxq0hduUazDVF8Qr9sm6jHoH1KpdPz8xVcyfOZcm5ZWZyyoMd7tYiLiYb1uY9su2kqdeklE6gVBWmFju8J0f4RcvSzrZSIqKmwvq/MpUpUWkdEA+9+1j7qhk89nmJia5NaFm8S7exibGObiqxeIxLtk9D0Q8rG+nmJ4tI+1zS2KmRwPPnCGF799Vio+H3/03exWsizML+JZzBJPxCnV2iytbiB0Rfv6o2x0bBYXS2x96l7UoUEsy8/GS99n+ORpstvLlC7eov/xh/HEoxQuXSbcM4oSVWkubmHFgiQfO8Vv/chf01JtTh4c539+4TaxgM1nPryHYwfjbC5X6D8wxd2rlxmcOU7mzi2a1Rb+nm4SJ0/Q3FqlcndZBOqwVRUj1k29kkcNhuSFZ/vCFdnbdwwXmc0tusdGUJotdle3iR0apy/Wy+bSotQOh4b6aGNRWZrHM7YfrZHHrlhkbl4lNDRI/MA0pet3iJx8AIT149yLBI4cwSk1sUPCe96g5Q/htTyQ9MuhirGdomVbGKEwnXIaq23iMbyYQmFdq2HqDq2lJYKDgxj3PEbplefxxHy4HZUWLhiYwiyuYm4soAT78YnvjKhg4MfeuY3L243r+LswN27T2dnFG/LTEBtgq0UjEKSdK+AfHEZpNHCqNu6JEUrXX8foHcU9PIma2hCrM6ma1acPYi3OU99Zxt8zgFPJUfOG8Q+Poi7OUs3nCAxNYMe7ER0ymywUK9gjM/hKBWob81guA111oQoq++Ak1vo1bBeQ2Iu9vU3PYw/yvZcv8Nj/eIEP3D9IM1ck1/FQywu+RJzNrSwTCR/pqJc9Z06wu7xJMZuX6r6hgQHasz70AAAgAElEQVQuX74mYaMf+ND7+MY3n5cpuXc/ch9zC4sYupfd3V28fi+DfX18+xsv8NDDD+IoFqvr68zs2cNbb10mFA7T3R1+5zKkOlKb/Pb5C5w4eo/sgM/NC9tSD5qwKtWqpFMpcvkSh48c4vA9h/j8P/8703v3snJ3WS4ee3v6pJYt2RWRBh1x6dnYWuPR9z+K+Agvf+eCZKms3txkPBHAZdsoik1VdNwNi2SvGFIrtApNqrUaYWH/0H2U02UGkgG2tgtYfugK+kkX4fZqhUbD4tmjPj73+/tQDKiJBJhlcOHlRfYeS5Ls6eLytVn6+geoiJRLvU002Uu8L8nO+jq7G1v0DQ/KRUs01CWZB6quMDg+xNzlWXzBALZiysVMsj8pKwKpzRy9Y32olrg7+ajUBSOtxdLNFfrHEnh0D954H5XNOYbHo/zDd9L8yTdMHt6vs52pSBPAyFiQVr7DGwtNDsdVXtu6gnPrBSpVsaN0JATTpg+lcRPbO43uCeEI61p+DiN5nPb6eXS1gxqcpmMokuvi1gNUGxk8RhS30cHyTGC1UtIK12xW5WBLDHfUyAQ+wVupp9H9MzjN9XcAt6IOKgxCukKznMbn9WNHD8jlbGvrNTp6BFc7j+PxotkOVt89KK0WitlGK69hJvaj1HZwewbptHISXKgn75F1as3dB5qFVc+Cy0bDR6e2jjtyUm7xW4XbuPxx9PgM7ZW3sOw0vv6Hses1LNV+52fILOOODkjdOoVL1POzuMSm3lFk9dIRtP1mVVxsUbUAlLbpNFdw+/fRtqq4Iv1yZCkr4uV16rhkfULXPOjBCO1yAcUbA6uEyxjF8XdjVRdx6hYuwVho79Kwi7gDkxJG7LJFayBPW6TMFT/uWL80hggQu4DPW9Ud9MQ0bmHXEuwB08FlmXQ0RQa5aVuSW9DW/NCsy6qEUBXquoo2/jRm+jIu08KOiWpEETvSg5K7gubuwYlM0Nl+FaVw7vcc8aXTI+PoZgGzI5boGyiePtwCyCeJj46sR2iqKb2Prdyu7JUaehhHDA90D5pq0BHgnNIceHtQ/SL2WMRsVNHEhMfnwWzpaOLDFGqFjknTM4LaacioqsszRcdawypt4o5M0ymvgTGAWV/EP3ACq+XBqdzBzr5Cp/dZAoEwzcoGmqqgFDfpaHVxm0ZNnMRxeXAtfhkzeRJLM9AaW7h8AzKiJjo9ur8Ps9XGrXagnpVdYSJTWMIZ2Syh+vppWR2MThYrexnF2wfCwxk9hGOLvkaCdu66/CJYay/h7r0fy+eWfRJDdLu8XsJagHarRN2sY2gu3FYDMzSCKgcrMVTFg7N7AUUXcDyRShCvDzea6JFViiiKI2NvnWYVb+wE9cocaruC6hJdlV05yHC8wXcGB80MOMIPPIzmOLTSV/D0TqEoEcyts3j6DtJx7cEp38YSAx1vQFIkVa0Xx+pgtzJ0mtt4Esew2rs4TWFtOIjeWkTRRqnOvkXyh/873//0x3nmVy/znvvC2LpDueTI7vvASBcvv7TJP33yWZIJF7dvl1hdvcPI2EHKxQrJniCNYob3P/sor19Y5NVXb7CwuiHd5lZbHMB0vKKT4rTkASJTq9ETiUr1iUgGdIV8uAMKc4t5fuKDhzl5ZJhGs0O9bkkKcDrXoGV2WFlZwq37qdWqDA0OyW2zeDAPDQ9gtS3ywq1rBLh+5W0C4QjHjx0lm8tw6NAJqu0WbpdBIhlnfX0Tl6pQKlVJbe4wOTVOMBKh1WrI/qf4fwV4KuD3ywvvqVOnyeVzZDMZMuksY9MicmXS6dS5fuU2n/3PN2jYKnvGI3j1CN3JIDfnF1hcL3Pz6jfpFBYZP/5LmKbGw/dGuefYfl45NyepulN9EYqlBomRbubmN3juC5/kzXPn8fo9kurv1oMEgiGuXb6ES9colitEImEMl1tG/oWLNhgMyO6loNYmol2kchnuOXaY8xfe5ud+45957PQkmXKFXK6E2+vi6JEpPv1vl/ij37yPD77/Pbx+/jr9sQS3bl/ngUceo1QWUbss7VqDqckJFE1ja2OHgN9HrdWgXq4zs3+CWHeCk498jKEeD319g2S21wglEiwsZHjq4T088/BJzl2+RU8iQb60RSqV47HHH2F3U3iIQ9y8fYdwOEp3JEixWeEr33qTTM2W3me/28fd1XUefeAQX/zOTbDdbNdewFpbo3DjLLbbIJKYpmQbeJ0KptcvbRpO243V3kR1jYDSxK4IsEwcQt1UN96m+8FHOfsvX+d9H/0MH/mBAdZSbUYH42ykiyQiXf8fSe8ZGOd1nmlfb5vegUHvAAGw9yJRhaRVLMmSZcdyYsexU53iONnNJpvmbBzvxinexFknu1+crJN1HCVuidxkWb1RpNjEBoIEid4GGEzv885bvpyjf+IPEcQAM+85z3Pf18XU9dt8+EMPcZdIvmxlcOsuq6ktwm1tclPhc6FotqjWypQLRUb7t7Hv4DDdfQO8df4cS7MLlBo+3jo3hd/rIZPN0B2LsZSpScJ1vmjy0N4Ef/hXv048MYLXVwTvbpyFH1GrqGiKgWN00GyuEsSklTxAs5TCys0SFlFd3UOLAHZ2Gn//Ibz+DqqFBXRPu3h0oboV2RertEyCnhCt2AhG7grVzVn8IydpVZrYmQv4hLUjNkHdqWCoEeyWhVku0pFoYo0Msq/30+wcdElGO1jK16l7NbK1HIW8j1GlyfPf+jDa0HvY+Pu/wQgpBI6fopHOw9wN6olhWuvzlNdXGXrso7R8Lo0zz+HtGcbRFFqFPP6+DirzZShtEdixjfItUcGJow2OEdrVhVVY42NPfZPvL9X4rSeHWNjIc3PT5OhwjKV8je9fb3Lh98c49NFHWXvxBsGuNqnzETTz/NXz+Pq65cEgLGBJ5VV8/rBkrFRmLxA9dIrC+jp6NUtlbpW+I6M89tuvsJivM9HmY+dAmOJ/AE6/ci7LyS6L73z3Uxh3UizfWCE02EOyf5CL58/zyB+9TSzqYX9PiKFuL8sbZen/vmtfB/9+YZXxaJQH7t7O1164QrvHoL9b58pahQO7BgjbLsVCg0whx2bTptUMk2ym+fNfvo/QA4+xef40zvRZ9IkxtIqDHolgl9bw9WyH/aeoXXr1XcCcHaRR2cA/vgOrlCM0NsqRk3+M6vMw1qdxYbbKjx+PcmMTZtcavPYHXWwUqzRqBo4vSF8SkiMh7vvAFd5/VwRvm44rjEBhjdUVi48+4mfPwRHefmGOjv4Emtchn67gKK783GnVxX8bxEJBUmtCpehg1loouiYrA8XNFKi6hALWzSrhYJigD27eWCYS8WMYNh7H4t9favDogz1MX9lgs2ryyz87irnl8qEvL/L8tYaM2h/o9dI0qyxn6rTHIrQHdVqCiJ8rowUiGEIZrBk4HgcR2g94hb4L1tNZORgWKTPfWBeHHr6Lpm1Lbe71Vy/Rt62XnTt38ObrpzFLpqzz9A/0EekIUC426e/r4/b8HQZ7e6g3LGZuz9DT1UU6nSGZjBELxplbWCLaE6d8fhpL/Dw1HatuMzoYwO/4ee3mJlFg7spnMRe3WHvpNJGRAYKdEerpHJW1deI795Kfvk6grxdTgc3z19G9Fp3bd9AxNsQf/I+v8/TNMn/36DDnSwp/9+Ii3/rM3RyYjHDhm+fZdnQP6fkNEoMi6mqiNi2aXj9+1aFWqFOplOjbuxdXV+QGXWx+Dd2Rnfe6atE1tpNWegNf2EdpeQOraUHYQ3k1ja6ZRMZ3UV5aJig4CapGJNmB0hWmInSQmkFo33G8bp1SbgOPotGKJvGYNdS60PHVMOtF/PFearPX8IyOo9Sa2A0b+hMSninw1l7RTU6t4OnpoZWvoEdCqCGBj6/jxoUtScOZmUYNiRVaHUYPoa3doFEyCXR3Us9k8EzskEwAcbnP51PE23ppDo3jS/RjbS2Tv3KecHs7ak8/Wtco5vmXqWdShLbvlzpl26y/26/d3EIfeNcoJaqDoZ1H5Na5Pn8FX9929GCM+tIU/qFxORwov/IDgg88hrG0QmHmbbSxfXi7R7CuvYE2dgh/bx+tah0rm0IppFCTAwQiXtJnX0Pv30Gw16E5vUags53w0HbGP/6PEny2Y1sP+XSNgE+Trvgbc1vs3NNPditF4vgO2rq6mZ+aJRCNkttM09vbTalaZmujSI/4naw2sGyTodFBmo0aI/1DvPDi63j9Xqk/FueIjvZOfH5Dnn/W1lMkoh1ykaKL+kzdZiuzzv4De2iZLWZuL8qE4NLyitQyChCmgF6KKPz7Hnucrz39LzIhuGNynM6ODmZm5+TXHZ/YxtmLVyR0OpdJc/T4IZp1m7mbdzh89BDzCyuEe9rQdIuJ8SEuf/80y3fW6Q0EwXJlMkZ0T8IhQ/JLOjpDZFJC/9mi5Koc2Rbhyo00Ia9Fpi4+nyIEvDZX1krkcxE+eZfBJ98f5ODBJNV8iak5k0rRZN/ONqnnfubp8xw6sU1u4dcX5mlUbBJdovaUpm9okKXFZQZHhglHQ0xdvcbk+DjlWgkDHxvpNB097awvrUuGlLgHbaVSJDt7MJs1Iu1JUsurEppp2RaFch2/XacjHsLTEeDgb6zR3+YjpNv4RA0y5GcrV2CsK8BzZyusLP49ntoWmaV1AmJB61VpycRzBNfQCSguDYEELq6hRBLoioZZr2DoOSyrHbW5CIn90nqRvfENfMkTKG1J7M0Z/OLyamg4PhHzv4qu2lQ9ewn5K5JkjxLDq0VwQ7aseWuhfbgBP/VGFr9doVWcxRXqu+67MTQ/Ld2LsvYyKr53Kf+aH80XA5H6FgrnahklFBD7exqtFoZIlPv6aFZW0YXRTVFwq3nUcK8cbDRKt6V1zQ0OoSQPo2XnqWXfkDwzs7KK4g3hGkHI3EINdsvkoZ2fw2uEUEVFzuuglDNYIu1eW8JrbaEZXTT9bVJlaLs+tMoili6A5N20hGHKNghFJqjZKTQ1JhWhupOXsFnB49K9HrkQxPGjRxQ5PBMXditzB19oRN6rBR/OK5S98QkaS6+gt43i+ttwizlptvOqSZRQG/XybTl0UMIDtDwm2sYNNFFlED9fTwy9bRt2/jqurwvDn4TKCo1wF0EHTMFFMW+gKSFcmShYoCU0gSHBytgUtZAvuK4iIjMRnPo8Wr2AFeoE149avI0hyI2AsXEWJzEp6YVuKY8R0N+FBLZaNFtb+MT0pLgkFXO2GkBxNVxVwdm6iR7oxnSqGOY6TsdBlMAB9NIlGqJJs/iGJKESPoaTvQSxEcjdwhUmgswUdmERT989KEoDXQ3IF7Ql/k/DT6tUwYgGsAtL6LFB7EoBnAZaMCZVVlpTkDfFQ2QNLb4PRfgdCUFpRW591MgkTaGJ8lh4lHbMrYvo3gBKaEDG8kX0T3QTrZqGo1kEPDpm3QSlgqVpkiGgtErC9gSJUcjMY5bvoLdNSCWHorqyvqAHRmhWt7Cbq2h48LUN0txcpF6dwzfwIEp1ipYVwBfqwG5kcZUQSjCMYjZw9RiubcrOviBiuloEJbIduzQDYgLaNgGlDVy/F4/ZxHZKuP5+1OoWFmXZuTRENEUTXu9jaGaNRmkd3+BOmstnMEIdCD26kGR6EkPUBdjR2cIfP0xz6Xugj+FtaxAcOcy+gfeyZTs8fM8wK8tC6ajQ3x/l9MUUpVqdt773uzz3g9e5PrPJk+8/ydydWeyaRU9fH1PTUxw4eJjV9RXC/gbHDx9jYyuLHu7guRdfI52uceHKHWxHZfvkKEEvlKt55pdyhAJeeYhcXNvia1/8JCJsdXN+jUzRIuJvoulh1tJLdLb3kE5voqo6p+6/l5VUirOn32TXnp24io5jvXsA7BWqocUFMFXm525y4PBxunoH5OYv1pGUB9V77rmfM2feQFNUdu7eydSNaanAGRoYxGf4mJ69SSgYoqenS349YTrwer1UyhV6hwaYmZqhs8vL5UtX+Yevv4MvHKOrDRaWsuzbIZQ5ZX70Roat6jW+/tef55O/83V+6cf3sbC4SjbXoCcZp3MwKUF7sY42Lp+d42/+/OeZ2L2NmdkltlIF+no7sBwdn8+H41gykVCvNonFImRzGaanpwlFIwz199MyYWjbILnNLd44fYaPfeQp/u3fvsuffuVVPvbYAV598yptnQlZDSgV87z+5h1+69dP8b7HnmR9K83S1A3uuu+k/J27cWtafgh7DS/La8sMDQ6xfXI3b7zxEoPD28hn8/R0xihWa3zwp7/E4X1h/KF2CSASr9XlG2nGRw1+/eMPcfnaIo1GiR978klePf0WB/ft45XXT+M1NN774CP86zPPkAwnuPe+XUQjfn76N/6OXMGht8Ogsy1MT6yLq6lbvH21zqc/sps/+4e/IXttioAiiKiOnDTXynPYnnHsstiQtuELT2KVb+Ia3Wii6qIFWbvzDv33PkB+5Sa7D/93Tu4PM7qzi28+M0N/t8HJEwfkBj+iwkvf/1OWpm7z7Isv8egjjzIzvyw7qHsP7ufSuUuEwiKWpaEqhiShXz9/icldeyjk1nnfEw9w4fI8f/alb/LYqRPMLy2QXc+x9/gQf/3/rvIzDyb56x+9DvUKNFKUV9cxM3dwAzvQ/EWqd15EH/kQAc0HhbMSLoO4yLdy+DydmF4VRXTxvEM4bo2WmZX+X6U4j1uYwum5B48qSLAtSU4X0/LAtmPYaieqI947XmyxlSrM4lhVlM6dqPlVgoGw7BUGd/n4b5/5Lv/4b1d4+Mgg2XQGb8CL23Sx/H6uv7HO6e+8n3ikk83zt/APCydtEquSQ2160KpLmE0FTyxJ+dYZlHCU+LGHqM1cpW4qxCYnZNfSk4jRWLmFJQ6R+w7SuLOIT6uwpfjx5EsMHN1LU2vwy7/6PP88V+RUj5efPpXg/5wuoxdKHD/cxT++vsLZvzzBwH0nSE+vYmykaOkimaaih3w0ciV8Q6M0p8/i6Z+ERJTyy68QOXwvdnGJer1EV+8w6vgI//13/4lnb1c5Puin5CrEDIWpxQyptJfX/+KwrK0YJCUULjTey7l//gYf+0qa/nYfWsQkYJksbLRoj/j53fcPcOF6iq+eLrFvR4KlfAWnZnL00BhTC1vYYutnOEx0iChpi29N1Xl0VOHJHSHe/6nHcAtiK56Wz01VaaH1D1H5zldxyjXCJx6jls3jDwZkN9DyBPF4XcoXbhLuChB74nE+8ZE/5dIdOLTdoWT6GWszePFGlcXNKsvfO0p5PYMairE+u8Ha0hrv/akH+JMvvMS5OYOTh4PUNkR6waLpWHT+Bxn/07+5l/TNDIvCxpBOMzLYRfdwH9NXbrN79ySp1BbLy4vc++ApQpEI515+mXhbB6V6VV4y2qJt0h7g2qK36ZDPVcjliuzaM8RGviZ1qgsXthgb9qCHW/zLK1XOz9msFwx8IjZbLOP1WJI63ZfwEfV6yFuQWikS641JHoqgltvlOqZ4tnpacmgyu1qRfcze7ihmm8H2h45gNVx8isKdGzNE4nHKGZE4C7CwvMTDj5ySW9kXXnmVo/v3yQGkUEturKzz0PsfZnlxiempm9x/8m62MjkCIhLtNFleXhfZVE6eupdXvvQ0uqHSPdhBerPI+GAXfrXK6zdqtFtZXv6bD+IWHUFWArtMfjGPz8wRec8TVNbX0co5UovzxLxeosNjhONRLr5yjiP3DPLPP7jFr/xLinuGFLxBjYVFky99fBdHP3Y3qW+9gd4ZQVPE5SFCIyfAWl4Z8y1trODTBJSwTnzPLqyNLE1RO9q2ndUz79A21EPirvuoFdO01lOoLRv/cDeWYlBdXCYaidNyXRI797D8/WdAwNsSnZhTV+m89xEsbwMltU7N1bGiBn4ngiM69K5JvZLH40/i6e+nOv0OgR1HsQorOO0xwnqE6uKaBBIHdx2jfPaHqF0TeLwGaryP5q23YGgnemYNK5umYRiEYu24sYjUm3lqZTmkVkI+9G1jNLM1fFRQHQ+pmVdJDB7BCEZp5NaI9PVRPvOqTDpFO4aoB2K01m/JdJrRLrr/LRrri+hWg9JaFk9HiOiRU1TvXEctl2XqVFyShB1BNy15eSpPX0RTNJztewn0jKOd+wHOtt2SKt64eRXD0yJw9/upX3gdx+fBTm1iby0SOfUhvIpFPr1MQFxQwmHszQ3JGyiV6vR89En+9BP/kz98YZWDe6L0iSFBzaKSb3Fg/xArFYf8xRsM3bWf8PHdPPv3/8zA5DY+8OHH+eIff5HDdx+lXirT2d3NHVGFHOpnfGKCfKHI977zI0aG+yQjKZls4/b8AtFghFZDxJ5dcqUsu3ftZn1TXKQFNV3F69VZWFzm6MEDRGJxWbNcnFugo2sATXWIBAPUmw0CfmHTCFAqVjDNOmurKXr7OvAYPkKhIP3dXVyZviW3mtFAgERnks2lFeYX1yScuSpMTqEA/X09+DoiTF2ZoS/ZxtbCJubapqxVio54rliT1htRBdjd38HqVp5K3SUe0/EGDBx/hHJagOKq3LW9i4tXNmgpHu6UBZTV5j274Onf6qNzdwdz55e5emGJno5uegbapF3K5xGJ1AL1pkajVMLw6Ry8ez+zMwLCaxEPt0sVakGkAVSxvRamNj9bmU3C/jDBUJRarUy8PcHqwqLUsXX2d1KqmHQmuymW8lTNKm1dPSjZDYYPJfnwL1zl3+ZtfvFUB2bDQ75WYSnT4P5tIb7yQoFv/q8f46GPf4DawjIVU5OMEEvNywuhYF2I96cWimNUqyixPpqujVfxyjuaLZgZ5KUX3hGXAaclI/osvYRtdMmKoO7xySqBGCZo+XlMPS5rD6L6IqDJgnxvxfaie0ya8z/AO/QIuqpLWr989o88gJu6CalXYMcvoNQ3aG6+gqL0orX14hpdUF1AF3w4ITsqZ1Djwxi6B6smAOZ9snpt++JYlXV0PUCzlBfyM4LivSN4ZYaofNYk38MTHIbyLE4tixYXlaOC5MUFE3toCA6H0EoEYmi+uLjd4lavYqghHG9SUv2pLqImdmGXVlBCMZk0sYoFfH6hlmygiDq43ZLgec2bkJ9lroAAEgDbwmmtyCGFgAJ68SFIR4ZfhfIcqtGLY+jydW2ZOZSmI1OJrutBESlwoVptpXGEEj51Ba19D67uwSjPoupCZy3ua0W0wBBm9haaIfgGgg0XwwlHUE2Tlqrj8YewciLmP40dGZJGOt0bkpwLUd1HGANyb3/O1RwLJSr0CAVoZrFFtJQ61ZUX8Y49AZaoRcxK16AqIqZ2DlWN07SKNEsbeGOj4BvCLl2WkzLX6MDO35aeRsXXJsnSTnYKXAVPdJBa9jpKI4d38H7c1G2sxIiMrvuDnTiKilUQ4L4h1PRFTNtHoOcQtdwldC2EGtuOlp2i4tTwepOS1i4AaIqvHVfQ/pub6PUM7tBJtOICjqpjeEX3JYOhBXG1JmY+jR7tgXIG2yvGJK4k9ot+laBcuq6Gt22cVnYB21VQhVeR5rtkyv5jNNbewkjeKz25inij5NKYlRyhiIhqROQvomU5aOJgvvE2ui+GGhmSrmSHGl7bQrR9jXAfTquAZqp4e47Sys9gl2eki9Opb8nhiqNUcYVGsWWh+LpwHR012o2VPYfPrGG3HUOtpeXET1HERdmVegtxeKjnCxgyKiwmVGtoeheqUqBZWsLoeggndxUn2CFfF+GN1R3hlyxIyJ0AfNTLG1Jn0Xby03z//36OD//Sd/mJB7dzfX6JjrYAUb8XzXB59qU0X/hvp2R36aVXr7D30HZiAQ9Dw+PM37pNzaziC/jYtm0Y19aYm12WG5ZyOS03+HvHJjj6yEPcd+rjeIyAjKDfvrnCnl1j1IWlQW+xlq6RSZs8dWqC7oF3Ny9LC0Xe96ETPPf914nE/dx9+BCrqVUSyU68isJaJks5m8FFleT2RFuCM2+eIRwJ0dnWwUYmK7s273n4ETQ9QColJvku7fF2HKFHVG0aDVvWQaLRKIlEAo9u8Oabp4lEIvT2dGG3miyvppiY3IWrtLh84TzjE3s4cOgAf/b5z7Br13aefek61+fy7JzsploVCkqXStXktXNrrG++xm998md55ewGD9+7HUOp8871NQKxIJ1tfnyGwdM/mOPnnprkjz77O1w9dwnHCKLoDoM9fbz4wovkC3kOHzsqu/jxRIJatcbs7Dw7d00SiySoN5ucffsMk9sm8PgULp25zPs/+Chnz53jJ//TV7hnn7BL2EQjEW5cX2B0sp/zV5b4tZ88xq/95m/z8vM/IruxQf/IAKFQSHY3RdqnPRFjdXWVrfQmw6PjzM3dItHeSV9PH/nsBnsP38Xh4z9LV7tCtD3KwYk+zl9bZGouz888tQ+dBnsmDpAtbEh1WKlcpy0colgsSbhjpVBk/+E9NJsu6Y0UQ6MjMi3yp3/9XTnQinginLma4oOPjbIj2cYv/K/TTD/780y+96dYPv3v6IIZ4tPxuhGURIckPWuWIHlHaLo5NDuCGhih3soQDDYJbH+S9x46wmoqT0dIwBNVdu0Z5dbF22w2LDbzVb70uZ8k4vNw8doMiYgYwJSJxBKsp1Kcuuc4p998i77BPtqiUV556zRjo5PoioBZCoJ2hQcefA9P/cwfs3d7v9RH3s7VOLZ3UtYo3rpS5farn6Rr/8+z9faXCQa8mEabTNuEvNtpMk9j6Qbh3n20jCR2aUmqVz16QCYcfK0sjapHwihbjpjO38YQTmwRexNodkXFzF1C84+gh5M4ouZUWYXIGKrTlF52oZzzKgVcbxiztIQq4DMehWzZR+e+QxjLb2BM/ld2jWqcGu9gVsB8bROv0eTFyw1++5SH3/uTX+DKl35ArMcgsUOwRsCqNggGoqRTIo3lI3L4SWrL5/GsraFtG8Sq+FClwrRfxnvFs6Nq5vEZQYobGfwRAXj04Im343My1Cp1OkbuA/88j//KM1yddfnM4308c2lVprs+8aH5T+wAACAASURBVPAEf/VvV7lcjLD4twfoDYVZm10jOjFJAy9RYYwI+CnO3SDU3kMpLw6XKpW5WRynRlvvCJVSg4zpY/K9u0i//AZ7/8tbfOTeBFuVBh2+GNG4zudeWmHxMwcZfOy9bN5YxldJoW7fzcLzZ/jE315mz7YgxUIdVbSdPR7srSrf/Mqv4T+yk5Vvf4+vfe0lXltQ2ayVGPCHmC1XaIsGJMxK9HN3dMCvPLaTx3/ufjLL60SUGOXSJgL+EYh2UtlYkMklO+TDdTyYM5ewqRHefQK31aBw/m3aT5yi0dAx0reI3ns3P/lTX+H5mSwfODhIwyrTFgjiGAr/9MIyr/1JDzv2DfGjZ6+xe7KLzHKDoZ0e0mmDj/6PWe7aqbG9R6Fa8lC2BaxT54PvhaAnSTAeIOgPc+XcNdr7I3T2DlApZNhcyzEwILYTIWambtPbk6C9Rwxrs5jVCoFglLXFRTlI8of9BP1B8rkSnX1xNmeXJRdkcHuUK5fX+fy3c8xvGKRzZfbt68ZpmlSaTXrCIeJxH29NrdMZ9eINeKgW6hRM8Oka3Qmhw3IoZ6vML1RIDkfYfc8Yvv5uaR0QKrSQV2Mrl5NDl77eXuriIOi6EsrpDQQFzhfHo7FyZ0n2j0PROO0JAS10SKc3cAX4q7ObvsEe1lfWJFPAEkT4SJwbV25gqCrBjQJtiYAEDopkVzbbZHQwyPPXq7yno8G//+1TXPvBBfoOHccor8k4b7ru0DcyQaNUQO/pxRBQKdekeXsWq1rDjYVo39nHN7/8PF/4+jzbtnvY19vLN15Y5q8/Ps7dP3sPlTs2QvpTmp2nkVrFiLeh9o9hLc0RnhilulpAzSxLunkgEKAc9OLrGkXdWCCTyxPubsdTqFFt2ViujVoRStEIPtXC9Xfj1rP4OqLkbt2hd9cePNt3UDr3Op4jT1B96Z9xekeg7qBHw3gUJFNAgLXccoHQ3sM4RVExTaPsOIh67iXqlTqR3ftpOnVUsWnuGaV46xIBURFK9kKtTn3xBsbEdhCX/PgA7uxFtEoOY/8p1NQy6uAElfkreIQBpd1L4eYK0aFR6ef2CFjl9n2YmU3QLIxAnMKNdwiM78Af6cJUa7g3L9HQNcLbD2JeOIva04tv33GaS7dx1tbRh/ei22WqehCvU8VZnRNeWczNeTyxOAgieD2P1teNU7RhYIL69Tfwd47geF30moMaD2KlN3F9hkzSmatz8kyh1Ex89z1Bc+4yBMPUV+bxWk3an/rPeMorKIc/x6O7w3T0dBEI+Xn1rRtyy54MQVSLM72+QuTkJHbWpqeng1xOLFL8hOIxCpk8WxsZdu6e4NXXzsi0nXDWO6rLxMQ2pqduEEu2c+TAHp57/gXqNRuz2WDXzp3SCDE3P097UvydWby6hxOn7uLqtTkuXbwowc5jk9uJxfzSRCZUmYbqcvv2HR548EFuz95meWlVDsOapk2jWiW9mSadz1MrVJjYPi7PfCI6HwlFKJcEFM0jL/aupcozWbnSkK9ROJGQF9iWrRFwVYykh6FgkG//r+/SEw9SMB0KVZOBwQj37O3i7CWhAK/Rcht0RSK090aZnsmTL9cZiSsM9kawLY1/P5ch7/r5/E9E+fS9NoEdO8gu5ikubJCpm7Qlu2k5DYJi8xcMygXb7K1F/MJLL5I1rkays4u0sHcYPryRoKxmmoKn8B9QaFGtaNaazN6ZZWx8B7E2HzNXZkiOdGPlmpQLaYb27UNxbFLLJQZHyqD288R/myIeCrKRzdKVNFDVNgynwdWVHB84NsAXvvt1GpfOYrtlnFoDEUf0ut3U3JRMPZullOSJeYOdmB4vgeI0pZKI8Xfii+2haWWhtogROYhtbeAWC+jtgvNWA7uGrSmoph+TAl5/BLO4hVcwn8I92M0mujAE+HpxnDKtWhW3kccbS9LUomgSKi6qymsoqh89MI5j13Eba9JcoHTdha5a1POLKIqw1oygpM/REmD05D6Cvi4qS19FD+9HbxvEMguQT6NF4qjqEC0lK5cmaiSAVlyVoD6R/hbfr6pHpPbZsVX0+HYaWyJBG0RzwzQVFb2RpSHec8ljGOvP0gp3ocQO4Nl6S4LhHaMLpZVDD7djWTWcyjIetQ0n2IXdTMsKQ7OSwRftw9JUfKpJS9wDrcy70Opgu0xmqg0H093EUAK4Vg0lOIJauUWznELtuQ9NwOhLc2gd+2lZTVqVNKow37Ufxo3HULK3cd0QjhHFWf4G6tj7oVbAEclp0fkvb0qzgSa8zVFREW+gljLYronuE5yAiKwsyNcpFJV1dyX7zl+5aiUL/hia2NrbRRyvH48dRsyhHfEQE1vs+haKiE80SuitLdyGiSc6gO1rxzZbqB4bvVGlYVZkJ0KwA1qWKTtRTmUNwxuGjp1Y66dRwttQw+04m9dQfD603Cxu+4OY66/g9Rk4iTEccYE2YqjWAqYVwmPVsGJDVLduEdJ01PA2KK/SbIno+n20WuvobgnH040qnI0iCl9dlfEUf3IbVuYdWnikX1JtltGCQyAUFGqQVqOIXZjGl9hNUw3gqa+hqj4x98A2ouj2pqRQqrRQeh54d3AgeACiEWKW8QTHqRWuYsRH0L0dmMvP4/Tdhdd25ETNNTVcpQqxHeiFy5jFBfT+R3Hrd9C8fdiWcEXq0CjgiO6yKDw1NuVl1IiOyQtwfauEFmigCPhFTWg4/KiNHLa/B81M0bSq4A1L0ESrsooa74SyiKSY4A/JSIviC+PkbssIi1foAXWFVrmMJ9yNU1mkmZ7GJwBgikkw1EettEpbuIV78KP87IP38ealJsePCq2awthAF+lMhnO3angbGf79a7/PX//NP3Lo0HGCCT+vvXRadsWCQR+bqU3KtTp37iwwNjrM+OQwpYqImVbYzFXoisW47/6DfObPv0JP+yjXZ+9QLpbYMTFET1c3V69dIxgN8Oa5NPfvjfNHn/kYL75wjnLLpas9jtNsspEr0JNsJ94eIZ8tEY6Gmbl9m/ecOMXc/CJz83cYGOino6NDxs1Elz+TFzBL6OjspmuoX3ZShbd6cX5GgiSF5zfZJWoSDhfPnWVoYAhPUBChhffTIBGNUSgVqVXrJJJxSYbNpHMSsLPrwG6e/uo/UKtkubNh8p3nr3Ns75CkZV+dXmK4P87Mcp2c8PUm21GDOp3JCKVKiUK2hqs6HD0yzsXT03JT8/wr3+a17z9Nf/8OtlIraGL6ajtksptM7thDbmtLPjiFc9uxkIOAoaERpqdv4joWg8PD70JH0Lh44QIn7heec4tHPvQ5qbgLh4JSYzK/nJO6uus3lvjIY7v5nS/8Jf/65S/T3tnOYE8n9aZFLpulUqtRLOVwbFcqhHRVlQyCxdVVenvjeIF9px5n+66Hee/xnVJ39NbFGQZ6/OTLHjqjCu8/sYv1Qo4jhw7KxNDZ829z6MA+4vF2bkxPS7vCxNg4N2/eYdu2MfoHO1lfWeStczd4+WJO+rOHB2Monii5TJZ8vsit5Srp0qvQKLL19rfQ9S4s3yi6v4nquPgtk/zmbYx4EJ9vHE8sjKMG0Yc6eWzPE3Ia/JGPn+LK+UVmlm9TFD3ZYIxrN9b5zK8/ysnjk9RrTaZu3kbRglKN+Lu/8ev88KXnKBcrtHd0Uq9V6e1uZ2ltg/nZBe47cS+bK4t09XXISfonPvX/+PmnTuC08nzr7Tuc2DPIN56Z4oP3tPN3b75BY/ZNqkvTZCsOHb39aII50tjA8Mdo6l6s5ZdRnQhqLIoe204rJ1JWXhSCNOsZNLuBJzAoaz2G20bTWsFsKQSTR2mk38ATENPrdpx6Gk/vUZpbF3CtBrqvC+y8tLoYwSCNfErWoVrCPuIp03HscX7hyU/x9edu8fC+ACEjRqbWpK/d5NmzZZ4c9PE3f/dzuIVN0qk8kd4d5GYvYzQU1N5uPLllapUimgORE0/SXLopYUW+rj5qjg6Cpn3lZbQ9J7Fyi+gCvmM1cFw/0f0nqSxekx1o8XlKZoVyNUPfkYMQi/CeY1/gjgEPjQvtk83u7nZmNk1evrFJs2Wx8upHMJeKpDdd/IYf1W3SEkC69ZtoA+PS6lFNp3GScTk48rb3kX792+ieMJ333oeW6GfX3t8g3qUwkhBbdV1uVf717TKf//Qk/+VXPsjMt1/ASLYz9PDD/O/f/yL/99U0vW3IesfekSgDoQRfPb3CHx0N88lPPUrJ7yMoeFJoWJtpjAYUaeJUTBrpDIGgF2NkCH9bN+lrVyAYIqQnsIqbmJpNa2sLU7WJJQepini/o6Ek+yCZoHb+dYxwFD2coNEs4vXpWIEI7cPt/NpvPMuPFgs8erCLmzN5FotVHjrQz0sX13n617sY3Rnk4utr9A510NHZweLsIoX/2Nb/yT/WOHmfj7tGfVycc2g5MDdT4M//605u3t4g5PPLzXY130BRHQkbFdC6wW3jAi0vqeTZrTyTR8dZmZqjLdlDs1VleW2DRDTM3uO7eOe5Wfw9PnKbVe55cARvs8HmZoMHPjvDdFplOGGzfVtEpiSKJZeOthiVVlVCqEJxr/TEl6omLccr61iCNxHXXdxSk5RYbvkMPJ0edh4/TFNxqBeqrCwK+KmfoMcvyeCuYjE2PsrNaTHki9OebGdxaRFHpDx8Hqx6HdMUxh0xBIgw2N/Pytoa+UKBsKhi1JrE2xLcurNEeyJCT7KTRdERtppsXV3FHzEot0yRRcQ0bXbu6+Kfnp/n1FiE7z3/21S++UO0kWOoMZXqyhrNqWsy6VAXvKClTdThNiLbj7H51vfxR0ax2KL/qY/ztd/7Er/69AI/vr+T/ckmf3K6yA/+03H2fOw93Pr779A+2o7taKhd3SiVGppdobSeofOuQ9RTNbLXXqL7fZ+gdv0idnYNvasPrXcAd31Lvh+btiGVpoHOftR6ldydm4QGBzH8bfj7h8lefBG9px8jHsMQBqSVeZxIQHq4NbeO64+ipFeo5Tbx9PVj2BFQ6zj921CWLtPIVfDZdbTxvVRWlnDmb+NoBnpXJ/6xvTRzJZTiBp5IVB5wrY1bBPr30Jy/hpNeoOpPknzocVrrazQdXbICjNQiVmodp2eQ8Ng4juuhvjKDs3ATdUD82ZHfgxj6eFtisJVC2b4XZfoMqi+CMXaY6tTbqLpKID5Icfk6kZEd1OoFDEE3r9XR9+zBeecd7L4xHMOStVSbMO7caVrRCYJOGrtUxOoVtYYSrZZFcGIbxsYWlmpTmr1JYv9JzHqZ5tXz2BM78ec28HclaG5lCPTvky7v1twN2j9wLx/+iW/zw6uLDLf5uevwNm7fnqNsOezaO8rFl6YkjLMYcOmcGOfsG+c5cPQgqdU1Wc2LtMfJbWbYtn0brm3TFk/IodfmZkpu/MXQeWMjQzabp3dAVCdNxscnuHDpHclIepd3sco2QcNfXMYXDJHNbWF4PfT39bK8uEJIgBiFKSkclNrmeCTE7NwKlmVxz313sbK4RCFfpLu7m4W5BdZTaQaGe+QwoSkggoL0bloyLRAKhN4dSEREdTIhTWNTV6fYuW8H3d29XLp0Dm/QLxlC4jyeK4q/t49auoRSqpFZSJFaEcYW2DnaTlNTqTWalCtVQgGPhC2KOL5rW7LCaGhVNE8bmfUcS0WHSsHkSLfGV39viN79g1i2j8Wz12g4ASLbemikNyivb1CsWBw8eYRmvcrWxhYNU8WvKeS30gwKZWihRq1ewbZ1NJ9LxBdha32TQHsU3RL11CJDowNsrmdp60jIOk5qOUswGsesVjn6yAC/+8UNnnltgxNHEgR1nQuLWUZ6omTzLV6bKtNa/zKWAKunV1mavkBHexduOIniTaKYZRpLz+NruxvXY4HRjeOWMHMreIMREBDw/IIEsrdaKUzTJJDci2vZuEIRmLkiIZ2e3gdRm1Ws7FlcJYGtViSTTLVaaCFD3icE+M6tb+J6e1AQVHq/VOW54T6UrZvQyMoLf7O+gsffgb5ymqrqxdN7HKc4hSYWn4k9uLlraNEkVTdEUPDctq5Kur6mi2pXBZ/TwHZjtOwansYKTW8/nmCbXFo6wlwW2QZKFXPpFdT+B2Q6w3X8UhkohnNa/0lapQt45l+hOfAk/lA3tVv/ijF4H2hRHMG1U7tptWYxBEixIQj6UWy3KC/ZiiI28QI4X0cNJ1CMTglk9/pCIHr27pbUtSLuzyK33ExjSRBtAL2ep6m3o5Rm0GM7ENNZRYAV2/bQ0NpRNp/DJ5LZQ6ewG1tomorTbElosVjYO80api+O7jHQPTEEyN/Nr6O09aAZHYjHk7b2CvrwPTRrFmp1SfIOHPG5VFtAiw3TEoOXyvm/cMXXUV1dxg7q9TX0UAe6PiB7etJl2BKO9gZaYhdKY02S/IVCyRU9qMo6tjeAL76bevYWgViSVs0Cr1/SFNVAt1RRiCGAlrwXpz4jNVw+EfnwuNiRw9TXXyTedYCa+EHWszTNOnrbMKqvAye/gdXaxEovoPtcjHACve0eaqJaEO7HK6teKQwtgSM+PLw2VKtQXsPomKQhIjhqUH4PTqOC6g/IGLKolnlUU7g8cPOi6x6T1QFHTaDYGVo1UTOoYns78JgGqu7Q2npH/hKLyIeIewjlgojXWKqLEeyVahJX1fA0KjRsW3aybVXAH+akY1cMEZRKSjR30eOT6OVF6vkMbrgTb3wCt7aG28wLWRJquAvXE8ds1jEam+jmOq3IQdRWmVZ5He/4I1iZ+XdJus1VdEE3F3EzuyJjWVpxA6/fwkycAnONVsvFG0zQyM7iFQkNpYGhaNhC/WUJqI6LEhRsAAu7LEigws+7Qu97TnLzxdd48Kkv8N5jnXjC7RRzeRazGepND1vrJf74N06S2Spz4NAx6bBcXFvAtjxk8mv0Dw7LvvbU9SmGBvtkp+fypUv0DPRyaM8eCvWmpAj3DvfxW5/9JxwENTZOQvTZVEUqYm4tVHj8oV0sLK5zaEcXTz12H//w9HcZ6O2XA6fHn3iM5374Es2K2LCe4vWzp3EsVfb4t+/cweXLV7j7HpHYMCnlitLPapkmK6l1ytUWfV09TEyO4bq67PXPzs1SqpVJJttlIiGXThOJRxkaHmBm+haxaJxgOMD161MSXCPor3fm7nDi5Cn5fTotm+Mn7uOHz/wz+VqdKzc32Ejbku/gwWZ2tcDhg9u5fXuRQtPhVz95iqe/9gqJkIeKqZKIhwiEfazcWqSJyhtnvkMpNcez332Rar3J+OQoqlcnGYmRyRWlwaB3YICXnvsR8Y4kJ06+h5XVFVZXVmSk9ujdx5ibXya3laKzs5P1tS2e/PEnuH75Gr/4m3/B4b3DnHn7KocP7WR5Lo2r26xlW/zKh48wNjZMokt4nn3cnJ7Gbdn0DQ5QrpXlpnbbtgkG+of4t299g+Fh0c8yWFpb4Mjhw3SMj9Pe8Qj9Sdh/UKgUV4i1heXmq7fNyxc//4u88eY1rl8+T2dXD2PD48zM3kLVDNrb2skUM/KyFm8T/nYXu2lSyFY4fHySD/3U/4fpdfjL33+cL/zls/T/hy99z7YePvt/z3BiPM6rM6/C0ndkf9b0H0JvVDBLV+XDCn8HanmTenGKtpGDtLp3cuGZr/HEJ77CUw8fZmbuNgP9QcbGJ3nmlWvUsw2++n9+kq62BK+8cp10NkW5bvHeUyc4c+aMfGB7DR+5fIFdk8O0Wk1KtRapzYzUnTVEx88X5H3vO8WHP/Z7ZJrQ7vVy912jpPMWpcIGpy9kub7wNJFqmcJGBkJhvGqAenEF3auh+RK01qdoKBZGpAtfZD9O4RKWK6i3TfRIB3Wh/AwPQmRSaufMwhS6oHr5e/HqKrXMHTQxEIwOyw6yXl9C9QxK2KhTzaP5fehamJqi4RG6mVoBw1+llU4ROXof9c1VOrd/lkeOtTGQ9DF7s8BWq0TF9jG12mDlf5+ie88Iy1eW6do2Qlkc4MsqRo9Bq9DEt+MAmuGVyqtWah7Hq6M7Dr5ABDMQwkmJ3msnvondWMUWbnoaV8RrR7ajxDppTF9BbZkY4Yg0Hpi1Eu7NRXoOd1PPVznyqdMc3NXN2GCQF08vsn8sxiYKr14o8EuHQ3z2G39I8Ucv0ih68I37qGw2CXe205i7jZmfR+0YIhxP4tRbFDfmCG/fi6b3UMlP09Pfxsmf+hdKuiaVcvmcy0C3ws1Vk4DH5V8/tRO9qRF5bD/rNxvse/LvGR0J4lXqbB8aYGUjhaF4mdt0+H+/up89n/5l5r/698SrGVoDkyRPPIa6cpvW/GXc8Xtxt25JhWCrWia9sEX33SfIr9/GqNiYnhAetU5pYxGvG0DxO8R3P0ph7Rb1Ky8Tuv8DuGIrcesa/p4BPIku8mefJTyxjdiBA/zB73yTL79+myd2RphaafLhk0O8fHuJ189qvPY5sZ334ZoGtxfSbB9LSljayIFJ/ux/vs7musrIUJC1zBbjox18/YUC//CHoySTEZ57dorhsQRe3UdDsGVqNSrFFhP7R0mvpqRSVS4EWjbZQknyXmJJL15PDNc0mVstMNYfI97tYgiNV1cbv/O/Z/inywF6O+r4m145fB0fictEWCjqUm8odLYF6WxPMLuwRkdPt4zXhn0h6i2TUrosExjVmMbek0dYWl/liQ8+ysI7t/juD19leHiIe+4/yk3hL2+KmIxLanOTA0cOyGfv+nJKdqYvX7rGseOH5AB0a20TQTIUw8rL77xDW3uHvNQtLS6xc9dO6VH3+wMyGpxZT0vzyo779lO4dZvqrRSBWJhMsUZP3COHrdlqhe+d3eAPf2wHn/38T7D53MvQ0YZatqis3qL9+Hukk7tw5k08rkv8wYdRai6NaolmLofX3yTSMcn1N1/lvX97hw/tG+LgkM5fnF7l7z5xD/c8sZ30tVWU4hZW3cI72IXjBGiJ+qMYZK1vEB4cedcCJMDPjol64CiNl57B54uij+yhUV+nfOZt4g99FEuzcZdu4OnuQ6edwq3n0DuGCfYO496cwopEsR2HVjZFc32RxKGTNDaXaGSyhIR6MxEh2CbYJFmpqwrFx2kKQOnuB2nNnsaamUIf3YfPcLBDSeoXXsC7/Qim0EVbmuz0CxWgUFo1WwqBsR34hvdRvXUWQ9dRRRpDV1DbEiiWLjVcpqgG1Iu46zMo3jY8B++n9uw3UNUmDSOCmV4ieugo6lYZdWQY09bw3LpEUwWjdwynWZepBX9HF2phg2ZqC89uAdu8gX9yN9bKMm5mVVb9GpEwfgLU1peIPvBB6tlNmkvzeGtp1EAMOxrFFhS67B08vYO0zKZMb1rBMF7bxe3uxme0UZ89S1YYe+66n9XMFv3b+lm4MM32/3yaJ45HGevv5OWLy+RKDfYc24bealBZrbK4nGbXzz7OgcNjnP7BeTY31kl2d1IrVSUcb3LHJMVilju3Fjl8937JOmo0TBnV9weCrK8uMzgwwvStaUntn9i1jR/98BXuue8IhUJFplkazSb7DuyRto+17BYdHW1oqNLgkdrYlIMV0WXvSLRTLuVZT2UZHh4kl9+ir69HngObVZNg2Eu9ZpKIR1hZ22B8bJxCKScHECIZMDo4jDfsp9loSjDz8EA3LVzW1jbx+/2SFbBv73auTc0yNjJCrVZlZOcEl268gyM6+vEIHaEwt87fJL+RodfQCPgMTEPH6/dhmxWW1psk2310J8QiQWi3K/T1Jmg2G8zlNVZyDTJph588EuSzPxNhbEeS4maZ2ZQLAgBctLj/0Xu5de6iBKkbriHrlCsLYsjZR71VJugPUCvXscwGncMj5DMbGJqO03Iw/Drp5QyRtjgejyL/DeKZ393Xh02T9ZspJnf4+PkvbnJ9XeWX3t/LD17bIiQu3JZJPB7iRxcy3HzzD4lPvA93+QxmsF9Wqo1yATV5L7XCTazKPKHOPTilOUxfD95AF06zjK3ZeD0JrMJtHEfFMJLo4TDNYhpr8zRqcByj7x6a+WvYuesEQl20ggnUzn2Qvo7etpfq5X+BjhF8nXdTv/WP6B1HMUID0khgFW7iEMGNdeKx8ti5Jake94QHsUQLXvDe3Cpq+z4Uq4W9NYOnQzBeLqC3H0ARy838FI64KEdGaSx8D9UTwOvpkYlvX3Q/NGcgNIilBlFrmzhKGK/uSqad4J2YjXXZqXcNFVW3sEpZnFAnutZNffGbeDsfRA/osi6u+MfQ8nO0HLEAt6XFTuu+i5a5AelpCcN2g92StyYT1NV3z5Z6eAS9bQRT6OFbjXfNCJqGEu0W0kiUzHnUyE4Up0GzWUQLD+HxBamVrmDUbazwJLrmx6nfQdW88hnjimpmbRVHqO4REEZNVjXEGblVXUBT/bSq66iKg+7pxRHZ8uIc3sSABPd7w/diOmkoXJbcPTeUpFnN4rE8kjegFE//kauJLoLu4NaEG76ON5R81wrQsHE9AvqTwTYsdGHfrldRAyH00DCK8LxaRSxB6BckyegYWApKMIlHV6nnruIxi7ihXRiaSqMpfLYOamUdR1BOO+/GXfsRlvimg4N49G7Myk2M6m1MTwd+LYjTfQgnfRoKC9D1AHbLwS5NEe6apFozZXTbbm7hi3bhtAK0LNFTO4u38xh6pAvbaWDk5miILkhiDCM8IomlwmiAoP/Hd6GXp7HVOFgp6rllQp0P0YroKNl58LVJhV8rewXiR1AKV1GE/qXrfvT6ClZ8D0buLUw7imJW5XRNi03gCmLl/KsySu/Gt2H4otgVETfz4bp1FMVAC3TQSL2BHhiQ21cdn9wqOV5V0suN3ruwNq5ie+P4/APYpWk56THElt/vwzD80PKBuoEtNn3NFD5/O4qRoJW/geILonv75JtaacyitokagoFjplBo4XU1HCNGS8TUxADDo0jXp1d1aYpftP+fpfeOk+ys73Sfc6rqVA5dqatznp7uyUEzmhmNckIJJEQGAwaMbVibvV6vje17sS9gY3t9vg2RSgAAIABJREFU12uMI7A2QSZKgAAJpVEaTezJPZ2mp3OunE/VCdfvq/1/Zj5SV/U57/v7fb/PU1wlfPuH+N0n7uLURZ0D+2KcOrVJb4+fnu5u/vFHF3hgX4i/+fIneP75M+zbu583XnuNnv5hopGQfPivbK0wd2Oejs6U3MwJMJTo64RDPrIFnZtL0+weGWH8xgx//80z7N2zDbVaJhzzkCnoTC2ssHukn/0jKb7x3Td5xz27edeDu3jmJyf4xMc/wNLCsuz6b2XyDA8NoDfehjRhWrSLGGelJI0Avf2D0irwystv0t3bgVdzctvxOzl56iwdHe0cuvUIYxfHaI0mOHTkENeuXUdzaaTa25iYmGTH6HY2t7bkS7G3q5/OjhQ/+MH35XT84MFDnDl3lu72LnKFNJW6zs7RUeZmpxmfHOPCpXUqzQDF0hYjQx1cvLogZhs4rAapzkFu3rxBMhbj6JERJhaWmRhfY/uAUDE1pKruP378DQprSyyNLzK7OkdrZ5y1hTXZsRLaHuHzve/hR8lubvDa6ycY3jYiY5rC3BwW8K21FakVDId95DMlctkMtx7ez8mT5/jMn32LoQ4vHkFkb7oJejXcTpOfvr7E1//8fdxz9zF++uwJ9u0dYXltlYDHRzSRZHZ2juFtg3jcTra20qhOJxfHLvCRj32MN0+8RtOscfyhhxjZ9WEeu2s3y1urbOWq9PXGGbu2zFB7lM998iiTE1nuvPMYz/3852zftYfr1y5JWvGnP/tZrk9NShL12toGbo+H1vZOitkyIwPtNKnxwc99h/0jCfbv7ZVkXa/bxCzb/K9fzfGnn7mdL3z1f1E//0M59RQTe1WkOtQwlmMZn+Jk6tWn2fnRP5ORrpauT9HXpnHPLYNcnluWlsCB3lZeOjvDxx8Z5EMffpzzp6YoVaq097SSjEXFo4z5pWWmb07JwUrIGyQQCUuV0dlzZ3nvu5+Ul9T1zSz33XeUL/z1v/L9n07zxT98lBefP89WaZP7jh7mq995i1//4B381be+SvmNf0fxhiEk6j5gZqbAk8KpJigKUEw0gS9xTFaFlNICioD9ePrAH8NlOuXL0hSxWaeCXVqhYZgozpBUSdEoYIjntrOBo/p2P83MTEtAF4k9WIWb6LkJvNG9ElojDiFuOygS/KiDh3nxa5/joT94mfcfTiLkQuLg1pNq4VdvrbFr0Obp7/0e9SsL6LkKitcmv5gnsq2TyuwUjlAr7tGDNKbO07RNIUnB77dEjQ4zEsfvtFgfe4PQ/gdQ9BzFySv4W/tRfRZK0aQZDso6jCGGi7EodjAl60MiNrg8dYNtT76f6tXTfPSPXuKkWPXaNX7nvjbmi05eGVthJWvx3F/ezx3vu4fNb/0YupPQ1PBEPNS3NqlurBD0hbESgxhWEXV5BjvUjjMRoDw/Re8j9/Hy9y/x3r89y8N7wixv5uiNBqQF52fXa0x86x56Hn2M0qVLHH3316WC6N4Rl9wETi+bjHborJVszsyWufTFuwkdOkhueppg0CYzt4InHJEXr1LVIHnbHdTOnaA+OY16+F68RhEt0IqpajTTV9F8fZh+BXN9BW/fbuqL1zFKm4SOvZfa1K8wqhpqwItmOclMThHdexiXZrE1vUTfk3fwj5//Gn/wTJovfHAnF69PkWgJMblaZ6Pm5N8+GSWS8FEqlqiaKslggNden+GJx3fy1qUZ/vabNfytCnvaNGItTZ57y+aOPQqf/fQoc9MZtlZqDO7qpFSw8AScbC6sEE2FmZ9fxzCaxII+qkaDnbt3U68WOHthibi3juWI0NYboTPWRKB8fvxymd9/vkLYVNg95GUgUmO9IRzyATLFLM6mTry1nYX5HAE3tA0l2VzN4VQ11uY2cXpVaoqDQFeM0WM7UFxuyRVYW9kk1ZEiGgxSLFWoFouSUi4SYUPDO8ln1hjYNszZ82Oy4tWWapXwsnAwSqlYwLJVNlfXZYw32BJgfXWVbcPbWV5YQW/qOFwa/X1dXDx/kdvvuYtKJsfpN05z6LE7uPrLN/DnGwRjAYo1AS4MYFdt5iydmzNlvvs7x3niNw6y9u3naXoiNLQafi2ENyGI/3ECEQfr01NoLi9WqYQ/5kVr38nWzatSN1ZdWmHXZ19gT4ebY0kff31pjS/e289vfenDLP7kRTxdUTzdw+Rf+jnu1k58/TsxHD5Yv0S92kCJRNHCLbC8SXllAu+u45grV7HyVWLv+gS1i2fRLPEM8UkiP5FunJUqRnmDxuoCnuSQjLN6Ux2Uazr+1k4MsSDJFQh09kp+jC70f/l1XIRp6ALupeKMdqPPj9MoF0juu5/1c8/jGz2CiwaNlSXUeBxLV6mvXCNy/HGM6YvoPj/hwWHMWRGhLUuFp8fnRdl5GENYf/ILILTK7dtwBT0YWxnp4rYzc7j23gbhJMb0WWma8VsK3nvejz75CtWLZ3DHYvj33kHVqEtKubkyhTc+ilnOYQeclNIrRNwx2Yeu5ddozE/T+sk/QS/kaK5cwVlTKc1fI3rHO1DWVijk02jRHjSPl4YYroTDEqDo2JqThPrgjj2wtQAOheLCMg69SGjkKKpXAK7LwjxKS8zHRsFk+0efpiMZ5vCOFlYKecYuZziwb4BaNU95qYzDYzL82HGmbq7QmWzl5BunOXrnYW45dJAXn3uBXLlOZyopz5tb6xl8ftFNz0lukCDYByMhyQM48coJwpEYfb09bGbWaVR1CRQ2rSb3330/YxfPE2qJ8MaJN/n0b36KYrHAs794jr6ebgxTQMnLcpjQEolydWKcQ7ccplapyOXPbXcfZ2Nti2pFmKLEAKBK/1A/Y+cvyvrpkaNHeP2tU3S3tVMt56R+UUDV4i0tXL42QXdbG2ubm5JBtWvvTlRL4eKFy+hWU/7OLswtce/Dd3Pt4rg0DDz6scfxegL8/Js/xOfwUllIo2drJGJOGc8f3h5HrzWYXNxEbzrxqwqBsAtn3cFA1GTVMJjPaVxZrGGVDb78sTZ+731JnBjoppvxU7M0nB5ZS3ALKrul09HaSaFRJBqJsL66hsfjkPWjWGcrTd2UusBYWyetPTEy6zmy62lcqodcThgoQuw+tIOF6SWaJZtYLECoHd4aS/P+f8pxKKKwVS9zYFTUMExZUz5/Pc2j98b552/9PcVzr8HQLXiyWQr5K2jJo9RzM3hEB8gO0DA20VSwxQAgdx2H0NUFBjEtUS3KYG9dwxEcxVx5EW/vEVF+xnQkcInLZX4F2+1Gc4pYfE7aPpwibahvSiCf5lJprJzFjG5DU1uwXC6stYtYYsgg7pkukcLuxCxvYVTXcYQFbF7cQ1oxNk7j8KdQ3Q4aq6dRQ4Ip4IXYdpqLL2DrZbT2gzj1EuV6GZcngFNs5IsZdHOVUPQYjfw4lujQezpALEMj7bjqNRpb13HEBsBwIk7GLsXEqq5jRvtQmnU0RZFwQlGBdBamUBwhGrVVeSdzJvdKlot4x2IsYrk6cQvYnlVFz83jioi4vfp/uAFHUMlT25jF53NR19rw1JYxRaXB4cfh0LAam1jCkqeEJa+gOvcyobZjmN4IyuKPsOJ7UesulEQfFqKiviEV9w6RDnd5aDTyOGwRPzDl4lpUzjXTouEXHLtFHM06ik/Fpfgxy7OYni6UzsNYK7/EzOVwth2SQwXTrqBkz/9/tqDLiw/KpcblZdrhsKnmN3A0l3DGd4CogNSFekpQ503MlSs4Om/F0ERftCE3p0a5hMPrxvK3oZYW5ENfDcdl9MsMDuLUHCi5KXnhVAQVo7QkSfpK63E8LQMY2VMYmQ1cqaOYSgbFjKJ4XBiZGen+dPQcRK3r2PVlDKuOx9srgQ3N3AVczjD1wnU04VMUYAR9HXdLO3Z2VX5wigDrucMQaMUqb8k4iiJ6KfF2msV1TLOKKyh+6Hl0fQ53eAirsYqj7sLyxVAiHZizr+BIHsQwVlFENy8yIDsuTncXemVJdvJckUHU4jpNl+i4xHGW5qhRwhPYJidttlAxeEQCwY9VElNqHae3X0K8hJYLnxfb0YpSnJeRXPwJcAZxKU10JYyDgtygCE6DOLyKQ3+9vCRBhUF/kppeRdHiOGUdQACIPNQKV6CWl3ofpdnEERlADXdiljZkFMfWNLlRFA8lpxhg1DLYojvjjhAZHaWhG3R0vVvSSFvb3YQ8CsVCnUQqwS9eWWLmpS+T3ZpjYUNE/CfYWt3ivkcf5frEOD3tXdTrNdbTG/R0dXL1+hVCwagEZwhw3JXL45Io+5Wv/CF/8uW/5o3TOSJhF10psf3N0RL00BJJMXbhCp3dSYKBqCRlf/Jjj/Kzn75Mf/cQy6trpLPrKJZCNN7C4vIyD97/IKm2FN/5t39nZHSUO++6i3/4+38gmYoSCsUY6O/hl8+/wG1HD3N57AJDO/bw4CPvZGFpSW7w3apCW2cH+UKRjY0Vjhw+zFYmw9Zmnp6ebtmjEdtdRSQ1FJVoJEajqeMLiAPhuhx0HT16hFOvv8HiwjSnxtfYWi+SKTdIxjS6OlJsbORBcdLS4mV5rYTPrVIopKX6JhwRF4sy/Z3tfOOZq3z8id187d/+khe/9SMSbe043QpFQTWWZg2dycmptxWHtsHOkWEJwzl75qT8HN/zxJO8euIleYkbGhzg7KkztAqIjsvJpUuX+S9/+St297q5/fAI80uiLyQ0OW5+/uos3/nab3H7I/dy8rnXKeXz9AwMvG2ZME1ymS0JBapUKxjNBnfefg8vv/4ijz3yTqbm5ihurLD/+O303/IhPvbgKPmCzYQYGvR3spKuUq2U+bUn9pPLbnLnXQ9QFC+rcoWJySnuvetu6oKEm0lTKlRwaQ7cmqguXOa2u49QLZZwuy02svD5P/8Z4ZhfAut2b+siElC4PFdmfDZLafnfUOOjNK4+A80ESqxPwt2srQuoiT4Cg3dDSysP7j7I2UmdR/Z3sOfoAC+emiC9UZT/zofv6+NjT9zG+es36e9olVsNv6hIBcL88KfP8Mi9DxOM+qhXdEy7KQnfTreLEy++xHve827OnDtHZ0+X7P99/amTeLwae3ck8EVCnH5rAU3V+dm5LWbf+iKpA7dTunAKpyeB5tLJrs8QSvSiO0K4xeUdLw6XgeKI01z4CZY7hjtxECWcwlg/j1HeQhGdsEBUVocs04HTLqGnp8AXwxUIYNKCU8/R2BrDNfAESmWTZnkBb7SPWlNM36+hxbdLOJherJMvreKLdxI/cA93dB6RHeCBrgDL6SaHb+0lM7HM9azNc185Smrfbcw99WMijjLG6HGa06doVKrE7nocQzBGNrNkXvkZrq4UgXvfg7pRwCqXMTUFpbSM6o9QqTXxVNKghPD0D1G4MYUdcBDu3kvuracJ9h6kYRcxFm/iHj6APzHI5oU3MTcX6fp//jtP/+Ff8N6v3eSPHxmlvrVBtLcd0yrzoxMrmEaTC29+Hm2zysrVs3ijSdRcmXI1R/jOx9FnzkgHt1mp4tazsn/e2tVDfTNPaJvG6nyBu790AW/A4q7Bbtr9CtcXCvx8PMPiyY9BpsbOh5/GjlrcN5KkslHAGXDT+M+EwHC0gws3V7k71eD/+pMn0bObVCpO8IUIRUKUV25KnaM3kqBaFNwSRW5UzWKRyuQZFJ8Hz7470WenMJ2qdGF7h++iMf4KnlgbmZkp1IADr+gvJqLYC0sUZ6/jTvbiSbRi+jVwO4iO7OLzn/0r/ub5Fd67PypBtQL8WrJgZrHC2b/rwR2Jcf7Vq7R1d2JpLjKbZVqcdalI/fr3lhjaH5Zwzc21OhsFncmrZb70+6O0doRIL+bRVV1uMup6nWtX5th3cAjVVKml89Rc4Ha7yJfK9A52YOWyjE82OPKOJK29CX75nev82r/ksfwBOlwmfk8DT8iFWVXoaPMjzkPnJ9Zoi/oJeyMU1IKkfCv5Bt1dcW6spwn6ojSDDjr29JPo7mR+fp7KWomW1rCMHx85fFDW34TOtbOtjxtTUxLM197WzmZ6XVaonC6XqPCjOTQWFhfoauuSzvr5+QUGBwclQO1Xv3yePft3y/qASB3UxTZPdVLM5TBNQSVvkIiGCftC7Dm6kxPffw7mMjgjfkLhgHy3WA4fqni2TRW49j8/wMh7djP1L08TjSfQIkIhVqG+uoGnfRB9bRozp6PF/Cgi6prfwBDqSr+K1teKuZLh3f/tOaazFT5yIMbXz5T44ed2cPxDd5N+/hTBwR6K6Tz+1j42L75JYGQnSqkEAQVn3QeCk2A7cW4uQmUddc/dOPxRis8/RSAeo+7xUq/U8G9uYPX2yxoaWRHtVnC0j9AYexFtZBdOEZ+tZqkLPkkgju2LYpx/Hkc8gK/9MLX6IqrhQvWH8CTaqN28KBk0bGyi9Yzi7O5Df+mH+B/8COX5m5iVJZy2grW5jndglBo23t5dFN96GVezjGv/rZSvncLK5Yje90GspUnU1gHqIk05dkbG7D3JNujsp7myIC8wHkVF6xikOHkBt7DkJDpwr2xSvnERDh0msDAtax6OkUMoxQzNuQmc8RSGqIYWV/EfeQeWSN9Fo5ivPiutB56WKM5IF7qRo74wi9cfwOzcTmPyMqHBfpqCNyVeWsIuIBK3IiG6timrpu6OdqxqEauu01R07KaBo6pT3szRMTiKeyjMJ37zKX46VeCxuwaJe7xcXFgjn62QioXZzJdprFalCeHgbz1OZXqehUyWkD8kB1W5bI56oc7RO45x9txpAgIsqNt0tHeyvrHK3Pw8yVSKcqmCZTYk3FiAhEU8/tajR7hy9hIur1sC+kSdQBU6XcMkHAiSLxXo6OpkYX6JSDgsAdulUlmys0RFUGhpB7YNcersWfp7enE4VS5eusKB/fvlBX105w5CPjevvfomqlNj+8gwVy5dY/e+PbSEA1y+eBWHy+Lu++7ljZNnMPUmsXiCmakbeINuUvEEiuagNRFnaWlJVmg9TifFQomNjTQel5dkW1RCnE1Voaevk/xqgZnLk3grTfaMtkmQaCTqoXuwk9fGFuXnkAh4MQwNzauzspihLR4j7VS4fClH+D8/yz/9jSE+8Y5WvHqexZtbWO742xrD7gjPPXOFjq63qxBet5NipYCmetCiXqKRMEszS2yub9DW3kWjWcMjEm31Bh0d3ZiUJTshvVki6NMQ+IiYGHYc7WTvZyaJ+zTu2eHi1csFUFwcPtTD5OVV3prKsZ7/JY7li8xdu0L7vl+jsnQaozqHP7lD8ijKIswejIDYgIsyb2xY1n+N4hpuW5c6TTWyH1MsB1dOoXXfiSEggCu/pGq24eneh9LIYGQuSyWeSwlgKjpur0jNFCTM1XIksIrXZURepADEXVUMGp04MXPL4FFwuwPUsjdRiqs03VG07qPYG+NyqKDGDtGsLuEMtUqNXUNRBFcPzcrTzC/hTx2kWlvH6Y3SqBfQajq2z8J2t2KIxIPQAbpCqJV5DGF6yc9iVQpCZ4NP/BkBwBOGO8UP69cwVdEI6MA2BeXFBGMLW9STglEsX8vbnCRR8HX5UXM3UXxBLAFMzK3i8jkwvEmszCxquAdHbh5DmOISI/K80Sgs4BPWgWA7hoAq62kJ61NtFVsMAwXbwhLvGnEv1MGsiYcBzfxVPG6hxRR3uT6M/DXs8Ahuh4FRuIHi75FpBqG4teurmPUG7sQOaZNz2GHM9XPih4/TE6CyfglvZDeOxHaMxgqWKSoZBREvRMm89f/arpbt2LUtrPRlcAcQWHiHUA40BdVUINT+zw/FO4rD58dMX8EpovXeDiqrp3D5gjj8/Tg1Nw7ToLx5BdXlxxHbDuEY9tYSqpHFclZRjSgNp4o32Edz4xqW+LCc4sthUc+dw9Fym4RIqNV5FHc7+top3L3vkvAPZf0cSnQAR6iXyvppXOILVcxKYqXL1YNprOH2BqgZIZTmJg7NgSqojZUtHOERVKNCbebHKC2DuETcRETgF35FwzDwtt8m/dOCpu5wxcEp4vQ1qAuSZit6YRLbLKNFdmI2MnKaI5SAdmkZK7ALt3UDUw2CmKRtXJDxFrHlF6pCRdQMFBWHy0QRoD2tE7UkOoUZ3N4UzUAYu1mTMBOv6sFqprFF/UHoLURaYesq7sgedDWAEkriMory4WsJjYV4ObrjNBqrUgNIaQ6jPI8S6sbrD6Nr7TKS1Gis4BAoeEuHyG4sMy0nX06XGDKAs5GTtQWnO4gijABOJ47eQf7oU/+Vf/rhDQ4dDHJoaDuZcpErE1k0v8nBbTF+/UPv4MUXL0ulxchoN0ZdYX1zkbxQoPX1Mzdzg3A0yu69+3j1xGvEknFJ1PT7fGxupImHA/QNDvKZP/hn3vn4cXIb69ycW8F2hsgVMqRSbVQLBolWU1JIN+c3eNej+2jvTLE0vyr1UuvpVQlbExuAxcUVlldX2Ll9G+trG0SiMaYnJkl1dbBrdBsOp5vTZ06zZ9ce3jh1kqP795Ou1BjoGWAtnaG/qxOvzyNBf/5QiKHBYRTbYGZ+np7uDrrae3jr3Bm8mkZfby/rmxsEAkHq9brkC2yurWOZJoFIiNdPvEoq6eL5t9aZnppnoDtFuVmUk1hB3NXLTSJRN06PSlN34lRsGaV789Q1UqkIO7f3cGpsktU1nd//7L38zmc+yjM/eoFoMiR1Kr5YkJsTUxy95QhXJ8dJr63R2tXJ1sYGtx0/zvraOpubm9yy/yCvvXqCw0ePkk6nuXT5Kh/52Ec5e/okj3/if/LpDx1CL9UZu7YkgT1iWDcxX+bj79rHu5+8n6ahsSy23F2dBDxBFldEDUgnEo1gNEw2tlYZGBhkXbiD3R4217e49dgu4q1ddB36CPftSDC1WuOW0QEKpS0WV6voNYM//d0H2Mytk0x2c+nCZQkjamvvoFIucPnSNakGS6VacarQ0hKVgwbx9wzFkJG6naP9fPepE/zL02eJx3zccaCf8RuLbBtp5cSJaRSCTK7/HGt9kZvjV+loDcmHd80exWlcJdB3hC987uP8zdcn+PgH9uEw8lwZL1HTTbLlBnG/g1d++kVW1nK8/Mrr8kWtmgrTM4vsHOmnu38bb546yZ133MGZk28RioV58sn38LWv/iODQz20p7qlEuzRRx/ilyde5tmfnGVgqF0eJtp72tlcW+PMZI7b9gb5zkvPUZ++jpFeolFZxdm2E1O3pFtXC6SobbyKOzKIIlNDQutSwx0/jmXVaJiriDaTiKmqhojtJzEjMdDroIUkm0Xqb7wd1FZexJVZR3MbWN5urMYCSnSXdOEKQqxqGhjVKqYA8VCkVtwi8Z/1nIo3Tm/Xp7l9t59oNMDViQKDA2FWluq0RSy+/63fomL3UL55juraPL37H2fxzFO4GlWCxx6m8PrP8e1/ALfXpjk3J1NfTpeBfu0UdmpQPou9oQjFlVl82w/g6Bqk8cYLGPlFHK1tkm9iLM6BO4wjEZRKHU9bB/WpaXyjO2ksz8H+o8T+85L4px/+Hzw7X+eBPXFOj20w1KVRagQ4Mb3Bh/cG+MrXP03p4jRmBZquBva1MRyH75eEdKucxayDN+jBGW2VRH0jnyY83IGzUaLnnb/gPfekKNRrXFsqsL8jwFZeWFrAVXdypVLhydu7efn0rPQ5122L9rCbdLbMcs7B+InPoS9cY+vSGlrAJHjsMfTcFu7cuiRzK25xgAqglvOyYtasF3G097yt4q2W8QwJV3IGI72F3tlFoG5RLKbRUu041pYx1m5Sd7qJDN+OFQtjbU5QLdp47KZUKsaefID/9olv8v2xTY6N+tBrbhSrTNXyMbta4uLXBtgqiMrGOrmah1QyRCTmZW51g517Rvnp985w4kKFloiHloCbQMzgxg2L33x/B+Gwi0LRolLScbkV6Wmv5UXlys/KapbOgXaq+TxGo0l+rY7tUth7oA3ba+KrNHj4TxZ5a93NroQutWnuoA+z3MTWRN3OZnOrSkdXDFNscl0qXq2OyCWqip+FhbQg/FALe+g90EvHcB8Oj8KbPz1Bd2cvS2vr7BoV1PwQa0trTFyffTvh1ZOko60dG4vlxSWSqVYujV3hwIH99PZ3ce70mNx0isTW+tom4VBYaryunL/MLUcOUaiUuDk5w7bhASLRuLxIiQrQ0LZhlhYWSacz2HoDZySIr1BEWcoxt1mkd7iVerogcKoMDHXw7eeW+elv7+WhP34nxZNb5LIzaL4WAh6ora1jaCqK24WdLuBORFFiSdymRvHmdeLDI1T1EsF4gAc/8G2aSo1PPL6Hv/r+NZ7/73fTft9uJv/3i0S6xQDFwNCiRLo6aa7PohgWdiBFbn6C6J5D8sxjbOZxRcOY+S20nm0YlTzlmzOSk+FsS1JenELTPNihNmmDUVM9ko9Uvz6OJ9KJ2sxRq2aoL2+itQVxt2/HTGexlq+jDR+kWsrj1i2UaIBmqBtl5Yo8d4qho+Hxyj6tOjWO4dNwuETM2UGgtRNdr+DqGKB44mn52YkLptmSxNt/AKtWoDFxQUITG05Q6yVcbf04XX70zBbubXtl39kn7ASTV6hU1/Ak+rEyWcx4K9aiSPw50YYPywF/ZXEFzTZoFkpo+/eiv/4yds92QsP9Qk9EceYG2FVC7b3UihvU5+bxD++mqTewUnECwSi1l56VTA6nx4VebtCwDaKD+2iuXae0MIu7PYn/4O2kv/0t3APbsQf7SbSPUChswNhJ/P9pH3G0dqP1+vnGHzzF7z19kyfu6efCxVV8wSYoHjSvm46uJDOXF2gJ+em86yA//8ULHDt6kORQF418Q+p0I9EQlUKRWqNBa7yNTHqLzp4OcrkcmqYRi4q6qSHrjJlCRpovUqkkltXgysUJcrk8e/bt5sLFKyQTSbANPB4vqbZW5hZucuuthzl//irBkJ9g2Cfhd0LJN3bqAg89eD9Xx8elNUhozl0ujc2NDckYKOdKTExOSk1wb3+3tGgcOLCPfCHP2bN43horAAAgAElEQVTnOXLsMKVilfbuNkr5DL5giMvnxjh89AgLM3P4g0FW1zfwBwPs3T3CzOwiE9euShNTQOiuxXdEr9DZ1cnc4gp9A0PScrS1tMTug3uYGBtnbfwm9Y06Ca9TKkIRVHmXyc6eNrLZOnXLwcLKBv2pAPt7Wzi/sM6lTciuu0j5yvzlZzr54P19lHSbsV/doH9nikJ6nWqpLJkToWQLeqVOIV0kEHbIO0BLpIWN9XW5tAl6vEQSMfRGgasX1hgcaqUlEWVybIrRvYP4IyFOjU3zrg/t4kt/O89fPlvk994RYuxGDWomllelLaHx/Ve2uHn5myR6AmyNvUY4uYNiZgmXXpLK8obglcWGUfQ8+tJrKMFWHAISjEOET2gqHszSGg7Ng4UO1UWUtodxWFVs4bMvbKEHOghpXgx3SILOXR4vTUNFtQQwvIIzPIClKdhLv6Dp0PB23oNZLtKsv31h13wh9HJJdunFcNFefAM72IHq9mHrBRoCDB5M0Ijtx1p/BUfTpGEWcXe+A4yqTCwaXgH+E/VBB3bmDErHvSiqiSs/Rd3ZIVM6rqobfeOXeDofxPIEUMorNMyGBKiK2oRdnsUbPyrNdYK8g3sEtDIUlrDcHajNDRqiyBPsxsichtAwzWAPruy0jObj7ECtCsvZBnawT27hJXhw8zIuTwrTlwQxaKjdwCFMTYKnUF7B0osoDRVDqaC42/C6bWzTTdXK4RFpekcXDn9Yqt3VravgS2GIilLmAqGBx2iYFmbhJh6thaYhlsoi2ZSVSQeHLWL9UanEVus33x5ghkQqPyMhjFY9J1P6MoEfSGA6NJTCa79vm4Ic6GmjWVhCDSQh0oNT9BfMrPSzen0dGNUrclLpVKJYDuG8n5LbacUTlp0Id7wfI7NIfWscb8c+DNONmr2K5QujZBewnC04tz2KvfA69dI4rtRdqCLWWJzFEqT8lh24ogM0ckvyASw29C6vA71ew21bmLUl6vUlHPEHcSomdm0Fyx/HGepEKadlrEQvz2OmJ/B5YrLbVlfbcChNLJeGUiki3hiW2JB73oZ+GNmLaK1HUMSHXa5IoKH0VgqQliMge7jCEGCYRZxaAsXpxXIIndAUHi1E09dGbfkk4ZYBdC2As1YBMREyvRJ+IXsc5U2pkCEwgFKrYmvgLM9hFJZR2u7DbKxh6es4CKCKL2d1CxQfSjAmnd80i/IXlsAoVuUiRrmKt/suqhtX8FClKSoMvhZqV7+DK7ZD8hhEj8wVSooEHEZtDU+oB6Oag0A7SrNMfel13KlDOOwiiq+TelFH8auo4r/LtuT0K9HbRb26wH2Pf4WtSpPuSJyebgG+qHPy8hY+p4v/+qHjnLl0hvb27ezdO4SqGJTK4uhm0LDqqLaLbC7DQE8PK2sbEhRj2YbUyJw7IyZULtqTES5NLPPtn44x0BkhGnXhc/qZnVmntSslp2j5XJGunhBnzi9Tqdb5iz98l9Qv5bJ5uYXed2AXFy9dkxAbMXkWLIS+ng4uX7oi9XxOwbIQDwtb6FhcJBNRyrWK3Nr6Q370elPS2TOFMqFggKJgSDQNEvHWt2ExkSCXLlyU0/KBoQEmJydpNKvEW2IyVhqNRdjY3CTV2o5DU1hbWSYUiJEWsffNBZ76yTXpCd61s41oS4LvPfUqvcNREi0x0psZuvtaGZ9YoLM9LuF6qkOTOr++rjC6opDZyHFxIsvXvvIRHnviCSavXOTGzDzRZCtdqTbJOOjo7KCzs0tOYK9duUKkJYwTFzenJ+TU2+8L0NvbRalcJpfJ0z3UhzDGP/7rf0Fve5jCVlV2wR995BbWlzb4p59N8nvvG+aPv/gnnHrtnOzSiUuhVW/i8vpZnJuWG4N4PMnq6hJ1vcneXXu4fPmKeEgQa3HT0z9K54FPc3REbJZsQcCQU2FhjiiVXfzOR29hfnae7oF++QISwB8JLHGqXLlymUNHD8rKz8svv0pP3yDxeIRiviy3BG6XzbahbhwuD2+dv8T/+MYZnnhggPGrG7S2x3FS4eVz69y/v4V/+9FXqF66SC3cJS0CjWKdwNGHGXvqGzz26/9IXypGokNB0w2Ktot8vkhHzMeXv/AJLp4+g2kF6OwWoK8pWhO9rK5usX1kkGhLkJdeeom777+fb33zu7hcKk+8970895OfsWfPbrbv2cnc1BSBsMlf/9MvmJgucPuBIRKtbp7+1Ti3HxzgBy/NM/nmP5Ia7GDupR8QH9qFYpdpOFvxBTSqi5dkvcJuulC9SQx9VeptTG8KX1J01N3krv4HwdgQtB2Th1JBf7fF88QpNKSqdNhWZ3+M1vE4VrgVv1ejUbZQmnPYkV00iwuYa1dRnV6UoHAUCzaKmIg7UGolwscP8cu/+xfe+bkf8b6jojtsEQ2HpP7pn15Z5DePxPnbz99JenaTgEej2X2A/Mp1EgPbyN8cx9gs4/FoVDbmCR55CAGdrays409EKGdWCA4exRBqLwEIzG1gBXyYpopq29i2CyXowcxvoHYMYs5OS56D3dpNc2uOhunC091GsKWdxR98j/5330N6YZp3/Jc3GeoJ0Z7y4lQ86JQ5s25xfbzA2vcfxeNpUJzIowxsh2YNZ9hDcyONq5mn5hPvpQoaOtWyTizZhWNHP7bX4sBtf8m2Dg1NRD510Z20aW9L8auLq+hOk+G2GN1ui61Gg7JlE3WYdCba+d6rN+mPe3jl5OepnniDujuJU1Dd9U3KAcF7CeF1u2iIS77wmacrskdrBsNE2rdRmjlJfW4ZV8iPOrAdpVCWm0gB3C2VqmgOAy0uthI5lEQcAn7UdBErl6aSXye8az/G6gzxY/v51If+nZc2FD712A4uXZvBHwkwv1miqTt48+uHuDG+RaGRYdfBW5g+e5nzp2/ywEO70I0ymWyNv/tBiZjfZqjfwdqG6MzrPHIsyP4jPeS2CszNbHDk8BCriwWCIY3VfInORAKHOOw0FdbXClR1m7se6KJhNHn2mRU+9R9FXK4moxEhOFDJbFbo6Q5LaKlLM1laaNJQIBZxEg17pR5QrZRR7IiMMCd3dZPaP4wuvvuGwcy1SfYf2C/fMRsbS3j9LWwsLvKuJx7iX7/xFKM7dtLf3SlVqatrG+zeIxglN+Vg9PLli5x44WUO3LJP1rAUQRrXhWbQKbf1gup0/uwY73j4fpYWF6iJfvJWRm4rE6kU6+ubtLe14fZqsvZWWd1iIV+hU7A81rMUayp5Pc/23gSNok5LW5xvvzbH6T+6lUMPHWDq6dMM3bGHWsGkJs4GvgSKw4WjkpUAQkOAp+pFgh19FKcmcMQ7ZNVGzRQY/MBTdERNHtub5F/PZfnuR3Zw6/v3kV94G6bpyKdxpmIUN1bREr0oio0+ewp3VUW79S4al07QqBWxW0fl5luzweroklvzQHc/1bFz2J19eP1RStPnJAjR1yfUgQvCkYBd1amZRUIHHpV8KDufwVpepBpqwXI4CXd2Ub8xhWnouNq60a9fxHvgMFZwgHp2mkApLxkhpuZDrRXR9h2kPn5ZErYbahlXSx/UGzQFMdOXQNtYpZnqpDJ2mvjwdspGQ9jOsatF1HIRZ+cgua01wqkOHNk8ZbOJJ/E2yLh+dQy1rx+rWUITZG1BdK8UEc4OsQQx1jbRIhrEO+W52N68QbPexCqWcIQD8ve1cP0S0dsfpekNyVhx/fpF7JYUJNowFifRnA7c7R0Yrb2oYni9towZVOHCBeqan5b9RyhNj6GlSzRbW1CTrRRffJbEodswbBeRwW6un3qTg39yibZ2B9u9TrZqsHt4gHo9z6WZJYbaUqwt1yDlYPe7j1FPm7gchiTTi419JpOVRiBLROXHLhIKRyTBv69nAN1oSIr4yMgwY2cvYQi1ZyLJzMwsBw8e4MbsgrRaxFrC1BtiE75E72AfZs1ifm6WRtOUukxRtXSLnnuxQL5UkcalSDjA8tIqg9uGZO1Q/H29YbBzeJTO7nZOvPY6g/19bG6laWtrlfUZ0ZGvlEsYlsVAfz9j567gD3pwOV1cG5+QlQLRdxYpnGwpSylbJBwSIDiLUjlPW1s7jWaT0dFt3JxdZHJmmk9/6uOSifT0j56jt7uVQq5M91A3tYZOqrebuSvTNLbSckM/fmqBI0Nxov0tLC9ukfR7ySgmbrNBIW1TaBrs2xtkca7MerpJrqiTUXxsj1b5xRcG6OuPcvPyEplqkuH9PRLIXSoZ0gQ0cX2RIw/extXTl4hFA4SjYZluFu+QMy9dpXt7StoYytUGyZ4kmhPW57IUKhnCyW4G2y3Oji9y+/9tcnzEZFtKYyPtAG8DvW5y8qrOX3xyiN/5l++xNvYr1KZQkZqYdRtcibdZCuUiqrsdhwD7ifuZqNVZflxmGjV5jIaZxlnYBAEaD3fg8oapCVCdd1D29xui9yhqKSIJHT2OYqyi+kXNWMdlVmiK+6BIHDfF2aOOHezG2dDByNNUIuBxy+Gcongh2CJ5ci6zLJOVbtWgQQRXbQU9lMSuOXA2CzjMNezgiBwSmpU1bNtAE3Y5cYcrbKGFw1BX0DNvgLtT8pLwBlEr11FSt8mKiCHODGL7LngzYpErqqDNLIbTiRYYxjLWobpO09mKalso1jK2a7eseVTX3kDTTNTORzCrazINICDxVvYSirA+hPqx1AhK7jq2FpRVA/H/aFHG0jokA8Gh+7AEtFkY1gpb2JE2VH0es6BjOn24g/0Y6fMYTR1XbBuO2AiNxRdxtR3HLIkEQhPVEaJevIjD9kDLbpxOE6uw9rbO0BnHaqygisqn5sMK9GIZaRwblzGr4jkoQPkFFAH51x2o7hZUs4CSPfkFW8Ys6puy0+Vwt2FVtrCNFQxLEAZDuH0tNGoNuR1u6ls4bSc0NtGLSzhSR3D5khiLL1At5/GOPIG7tkmjvi4J/A5bdE27pGJEQC90LYojew2Ru5BOTgGRWpvB2ftOcGuoi8+jtPSixm/DqK3isA0Z2w1Et1MT9P3qsjQHuEQ3RNGwnJqMvYpuldubRPGmqIkvlaLjrG9hexKYzSr1tVNobi+u7geo13N4hTIvN4HpisoPzeOsUhXnXsVBPX8Tq5YnkOyh6epG1VzYzTR6JY2v9SjOeo6SreMuLeNwhzCdLlxuMYCYhcI4rs770ItZXJFebKOMbVZkl8NeegP8wyixFGp5CTsiiP41eckVSQtns4oqkJHuBLY+j6tlGKNcpulLoTmqmIUyZn0WrWVYknRFhNUW9YOmieny44nuwGiW5eTJ1i1Mq0ojPY2W7APLhaK1oNS3aBTncft75S+/rRaxxUE2NIhV3sRoWNiqTvTOO3nm737Oh3/3H/jQe/qZGi/j1QwO7hnm+z85xYfffZQ9OzolHFIAj7Y2a2gug2yhSD5bYHBYbOBXJMU/l8vi8boR/LFYMklDrzK3uMT999/J2bNXePPsNDm9id/pYENsH1Qfvf0ByoUGN9cKCGh5vDVAtaTQ3dfC4w/s5LlnX6Yj2UNPf6ck3p89e05WCz74wSd56cWXOX3mAk++7920p1JkNjJcGr+I0TBItneR3lyjVqnL7r8g6Ip0xkd+7SP4AwEZC22KfmZPF7mtLeaXFjh67DAzEzdwOt1UagUOHr6VnFAMFstya+FxqnKIIIwAgrgvtHBHbj3El7/4RUnAnV3RmZ4XTl8HHpebcqlEMJiQeiXRhgmHvawtZFE1hXRWZ8+uHhp6RYJ5mnWTcGuQS1eWuLrc5NILX6K3v5X0XJ6qYGooCudOnaZ/YJCWSExqEEU/qGOgjbA3THpjg3Njl3n0XY9x4sUXZV9sdNsAg9sHWVpe5dijX+T2Y22kghFW11bp741yy4FD/P6fP8UffPIOfu/P/oif/Pv36OpO0d7Zx5tvvEZrslUq+UScVmyABocGmZyaIhQIg8NkYy1LKOLBaCjc82t/xWc+cIBGLc+VKxvEUkkSMTe/fHWej7xrN5/79Yf5x69/h0O3HCIajfPSSy9yy+FDuB0uzl84i1sL8vCjD8nPVEz5Y9GYZCbEEjEmr09hOVq479gQ5y7M8FffPcVgjw8fDhp2g4GOQa7O3OC333OIj37ps1QzbRRmnpeTfueB+3h0/zso4WXnNtHhMinnK1y+maOrxcknP3gfFaOCVdEJRdowmk2K+TT5Yo7jt93O66++QaQlysiO7VJtdOjQEdZXVnj5tRMc2L+X/oFunnvmJX77Mx/i7//3j/nqt89x+64uvD6LkW3dnL04yfXpMrsHLb5/doza9ReoVoSOKoldSlMu5QlFozRFHUcXylMXTYIotRU54NICXVSNHC7xSyW6rsXL2KEjGB6hmJmFmo4aGsSFD1NcJAtvgK8TRevHLl6T35F6Sx8OZwJ3dY5G+pLAZqDFdmNrYVxaC0Z9A61UxnXn+/ndxx/nmV+M8+RdcZbmq4QDGu62EE+/vsjWT95HZS1HdqWJ0t2CO9BB4c3ncVfLqO1JQnvvxjW0h/Tz/4FPMTBdLtypbZhuk4aI1rZEpcO+mV0letvD6K+9QDkUxDVyC+avfoA61I/Tn5TMBU//APnTv8LbtxOadXLpLdxVi8jOdjaefQ3v6DZSD97Bqa/+kEe+epVtKTdeVaErGiLsbfCNS3netaeb7377N1h66yy+ShpnsgPd0GRtzZUIYFoioRbCqKvoU2+QLzbpf+whjGuXOfRHb+EMqtzXH8fhqHBtoUi0AWZbHJ9qkUlX0BwqPo+HUrFCW5tLUoG//dISK985hivUTt41gNassX72BD6XjnvX/RQ3bqDNX8Z767tpiEPH2WeJ3/1BjOImjckLuNoHcaiCbJ5H7d2JtbGIaVUwVQ+BUhX6OlFcYtNYI9C7h9LSWYzxSRJH7uHct/+Z/oFtOHeMEu1r4V2P/xPnSm7euddFrapxZXmLmhVBqWZ5+S86ydYE/NclVZztg3EuvDaDx+dkYHsnmh+eeWaGizeaJGMuOqN+xmbS7O5Q6R9o5fi9AyxcFTwFD7lGhVq9TCIUY+nmEv6WMPFgmMVsjVv3+5lZg/f98TRTRUh4VLoiJqPbWiTHYzFfIZM38IdU+fOPt/roDbpYWNep6k2ZDFAiLZSzW3TdsR1XskUmVwa6B5m6Mk6tIXqeIlppyaRBazLF3I05BocGcCqqvBCEoxHKxRKbm1kOHtjDzPQNOVDTXNCSjJPOZuRZR1VV0pkskbAfzeGW7zKRrBIEZrHJK9fK8oJSKVWJxuJysydUlPG2KCs3l+nv76Nn1xCXX3qDypUVSf42jQr7dg3w6pl5AgEnZ1eKXPj8EfZ94C6yp0WFcpF8Lk2MAFWHg9DxO6mur2GcfAFiYaI7b5WH+eLMJLGj9+GI+ciePsmtf3yKu/bGcOXzvLhQ55uPBbj37j3k4kdQcxuUCyv42pJY3qSk1VOu0lgcwxNpwxIKvpVZjIqNa3gUK7NK4dJbhHq70Kdmce67DX3hOn6ROhJVE9UtmUHNcpaWnUfJr05jXLuIv6sf3+EHaNbr1CZOyp8ZQZfUHtcz65j+AE5/HHv9Joa45QgvdawXnwbVuUncAyNYXbvgykkcA3tQcqvU8pto9QL4W8mvTRPp3I6zbx/lyZP4eofxLS9QRKgE82jt22ioHpx6ESu/KM+v9XoZT2oQu5KhUSjiaR8SmQXs6+eoiaTg4x+lXirKtKqnu5fi5A3cfg2HUJOtLqJ1DWMHRMR4Db+vBdpHKZx6Fk2oKztasTWhTd7AXlnEHY5SL24Rau3HrFepjF/GtW0AR0cH+tlzuEd20py6gH//vTgCEXSXgm3oNC6eJpgawVi6QjPhx9Haiyfs4MA930SNeBnZFuHM+Brt0TB9HX5ml3OSYRL1h5i7kSZxuIM9R27h5vVZTp0aY/euEbL5vOQ7HL71kGQlKaaJ5tbYvXcPr514VQ4ybWHHCfskw8IWVqR4C5l8gbhYbKxvEYx4KWWarK0u09XTRrEsoOANdu3cTTor7EMNCY8OhoIMbR+SXX6nLWj7ok6g4tRU4vEo4ZYQhWKZ115+ncNHDsvfKY/bIzfynW3tjE9NcOutt7K2vkYmm+Ho0du5cPYcyWQLi2tr3HH8NjK5nGTjlHIFlhaXSaTi7Nu3j+vjUyyuLEjORFtrm0zOmqZBoVjB43AQDLWQLxcIuf3M3Fzknvvu4GfP/ILRHdtwe93UbJuDR3dy6cwEV39yjt3tXgpVg5rDJBb2MjqQ5NzFNWrUCURixO0iK2WVY0NJsqUyP5+o0dAtfvvOCH/22wnCMYXsLLxxao1tt7SSXV8n6mmhUS9joUpWUKVQwhMO0qzpVLIVqcu+9fYjlLIFJsYnZBo0W7FxWzW83ggtISctwxGOfPS6HJQ8ciTAi9dqPHx8lI3VRZ45vcmxGPxk9iLlq2/SyK3gDfVSbxZwlm9CsI+GgO9U63jCARpWAEcwIfXsxuZ5XIE2bDFcJI/T2YbtUFB0A6sqlKYe7GgMl19sxNcx0z9Di99OUwujbJzCEd0vh5RW7jKNlmEcioazuklTESHEPixbIi5QqvMYqhdbRPQzl7C8KSyn6LE3UNxDOOuz1GdfIjj0PpqNRZn61bwJ6sWbkrEgbXJ6XS4qrLqwobXTbM7iFQu+aDuucplqOSvrA6oaRV9+Gc2RR2k/jurvk2lqo1HC2fMAzc0x+bM1I7swy4sowqbUIarmNWrFVTytuzDraclSs8oFqXe0/Q5UJQ56Abv5/9P0pmGSnXd99n2WOrWv3VW979ss3bOPRhpLo2VkWYtlWxgTIGCwDTEOBhIISa4XSEzeYLOYC0hMgo1jE4NtbGSD5EW7NBprNPs+093T09v0Xl3Vta/n1DnnvZ5H1/tNH3TNqFXV5zzP///73bdYzCZQXa/s6YtFuqdZp64G8YZS2JUtaV8Q6lhVieG0RD1hEHP+BXztk+BoWCLNrRsYsX5cow2tep3q1h1IHMcTacfJL0gbhjz7mXmU+jat4ACBUJSmYJTYLRRh8BOpQFvwlHrwlNewLAvDbeCKFH5hGseTkklSs7aD6guhmXVMq4CSv/A/XDXQhpW9hke83QNJ2LmN6x9Aae2gBrtp6XGoLMupkegyiE/TLW6gR3qwRQ/aslHqCyhWUD4kbaWOEu2mZYkO6g4WUfxl0alq4OnaQyu3JD8cJRTDqpUxBNGwuYmhR1Cj3ZQ35tDtNbzBAUyzhuKaKMkT6EoRpWmhhNqxyuuoShPVUnA8daCXZnEOPd6LW87g6DaGY2JZ4sUjnJBxaOZxW5a0GzheH1Y5Lyf6eqOOEu7ELG6jRztRjSCqWUG1m5imGHio2K0CjmngiUVoiY1RYACnuoKqpXDE1k04X0VsVvS68mKrv4jH107T1ysTI/XsMuzcweg9KB2Treo9/AKKo1t4QwM4rRqa1aS2cxs9tRdaPlS1TKueRlXCsldleYRRoIbW3JaKQ6NtP0bLoR4KogtFhBi66CEJ9HOsAq6ZkdALPdwhLzAtSgT0KLbikxM7zbGxquIhLPylBXEWIByJSZdtcDLJUPJTOOUCT75/iIbZolAyyQoiar7K3/zpv2L2VoZkZ1Dq8775zed537GjNExLDgWGxsZZX14kGIrJSfHRw0e5PfdepcGjGqyurtDZ2UZPbwf/9c9e5sQjw3REIviNAGeuz9AWi7CxnpMPwa2NLPG4F9Xjo1Ex+a3PvB/LtNnYyhELhbl45QqH9h+kUqpQqO6wky1LaN/9xw5y89ptTp1+l7b2mIzoYysUq3m6e/sQxaJqqYI/FmVq6hBt8TgXLl0iEo3IA6OIy29ubkp+grg4P/DA/VSrZbLbGar1OhMTu9E1jVde/jFjw2MkOpKgOFg1m0AkxI2rF7h3b5FvvniNetPDkckE6c06Tzy+n/mVLK+9PcMHT+7D0G3yZfEA9LC+miEu1HR2naW1PL0dEbraO9kp5phby7J0r8HFN/6csN/klR+9w94DB99TFBkG8wuLdHSk8Ht8+CMBrl29TbNW4dj9x2naVVbubZJKdNC0akxOjfP6G6f5lf/4DzzyQCdRf4BYKMTswl38wU5u3d3gww+P8vM/+wHm72wysW+CZt0W3hOpUdzKbBMNhRgZHWUnk2FpcUGCfY4cu4+R8SG8wQBvv/Q2v/L7f8cvPnOA27OLkvSvuDVyuTJNzc+d6TX+9ouf4J13L2DW6wyOj8vfg5WFZRLJLkaG+0i0d6OolqxTjI6OyQ59uVCnu6ud26IDGPQQDSRoixl84vf+UTIVHjzYi+aqLK+m8fgSnL+8xoefSvK/v/M8TnUe1Rvizz/3l/zun59mstvgwFgbff09nLmywmYmy+d+7UmBO0Xz6uTywknvykth0BeQh52jRw7w1a/+Hc99+BkuX7lOLBamJGwW2RwHD++hUq7JbcdgZ788AP3pV7+LHYgwltSpVC0uXVzl+PFdfO/VWdJbL+ENh9l58wX8PbtpmUsyLaVJzF4Af9CQSR7VLmEW07jNKko4hKF3o3kNLNeP69i4uat4AkJFE8MRCQItKvvLgunQKs7ij49Ia4PQHCrFu3hEozl1SE69W74UWmgAsziNT/VS37iISgPH30s06kU9+FPsCx2gt8/HSE+Qe1sWw31R/vnKJmPonPrhL1BdqZPP1wgkheqrIP3IVilHoKsdu7ROOV9Cr7n4UoOU0jMYwU6iwsO9dofy5iqBtk6cVotWMISayaP1j2IUN6lmtjHau2kV0vhGh6mki/izy9iPfYjm9UvYN8/gOfKgdL27TptkvpgdHfRMtPOFX/srfrCkcGCXh+yWULq7ElL0rUs7lL/1SXzv38f8H/0BbR1HaKp59FiScO8otcU5+Y4wVUiNjLB15U2ig0fk9/B/fe0c35jeJOr4SITqpBJx+Z0xIiHaHQ8+t0TTF8bvUxhPhjl9ZZ2X7tpc+6OHGD48wM03rzJ87BiFxVna94zJIYFbrRLyONSaBu8F23QAACAASURBVFXXJazpFDfuEh8fQ6/WKYsUk9+DacQI+z1Ut7do7dwjdvAxWVUr/Pj72KMThFI9OIVNWl4dtaGgBxU8E0cxSEhGjp6vEX74GB997s+4MJfhUEoj3JEgW7HYEomjkJ/n/2KKN//5POWGy9BYv/zvi8X9JMRgxIRqqcbGdoEXTxXpTMXoSZrcutfkvvF2UlGT3t4gm2slVEMn6NUQyBp/NCV8d5hujfW1Eu9/dASruknfp3Jkyw2efqCDA306L7+7jR4P4xfAJdtmu+Yy3OmhKZNwDslwgMvTWbRai4DPZfBDB+kbG6fWsiThO5vJUM6V8Ro+BgaHJQXaCPrZ3soyN3+XkdFBGtUGtZpw0DuyqtU/PERPV6cEmIp4qNje75kclb39cxfOc+yB4zSrNd49c4nu3i40XQQAFLy6h1rdxPAZcjAg1K8iTi1SZx3JDqkTrDYbcpuqi3NBIoSznGHj3VukhlIUqmX8Pi9usym3xKfvlLj9Pz7G0AM9zP34Fl1uHXV0jHpQRy9koNJCs8vQux9LQIibDqVilo7RMSqWhp2ZJXlgmINPfJ09XS5HRvv5kxcWefG/HeNAm8t82WBg7xC502dkxUuLpSgtiO/gOMqu+ym89SqU0wSPPkKkvY/Cjdfxjd2HU8qg907Rsgo4N9+loanEx4/TEEPUufO4ux7AXJvH3FjF1zeBNxKS72aRcCRfxbFcfNEAVc2LqxoEC/cw/SLun5CRfP/RJzAvv4XhC9HqGZDnu/pWWtY1Q8dOUpu/ISOxSnYH29vCSI6guEXMS+dRBifxKCpOTSi1DMytdcIHT+CsT8tBjpPsklt3u17CWp1HH9qNFo3RyizhDbRj1SronZ3YIo7cqFK9c4OA4aPVMyR/bi0YJBAIUd7OoojpaG0bT6gN/EGxkKOWXUBzfBgdYmto09i5h1dUb5oNnNmzqD1DtFKdKLPTqJ2jWFuruLV5PN1CXRoi5LbIzF9GafhoVCv4G9sYR57G399P4+3XiX/wZ/jy577Eb53e5NeeGKS2YUveU001mVvL0NceJbchqjQunqlOfNEU1Z0CLaHea08SDcXJ7GQwm00KpQKdXeL8g1xyTE5N0qjXKZb/f1BdhkA4SCwalvVME5Pl+VUmp/YwtW+cP//jv+bgkf3yz7hz5y6WZRKPpejuSbK+ui0H1gJS1rIbpDp7yO1kpZb3+EMPsDA3R7VSJ5loo9qsU6lUSba3yYTMxXNXefrZp1lbWmFlfZWDhyZlmjC7k2V5fo2JiVFZM7h46RJjYyMSxFkpNzE8HvlnCPaWIK0XikWi0bhkGIhElKjWNGo1eroGqJYrRNqDEoy7Z3yCt39yjkaxhhEIEG0LYzoOWwvr7J8a5Mj7j/Py99/E61pUVos4xTol0yIVtknnYd9IG+vZIrWaiWGE6On1sp0ukl0uEx9IsbTTopqz+IOPePm1X+6msNEil0nTyIslnTB+bPPgo8fJrWxw8cIsvf0JHBFNRZPLrGwmTWGnRCrZxVYmTa3a5P6ju7l1d51SEx59dJT/98vL/PWraT55so/TV9foisVIdfpYFjyW61nWFv4aXSkx8+KrdBx+TPLKPJV1avl5In3HparQyl7AE+kT0hNUBHfCwLEUPPEBlMIsTmQcLGGnaKHUFrGsGB6R4jEzkufidkyipm9ie7tQWjlcPYCjRFGrt/B0vY9meR5ncxo9MoLqj2PXV1ADHSD+/WZGVhcVNYGTPo9d2UbvO4HmD2Hn5mmqXgLdB2gsvY2mN1GNcQi1owv7iHgu2hqOqtAsryCwGlrbOPWti2jJveihcezaHOr2XeyOSZTi6nsqvtCQpPy75Q0BQ0P3hASgAtvj0HLaMCIxGuvTku2kBAZRTGEy84G7gxI8hGuvo4m6d3iEVr2Kbq/j+rvBiEuDnp25jBoaAVFPcJsorZK8Z7UE6NQq44vsw6aEHeqC7BIte42AdxgnFEUzhca2ji0i/PU1ELUsWzAjPDRFJVsP4Qml0ISZydMGVhFHaaG2xI9Qp2XE8bg1+Y4USwGnnJHMJ683iCXu1NaOBCXqqoITSKAJNaMq4M4GSv7yX7miD4HThh4OyMme6E0J/7JQ0in+dtRKlZavhWrWcUW33SqhC8CB5kU1m2giglMq4YnEaAp6vYjma23U62k0QX0NdeM2RG+8A1MQ8EsLaC0hwwviiXfiir/TEB2YJoruYHjimK2S7JUJ36FbXsIVzkM7iBZK4HqCUN2QgARLQGmGH6C5dUXW2z1de3F2FlGDYZrNGj6jS/IbxOas5etFUU0cu4yqxaimLxAKpWg5fmkIaK6ewt99lGZ1C49QPfhF9KsHNzdHdec8kf5naAmqYgtcoxOPuSq3a55wP7YeQhcT6vq2POy7LQVXteTWSpAqG9mruCKG42+nZubxC02EyEOLmIZ/HEfEQIs3odmkJdSDroLVyuGNCIiVR+DAqecX8Ub24gnGZS/FaZq0At34YoMo4otQr0pIm2lt4Qnvxa2XUOJJ1PIWmBlpI3AbZdnFEYkGx9Lxhjqo1fPSbyoimFpzh8jRI7z1t1/jsc/+iM/+zB5u3l6jUWkyONTBldvrHN4T5Yu//7t86at/y3333U93sp3tnQyJ9iibq9vUa8L2oNIw63Ly5/f6scUwxhV+VxNVfCC6SU9ykG9//wwrmRyu4tKdSlGpVWiLhSiW63QNdOFULBZW1hjub+fqrQX5S/XHv/MsqbYu3r12lc5EG+mtTcRJs7uvi5WlTQlkGh4cYW1rnWx6kwNHD9NquBg+L6+99gonH32UeDwu4TeCW3Ht2jT3Hz/BkcMHuHH7Jvsn9zF757aMhgqOgdhud/V0sn/yABvrm6ytrTI+NiI7oeI7pqgwNDYqp+0Ls0vcd99hegYGOP3m6xTLWX7vj39IKOBjcncbC9vbjCd7Wd3YoKXpJMJB6d4N+nxkS0W20iX6OhLcXcsyOTFIqZTGLwZztkVnby+vnLoJts2ls/9AIZ9ja2mJWHuScrHOtRvXeerDz/Lid7/L+048yPVr1+hItXPyiY/w9lsvEwyKSN6StAf0D3azupThM3/wVR4/3E+6lMOseYhGDcoNmFnc5N/+9BRP/fRznD99ieMPPiCZDaFwCF1XxbNTumpxVebuzHL4gSMorkE1n6ZYKROJJ+jr62Pq0d/m2N4E/T1hdo0OsbGdky/mWt2R/0+aZoN/+4n386NXfkK9pPDs0w+TzmfJZMpUazkOTk1y/cYdfvHjv8A3v/lNgpEQ9XodQ/WyubVGNNZOXyrG+x4/yt98/SW+/I1rPPVwkr27Ojl3eYvMZpnxoQTfen2JJyajfOtfvsCX/uc/8fn/9RonpjplVcinVUn1jvHdFy7xF//loxzc289Lr7xLX3cPO4UsHV09pAXbQdEo7RR4/InH+M53vkkwFEfXFJ577kNcuzHNzNxtnnvqKdJbJVpOjbakh//yZ99jetHi3/+b46wvrHP+3Bq+/gDLywV+6ok9/OlX/4HCxa+gCwtJYkh221vb5ySDBQEV0jQ0W3jVNTQxbLRWsbUAipnFtlzUxAiNzBUCwR6p3nTtBmowhKI0cdwE1DZxdR9GpIOW3NaVMUJeFDWMk7mN2j6GnV9BMbexw7sIhNskg0AQucVQsy3Rjjs0RV/wMAfHo9KFHtRaJOI+fvBOgS/99gE++qknKE6vYguFkmYRbB+UtO9WWwyj1oT0XWoNB6fRIDI2LH77Kc3Pk7jvKTmt19Zuyhen0r+XwqUXaOsalpdc4U4O7t2H5npoFlbwhzpE6AvVcbA1H2a9iJUv4u8dlAMapzCPoehQsvE/tAvX38XufZ/jsZMp9EKT9E6Vvole3r2bQ8+UuHDrNyifuoWVKeE5ej+Na3cRo2RdMbFrNaJ7j1JevoJPaIESQQLaMp/57bfYSbaTyaRRLYfB3g4quTLjA3FqjoVaqNLe0852qcHsconXF6tc+9IH2Pfzv8zq536LxBPP0dxMU8ssE9p7WKppFcvESmdQOzqwhS5sfEpGq8u3zhE69CBazcT2B6lcfRNVjeEN+dA7etDQqS/elO9IO5aQsFhf2yh23EdzVTB0Ejhb83h7+jF9XbRpLkaHzr7nvk5dNfjpxzpxmy7pYo2by0Kr5nDthWNc+fFd2vqSVGmK1w4ef4Vm0WU7X2X33l5cajz/0jo3l1qMJw2iXX7+6cUi//Zn4zz53BBrN7bwBgxmVxvsHgswfzPD0WNjbJXWidgWRaWL3f/5DtGawt4+l462EJovwFpGqGUtEj4BLAyxZ7KX5ZUMOyvbFLcbeD0e7ISHiZP3s5JJExcU/WqLOzN3OXRwklR3kvWVLa5cucXY+CBPPP043/y/35HvoJGRfjKZvBxSPvfRD3LqzTcluyXZ0SVrUeVCDsXQJYtCpIx6epLMzy3KDb+ue2QnORIMkS+WJL18/5H9XLpwge7uQa5fu0Iq1U5nRxem2ZQwwc3tLdKC7O3Cv/7Mz/ONr32LwsVF9g4NkylvYTgK7T2dmNkiHW0633hzg5f+26M88pHd3P3OO/Q//CibN28Q6e7CicZoXr6M6jUJ+MLUYlH8RpjW1hJ2roBlBIj39BHcNcKRD36JyREfk0NxPveddW58+UMMPzTCzvQ9NDcMfge34uBx82QvXiB63yNooSitjQya4cjhgpmrY67cJfTYkzh2A0PAl8WFfekWvt5hWh4dq9rCV0nj9kxgm1U8dp26rclIs1Awe4cm5abTWV5ATXWjhIJU7l4jmOpCMS08viBF4XrvG0CZu4EuJittHTSzgmUUQd28g9LRh1VMo8W78KVGZFLAbO/CEBTwU69gjIwQmXyAyuwMLVvokTcJj+2nsVPGyC3KZZWTbMcrUqCZVck8MqMx3Fvn8XWnsPyd+BPd5GfOY25tEh7dKxN5rs+H0T1B8a3ncRyb8MMfkwrPymtfo+6PEN1/HOv8mxjid9OpYmbyNAvbRMcPYLka5vINamsZ/O0BjAeekUM68/Lb+PYep2ZZ+Ao5miu3CNx/Eq2ygln04J/YQ+HMS4STHTTKLuEP3M/Miz/mwT88z5H+buxqBREqHuyO0xBKbsdLwC96zkWub2YZemw3w0d2Ud3aYXtjRybahGnj1FtvEY8n6exNSs7LwEAv9VqJU6fOkkwmGejtkdq+/qFBbt++JTVjgrJfKJW4O7dKLGwQb4sRbYvTFJvqco2d/A77Jqe4PTst+QGxaIx4IkyuUCIWjhAIiJRjHc2jSsK/MD+JiPrd2XkOHplkO5ulI9VFemtbGjjEz1Or1Thy4BCvvvoqg8ODTOzaxdunTsvBfF0MQSs1Dh3az/z8EnNzd3jfIw+ytbbFTiZLKBiSi4BKpcLw0KishooNaG+/uJwqvHPxLA8+8ADlUkkOa4f7+lmYXxGzcBLhiIQ2102b9dU1PvZzz0iA55XL1+ju7WVnaYPyZh47U6Naq7HrQD/VXAVBpBKVSbH9LRcrsl5xcHdE8sR+eLGFpVj0eav8+It76R/SuHpuA8sOM9JhcP1mno6osKUJI5FKd1uAnZ0q5UKGWFuU/E6JnqExHMWiWi5JFtL67CaZYp4THzvA3Qvz7Plsll9+2GCwq4MfnZmX6dn2vjAvnC5z7R8fY89HfofyxStoVhonmqC8s4lhF/HHR7HEWcKToGlvywuxXivR6jxGKNhLc+0UqmA1JPfSvPcu+Dzoof24tbvyjK0K6F89i9IxgpO+iS5SzIFezO1bqGFx1yi8B7f0x6Rq2RXwu0YGxUhimxsSUmvrCdzCDET2QuYqLc3C54/RrAqLiuiIRlCFcUKxUVuONPogLrJqG5X5fyLUvQ/HP4q1fQ4lFCeQOERl4w38wRFo30ettIBRXsQVy1DBFwgN0EyvoO38CK3rEVkHaHk1/IRoVnPowZiExBv5i9ihE7SK51DEoKPjGRRrB7MsUtQH5HKv0azi9fpkpcLNT9NsIdO8VquGIlLWYjKoKDTrGYgMoJcyMolNK4cancQbTFJLX0AXg6vAOKpYlit+OaQQnBhX9b23pM7fpekLYYT2Y6ffwh8doFbNSUOU7k/SEkMXs4Vi+NArW6K0hGv4UMS5yHLRPZZkWWhOgpaZxfK2ExCWudqy/F6pltAM+lB2rn/Z1eXE9q4k+yuFOUyrgS+UwM5vSLiCpYjubgCv1ysHAM30NKoiusAp6m4cn8/GKiyiRXvB0yEBBqLXLnoSupmlnl0hMPy4fCGIbpXWFFT7Aq7WhocW9ZKA4YFmJLEUG4/uh2YWR49iNT1o4S60zEWcUIp6rYxPr+PqCTmNVVzR8R+gufoKuk9Hje/D2b6EXc7gG36EVmkNqykYAbtRrbuogXE0X0yCBq3MDIrrx1ZrGMF+3PwsTtdRFEVHK6zTMAScUEGtZeSHZHbvw1NK05r/JiSO4k2NY1oV9ECQViWP4noxAt1y825WttGifZj5e+jBpARAGJEkth5EVVzc7AzNnTk8Ex/FbgoYX1OyDFx/D2qgGyf/LqL0qHYcxc6cxw3tw+MPQeYVanaUUN8JSZjUHAtT0L8FqTIcRUvcLz9LxRPB6w/SKt1DjY9gWSLR4JMXcbuVl1uWhuiAhAYIimh7tYg/MoLjqRDujfHs8d/l5naWxw6NktkWB7M6h6b2c3V2js/9h+doD0W4Ob0gH6iiUy4mwxfOX+F97zvO4vI9jt93hGqtTLVqyotiPBGTtGRvwM/5i1fYt2sYzYjw63/w9xzYJ7Z/Fip+csVtjh7czerdZXr7EvzLG0skEgFO3reL+a1tqUX6xE9NkSvbUp0i6K7nz17h4UdPsGvvbv7Pl/+Wn/25j/H889/nwIH9cmOseXTy2QJbW1uM7x7nxvUZCQIZ6u8jEvPzxpvnePzkB7AVV6YAcsWKZASIl0apWJBR92RnN6FAgOmZmyRTnXIrtJlNs3tiF8FAUCYbhLtWbMXFQ33P7v38n6/8FVYtx5X5KrfubhKL+OXFVlxYnVaDaE8SraUwPbvC3r3DTN8SlRKLgd4Uy8vrTE710arWZcWkLdLOqbPXeejYLs6eXcYIaZy7+F3efvGH7JQrxIIhJvccZGnlHotLd3jf8YeJJWNcPX+ZnXwR2zIJRwKMDY+ytpKm1ijx+Aef4sTDHyee0IWAgsG+3Vy8Ok1PdxtraxX27Y7zl1/7Cy786IfM3l1kbPckkXCE1dU1OZBIJlN0dXZx/eZ12uIxDh87zt//3d9Sq5j8ymc+w+L0Ze772Bc5Oi6o1+2sLN2j0rD50DMPUCpsyotPV/8Azzy8m7W1NJuZmuwSWqbJwMAwul/BapjcW15m79693L4xw4MPP8ipt07x7LMfJJ3e5vyli4QCYXbvHSDo1fnmD67y+plFehMw2BUkkurF4zE5f32FzLZF3K/g1VySg/3sHWjj+uVFukci3Lq1yVB3O//u049w6dI6E7sHyFQKVAsVub0I+IMYQUNuHVoNi/lFcTkQKquWHBA988wzlCs58oWS1N889vhh/vJ//x1iRnLx5hKPHh3n3naWdp+HbLXIO5frLK18C095lcpOFUX3yIGQ0zBpFm4RDnVA5wTNkoXqluQw0l+dp7Y9jTryHFpji1b+Dqraido2itISz9k7BHsfkuot3LLcclLPIdaWWjCJakRpltfkQFKkB+z0bVr+TjwChlopYOXm8SY6UFKH0Jpl6o0MyYEeihWFjj2/wXOHfQTiKXIFEVesc2vF4sXfeYDDD+5mM2/jU3S8Wh38IaprK+jNAlZwFKW0KGN8Tv8wemWTxt07NFCI7z1CLbuMubCE6fHQNTaGqcRROjso//AfCPYMYg/sksCv1volmaLxh+JoY1MUr71GuGrh7r8fLbtFK5HCWVmhkF4kODaJPrNC2yee4Q9/7S9450KD0JDG/UPD7Im6fHchzw9Or/F/f3WM537nWSpXlqmms/hTCaz+g1BYx9MSSReT/LUzpIa7sUNttI0e4LGf+zxXVlv81vs7cXU/3393hXgUJvuS1BotgvEQCzfWWd6xqDd0vvfvOjn62V+j8NpPaKzO4j77cRKuxc75H+ImdsmEVKuyTen6WaIHj8stpq9nAkb3U33xy4Tae3B7enGjAs7rxyxu0pq+jJEaxDO6n8baDQJTz6BZRcx709A3TOXsK4Q6xsDnSiaISOilV7bo6Y3iBjw8/DtvoZGTW8xDEym5TX5jrkijqjPzvR6mb9UZ7+1kK2eRWd5gYM+wJOXH2yP09Y5hNVY5d3mdezsJclvbxLq9ZNcV6s0mv/qvemnv8LF8p4yiOvS3tZHe2WT3Q3uxFJ2pp99ipexhZEBhpEfDqWmUHJVcrsJkd5TVUgPHq9OqKbTsKuW04LQESPW3se2apA6O0N/bx9JNMYivMyHAtNksd2bmaDZbTB2cwm8ochBcqJbwegw6Ojuo1qvSrNLb2YtmeFlcWMIf8hELRZiemeXo0cNycC0MSDPTdxkZH5GwWq8R4Ny5Cxw+sp/0RoZqtcKuPbvZ3NxgcmofZ079hL0HJwmHQly6fFVWvsRQWfd7aYskuHjxMn29XRx78D5e+vJ3yczl6OkPEk/EsTCpZupM7eviKz9Y4Ef/9TGe/qWD3PvuBRLvO8Dmaz8gNTiOld7Cd+AErk+jubmDx6miRlMUL/0EV1Vxu3fTEVXx1gs8+h9fksyMiOHjxt08F176Ldo9TTbP3SQS8VOpl1H7xvD2DGFeeR1ru0CjUcR/5EmCw1PU7vwEtdlEi0bxeOM0VuawdzbxdPTIQ6ZFAD0Vxi1k8VomeU3Dr8ewi1l8RouWJ4mi1vH0jtJYuI7RNULj5nW8fSJx52K5Ct7BUdzFWazsIvTuw12bRenfhxYL0rp9nkA8TqNjAqW8CaaDLlKhdy/QWr1L6tgjsvajC/BgJkNjZVYaYvz3P4cdCdG6/BpofizDQA8GJQ/C2tkiMD6FvVPB9Zio7T2o/hjmrKiFxmlOX8D7oV+CWgGjDqbeoP7ua7iRNtTBEYyG+JzSJKb2Uzz7Gq7iJ3b/E7TW5ijP3sS7bxeOG5cE8VZhGRUfvrGDNM+9jNHehqdvD/XMBqrgOpGjduZtnBMfIWxZbJx9k+4H3o8twGXZJs10huQHp6AZIHj0z9i31097Mkx+uyJ77m1tnVL1KpZlFbGh3dHwvW8XRsSgksmQFCYCr4FpWly7dptdE6PouoFm6JLe7zFUJsZ2c/7ieSZ272V5eYFoJIFHhcnJvbz40ss8duJhFubvMT//3nvt+9//Zw4d2IcvFCSTyRD0emmalrwAi0WZqFKK2ouo5WYLWerlCn39/cTb4xKWfPO64DMl8Yp3Dja5bJ6t7Sz9/WIY0aBUKjE8OECqM8UPfvASjzzyIHeX79Hb3sHy2iqK4zIyOizPrq6tUKnUOf7QMU6dOkVNMDTaYvQPDrC0MC+tA9FomHypSLFYYXh4gEatya3pafZN7pXaQwGHLlfrPP74Cb77j//E+MQYE6MTXLl2jV0jwxjREPPTcxTyOwS7RGUxRvbqIumlHbytFqZr052K4HgU+f7vG4niszTubZWo1muMpPwE/T7+5VaNaqHOf3/S4Hf+0yHy97Z4/vtrtHX6ue++JBs3s4zuG2R+OY+Tr1B3HfYdGSC9ucPt28t0d7TRPdCFT9Go15tM39mmt9tDV4+P0c9u0h1UGekHy1IJeHQCXpcfnDP5/G8M8Jt/8QaF05+HyC7Ju3Aad9ED49Rzy9g7SwR69qPoXgQxQ1U8KNYqrtDlNXIS0KcLsJ1hAEHcyqokxuONoXvjOKLrX1uSQzFi4+jFZVmPVuNjOOUVUCsQPohqruBoXbi5K3gl0V4oQ7M4Qx+C7E1ZvTD9Q3iCQ9BK4+RuY5tFWadyjUHEPNGjB7CcJqpaxy5tv6fSC/XiWjkJeFRKRTTDoKWqeBK9VOZeJdR2REbfWxs/gmC3THnb5SJqoAvVEs+AAFZhDp9/WNpxxDLYzq2gRaISqNcoL+FLPoRRnaFsmYS0EKYnAv5OFPK4W9dRY+PY0SEorKILHpDgy1GBelU4SvAFA9gtkTKrorplcOPo3g6aHhMqVRpbbxDoOYlphPFbW7iK0MMHpErQ9iVkWlEtXsd2dbT4LmxvH2rzDpoSxfUmcTQfzvz30YZPougBjGqGplWUdWZF6UIJGJIFYIvagIBBa4K/U5bLV1uJo4vNtGOjFM99wZVRj0AQtJCMRRn1e9iJozhmGlVsVkQXpLyJ63UwgkOYxSxuuF1OeEQcy9G9eCMDNOdPYacOoPnjuGYOw0jIzTORDsyKoBVu4xFOwkAES/RaVUduhRFJgqqYyMUAA0es2KmhGe00Mhfx9z+F2WygVi7hCUzQbBRwazn0xBjNhgA6bOGJHEKxTVpmHls3hAgEW0xJGjVIiEhHAK16TVIVzcICuhqQoAUxqLBt4bnU8SKmTyns+ixuS0QruvGoTRxaaAJgYZfwJPbQ2r5JSxMJgShu+jpqeAhDkDGdvKwHqKaG61XQI4NYmZsyReExhPMxQL2YwRvpxFBTNDKn8SenJMzJ9YRwnaocSOBUqG9dkuRL3duimcuBfQc3vB+tVULx9UpNh15fhMQRnMYWbln4wgfldtcWGzLFwFBN6fS02wXoyqC1/Qa+gZMQHMdubMkYkOZohGNTVGqzlLc89D99nI3zr3Hi2b/mseM9VJu2JPLbapPlhTXawzH+6k9+g6994+84fPAoxXwef1hoVnoo5QrMzczI+Peu8V0yLh+SL40c+XKJbDqHx6Mw0NXD8EiKr377da7MZEi1h6hUa+zZNUi0rYtzl6/TodW578AUFa/B6XdnePjgEK+9dZNMucG//+SjtLeFaY/4CbeLSfImhWyJxaV7bGxu8eyHnpJDC69P5+xP3uWhR0+iqTbBUJBLl6+wa3yC9naROBEZmhavvP4mn/rkr1IoN6Sv6m93zgAAIABJREFUtdUSYKsNvB6dzmQnqY5OFu4tEotGiATjNM0aq2vLTExMUqmWWbu3Siwel+YDEaMT31WBjOpuSzJ9/R2ef3uW+fkiPZ0hFLdBZ7sYZO2wnTOJJYL4I1Fu3lwjlynw7AcOsCbUQPWa7OQNDQ2JOjcXLk7T0ZngI09MkcmX+dO/v8JvfeI+/vxP/5ALL7/O4to9BvrGWV1b4gMffJrbN27LaHhnqoufvHuWnt4uucU6ePiIHGqsLK7w/g88zNDBX5KQq5PHBujvjXHm3Tv0DLYzdydHLGHwlb/6XUkNfv6fnuexkyepVeqcOXuGDzz+fs6cP8/k7j1EIgFuzdyhPdWOgcvM7LysAoit0Ml//QV62z1UWzZDvd1spnfkdNzAlDCShZUqn/7FYzz7gQl+/OJ1jj74EIZRJ6CJYcsdeYgTkdJMeoNduwWwSaXeqtPb3cHWVo6Q34/uDXL9wgU+9dmP8fW/+x5f+dYNHnl4knJ+h3srgsSt8tiDQ2wV6pjFMv2DSd6+tExvMoTPp7O4kWesr5uPPbmfxx89ysVrM6ysbbK1ui03JpGID1UPSdexcM83xYPdgV6REMitU62pUrFYKGS4fuMWDz24jzsLWf7DH7/CLz87zvTKNtWyyt7hOIOjIb74N9f549/7MJ/5759n4+x3iPcOU569jR5LoDVN1NggLdH9r25jOyUZPxX+WKV2DzU2gMV7h4+I6mNn4Z/wJB8iGO7DaSxjbt9B8cXxdL+PZmEBt57GaD8s43JqS8SNBTBIQD97pMKSVhktHMPy96HMv4ZjZ/B0ncTwKFTTt0g89BiX/vEHPPbJr/PUMdH/bOC16zR9bVy+ucn08x+i3fayutogGjBlDDoc76HeqBJIRDCCcYrzV1HF8C8Yl9oaq5LHSLZhF4tUbs6Q/MhTuDWVysxV9FgUOxgjmGynrnmpXT1L+/guLKERUlQqJaEAvE5ozxHM6UsYbZ0SGORcf5nIkWdpiRSWBqVSne6QgtU3waOPf5GBvTFy2w3UiEG9bJIK+bm4nGfpGz9DSwuR27yHPxwnt7pBarQfK9TL9sU36H38cdJvvkZXRx/GY0f497/8Bd5Y0jnRG6SlqSzmiozHDS6ullnJO3gbLhGfzm9+cJBP/j8fRy+kKazOkM9GCIW9stNbrdkyIu9ZW8b0hQh0dNIMBWWktH75DYzB3Vj5EobQgvlCeMcnyJ1+ma4HTlKwmzBzFSeewOgald+Lltqi9OoL+JJtBB/9OSqvfRu1swvdFyA4Mkl9O09h5iLJw3vw+5Ps++kvMNYdwLQDRLU6tmmQrtXY2ITbXx7k9r06itOS7+aZG5sMjrWzd2oP87MzEsrXP9DNzI3bqL4A589pJDpM9o0kuD6f4cZ0ld/49ASNQpOujghaOEhHKsR/+stTfPVtB50Y7UlHRmrVep1oe4x0uszqWoNDRwfZzhYplSt0twfxugq5uooTVnjoFz/KVQHy3KnimE2SfV3cfvcqkfYEnb0dhKNxttM7VCt5/H6ftMeISsD+qQPM3b1LvValrTNJtVhgZnZOWktCcaHWFRvPDmYX5rhy6SbH7j9CLl+hp6fjPXCtpmCbDolkmEKhQnsiQalSYeb2LCPDg1Jz296ZolGrsrG+Q09fN6Ojg5w+fVpyd+47so9rt25y7LH3cfvNd6he32L/g7uYnRGwY/CKRIRlcWPZ5F8+9zTP/Mxu7v7t94gPjKK3xdHaesm/8S38o5PoAnw5P0OzsEXwyY9jLV8jKExJoQDejavo3d2c+Og3KUSgM+ChI+rjO3/0YbbWVwl5OmiaVaqlFSECparF8O4+iFYqUJr5Cb59D0nzhbOdJjd7m7YHTuKYwgxiU565JLeioUMnaJx7BbUtiZboxq5Xsetlgh1jNIVWWNTpdh2mtnMPrl97j/t0/CRKsYhZLeDrH8G8/Cqeof2U1haJmBV8D/wsJWEHUOs4iUE0j5fmrXfw9I7A8H7sMy+g2Rbqnkdw129gmy5qNInTKGG3WpJQXl9dQe2fINA9iL08i6J50Tp7IRDHzW6hN3aoenTUjTW54bfbB/AIRVY1IyGUjsdLeHCC3DsvoPTvRq+U5DZPDYcxDj1Na3se88ZraGNH0Ko29cI8wd1Hqd25hHfsQUpvPo86sIvgwBCBYgYr2EHLrdAobOKuZfH09KC7Nnq4HUtzIb2Mmuynml+jvbRDPtiNbyNHM6QTTSXxxVz2/epLrFRrnDgySDGTIRIIU61YbG7n6e6K0h4Msp1v0OiM0vXgXjocjWsXbhBPJZma2sXNm7dkGqM9Jbg8KhfOXiDojxIKBiQYUPTxxXnAp/rIFLISlrx3ajdLy6vks1mOHDlE0OfntTdOc/KJR9jJpCXnaHR0iNvTc7Jf39fXQ6lQlCkA3evj+rXrclBfypfx+DQ2N7eYmBjnrVM/4SMffoZKuUStaeJVdcnXEAYDEdcfHOjl7txdUl0dWPUWXV2drKwvybSLOF8ePHSIa9duYjpNHnnoIX78w5cZHB8g1ZbCdW2uXr1Jd3c34XCYN18/xeDAAB/+qWfkP7uOxcj4BHdnFxBEy1g4RjZbIOA3CIV85PMlNAHK9ehsb2/RPzAoF0s+TxDLb1LNirqiwrH7DzN9cwZzI09/LE5+eZN8rkKiK4pltshWm3QkI+zub+P2+ia1YpOutiS310vcSxd5ZiLK//qDEUJGFrMQpulEOP2Ds/SORukeEkN4hfWNjDzXj+3u5e6NLfZNdnPrxirbhR1p2NI9PnZyJY4/u4sTH7/A0mad3rAi9dYiNb2ZXWdmtsTIiMLZ+WssfeVThDqP4e1ow2tEMKtNmuEoYbdBI30PN5jAI7b1wvhlR2jlFmU1SPO308jelklj0X9vFBbeq2f7IlSzy4SGHn3PkNasyJFgq3wPJTyCKpgg9WVpTRNRf3P1LalBNPvE+z2LUV+TynRv6pBcXro7M2idB3HrdXHTl0yShh3A49NRjC4UexulVsF2ymB0YrBD07LRk4cx117Go3XQ8kelMlksikVVmvQrtLwG/p6nqHtiGNUmTumSrEUqbYdpLbyKmuiVaXbGT8LMa7i6IK/p2LqwIpRlnceOHcYuLmBoOravG3frdQiM44mNYZavo5h1FK0TfDoeVZULRVuwYHxeFAkoVFDtKp5wF1atQEtz34vw18p4Iz1ySe42LfRghJpITBkmrtGP4unE2bmG0TFJq1RHSfajiXdx/R6qXcdRUyj5a2jJSazCPK7RhRaM4SheSfpX6sIup9JQvajlBfTkFB4jgBYcoJm9LRNuLW8ITSQlWxmU4oU/czVDeHaztFbPow9+ANfw0pLdcBVX7cQ25zF35lCjByWQwN6ZQRHUQrMo4THNQhldXt53aKUX0HVwRU8qtodWdQnV7kSLB7FLq6ge0VsVMMhuGjt3CSa7aJoqbmlOghLwq9hCV9C2T4IZrOoOYfElih3E3VlCS/hxGkBrGzUyAo0aVmUJNTos+yyGo1K3RCdzL055Wh6eBUlZFZ36/AZ21xhqvSiBSQLQJ4B7qiDH+0W/KiaZBm5FRMPbJGNAMUJScef1tVG/+21MoQmc+CWMRlZqFVqVDQKJXiwjhd5wsVrrCK2iXV3HrYp+ki2VXZa/C49r4AgtoMcrawJqYQU3NoiWWcaK9ckBievtwhsM0yougSL0Ug5u8n60le9hebrxjjyD01yX01B1+wqtlgel8yBqTUChtPdqE4UltMgYrgCCleaxmy0J5hK9NjPWhupVUFsdqOW7cgtVb6QJie6sJ0D0vid59sjTvHN1m49/dIJKUWUzvYqOxsJqlT//3L+iWa0yM7PA5OQUDbPB5qZIWbg8cvJhzp4VrnPxktHw6X4WlxfYMzXF9voW5WIZ1YBHTzzAC6+e4cXXrnD04EG6OhNUqkXOnJ2m5dTZ3R3mi//zs/zmb36J3ft28e3vXuRnnj7IneVNLt/O8I2//DQb6U2unTtPKN4hB0ZdnSkKhbLczgcCOvdWNjh4cD+XL16ku6dHKoPaku289vIbPP3ME5w9c55YPMnivXnBmebTv/4ZVNWgUmvw1usv8+HnPiwnzTeu3aC/r5OV1XV6e/tlnO3u/B127dknf+lvXL/Gvr1TbG2vU29Y7N2zh0sXLzE6PkEmvcXK4jTf+OerctrtmFXp600lQ4x1pbgyv05QU1nIlpheNLnyxp8gVsa/8Ot/wv0Hhsjk8hQqTbLbTQ7sSvHk4/v57oun8fuistv6wssz/OUffYxf+syv8q3//VWC/jj+mFcCCu8/fj/f+/Y/MjW1jwOHj7O1tkC2VCIZS3Dm3CnGRvYw0NfGL3z680zt28W164skYj6G+jrYKe1w/WaJqb1h/uZ//BEzN2e5fP6sTFgI6r6I7sfa23BMl1I5J4E19x8/TkH6rx0i0SD5nRwHDu7l8Il/x3MfHOXOwiatlg9N97CT22RyYoBnnz3J7/33r5Nsj/L1L3yC57/3JrHuTly7id/no9loyc3dwFA/ayvLRIJRGo2mNByIQU9vfy9BfxjLajA2mGJ5a5uF+R1++NI7FBqOnKLum+qT6r5MriR9r23RAEHdT6FekQmbzVKZTK7GUKeXX//4T3PoQDfXbyzyje/8mIH+Xvp7Opmc2i29xY1SnYHxUaLhIBcunmf3+IScntetFq16gXAwjO5VGNvVz89++m8IGw7DQ20EvGFCcYPp2ytcndlhqEvnrTvnse6cprKVRfdUaeQqhEafpLFzC9cfRissYTk1/LFR5HpGi1HfuIER6UfXWtTWzmEMPonTqsoahlu4SMvRMVKPoLNA002gBfvwePxYlVWc1g5urYgnOoJqRGjVS1Bdw9VrePRemogtkYHRUnCcPDVHI2RmMB78KH/9qU/x+9+e4eePpzBrCv6gRcPx8M9nt1h78aN4/SNszk4TyRclnV9P+KhcvYjSlaAlSN1GC2srD/USvlgHelsCU/TpNmo4Q8PSvuBUCtTqTXxd7TRX76E2XLz7jqJ7HRpzs5Boo5XZwDcwjn13AbW3Dc+BJ3DXZ2mKv3d7WcJhg4NTlG9dxFU1QgJIeORRvvbb/5kXbqvyYlAvVgkFFfaMdfD3b6b51ucf4dEPPUb6B2/SyKUJ9/aAqLphUL19Af/wPoxjJymvzNKdqvD7v/c235qr8W8eGebUhSW2sPjEsQm+9+4SX/rjp0nV0nQ/eJRmLIpTsWnOrWEuLhPePUw1X8fdXMUzNYkv1Ie9eJvS8jRu0IfPclEmT+BW13HKJTRhflCE01fFiaRobs6j1JqY1TLB8T14ujoov/Zj8Ebw7J/EU6hJBW814CXk2BTu3gABt+0YoDQ9i5MMMzrZTVONk3ru63xgIslqrkFbOMCxg17enS6xvlzixqtPcvfqBlauSLnlyN/NaDxEZiPLveV7DI31Eg22S7ZKV0ecK8sZNtdFP91Lrqai++p88mOHCUctfCkfp793h9/+5x1m0joPjLcTjdfxiEqDZVDRPJRLTSZGEgRiQd46M0PU6yESTDA3t8XQgRj7n/0At+cWaY/HsXby9HR2886752R8PBELcfzoMc68+47k0IhLQK6wQcAfx/B5mJm+Q7wtgVWrEwxH5cXinZ+c5eh9B2WVaG52TgLSxkcHOXvhEg+dOEG5XGR9bQ1N9dHZ3UEmvSkhgOJwUWs0Cfj9eDwaPX193L45y/hInzwTbGwK7g+E4nFW7i3T3dku9Vi1nQJa0GBk3zjZ6UXSp+a4/5lDnDs/LVYdBMN+TMdlcaXMlz46wM/80jEWzl0lPrQXX2KUXHqBsMdPdekalj+EHvWi6TH8g5OS2E/NxuobIdbTgSdg8NO/8tdYiotWsTBVlx///qNU/G1U6g18IxN4rAbpMy+REIC5kT3vGYC2F9F3PYy7dRVzS7Cd2tESMarvvkrkwadotvfD4k1a5TzNpkXEF6HhF8qwHdRSUaYDI0ceQBO6qoWLBMcOUr41g6nXCETiWJ2TqLktFLeMGgrjZnbQHS92IoRdK6DXNXxtEfJzNyT00j84gVupSwCuL+rFI85DR57Ec+E1GrUKwT3vo5Vfp1Gu4etMYNFET2/LFILbOYw6NAJnz2CGRSLJwNKjKJtzqB1d6AP7MM+8hqLW8L3/l2nMXAa3IjlJbK3j6CZG/15ZUWul75KYPEBxbum9LrI45AuWQa0pUwfFhUVij38YZ3kazaphtqUon79KaHIUTyhK+fJZghOjmJaOWi+j41I2BQd6N6zO43h8OHqE0PAg1r176Jltwh+c5Gv/811+/SuXGIkrdHZ2EvE3aNphTLPETq5KJBJkayOPJ+YntqdPDrECEcF80ZhfWCWVDFOu1SXbYnNjk87eLro7O3jn9MX/j6T3Dowsrc90nxOqTuWkqlLOLamlVuc00z05MkMaMHjABgxOu1ywWV9je9n1rs2u175m11wn8K6H5ITxkBkYmJw693RutVpq5awqqVQ5nbT+Pv+vUY8qnHO+3+99n4fu3jbS6RRrq2uyziLuqZqoyCoq1Uqd4T3DNGp10B3q1Tq3rk9w4p6TLC6tyBi/WLiJ75llmWxmskQiUWnNEYfoeqPKwf37uD09jappJBJRaR+avj1LZ38HWxtZCfCzbBNHgFZ9Bql0HK/HYH1tVaYsr1+7zpEjB4iE48zOzNLWkWJxeYWdXJH29iTNelN+d69eucrBgwc4dGCcl155XdZyRTUxHk/iWLZMIsTCIRRVcHeqDA3u4ur1q3R2tFMs5kkl08zOz9LR3i2HfEFZR7Sp1Br/xg7oaSeWCFMu1KRaWjAPAmGDPUcOcufSNW6/fkMOkduiEcp25d/qlUtbtKdTGHGDzdUMqm7SKFn0DnRw6cY21aLKt/67jwcOd1HIiWG2xtLaFhG9we6Te5k8O8tGPs/Y+BDbm3mCUQ/FTAlHDCBbw/L6fns+z2NP9PC7fz7Ldy6Z3NUTZHJ5GyIBTvS2sJ2v8fyVDbaX/xStINSPefT6Ik21AycYRS1vQnwEO3sLp76Jr/W4XFwieSYemuJQqKbRdZ1qfpFAsJt6s4KqKbJ2aZcnscMj6EJdLiwflobhDdEMd0MjA+UttMAANd3Gn71No76Am7gHfyxJbf0GmkgpC718ai927rrkV9n5dXyaSlPvkINAfFEs1UDPXaJey6BED+BtGaNZ3UARzBSjhGmGsWtZjOSYZBQ0d+ZRup9E0V2s2dfwBGOoqQOYO1dwxe9qNMHfjROOwdKL4O/C8STQzSxuahzKG1ARDJo+aJbkuUYXpP7SFlawD91ag5qFE+v8N/5LqYhanUWLdMlkghoT4HYFXVew3AamrWOIVB5i79sG1WVMLY432IKVuQPCFOLtRN+5hBPskelxu7KBEvHKOjb1rByGWqJrW1jGK2xNlWto0ePopUVqzWW8qSM44nwouFYiQaAHJdRe11yZ/PYKC1R0L9b0t7Bioxih3ahuQabwEcwGLJT8659zFdENF7u7zMtonjhW6iiuW0VpiBipi7+5geuNY6ttsHUGUocxS2uEPCa2d5hyUXQa/Bgt/ThGBN1RZCdfIMO8/hBqaY1msANvaBdqfVYS7I3u43jqa3LLbjc2sEQXRUQqNBurUsUICo1dDt1R5ZtLdQ196BNoahZnawUjfZBGPSPhbEHdwSytSIWC0CHUqUinc8Abp17dQQ+2YIopX72Cnt5NeeES3o5DGDu35bTWNKv4/RrNuo1OlbrlyDi8mTmNN7ZL9iSltklAWhrLmMFBNHMHq7KC3rZHTDtoNOr43ArN6o6M0CAu924FR8QwHAOf/FDY6L40CmWKi68TEW7rjhOQX0SpraBE9mHlTuFJHsQN9OMW59B94gOhY9tNOe0WkRBdFRCLGI6QQ9S28Pr6wGvTNIvg6ZOaQamxCaVQxYM9O5h6Ct0wZOfUWn8bX6IHR4ugBxJsb1wnEtlFpFXFjka5a/+v4ioGYZ9QT/g5drCL24tZrl/d4J+f+SS5lYykptZqdQ7tPcDNO5OyB1Ur1+jv76WrI82t6SkMzU+uWsGq14jHksRiITLra1RNm4n5ZabvFFnPZOR2Yag3TjjRxbm3bvLdZ97FwNPf4J37dglUGa1RLz3pLuY2FrkyVeJ3Pn4Sx63Q2T3M2tIclbopCfKF7W0JeiqW6rz12us89s5HSCba+fb3v8X46B4Z1Vc1D7VyWRL7BSAtEvITiMU5duQuMts5MhtruKKX1dYpO6dTUxPEInFiyST53I6sb3j8hrzpBoN+yQQoVguMjx1gbXkNj+EhEY/TPzLE9579Oxm9Xcw0yVWkXIiJqTUOj+1mp7BBpiTEFw3yuSaf/c3384nPfo6Jl7/Ln33hf3P6Sp5jd7XR2ZXk9vV1IrEwvUMtvPjTm5iOwwP3jpDbqfH863f40999Nx/86Hu5cuYKO/kSg6O72VrdYXl9lqGBETLZDbq7ushsZWlLp/EYPpl6CXpM/uALz0i11+pWlZ50UNK+FVOIHGG4v43/9r8+x4VX35Ix7JWlFSKJpOzMFXYKPPjAAyyvb1Ivl1F0VT5Qj+0dFWkjCeFsa+/jwXd/hk9/+Bhr2zUmpuYl36FpKswv5Hjiwd3sWDX+6V+m+aP/eB8fef87+Nzv/BknTh6T0/7u7h75ep49dYFoIsxjjz0hFYcicl+u1xjs7ia7vkVrd5K7Tx7h/if/SHYWH32kn2YeYskwK1tZGct947VJ2rqTlKwmnS0hor4gqfYw65sFqrUi+e0GlWKTtqTOJ3/93fh9CSItcd4+f5Z7TtzDzOwSp069wZ69+6SGSBz8xRbF7/Fy6swpjh48zsz8LEfuPsKX//YfOXMxw4P3D+BUVTYKa7REY5KC/vffvslLz/42+9/5NNXX/xJf/5PUa0U89UXMpohwid5XD9XcbQylhN6yj7oaxRtI0Fw5i1aek9t9y83Jg78v1EUjtyLfE90nvLW9lIQDu5HFF0xQs23s0iyBxAEsV0Fxa9h1EaUTmsAoirmBo4p+nUZ17Rx6+qBMKIlYuF5dwXvsKb74sQ/x9efnuPeuFDPz24z2hakpfp47tc7kX53Ed+gh6qfeoCI6/o+/h8r5V1DWVjDdAL6xMYLDe2icehHTLhM+8iTLP/5HIi0tRB95L+52XnaDGznBIOihdXSIyq1rNFaXCJ04SbVQQyuuERg8THllBWvpigT2uHUHJRzHdbeltjS6a1geDqqNHbymhi/gpbFTx5eO4PW6HPzAs3TvaeFYv5cL18Sg0MfV5R32eGy++Q8foLbkYol+db1ISI1hmkWsoIZnaRGra4BqsUnvsQgf+Hc/47lL6/zBO9OsrhQIxdpZWZvnxQnITv4xbn6JnXKI2u0pKBXwBnXCu7pZunyTliMPSLaBT/egaA2sap5QME2lWZLaoMZGRsb2fO3tBDpHqC3dwi4WQByidtZRxeCvTZgcPLC6RLPZJNA7QH1jAV/nOHZ9nfqZ11C6xtC6OzEXZqUOLbT7LgqBOCnmJKA28tHzHNsV4LF9AbYrfuqlDK9NClB7k7e+1MerL29IxkPfWKek2c9PrckUjNB9iRrgwvQdwrEkbR0Bzpzb4cU3cxy+209nKMLi1g7veqCXVKzJz57b4uPfLhOKBxn0mxj+Bq7uwe8Pk93Jopk+6oYqI65eS6Vca+JRXZpBjXB/F/HWTgqlHJGgn+npBfxBQ/JVpiem8Qgzj2XJFIJp1fEZXuLRuOwz57byRCJhNtdXeOgdj3L2zEWiET/JtBguOiyvraIproRkioGk8IifuPsoOwVx+F9i99AoFy9eZnR8N+1tKS5duipJ6Y88+iAXLl7m8tvXeOI9T7C1tonP55ELAtWxiLe0cPPmTUbHxvEYLpYJZ986Kzev/fsGUQtNMm9cww1ZBOIJIl4vmquRShl85blJ/vP9bfzB332aYt5L+doFqtcvEe9sJXjgAcrLC+i2DdEgVqkMpRKN9Tnq+GjtG0IZSNGcy5D+lefoalGkAeFIe5NvfOkXsWppGs1NzM0cIcGbELpJpYmidYBZQnfzmK6X2vw8dmmH4MnHRYQGRS3j9yWpe31Sp0x+R/axdbOB7m2g9R/Gm+qicOeWTM45eGjeeBMnGsfoO4ZHr1HZzGBUt2iWq+i9w/hah8id/j7hzl34D97L5rf+HN/eQ+hdQxQvvkGw4RJ4/INYE+dwalXsQBTaUzhvv4HmT6CPH6dZzWLldyQoUI0laaxmCYa9aMJ7fuN1DFNB698lfeDNm9fwjxxGCxgSBudefROfMGJ0DsthtSs6ur4g1twEans/RrWGp6WT3PXXCPTvw/L40ao5vGLokFmmePs0LT37hSUdu5bDZynUUilCvaPkv/Ml9M5+yTMSmi1icbSmiHc30EYHcXdqWIs3UBIdeP1ethfWCWoC6qxTGeih//0P8MJ//2fe8YW3eeKeNAEjQMCrMzm1JMHUnUNJzM0quZUS5bjK2FP3sDw1T1dLFzcmrjPY28fK0gb1ZpX77r9fsikarkNXZyc97WnOX75Cpdpg394xqTK++/gxbty4IdkVQpe5Mr8ok7n1f1VzHt5/kO5dfWyvZyREOSG4GB1pSf3v7OxmfXWdhcUVHn/sIRZWV1iaW+TY0SNkt7eYmZljbGyItvYOLl14m/ZOodCd5+jR49y4cl2yCZaWl1heXJHfUwWF1rYUi4vLgCKTdbPz8/QL+4QAGBZ26OjokrC8fGGbUDBCuVCks6tL/h5VpHe9XqkqFBwmUSs4efIkP37uxwzvHmFxYYliqci+veM0xXAguyEHHlbDRQ8YdLUm0T0eORhwHEduR3cKeVRcFN1Hbjsnv98CqtY33MPS9ib7TuzHzVR59e9/hJ536R9M0lBcFpd3pM664ppCW0/dNulPe4lFdN6YLJHJa3zy4Rb+y8dbiXSEuPzCJPHOLlZXl1CrKvFYgNbeNuaruE2LAAAgAElEQVSm5vHHI+i+MNvrG/g9Oh7DYH2rwCPvHuTL31jgM/+wwyfuaaNSymGExbWviDeo8pOLZd786js59vSvUb5wEaU8ib/zKE3bxRG149RduCJ2LpgnroaTm0RtPYBiujRrIvUUQjFUGnnRo1cwfGlcR5FnJa8Sxi2vy2SiWlvD1duxDQ+60Dx7OrHsHcz6PIp/HK2+jqM1pFVLaCkV/xCOJwCNTXRvFEtAWjU/buY6dmIYRfdir76Gg4G35QhO7rZ03Rs9J1EKM7KabScPYU09h9Z1SOr3WD+Lo6VwnS3Ult3Ylo5f16hZWeqLF4lEenCSu+Qi2aeHZO3K2Z7E23GC6uz3iLQdwRGsnGZGwgVNDMymYMDFpOZetVYx1RTeUDue6grlvKhUD8japNkoogWTOIK1JqJFiiN144IxJxh3+FpwzJpMUajNCq4/jiZ+1vDjCM5d7iaqOCWHetGCadyt69jbM2gDH8BjrmFbZeydZfC3oLZ0ymceTzkHiR7qlQo+pSCC3Xi8o/LvYu00eqgXN5TGEckJRdxPdZobF2Ut2YiPSVV7M9CGK9h9jQ2U4qk/cs3yLVQjLbfGtqOglybBCEsqsysOsNUySriTQLRNUhqbpR0svYy/7RjN6VdoNrcJjX+YZmES7BR4DTyVJZRIAscJYdk52YF3jBb5YRLeVWflDLTul0R4S/XInoYgWCu1HI7uk9o8XbzhzQZ6bJDmzjTOzjSB9iPUN19HiR2RXlmPa+FU1iRdXAmMYWkNPJFB7LVTUrNnlhYIpR+gtP4z1K1l/F0P0ygvoUdS0v/shnqhviRwNeDvR6lsYopJtfBgKxlcNYZatVC0Eq6wA3hasZ08mDauL4Rb3ECN9KCUs4I0iGKLIkFVPpyJDqFqJFFFJ7C4SUNgG6P9aI1FcBMS4OAWN1HFFNEU24BRXHMbattguTjB1L/FPzYvEOh5hGp1GXK3UH0+0HohFsUtVfFY2zSCXQSNEM16DddQ0Zp1yvUMuqtJ8jWBXbiFBWzHwhtLY+2sYApdYiCEL9bGxlaNvr4Yi9cn2PfUM3z6g7u5LbRInjBtPQN880dnGBkI86X/9DQT85uEgmEuX77CQ48+yOWLlzl67Kic6l69coHx8XHOnT9PSywpHxrn56fw+yIcOXoIx97hJy/cIF9pMre0SVdnG35NZbWwxeZKAaOp8ubSdaisMth7P3MFeOfxNnS3ge4Pc2tqi1/+uYM8fO8A+WJQ9se2t7dIp1JyOyMe4H728ml+8Rd+TqpnTp+9iNls0N7RLum2gsiazebp7ush6DNYy67JiFjQJ24eO+w/cJBYJMGpc6dRHZPWVJtUO92enpST6kgwyI5QPIo6hxhUGR6p62sX9P1QlM3sOr2dXYSiUZ75m79kZaOAIbZbr95h10gHPsUr6fTxNj/hUAvPvTDFj//+Nzhy8m6+8/f/wgOPPobuNHjmK9/mG8+d4669rXhVYW7xcXFimYPjLXh1D5sbFQJBlcXlMoWayann/xi/12B6epGOjl7OnXqL937o51hbXmJqelq+NiKu2plswxdLMj03w3ve9SCf+o3/wbd+cIX3v/sQ7S1efvKzS3R2RphfKkrzwg/+5U+ZnlxEEyDHWlVO38P+CNOzd5hfXiAZTzK8a5DVjWUymR0OHTrKhfPn+eCH3sOpV87we1/4OnftG2EzlyXgDbA0v0ZPTxtnp9bpj3vwh6P4DZW1bI6Pvfc+du9OcHt6k96Ofq7cuEx3ZwfLq0s8/fTTXLpwSW4Xkq2tsnsniL7hsEWpYfGfP/9Pkj4sXLKJ1iA72TLRgE8CTwoVi92DPQTDGqevCJ2jl5XFHQ7s6cajCj+2V/Icbs1XaTZc7tod4K/+4v/lpZ9cINXWwtnTl6g0yvzWp/89p86ckQ9Z0VRcbhDE396seaSTNd0WpFBs8t0fX2J0pJv5pRXKZYut7SbveuIwZ95+jYf27+M3vvY32Nen8XiEk1XB8gZRhH5TEPl1HSe8G0OtIAgzVuk6NmHpwbYF2G/9joyYKalxlHpGXktNLUggOohb26A++y28ne/A9iUlKFXXXVzbJ681dWsLv2rguiZmpSS7dEozR8MxUYxOtPwt/MEITaMbx9zCcEroh9/Jb7//Y/zs7Cz37utkaTXPSH+cWzN55jerzD/7FJmpdZSmByVmYGY2qW5ukTiyHzXZj5pfodaMYefvoMdbMLr6aVy8SL6YJTR6jPZomS21DaWwCZsFapEIKk284Ther4fq7DzBuBcnkGJn9irR9C7sjhTW7Cx63xCeQAzr9inqJYg98Bjb3/4avuEhPC0pcpcvoyV76Ht8jJf+8hU++t077G8PMhiNosccFm9leHPRYuofHicQS2D52tDzqzg1k+LyCi1PfIT62gTrr7/KwMExfMe62X3sb6lrJp9/ci+nptc4IJSOt6+zsRXirz+xj3atxnZXB8lohNKly2LGjv/w/ZjCDx6IEh8fJ/PKdwlEkhAO0BRsCVPcfRq45Qre7gF5WKnlKyJdSHH5NoGRcTlQsTa2UHqGMBJ+SrfnMDp70ToGyb/4NcIjB3ATnViFBr7OVpzsHM3FBfRd4xiFLbKL23R99J0sfP+nHP/9c9w9GMHwWhTFplhTWdvW6Q1ZvPbsSVaub5PdLEvieyrgYX5pjr37x+TmuZBfJxryyQdd2y7I+O4X/88N+nojPLQ3zcieBN94fpY/+U5RQvaCCQXVrKPbFbp6hrg6syIhjYn+AM2qJbkRxYpFfaeGariE93aTGh+mWizR3pbk7dev09HbSsDjRTU0rl29SWs8TUtrlOWNdZyay4n7jsh4/ltvnuXJJx/n9dfeJOgL0jvQQ0dHKwsLi1JVWy5XUVWTUDDK+PiorOsIR7rfF8Qf8Mrov7hXCoiYx6OD6krmR2d7OxO3p1B1j1R2iZ8PBj2srq3JQ0ipVKe7u43MZobbU7N84APvIZfLs5XbxKP4JYCtqjRZuHCH5vUF1msVxsb6aBRK4iNAqWLx0nyB/3nPLj77h4+RWxGWAhN9eoJmuhvP4AjK+h2cUoX62iahkWFs0TTfvZ+aW8U6e4qIUSJw19088cSXWYonKa7keOHXRxh98ghbS9uYVTHQy+O2tqH5IyiVCpamoVS25Gvobe+SD4d21cQJgpOrSp6EuTqFPbeJ3hYh4FpYQhs3ug9rYQpPA3SfKvkd+tI0Vt9hmUyzc4soqV601Xma1TxqpBPa21GFZzm/gRYOUVi5RaTnMK5ZxS5VcFsSsjeduzMlP/c0GzQHDhPTLWob6/LQ4WntoxFsQcks4WnUaYYj+Fq6sBoV+RzlrK7gCEjWriEJGbTrCs07b6P376WZXybUtRszm8epbmNE4pTEUGNxBk+yW25XhZ7PaWqUL71J6Oi9uJPnKE5NENjdRSlbJtiSRFc01EhKVPSFcwtr9TJ6oYly4kGcyesEuvqorc/jCyfJVysYbd34rIrcUCuWqA1ZmDNnoXeUWGsS1bLYFLHyXpPnX1/j/f/rGoMDPva1BBgY2sVP3riJhoFVrzIw1s7WzDZr5Qpj7zlO12BaDuesZhNT2iQ8JNPt3Lo1SSrVgqFpBKMxapUiM9PzeLwGiubKmPtWJkMgEMRRbOLxFlRN5erFt3ngwftpmiZnT10kFPPT2d5BdmuLpYUVfvnXPsrU5IxMu4h7aDrZwtZ2FsuyGB3bw7mzZ+nu6aZSqVCrmlTqJVpb0rR1pJm9MycHZNFYhPm5eflcpYpYtOalZtZlUqGnq4ue/h7efOs0QX9QLkwEsyLZkqC7Q9ReIbu5KYn/Y2PjvH3xIsFwUIJ4bcuVSsDFxRW57BBD+q1sXiqX27vbMAw/2bUMisflkUce4/y5c2Q3tzCbpjQNFKslOTj0+bzyoJ3LbNHR3SmHC4KJJlIFoUCIxbkZDhw/gOr1cvb0Fca7u1m4Pkt2JUNb3E9Ha4xMuYSzYxNMeaUBZGiknVdfXpGQ2GQixLW5mgT7fu8/JXn8oTY2Zhu8fmqJ40cHqFsFihmLhmMTT/qx6rZUWu4ZT7O+uE1mvcm+3V42swZ3/fEMT+9PsmWXWFipYBabtCT9vDxV4/u/e5infvvTUhNqYWEEO2lur2D7wgTcEtV6FU9sDMfewCyZeCIteP1hmmITvXMLj9EitYBWJY9TnsPU2/ELXo1ZklA/r1vBMkZR3IxUmvoaNmZyEGobuPUt1OQJFKEmFkPdtr3CeIdaKlBvlvDI4UgdPRKWVRIBftfCw1JHbpZmMcIdMgldb+YIVFcxHQXHEBU5P1bmKvg6wZ+Sg/TK6psEeu7GNcs0TZGocdBChly8qLUMqtEik9CKUO4VJ6XxQ03twZ74PkF/C41gArtRwNCiOJF2uVTxCOtBsB23uopSM9GVBg2/0CW6Up+niqhXsAvX68dtCLVfP0pjDZMsHrUb1xav0Q4eTxSnoUIsiNd2qZfX0aprIF6bSApl6zaaEcIx16iXKxjhLvl9JHMLp/2YZBXYMy/i3/MulFqZprCZZE9DaAhP6y6ZaFcqOZxQD1rAizP5A0zBZBi8H7WyjdYs06xvo8UGcf1DULwggcEeowdTqaOJdMXOhS+5VDdR9CZ2YwvF24au+2mIar7Yukc6cB0D09qWkD5FvFDVW3j9vVRdHXauEUwdoCmojfktvFqO8uokwfQevPFxGjUBhYiiBeI0M2LzfBBz+xKeyABmY0d28tXcErY3jDcaoWEL766ClV/C44CpO+ieCIoexypNyJ67SOTZ5RU8wZSkzVtuCd0JQCBG/cY/oO96At3jRxeRjcI1Gh370K0QqlpFL+doxFvkG2vWV1BtQ/5+BFQhMoBWnZGaQzs4jLc0S9mq4jeS4LdxnSCuoG974njsBo5IHQiqdrKXhsdAF4R9FCxdfLAbuCXRv+3CqQn9YB0tMoZCUWryNCMqBxECtONkruFLHJUqKjeQwG2KgcEURrSLmoh4VppY9jrU66g9D8P2DLa9hTc4illdpl4rEYpEQUAUNy5hC91VcgxVDBwI4DoNqf3ThftbTDXDaSivY3j8BHQvuVqZUGMFY2SIz/7K/+TLP1rgo+/tJpVIU8oXmV6psLK6zhd+/1cw8+usZevsFItymGA5TY4dPsLVq5clcOme+x9g9s607Fw6KPT2D4jBGM8//wIf/PnHmfxXONdffeMlhgdTcvJ717G9XLkxQVtXJ3NXZvjdzz3MwZ//C5zsZd7z8CfYqdbp74pjOAGKjTx3FvKM9CX4+C8+iFOuMbeyTqIlIfvZ169c5f6HHpHJBK+h4DOCXLl8ife+7z1MTd2iVqmTTCXZzOSkKioRj7K5vsz65hZje/dz7Pi9XJ+4SsgXEPMXVpfnJOhOdOT37zkgyf5f+8ozHDpyGMsWN+5N+gf7KBZKEj4ztnec8+feZGpikk/8xm/yxo+/zfx6nvNn55lfXWFEbP4zq8QiIUIRL4uZGjdurPGzH34R1SlLxZamqewUa/T1d/Kp3/xDrk6WefzeAXbKFVpCEXwRL8Wdguyiuq4uXaA/fWkKW7VZWnmFzOQkp9+6QHtXlMWlAv6Qxkh/L63tPdyYvM2br77AU0+9D18gSLNa4Lf+8G/Z3ChwfH+P7MXNzWXp6m7hxbOzHBzp4m++9Cl+9E/P07d7hKQYHCzOyodiodwZHh1n8solcrkdjKBBf/8uKvUyEX+ITH6T1196ia8++zaH9o/ywmsTHDncQndnJwt3VmlJt5Dw6WQLDVpCClfu5Fhez/G9r30Gr9qgVNa4du0OpYqI/rVxbN84N29NsraRZWBXr6xX9A/2s3e8h//55R/wj89e5e4jaVQxABQdeZnU0Cnkt0lHW1gobGE3dfyKxtJqjZ1iiaNH+mSvaqivX8YH55dmqTYCzEyt8KlPPkQ8FGL32DALU4tcvnKND/38+/juD3/EkUOH6Oru48a1yyQSaZaX5jh6fBdrGw3+y+f/ESJ+WnwqqXSEhhXGF85x/cwWDVRu77xK5Y0rNIx1fJFxatmrKCLCH+pC93nkNsjW69iZWVmpUkMpCPRDaRLN14sqaLpmSQIr3ay49h6lrjYwSzfxxI7j5u+gVJbQWo+DJcjuLmrEwCxk0PxRPFoblpjeay626EyZloyKCz+UIjR8axdRAiF54xQqO6PzBCf2PEHV0thzpJXcVomYz89WqSEHdtdvf4Hqmbep4CGU3s3y9/6S4MgRYgcPUrx2AWV5Fo+I4nbuo6QGCTTWMPrGsc49z09PL3L/k4OkH/8FGpPrLN++SDLZi53L4g0HMD0OlXJBbhcEfby5soxqB9HH90iqt+5N4iYMzDdfwNMzhD18gOblV/H6VJn0qq3MEIumMHoNVMtDz6Nf4e49AbrjYa4t5RnqT/Pm1WU+el+K3/vrz7H8jX/EKm0TPXE/bq6Em69AfxuliRu09/WiDYcIH/0Ov7zfz1hfmK9cyHBXv5eZTA3DcnjuZ79H9eIEzYqCnU6iibhwvYDtbcHvLVO8dYtkZz/1RBjLH0DdKlFZmSay7x4Kb36HYHsnFduLt1rGd/ge6vMzqJ2dGI0mzdyWiAvJe4C7toxtlvH278Ft68Kdm0KJJWlm1vGGQrgeDSu/hRLtQvfq+CrzZLbX6X/4Q/zZ//gSf/pqjieFU3wuz66WkPzcnZ+t8JuP+fkP/24/O9sefAGXlZt3KNYqhFMxKpkdgqEwuUqZvu5+/H6DYm6Ozn2DfP73T3NsOMHhe/1852WTv3i5SK7p8MSREOvrTfpb/eS3vSyWM8QNMMRDqEec8VTm1oo0Kk3ahlvpOTaIFTDYuLNCT28vszNTJBLtuDgypZduSeEPhjn1+lsMjOzigfvv4Zmv/x37xnZTyFdYX8vw2Dsels73malZOnt6uHTxKmN7R2S/d3srz569e1DFNWBRDAV01lez3H/fSaqNGrduThGQsWGXrs5uVlfXyW5lObBvjxyitqc6WFhd5tGHH5T//e2p27S3ddGwajL6LA5GTbNBfrsiE3vbmR3Gj4pkRkPWUxauz1O8Ms/YWCcVxUJzm1RKFnXdYi7T5H0dEb76v99FeWKbXLFBrLsFe3uL/OwcobY2/KNHKGe3CLS3UTz1Y4xoUj6zqL4KtdOX6PnMv+NHX/tnfu0LEwR0uP7dT6FSouIEab79Ov5EK3r/APViHr1Slb19tXsXii9KIOSnNnWDpq3j95Qwhk9SWpjHqG/jEXWAnSI+jw87IEjTMcxaFr1YoLoyL1kFvpH9ciliV7YhvQstEKN0/TTBiB+7kEXtGkLJrdEMpDAEVG9pmvj+49QdVcbwEwePS+imAA42jQisTREY6MPeqaIn+1Bb49Q2F/GJzZlZpHjjHKHu/Wj9I5jX3sR36CjO0hx2qBNfKkXplW+idg8QGn8Yd14kadZoeoRCRMHbd4jC699EUb34jtyP125SzWTwlWu4jQJmup1g/x4aN6+g9wzjUVxKE5fwjx+BljDluRl8HtFVDlNYmsan2ljiABWOYYUNPGsZqOaomi7BaIrm7DVpN/IN9BPfc4Da/DpmrSYZWo4/Qtu9J/jZsz/lXX98jcMjcR7ek+SFy6sE/RqFio2m2zSrVVojCbLlCr137yZfNhk/MiRtU8sLCzz02KO89JOXWM9uyIOSgBlXm3W8XkMC+g4dPcDmxjYCXiM66w3bopjPEwxHWJyb553veZzpW9N0dHcQCUU5f/48PT19svK4vZWRMfrDdx3khR+/iudfU2+PPHa/7NhnN7KcfOAEpuWwMDOPbnhIp1rp6erg1uQtTMvCHxAcnyahUISVlUVq1QbJlPgu+9i/f4yzZ87TkW6Tz4s7pW3aW1vZ2tyhUKmSSEbkwVukRBcX5hnfs5ft3Jase5bKRQ7u3yu1npfevsS995xgcXWZZDTJxMQt+gb7ZI1BDCJFRfTty9coClNBS5yg35DPjYKXJZKcN6/dor21jWAshC22t66wWDWIhIOCDIYjEp+hANu5beZm5kmEo5JfEuqIM7x3lDe+/B1mp9d46qmTLC2ss7lcoK3Nx9ztVfkcrbhlUu0h5hYyBD0+ZutB1rMVfvVhm2c+c4BKaYvp2wJInqdaKDIw2k+xlGdlrsSe/UOUannW5ldYmK3z0PFu4rvijPzaHXLVGj9/KElbMsFzV5c5Ph7h1fMZjg5F+N75s1SmX0Sxw9KQg9iYq1DfuIrheGm4wvASwxsOYdaK2N4IeiVPs7SG1jaKbjVwXeGfn0MRvfWygm1Oo0aG5HJYSQyhNRoozg52ZRniBzFKGzLR6IZS6E5TLiwtXxyl72EozuPNTgl/Ak1DnMeiUtvrE5YOZwdV1K/VEEqjjO0KPpeCozZR1QgYCbz1NRoKKOEulPKyjMy7wXG8QQMlcxVzZxXa9snPuNIooIfTWKYNtaxMSxuhNLgeTF8LbmULTTVx1ABYebTSIvjCWMKQ4ARRk+NY+eso4T2yim3vnEPRWzCSx7Gq6/IZzOMVNYRFVDUp0+6KnkShhC3Aio6NWr6NGxmQ6XmRsHRdseQRsOYbGKlRNJE+F9fG5gbe9CFcR6XRFIMDHcdSUJuLmPkdXI+BLz2KKZK2QvMnOAqdj2CLpbjHj5ufQ20ZwTYraL4ojemXCKRGMX1d4GahWpKGPlsPoAlDgFixlOewjCTKzlv/1dUEDT58N46SlW57b+oYdm6VemECTyiO3TKMvnkbW1ExdC+OAEe4QRpCP9V2RCqZ7I3rBNp6MY292PVFNCtD01TxBP04po3StGVMWPdHaVTX0aN7cfO3cPOzOK13Sxdude41jPaDaJqfRnkR1a2gx3bTLG2he/1ogSS13C08pFDDfvnAWtu8idH7gIyqOJu30VULNX2YZimHKlyN+iAeZZPm0lmUziO4wWGaU98kOPK0aGRhr19CEdUEr1/0FdDFRq3WQIn04FbuoAkTgdjCCyaCiKk0crieqBweeEUMRHXwie6bJiaWOo6dkz+jKkGEwFuRWq0G2Bm8sVGs2jpKIIYj1CHVRYy+J7E23kARP19awfSnMaIt1KpNDI+JIozgiorHJyZSC6iunyZVFF8Mj/BY6mJc78ct30CL7gZdZefG3xFpvQs9FJEuYiPYgVLOYIkhhVfsDgTcIyGJn5gmlfw6XZ1dmHGDRx76LN1dg0wuTHD3wT1M3BI1DZs9HW2855HdVBpeDF2RsfJUZxeZjU0ZD8uJSXDd5PEn381Xv/JlHnvkMUqVOlMzE+we209Hwk+x7PDbn/8bOnt6yW6tcnRsgFqtSq1pMjlZYu9Ak2+89CJupQ7hBcb6/gN7h8WXyqTcEB1el7X1Cj1Jg0989EFqFRM0hbffvsHIcB/5nSLDw7vYFv3VQkkC60Sk7f6H7+PFF19n4tYUv/brHyebyXD1ytvs3ye8timuXZsi1pLgfe9/mu9++5951xPvxnIULl06J8m+qu7n4KEDhCNRnvvhD4m3JDl21xFWVlYRy4pCqUS9UmN4bA8TN69h6D6GDoyyOT3Bd3/wKqvFGuVGnYC/hYWZaQY6+zH1Mts5l2axyDe+8v+xuLJISzBI3WpSKFjsGeuWxPWPfexTXJ0tcGCkHcWx2dyuMdCVQDUcMqs7+MJekskgb7y1yid/9SF+9Zee4vyFCcaGenjr7AVak2lJs90zvo9EopXFpVlK+Tw7xR2OHTvAr3z6z1jKlXnk5BjzM8sYXp2O9gQvvHqbD73/MH/8t3/JM7//ObyBEIP9u6RaUTh4+wZGxL2E2dlZuno7uT1xmxYBrdK8+INB9ozuolxv8vQv/XeC0TI9bf2cuTTFo8cGyOQbXLm+weFD7XS2halkarJHn2/W2Fgr8fQ7xnjinQ8ysyAqPnXi0VZe+MlPpaf7+LFjRMMa01N32D02ztrmKr/3Jz9luM/4N4BUU2H/eCun3rqDEVK59/CwjBW/+NY8y9kCRw6kuO/4QXYKOV796QTFOkTjDR4+eZT1jSym4lAsNpiY3OaLn/8FitUi2UyOjtZW1tYzdPYI3Z7J5sYqhw4e4fL5y+w9OCwPHc/+8BKnryxw98EOPH6/fGiySnUqts6dhQ2uXvln9GQ/hbNfJxzpwVY9oIawGttYTgm33kQTLBEni9U0ZTpJbD0tNYaSn0T3ptD8Ko1iFdXjxy6KTtgIpuZByU7giQ5j6wJo6sErhrObp7Ei+/EGPDhaDI9iY5oOjcodgqEhmnYNWzFQi5PScqKJLUFtAb+xi6peI2r48A6Nsq/7HXR1xBkZ7GBjaZvNWob1vEZf3OUHz/4h1itvYXXEsVzx/7GD1tGKOTuFb/wIlc1F6QH2x9toTp2n4rXofvhdvPInX+QdXy8w4Hf4/n/cw9j+PZidu2hev0JDbB3a+6lslwi2pVA3N2kqDv72BLU7ohoRQO/fzfb5HxAId6ELYFhhmaqqY4gaRP8QxfwWwc0q2/klHN1P1yPv5b986nd46bbCwe40t1a2OD4YZmajwCtzUN/+KtWXvsXWxDb6+GGcxauYpS1Sdz9Mo2gT39PBnRd+xv2fvcgnnxjg3EIWtVpl/74evvvyKr98X5rf+v9/jdyZV/FYUfKldaKBNPWteZxYECMsUg5lLFNEofvxVqqUijkM8bgQCBPoH8asZCkv5THXb2EI7Zpmknjk56m8/iJWvYRvzxhOLif7qPhj+Jyy3P41Sw6xoyepLFzGnLyNtvsoSnEDX08f1bKCNXuN4Og48SOH+dgHP8/3bpT50N1p8rU67WEfq5U6r96w+cffiHHvAYOLlyq0DcepZwtYpsXBkydYnr6DVW2yubVNNBigRpPMRpmuVBQ97mdkT5zf+tM5/vfpGq2qzWCvjbcZItvwMN7ryIpR1dSJBVQcR8Mf9DK/lCcS9TBw1yiLlQa65iGiKmTzeXlIT7SlCeoq2ztFWQeamp6Tg7+hoQGyWxmi0ShdfV0IuMely/si+54AACAASURBVJeIRlokrKy1PS3hp6VahdXFVVzb5B3vfILLly+xvpYlkYjjiuG1aZFMpSnIOphFs2HLYaNmaCzPLRIORPD4vWQ3Nki3tuNqiiTQ9/b1symqYorKQE8vc4sLsuJTrldYmlthZHREDinfeOtNBF4qFIngC/pZmlohuFkhFRXQxQYdUR+lZhOnaXOrWuc+w8uPnnkXxTmTotMk5dPJa35CiQS1UhYt1ok5cRV1cwHv0QdpFteJdvRRVjXqwgiQ6MDn8bB1Z463tut87CNPoRhxSgsrVG79iOSDH2Z7bpGWhI/S6jqmXSCY6IXNVcqiiiG6qAEP9sYcSu8w7todlFASrXtIJgH8HeNQylO7fUpup3x9uzEL62glB/XAA9RXL8PyMnYqjbdhool4d6wLxWdT+PF3cPUokSd/jvobP0AZ2ScTQW52EzO7RCDWhtM9gr6xhD0wgpbbpD67ADEdzRugOjONRwTvE3F8qWGUZEIC/oQ21VyZQBk8jlvKSS+8XivRcD1QK6CP34MtYH2pVuxCTm7D4wcforo4IXXW3pZ+Ce+qm1UMcQTJLKF2DqJULWr1DMGBfTgNC69VpV4toIg6liLw5DWRUcVoa6UuNICXzhAYGEft7qI5d1266Rl/APfGJdSYD2+ineKFc4ROPE6jvIE/s0DZsmgfH2AjV2D0Yy8zvruFgFOgWLQIt8akDsxCo7xZkr7yoOolcXQvVlzjzhtXGD92gFy5hMdUGBjq4cr12zI5ItS5uWKeUmGHfK4sFxT3PHi3VPOJmsvm2iqPPfY4Vy5fpr29Q0KBE8k4czPLVOoVvIaP0ZEhmXDxy5rjBkHDL9VsltWQcL97772HYnGH7ewOTdNiI5MlERE1zghLC0vEomGSLXGKpQqtrUlyhQKZ9SyDu3rp6u5hbnZOqjK9ukGpWKGnr5tyqUIiGmZ6ZlrqN5988gkuX72CPxDm/LmLpFMJTNMinohKKOLS+pq0eIj0Trkqkj0eNjaF3tolGA5TyuV45IkHWV3f4LWXX+fDv/Rh3njxNWqNJkMDg4SjAQKBAFeuXCPV2iYXf8JwNDAwIBcCy8tL3PvAvVx7+4o0MNgNk2RLSl5XxIwglDLIr+XpPLoHzTVZfOUm5k6e/FqBo3ftYm1rC822qele/JaNTxwCvTqzqxkOiPdaC/JPr2zR01Xn1tcPYPi8vPmjmwQUP5G2pFT6tqQjnH75Ksa/plIfefoQ64siIVBkYK+XP/gft/jeVIgPn4jwxpUMVVtnb1+YuZLD4lSGmeV/pjY7j1NtoMSE914YyJo4Ilm9vYZbW8KOD0g2hSaS2WLpW5zC8rbglBdwxT3LMDC8aVRLodlcQa+XcUODKKK2XS6gdB0F24ObuYwbTeCWc3i8OranDWvrHP74KJYt1L11Go0K/pYeLF8ae+0GuqphBVpQAj50pQOlch3H8WP/a8JOUQ0Z5Tcdg2ZtHb2elUsPNSnUuUV0vwfNjdHYElykPTScGpq1hhrvxi3ksd28rPs6WgdGrBV77Sy20O2pCbSKUKp2S9aA6pRQA6PYxZs4sTGU8h1pL7JTJ7HrYuFgoEcSUmPvlgUQPofuT8sqgytgdk4JOzeH23WAgKtRu/Mc3p5DuKEj2OUpPLg0C6s4YmsvalLZaakWlCD35C7YOIcSG8GrxzHF4kZpYBq70NxVFFuRpiHXqaPqQVw8+MX1vLCI6JfYjU38IvIvlgwtu6Qy0TELkF+Q+kNTUdECLXhcVYJLXU3A6EWSNw/xIFpNRcld/j+uu3Eex9NCsH0vlvlvBzln66qERRjRAVzxR8w+i9Z+HNXXjlnfwis23Y0mml9ESjXUeh7L04JmiBFTDcefRHXruPVNXLHKV8J48GIpgm69g2K40vnq+MIYagPVK6YoOrovilnYxvU6EiyiCiUCYSwni7s5hdrzEObstwi2jYJ/CKu6JL3Qpc1bhPuP43paobKMWc+iK3HM6hx6cAR8fjyVVbn1UmJ9MrqvqHUULQXVVRBQCg84q9fR9BCEU1L15oq4i1eTyjoRvbXFB1lEbgsrWKEwNhF8tQ0a9RXcYD8eIy0GV3iFiqVRRkNMnU1s00G1hLIiQtMXRy+sYgnYooAmBsNoRhhFj+Gay1iKB693GIdFmnXhKfdi6QFQqjI2Qqwf1DTNrVfwJQ5QEb6M3DkCsePoXod6/iq+thPy4d6uLaMZnbhOgObOBXyxfqrZKRSCeJJB3IaD29AJHznKzR9+i7s+8i986MkDYG7T3dHBZnab0xcWefTeHj7w1ENcvXiDvqFucA3WMhu0x2Nsb+fFqyojWlvba9QrNvc9cC/VchFLabKynKGrK825sxOYTQXNF+HyrZsMdqe4eCvLffu7eOPsCt/5h3/Prn172b59ifiDH+GekUco52F0l4iKJ2nYML+wSnc6xC/9/F1cv7HGg/cd4+//6VnZP/MbHhnjFxq6re1NRnaPYXhVQqGoVNpUak32790jLyTZ9U22czkOHT3E3MwMDz3yXkqVAhM3J9i7Zy+LS2L7305vby/Lq8v4PBqr6+ty2CGAMmfPnSa7sSVBdOm2DrAcKpUiuUJephGSiRRtHXHOvPUGX/3mOSzNJ2nTFhV0W8Pr1ak3y8wtFDn90p8xNSW+zEFmZqfwKD55w/ngr/4Ss9fPcfSh/8h9B9Ls2pXitbNzRMJherpamL6zSmu7n5aYMBCY/PT0LD/4ymc4ee8xfvbt7+NLdzE62CtBmOcunqWzo4d7HnuUi2fOkVlb5B0f+wj3HXkXliWm2zqGJ0BrOsLywiqr2y4PHW3nL575K1744bNYNUtuE7s6e+UWJbe5Tmt7GzMiztfaKh25d5+8m4nrVzh77jKf+a+/zd//+Vf566+8xsMP7uLUW9fwt/gY6holFijy9e9Ncuj4HnrDcObKJHffMyAds9cuzLC8Vuafnvn3KIaHV184xZHje2Xk8HvffZ6e/naOHDtCPrvDnj0j/Iff+ytWsyaf/KW7uHx9SWrJ9h7ew19+9QyfeN9ePv2pp/iT//Y3dO9O8cmP/yIbq3nKZhatUcMkxDe/fYEXTk1x4lg3Vt2SN59kOMSLr4kOoo8/+k+/yE6+wtZWleWFGflvT96cJhyJoXlVHr6vm/mNHZ7+xDfpSPnobm/h4HgHuVyDzVKBar7C1ZsFfvSdX2T/E59k67VvEewYwPZFKa1MEmwdk5NcjwBCqa1Y6gZ6tYLiHUCJ+lCqVUyPH7W4hqq71FQfXsfCLS6g+byoyX2Y9TqaiO/aJq6gfsQGMDfnUb0VVJHnDQVp1Cto5RmcSlXaVrzpIcz8ioz5NZubaMLxqw3impuSEVFzXAJClxWu8GDPR0iPJwkIinjNS3dbkFzVIaYH+F9ffA/q7TkWJ27TMTxIQ8zk+nopCxtIh6hkgJPoxhV1rUZBqss63/UIn/3Ql3i5bBMPeslsufzOyQAf/4P3MX12g+5UnKqvgrJYoipaeePH8alhtNomNTHR317D1jW0cApHVLCiKaoXz2P091G7JuCDaXz77kLZ3qG+MkFL/zGUdIzK2jTjv/I8nWkPR4YFSLLMrp44X/vZKhe++BCD73iY2s058qsLBBubuKEO1FKTjeF2RkeG+aP/5xm+cnaNX31HBz89l2e0y8dYl8pXT+9w5lu/jh71kn37OkHLwD82TvnWOQK9B6RzWNwGPIVNyjem0bQGTlsPHtWHGolRfOVHhMYOEThwH6XV26hL8zR0RcZ3Xb+f6uoawX3iwaeCOXdHar78o8coLl/BF+ukcftt6sWqdIkbgTiNjWU59CLRgT+dZHk2S+vGNSKPnuCRT36fDhFF7Qhx63ae9haFtnSEZy7m+PGvxBk+NsDazJoA2KNafnbt6+b5b79MT1cbLckYmY110uk4etPk1OQqjx6LE2/rofcTG1TMCr/waIBrN8V2RMetOWQbNbpaE7IOV6malKslvELza1t4Agb7P/x+ZiYuk13N8OCjD/DK66cIev3k83USQYOB3UNM3J4knkjIGHJ7R5qe3h4JJBTbuVKxzN33nODG1esMDg1y5vRF9u0b5czZM9JEI65ZGytr/F+W3jM8rus817733rOnNwwGg0GvBAGCvYsUqd5lW5ab3GPFSZzETj+JEyd2bOfEsRMnTk7Kib/YcS+SLFmS1SWqsoudRCF679P7bt9ZS/mrixcBAZy913rf57nvSrVGpC5CIByQw4FXX34VbzBIb0+n1JKJiLBQJm7q6+D110/INNvm/k2MDo/JIcH62iqFUgmrXGP3wV2YlkgEmqiKm4uXLhKrq6dWLcoNZSga4sXnX+bWm29mNZOiXCqgetwEPV4mjp1Grzq0DbaQWskT1BVpfBlZLkPZZvjx92AMLVC0vBh1QdRMCXcoRnX+MmqsDa+uUFhZIbjtAOWZKxJ0KiL9mmVTEZDEGw9SVhVcNZOFEycJ9W3BzK3JM5ua2I5rZRo93EBt5iL6zltxCQPPs78geOfHUWeHyE/P4asPYe87SvGNpwgffA+161fkUMoyHPSmLrRIUKbvhApWqBhFt9YRg8rlaTybt+JyRSmNX34HJN3aj1qfpLwyK60wtqcOva0LtZbFSi2h9e6hcuYk5uRpAttupVxLoybbUCoGSsVEyS/jdHSRHx0jFo5guFzoTS24omGqQ2Nowl5VzVIpv2OdcnuClNJL8udiGg7eWJ20WKmRJuyFSexEI3p9EruUxV5eoLY0jatjQOrxPPUNlMfHZX2oUsqjFYsSLurseTfeUp7q7NuyUmPMXKdw+Sr65m3Egi5yuTXsjQyBTX2UO7ZhXT1FMN6B49YxJobw3PFp7OIExvkTRLoHMRMN5M8ep2lbNzQF2HbXo5SMCoP7ewjV8pSLDiXNYXV9neqGQ2dHI0rYx8W5WX7td3+dC9cusz69QP9gL+ffvszqapY777uNa1eH6Gxvl3Di0eFJevu6OXPqHLt2bSPREGdqepJde/bw2suvMbBd+NJTVGoG1VqZgAAt1sRuVuy7azI5IEC7EWFGSa0TjUVpFcONcpWyWGb4fdL6JExKre3NtLV1MDw0TDaboqm5TQ7zjr/5lvysxuqjBCM+GuItLMzNcv36GHv272Juap5NvZsYnRiTlYW6+jBzM0sURf2ntUlubxcWFiW0cGFhgcGBfo4fP8W+fXsJRQK8+eZbbN+5i5Gr1/AFggz0b8ZyDJaWVmUl9Py5y3R2tb0T8c8XOP/2eVqbmvCEQ5iVKgtzC4gc3MpKhu27BqlUK1wfGmVw2zZKxTwer1cO/3t62iXjK18syT9TXxeT2sJTZ85SLVk0NCbQdJVUKU3Pps3Mn7yEM7SCO+LFias4hkU8EmJkfIW6mI9IOMqGqBn53TT73ZwcS+GUvZz6VjutnSojF/Pk8xrV8irhuhaZLBZAz3hPgoWpgjSH7Lqtie/921U+95TNgaRDJBygFtDZWHhHZ/zUiXWuPvf7dBy6jfUzT+Nx70AJ16iJO6sYJttlap4Ymu6nsnAMb3gzrnAPpsvAWhpBdQyU1luwUldwqjnUYKcgjmGuX8cjEoK+hNQMOwKilx1F1Rpx3EFsTxRPZZYKwgzRKMZX2MEmNHejXE7a1SV53xDbdsyyJO1rIl7vT2IL+LqiYoV68aZHZFzf9HtRTQtVLGZtgaqIUl44ia9lJzXHxijl8AutcaSRiu1FyYyjahXwNmGtjKFG6zHdfXjNMar5PEqkEZfo5cu8gVsS9BFaTcvErQawhTadguTdOUE/LsGZcTmSnyDe105ZmN5yqMKc4G2UBgHBVRN3VaualqlwJ9yFJ9qPIvgfwkxXnsHlbweRNK+sUc1M4e64jdryy+ihPaBr1KbeItB2iFJ+STL0XJEIjinuzRqG7kYRtXU1gOOLoVgOjj+ElRK1wFN4Bz4q7+tiQOcEkzglkVfJUcms4BJpereO1xXD8AfQxCCjkkOtE7UFAyV36q8cR0+g1jJUBdQgtgdbKaLmR3GrjVRS01Dfgl5ZwHZ8kq6se70Ydhi1skxVbLu9cQmLw07jaEHcInbuC2Flr+OsiOnsg1iqgpMdwSWmHU6NSiWFuXaFgHBCqjpWbQljbUJOcFR/ArWUxi4JLUUnNdPBYxgS+Ccoi7laFk+4H0VAKjziewrjEXyC3Bi2IP56QhT0KroWxyzM4YjtvB7AdmpowskovI+mJlWGSvYamumghPdR3XgN3XahhVswMjPo4TZU8Uu2N6isj2EX02hte9GLyxLyYmpxHDNLrbqEx9eKYlYlZVFMn+3CMm6P6CfFKIs5rqqgewKYag2lFkSz89ixHhnF0Alir55H77hN9tXVzDV5YfTGGjHSKYzVU+gtB1AShyF9XYJ7bLcPRfRMRKdX2AqiWzBWhzFSl3Bt/pgcyriEK9wKonkKuKs2pfISnujg/0zHwhLAUc3O43YVpQboX//083z70Ysopk1HVwOJRJDl1YLU4X3igd1EIlEM08PEzBgLInofqWd+ZpZ77r+LsYlx2blyuxQMoXxr70TYJUqFDK2tHXjDPv7sK9+nIR7GMQTAr5laQfS0srx+bZ2bd/t58vQLlIfPYFYcQjse4mO37eax15b404f38PaFCUm6HJta5/Yb+/jD33mAf/vP/+Zdt9/OhWujJJNxmcDI5DPs27WT0fEpTp++RE9Pk/TANrU0oqlu1tdX5QdLROLcHj/nL5yTkbTb7rhfaovOnz1La4tw2EaYmpiV7tq6urDI90gC7ua+AXLFnIyWimTCvv37qZRrhIMBVtbWMKwKiXgr7R3dPPLz/6KQzmJ74/zw8RMEPRVuO7KD0fF1+XKvmD42VtZ4+emvMT25Kn8mYmhSqply0xSO1nPgvvv5+l99ge9+7y1uOzRIJp+iXHPIVPLy8pTPCmyOSV1QZXihwLW5GosX/5X6lkHeeuLnRBuSrK6tUFcXQnEUqcRqbG6muT5J594efvNjn2dxUVwcRY3EI/v5iqLw+rEJgnGDp374bzz62GMMbhngwOEbefXYK0TDEapi+Kcosle4uLJIjzikCcCkIPdXcvRs6uOpJ17gW/91jIfe3Y+ml5lbVnjq2BT/+4+20tnVxcc/9zR7t9bR193I0PAUzYkEDc1hjr81Qinr5ZUXfp9HHzkuwYvxhghvXxzl6JHdXDh9icamOu68805+7bPfkM+lLe0hwokIi9PrLGVzLKwafOdvPsX4xBUyBYttOwaYGZ/AIwwVup+5yWmau1s5eriXP/jij3jtQpp7jyTQNYemumaUsJfHHz/Bwx84xEMP3sqJkxfo6OzlxOtv0t3XiWPX0DWd5bUVvvJfZ9g9GKIhnGRuRgyekhSy60Sbmjj92hXe9dBh/vyLf05leglK89ieBmoibqqlcAXaMIrrKHYZTyBJuTSN5evGp/lQ8tOYLjFgj6JVs1iag162UcX0WbepqPV4nBpWZgQ92IztbZUVpWphQh7AXB7hjE7h+JqxlTjGxkkUu4A7sQPF8WLnBInag+rdgqoLMnsBwzBwicuCoLGHLFJFi3ff+g20gI/BXRFWlwXEZwaf5iGvenjy795HNeRi+eoMPrchbSDh/UfRVzdYfOFJFDtPw83vJTt+kWhnl1RMtd6wn+//xT9yyt3DvnCJn17e4OrlIo98egtHfvseRr77CHWJAGb7Xsypt/Emg7JLJyGo7gRuXxgzu4DT0Ewo0Ut+8hLe1h6U+noKwsstQD3+dhkn173C1WyTnZim754DfPkvf8UvR9YZ7PDhqmn0tYf49rFJ7uur49+e+EsKz7xGdm0F18AWoo1bqFy7gN0VwW2kOPD+x9jcEeJjt7bw/IkNoi3CJ79Kom2Af/ntTjZWVwh5Oqmqy5RSIr6o4jaz6E2bcMXaSZ/8FbGDh0DxkD93Bn9rK6awG8yPUi1UqYu3kc+uoDcKPo2okBm4ewapLlyHYhnPpq1YuQKV+TGUZBL3ygxK206M6+cx/G7c4lBVzKDHO1F27KB4/Bn8tTKeA++B9BLFmfPs+INT7O32kS/XpNGjo9nP1HSOnGly7ul7WXhrlDdeuc7Oo114I36qwiFdNgj43BRSZQktLZYCLJZXuftwF6mswQN/MsVbc3m2t3poj0cZTeXojupEIm4mFssEdJVonZ/VdIGQ4iOVyuPqSdB9aJDhS6OsLK/T29lBfUxcUsYZGNjMxOQMdZGw/LPhuiDBgA+328/I8HVJ7I43NkjVZGo1R0NTnKzYvKU35IXCHw7KTnGsPkJdOCZrQLH6Bkavj6NIbhBMzU5x971388brb8nIc09vK5evDHHv/Xdx5sQF+b6YnZ6j5hj0dHYwMLiVZ559hmRDI6l0Viplp6YmqYuEaGvtlEPQSrnAhUuXGRjoY2JsioMH93P+8kXsikOiOymjnTMvnaOWKtG9q0uSwhujEaiVWE6VODWSZenVXyeyMc/quh9NRIcLM9SWFvA19qDEouIMjtHQiDZ+SQKSzWgUAjGcqydQw2EIusnPLxFKdKLkCljldWhrxaXGqI6elxt09/YjKJfexNl+AGd5A1Up4IgakqgYBgS8uCRriHauiO0PoegaXm8Yc30GQ6SWmtrRCuvU1nN4dtyAOnOFckYkASxcW7dR21hDSeVxt7Wj+gKUr5+VKQ3frqNULr6OlmzDTGXxxPxUSyV8oiO//RbKQ+fQ52fwb9mDKUCZupv00BXibd2om3opXjiGEWki1tHFxsk3UewawRvvoDa1hL8lyeprj+DffjOeSIzK2iyReIzSxAwEvNiZAprPh1MrUQmE8dXA8OoEfH7szn6Ks6OoYupVmMeaX8TX0o/VEEcvl3DpVUoVG19dO6nxc8RC9ZRdoIsh1sARCldfR/M3oAwM4rz4E7mB1vfdhDN9mY3pKQkd9NsuapUSWjRAeSlNx+23YwYU9t32dSbTNdpahZs8S1N9FD0SorQqGC2QXy/J9/Xswizdd+wl0drG60+/Rp0YZPUkSSbaGB65gu4SWruQBBxHYvWyGpteWcEfDMhqoQDp1cfqaWptZ25+jqnJcdpa2+nd3CN5AI2NSX7x+POEgm7e9+C7uHJtGJeu4NOD6F6diYkpfD4fS/MLbB7YRCgS4eq1a/T3DbCxtszszBIHDu1nZGiY1rY2NrJpWTHo3dRNWVD1W1pYWV6Rg7NAOEy5UGR+dkHG9/cf2CPVnH6/m/7+Aa6PjkjukoB6i8G/gPN1d/XI89XC3DyNTU309fUwOTkjzz7bd2znhRdeoS4cZnFlhaZkM3fedTNP/fJZmU4Q78JQNCDTSy3JVmYnx2W1QVQ2z58/y223305qfYMzJ96WaV8JIa7ZpDbWWVtLk2hqYHZ6mrvvuouJsQmGRoa5+dZbWF9dYXZ+GZ/fw/Ytg1y4dFFaG8Q5cmFsnvLYMlHHgxp1UVEMSkWFjladeDDMxGIGESNoj+mkcg6nF/KE8PEfn9G5/6M3MHp6ltqS4HgVaN3UyMUT07KS19pRx+WRDQa6fcSCQbp+f4ZtXV7CjkF7MkprS5Sx2RRvXF3jJ186xK1/8lWWfvUkvkQSRbdRnXp5X7DMDVxqD5ZuoeQFaM6HYrkx3X6oZCUHQaQ9NKF6F3kvscBs2CS5REo1g+NJ4glHqQiVdm4JtzinhBMS4igYZqrguokL78LrWDFRmc2gzh9DCe9BCYUwCtcJxPdQc8cwNy6AK4Ye60XJT1Esp+USVhMavfgtqO4yxSs/xS1qCZFNmJWiZBcJDakv0UvZKqFWCzji/uVplwyA0sY4giSnqg75xSECWz6IVVx6h/EmhpbxLVjlDSw9jpYeQwk3SvA5juD2mzji/evScKteef+UafT/ufNhzmGtDKPGtqI6Ahy4gubfhVpbwSIF4SOolVHMoe+gtd4L+VE0oUZM7JJaeo8/RkXxY1z/Ab6e+0DzU7n8Q5yW/WixJEpuHae8BuJ701SMijBWmegN7ZKv5+QXqZgKXlXFFlOReDekp3D7fBiqG6eceeecF2rDLGygR1sxajq1jOCYRagVFtAb23DMKErq5Fcc4VMNODUMHQhultE2pbRKtbCBR69gh7bgUYMSSleZ/BHBhhspR1pRRr6LHRtEqxiSLF0pmfjr23Ea+6iVCrjFpdkF/nAX+dQltJqNO95PtbImkwSCRKlaFqqA32k2Zn4ElwBu6HFsn5hWZFD1JoyZZ6WeUKQBmHsVo64FPdSLU8mgCbjVwpsoib2S2Omkz2Kmq3gbt0kgjOqLYqSv49ZC2AIMIwBuviSqNS0PhlpDJ6wvYioF6ZzUI90YApyVmcIVFrCdBZSShat+F04xjWMXMHKTeKPd1BQT1VBALaJ6+yTsUDPLKLUMtUoVPRKXWwIFL47iRhVFkY3L0HQQy+fFWLmEJ74ZJ1/ADoSwasu4zBCuQJRabuodSreuUFu5QKD9Nmk0cMrrMpLuCEVgsBtNU7CrOayq+HotWKlpFNXEVl24vRblXBHFzErqpFu8zJUAVjWD7ZgE/B7WV4s0tydQ+m5ic/NRWhJuDm5rY3x6Q26VQ3EXatHhj/7o/Tz19IvEojE8uiKj3m3t7cREn/bSFXbt3sHS4jz+YJzhSxfZ1N/LhfNX6N3azgceuIvf+K2vM7dSZvfWXtzeKq+du0573Tvxy8l5mycefZj+I+8ldeF1HF+U+Pb38je//VH+7ttv8rF390uIhz/s4+3T17j9jl3ceugAJ06foCEQkk7oYrZIJpvC4/fiUT3MLSxIL3RDU4IbD+zjhVdekcOV977n/Tz93NOyx14qVKQHfmVlmQP7b2TfjYfI5gssTi8wuGMz1bJJqSQm8lUy+az0zBbzeRyRlVI06cH1BcP86peP4w+GGNy6Vcb2VkQPzxOgWMjx00d/ju5r4NLQGj0dMUJeF5YNwaiba9dETabCmcuvcPLFZ7hw/ip33nYj46NjrGSLEmjnD4c5evdN4n/yXAAAIABJREFUfPVPv8n3n7jM+94llIMbtLQI7UiZ62NzNCZaGZld4IbtTTx3fIr6YICzQy9w/Bc/4eKVKTb1tMj0Q/+mPs6fe5v2vl5W5lZ48BPv4567HmZiYoMbD3YQ8IeZmZrHHXRxfWqN22/cwTf/4xs8+b3/limKzrZOzl25QGNDA81tHVy/elmcR4nVxeUAZHJmhvp4TMJSjtxxN1/9iy/z6Jtvc6irldlUjq2b2nj1tRFu2GzyH29Oc/Z7n+e9n/kxD767j2pJZ3Fxjf7NDUQaGnniydeJeDz857/9OcvLSzz5xPPs3r6L3ft3cPnyEHMzkwRiCZ56/ow8fJezy+iheiyjzIXzy3zhz+7l3Tfv5p/+/VF2HdhBUyLJ8888T2trKz5BVG6Nc+rkKW7Yd5C6ljDv/ug36OtP0NnWwOTVFVx+CzSdq8Or/NOXP0LQY3DsrUt4VC979w6yf99WvvOj5/jZL88Qi7mF9INdfa0srRYp1rLE6ns5f/Yqm7tCPHby51SWspQWr+GL9FDJLqLrJpbhwxHE3PDAOxWd6jKquwPDyaB5GqkuP09Q1IY04Su3cIL1Mr7lUVwYoisW2Yph1yQ8UCsuUjVtAn33YuVmUbIzWIGEHDBYq8eoEkIPNKFaGaqpObTwTnnArK0KXsteKo5Kbe5X+ILd6E39VNIZPAE3/oFePnrwo4wvmjxwWz8nh0UNyWRPTyv//eIk13/wbqqFHGqgX06vxTNSiYTJnn6OxF2/TWHpoiTx5pbnscw0Pm8zvoF2anaWe+/5Ee39bvZtbuOZ6znmxtc596MPEextZ/GNUQLuLGaoh0hrK9M//leC+24i4BEzlAl8A0ew0hns1CS2HsUXi1Oev4ivfTMpQZc+eITia88R2bydwsKkTEXEd7Yze2mWPb/+CDtbDdyBBnSXTSjq4er5RS68+ac4Sj25JdHTm8Jl25RqWdpvP8qpnz/LQ397hiNbG8gtZrm0rnDfAR9vnC/xwMEgX/7yB1i6tkJ++Czx/oM4PlN2Za2KirE+iuOJE9A0Cl6NgIg+22KK34B55gWUeCPawB7KbzyBf+sRPNEmlt96lGByE5gmVqGCz+1QMQy8bd0yUWAtLVMtl/A2tkgtpBmIopUFH2ACp3uQ2tQMemOI8uIG6ZE5Bn/nt8iOjNP84e+wq0elK9GMx2VSK25wZdlDt6/E9/+qhdWSh2iomdmZZVy1LFq4TlavWpobmDp/jZoRIN6t0XsoyZPfn+SBf15joMdHS72KnzrWMnkK1RzJhgi5kkHMHyRXrtIaDUp47OqiwdGHD1MO+gkoDsVcQQ4SFyeXiTbWsWfXLp55+llZsZqenpc9/FDIR7FQZseubZhVg7GpCXq7OlEUNxcuX6GzPUlX9yYZ/xcE82wqQ6IxQSFXYmhojE988oNycDA9Pcvgtj6mpqYJB+vo6m1jbXmV+fllCS979ZU32LV3O5FIjHPn3iYWjbJl2xZ+9csX2Lt3G4bj0NPZw9mzF+V7oW9zJ11dnTz+i6doa2uVUef1dIaQLyDZJaZpEU80kl3PYGsWjZs6WXjpLOuTaQIJN02xepZXUhIUWR9QOTlW5rl/OMKdB3pZujSGL5x4ByLZPkhq5DghRcXZyKHt2EtlahRLgDQTLdDSS3VjFRqbYXYee+os2uZdlMob+O0o4YHN1EyF0vQ1KpOj+DfvxJy4iL7vFoxsCs0SEDmHQCxOKZPBqRSwBBxv0wCaz4+3YxOGqDPNXZNaZG8oQXl9DiOzga++mcLkZfS+HejlMrXFYfwtfZSMGh5/A45ffGDLVM6/QuDWD2KKbdvMOOFteyhOL+IN+TBmx/EevhsqNWrpeZz8KkalSLixF0sPUR49jZJsglRB6rqMaFJWZszrw7haRJx4kXLNwhMIoCabcFs2ay89Ruzoveh9N1KZPIciEhuFNWxRrdxygOrFF7Bdcbxbd5J79UlpitLE8+nwgxTHTsg6lr91EDvkx55+GxMX7u79KLlVFKWGmthK+ukfEr71bozrpyhdn8Sz7TD+xijlikhDDOGrTxLYfgfmuV9SzFfx7dyCsZRFd0qEWzq583M/4vR0mT961xZGFgvMZrJ0xKOcn1qisyvJQEOUa1enGF9McfDTD0j+gxg8CxWucH0LtvPbF65w3/23y0v3K6+8LpkWu/fuYHR4mJ7eHlnXE/VE0aF3VJvR0TE+9rGPSg2yrZi4NV0uIwToslyt0re5h8nxSbnEiUajKAqsrgl9ny3f+Wvi8xgVYG9LnvcNpyzj4VWxDTZreP0+qfebWVjmvnvu4PKlKzKyf+bkRQngE+pccXH2BoIomoJjqjQkY1K9Vy5X6ezuQFNdPP6Lxzl0ww0Mj4xTH4tJDafX45Hn3YmZOR541928/tZxSvkiBw7ukfU88ZkUFPaOjnYuXryIS3dx+OBBLl+9QiQao6m5UdYfjKqN1+9heHhYDkE6urtIb6wgfIidHZ2cOH6GVCZLa7KJcMRHKByWdSG3z8Xw1QkioQiO+k6FSGyHk/EE80uCMWQQT8bQPG4ct4pWMhk6dpq+pgasqkWOmtxmV4WlxqMSb/AxMbmBB522ehenxg2ymQJf+3g9D98ZZ1WkzxYKDE2tMdjdgqYrlMolerc0kZ7IMnhjkLaHltmcVNnT4eWF82kSCQ/JqJ8nzyxyw5Y4z595hPyxn1NT/LhFpdgdwXbHMYtpdK9bJmVsu4apBfFWi9iajlXXilqZxxKK4mgrlkeklEyCoRDVYhbHKsv3gnj+uATZKDAgdcJkNt7RxbcfwtHCOKlRdD2DGb0VtbqKufASruRuCDTDwmvY9XvRalXMyhh6QCiVNUqpq7gqReyOXWjL17DLy7iS90BlDEsknQPt6MGArHWZG9exVC8ubxjV45UX56qRwZPch1PLYRWW0f2bsVPHsJP3YVsZtMostmDa2WkU242rYRPaxmUUXaQyRbg1gm5YVEujIO5VdfvR1RyCk1dzufGGu6Sm3szO4K7fgUKQ2upLeMIdGN5mnNQVvPFe+fkwBWnftLDFua1Sw5u9SE1YBkI9eFwGWmkBK74LV7GCqeSluU3zNlAppkSzWWrJzfx1HH87Ll8czSpL841kOwm4X7ARtZZDCSSpiQR5bhZbcACEPcWr4UR2ohl5FPF3++NgC65CEKVWkUt+RyQhMif/1sEu4bibJQnUyk2Kcy+OEsMQLkFVxYi0o1Xn0Uw3ht+HXi1L9Z2tVzBpwBsJy0uxpURxBZrALODUsihiixXtRBVb+JUx8LioqkI9VZMRftHzL4+9QWDbfTimI6F5SrhDftiN6gpBLUxVdFYEmVlMn1ILEnQnJpJGtYAr0o1a2ZCxant9GFMLE4gOUFt/GycygFsXky5Q3CGM8gJul5fa+gRq4348AR/lmRPosc041QX08DZMxcEsruAWAIpgm/RBU01jVItogTC25sbWI1JzpjuW3PbqmptKYRJXuFeS6w3q0Bq24bLXKQnarIjhV/PomkXV34Qz+yoef1TSNjWh2arbgeGUoJhC0cEVaaOcWcPrr8MQEY1AA4qSQhFRkeUTmJUVNC2E6vFDMAn4MCoZ9NoUVqgVj95GZeSHUhuhJ27DWHobTWwGfNvBWKVamkMTQwDKckK0NPEWndtvIluz2Hvws7irNf7yC+/hZ0+8zvK6LT2UA+0hvvi/PsFPHvmlBOQlE0lcbhWjWiYYinLl2iXuv+/dZNM5Ll67xObeTixLZ2xilPd+4F28fWKYL/39E+w90EZLXUB20BdLLsL+KsfPrfN7D/Xyx//yHYqTV0lPDRHze/AdfT9v/PwxPvTrX+fo1iidnYKQWuX8lTk0s0p/h4/3v//DnD3zOonGFjw+ndXVDWqmjd+rkcnniUTqaRAbEs3C5/dTKtYkUGx4dJTO7i5279pBpVLk2OtvkE0bfOb3fovVlTWKhQLzc/P09G8hGvBx9rSIlW5nZmaS5fU1tvRvIZVKSfJtemOdarVMqSz6YTHK5TyjY+PceOgWioVVhoev8s1vv4TteNm9o5lStsTM0ga7d3fy1lvj3HTDIP/wra9x8exxGV8r5QuSrC8i9fXxhIye6agYSpYP/9o3cPm8dDdFSOfW2bS5D93WOXftCrG6BjqbG6Ut4dFjY3zsgQN87St/xJkTpyS9WkySVUuhub2Fmlnj+tgEB3b087+++l1WFhbZsauXqdlVrBry4if0evsP9PD1b/0dV988ge7yc/bCabllGBwcZHZmloZ4nbz8K7qHhZkZCdSxLZtYLEh7ewcf//hn0f0REskQ49NZujpjpNdS1CsbfPvFVyHYzE+++hl+94vH+PAHdrI4NcfYrMGeLY0ShPfyySU+eE8fX/rDh3ntzXN4wiqvv3SWfXu2MLitg6987TFGp1e48dBW2Q/NFwzWUhnS+Srf+OIHKeUMLFtcnRVSa4skWjoJef1cvnyGwa1iYLXKm2+f5GPvf4DhyxP8+TdfYNeuetwm5A2LzpYExy+Mcd/tm/n1D32Al48dZ9tAgki0nidfepP//NEFdm5ro75OoZQvS+pyvK4ebxS++7Nr7O3w8+xb/0otI2J1K5SVnIyN+VyG1OXUlBi6AlUBa9LrMQWB1uvCzA6hagk0fyOKLyQjZLYATQabUKpiS6djL52UnS5fcuCdlEDaxC6fegeSig+8MXRfE2UsPKtXwFnEndxLKWeiVucl+EbxN2MqXvSqOPz4qeqNBM11arqFaTRSH/dDWy+/d//tnLvupqslICsNXa0JltdzPDecInXxj8ldW2EllaElGWBjdprw4BEqs9O4e3ejTZwkr3iJ9rRTmx1DX1skW3Jo+fB7OfH9lzn6V8f4xL46whr8ctahIZ3h2K8+hacuRv7N4wiUgZPoIJCtQXsP5uQV0hpEu3dhXjzG+uI8bVu2U+47iDl2Bc1Ko0basHMZHNGlb+2muF6D5i5CXodgq5+O2/6DT925k3NXZskaORJBF7+8WuHkl3ax+5atDP/4dZq3tEmoW+999zE1dpUv/8sZSrZOyKcg5z2GRV2ijsePz/Krr95I65EjpHIq2tU3sFQ/anIAp7BMaXkcXyRKZX4VtSGIHY6h54qiKyUvWLpfvIdmcbUksTfmUXr2Un37DdyRIEpTB87yCuXVKfyD2ylvFPGqNWyP750DQWYBU0QQS3l5OHIizXgqaxSWJsBQqDt6v7SuLJ++SO+HjvLsf7zEH/3XCEdu6GByaYWO0Ds6059cTPGPH+nj3TvWGc2ECOiO5IqkVwusL+VJJGJ4RJTVDLK6JmpX9Tx3QePeL4yR8HvYtsWDmapS8CiEEMkY0W2Hzqa4VH/WxUPU1stU3DrV5jpuvPeAjDDPjMzR3d8jtbtuRZGdYwEvW0+laGlppCnRyNLqCi6XV7rGDdNgbGScLVsH5NYynmggHIkwOTkpdWI333wzP/rhj9m5axuLC6sSPOb3ehmfmOGee29ieTnF0Ogwd9x2K4tLC3JQKV66waCHi+evSiiY2OCNjY/T2dEh45OhujpJaB4bHSdfTAsamNzI3nHnrVy+Oiw3rgIwJf4uG4v25nb5bhj7fwm0e+6/namJac6dO8/WrULnCYsnztEqzhB1HtldvnJxms0d9TQ3Rnj82HW++ZEdfPwvHuTN3/hr+g73oLQkIdyIdf0atiuAr76OspHDL9hE7R2YQ5dxJzuppZfw9u/CXpnDWZrFe/RetFyRzMo0rqU5lEQThjiPeJvwxusl+bqwuoC7QaTzmsife0FWMpzmXrTlRRnl16IdpKcvoyyOYy2vEN1ziJo/IMnkpbefwV3fhq+1HbNcQCmWcA0eoiIGB/1bcYle/aWzeBvj1GLNOMJOVCuiay5K1y/j7dyCkVvFE/JRLYKnVqbis9DjW9CF/3rhGqWKSXTvrdQuv4I5s4A2sB1naQK7LolLgOFGLuLafzduzaY8N467rg5TnFGtKh6hAR29ihoIygqUHmilsj6OJtRjTTuwZs5jur2Sa6WVSrhErWjTJrxdu6ldOfWOYWkjRTm1ipYxcPX1iyIzmki5hRN4w37M2SG8yR4qNR+OXsPMLFHRg4QjdbjMEqYwOSlVfKYXrbWHwvgwgfYE/h1bePj+P+UHozafe9cgU9OicuPn0vwq+zuSrAtlcEVgWR2WJ1MMfvJGVko5qnNZ9h/az/T8FM3JZi5fvCK3ftWKQWtrkmAwSDqdwRLKNUuTl/qTb5wiU8hx+NA+xsZn0TVRiQyAyyaXrmKYVerj9dKW8fILx9i5ezuZTIZoXR1j1ydpSMTYt283F86dJx5LcuXKJfyhEB3dHawuLktKfiQUkgmDltYWQsEw2UJGmpEE5FnU51QMKrUaXZ1dEkadLwhiuy05N2L4F62Lkk/nmZ6dkfXZW2+/WQ4cBBtAwDvFAEB0/03bJhQIMjI6Ji0ew1eH2NTfJz/riYaoHF488+wLMn3p93uZnZqhLlZHZj0loYOCObC2ssrDv/EpnnnmBeyaQSQWZ3z0Grv27ZXpYmEGUFSxpLFkCqFUyEt1YDQWwTZrBH2iOrYotYPBsJ9SriSfQ8OjY6iWTXt3m0w3nnrrJGWrzJ7Dhznx818RKBt01gdZr9hMreboTIaJhX0SujmzvEZXY4CyXqYu0MZjLy3xQH+VJ761jVpJYWyuSMhtYzgq+fUaLb0hMqkKcU+Jj/9zlisbJv1JhZkVcb3UaYn5GZ7OULQMVgvTVCafp7JQxrAXcZfWUBq3y+RyJTuD3xPHFOlsUcsShgvVwQm0Yi5fwOOvB18zUJUKRlWAA9euoEXr0bQwuFyYqWEIJ9EUEVkvo4qpFDFUnwtz+U0UIqieGIRjqFqM6tKbqOEe3J4wlUIalzcoq22q16Em6oq56wRCbVQcG4/jwXAKOALGl7gdVVTJZ95Cab0dMzMt0LDvnO1FbbxSlYtDNs6gqAm05h2YxQVUtY6yVcAn1LmWgyLupv4OlOo8NZFijQyi1lYxjQ3cagTDKGB53LiqNXD7ZZfeSQ1BqBmjouDLXcEKxbDdXTiFGfREP6ZQ9Jrr2PFtKLkl7Ow0pmbjbroJtTSJ4h2gmhlFsTPoLYdQCwuyguIINX1tlaq4zMc2oWiNkB1CsT24Eq1YFRNj7ay851qKjV3ewCWS9vEO3OvCVleT2mAr3oW9PIkrN4TWeiPVWhG3qCmEWuXyQYCNVd2LS1QmrVUc4uiRTVSy0yiZM19zVD0k+BdyG6AaZVwuA2wLoltkl8BxxanMHsMlOv2Cgjj5GL7uD6IIB68jUh8VPJUKlkulXCvjrVXBo1FJz+PDwqrfgS3aqeIfkej1V1YwRHw4KNQU12V8SngmHfHf7CpGoA1XfgVDTDFqBdyRAdlrYv0Ejr8Rn6ee/Myr+Ft2Yrma8GoqJeG2NvNovg4sj4VadsDvxijk0awSitAtVKuyAmBVc3J7ZheX5QFby49SEL/vhi243DGM+TdxwnV4vFskPVO4ZguZWTyKhbthD4YjiI7LuGsujOoSVqmEHm5H9SgohQUsbxRHFYYC8fWi4OQwDJEiaMOcOy3Jk95wP1VT+CPzKGoIe+UlaDiCV3g5rTT4WlBcGooj2IBv4G44jKYZaC43wqlRLS6g2WVMxyWpr1VVwaN5MPS41IO5XUkMZw4zm0FzCaEK4A7iEh5MNfBO76TgJhjJ4R28kz/74AN878V5bulvxHY01ksFBruaeOaVUT798Ru4/cZtXB2akQA/OTWsFQhFGrh27RqKU+OGG47wk5/8DH9IuJr3sbSwLrUVLe3d/N5XfsTRg91kCxsUS7qoAtGSjPDayTkSATevDf8CRq5Tc4GRzWMaS4QOf5qn/+9Xeej3H+M339PPqbNTJBJeyaPIZKp888ufBMdieGhK+t6nJqdpijejul3UxetYmluUH7DO5mYZVUsKNZbjMDE6xU233MxLz73wzgO8WqK9rQMHD12b21hfynHP3ffyk0d/jFWt0L1pM+srK3zkE5/kqV88QXtbu3yxLawsEgwFyKU32LJlO+lsQTwPeev4m4SDUT728K/x8vNPM3T1Kq+enpb8gqDLplC1SWdquFw243MFju5u5OeP/wdP/ODn9A8OoIhY+fIKXt1FoVSmvauPhfkpDu47xMT0JDe/6y/46Ht78Vg+hhZmKeZcJGI+WVW4ML5Ia1ylqb6dn746wk+/9UEO7jpEsVKSU3OjUCXSEGJxeokb9u/Bdjm875NfwCtUVU0B4rE6xifn5AtZdGaF//axn/49o0MTUsmTbIozt7giX9pCn+NyucSnm5XVde6//x7mppdldUFxq2zZ3suX//r/8vyxIR7+wA6qppcXnjtJ++Y2fvNTB7n5lu1YJRvfwO186l2/waPPDfHoNz/Ej586zvD0Kvt29jM2vsyxa6s8+s37uePWm/jhfz/JxPQCt960i8bGJv7saz9nbDqL32NQHw+g6VHWlzd48IGt/O5H383jT75MJFpHIVugUMnLIdLI0BDdXW109vZx/vxVbKtCd2eSu+66ldse/DMJWTx6sJnVhTJer8P0So1dHVHe997dTM2t8NBD7+Hf/v1J/v47J9i7u43dPQFKNQfDMeQzdGw6TcwR/t88T5z4BR6SZEYeQfN4gQbZrTSracolFU+0FcfOYVjCqSv8071QnpfbAjGEFC9BVQwBbBO7lkEVXtmqqFlFpVpU9P0dI4ddS+ONbMHOzWEEW3CXUtiKAMRV5fDHpWUwlK041XmsyhTeuq2YtYp80Ti6jpmdRjcm0Vrehy2e8aUV/HVtlAqzMur873/xdf7p2SX+8BMHmBxbplJZJ6dFOHt+mfHHfh0shY1cFrucx13fglkRl8Ay1cuXUYWGyqzib++VkEBnfRZPoBV3ZQH/gx/ls7d9jseL8Hu7WhmeyvKrmSJ1RpXRX3yc7MoaVrGM7gtQ8WioZQWrsESkbwu5kSnc7b1otsHy8Vdou/ddpC5eQE904Es2U1pdkO+ySq1CdHA/6XNv4EyN0fmZj/Dwh7/L5YUcHS0+CrbG3Tu6+NLT1/nW+5M8/Fv3MP7iOM0P3kfuzBmSu1o59MFH6FCW2TkQ5z9fX2Bbg4vP3jfA1346wVJJYejFT7P8/BPkKwqRtgGUkEJD2zaqhQrVcB3O+nUKx0/g37oXf3cf6UtvoIurd0sb5ZUFvALo2tzNxtPfw1ZsYvd/EKtcwZxdwn/DrVSnLlNbyuFuT0itolUw5O+/OD9F6MAhHNMjt5IsTlHz+LEXlwn2D1IJ18PYBbTmdmJdMf7k9x7nsStzfPimDsZXC+QLJRKhIGeuF/jr9yd48MEGLp6dZyNn0BQMy41Ie1OUhaU1Jocy3Ht/N96WMF/432/xt894OTAQoj2ukk6bOC6L1UyBhnAUX8BDvlgms5JCsQNoEVgrlrnloXuINtRz4qU35LIhEI7Inm2sro75+TlakkkuXx2iu3cTLtVhY31D2k6ujYxw+PANrK+lGRbx21tu4tzZtwlH61hdX6Whvl4OpEV6U4BZj958mBXxPU+Pc9PRmzl54hR9W/pYWVolnUnLC83i/CLT03OyJiC+3rXL1xjYuglN1eVlQzAFHFXBqtaIJxIkGuNsGdjK1NwMG6trVEtlCsW8/B6Grw1xx713EQ4EOX7yhEiQEg5H6R/cxKXzF6iZJmF/hEAySnlxhfK1RRzdkc/iTDbPpsZ6hibWWEoXOZhs5Gcvfhbj+DlKImkmrCCK9o61pa4OsWirTZ6WyTHf7iMYIg1TM9gYfpu6gZ3gC1DNF3C7veTHrtH00T9g/Yl/wYq2ENt6gMrqCNXJRVx6CGXzNrTULNlrZ9E7B9CFbcNrUw414GvdCZdewfREsDempK5S90RlFzmoeVAsk2pTO25/RHac1cIGtcUJ3JqG09KDMz9MuWKgGipqQMUS1qXsLMFdt+GuayR78VWCiS6yo9fwNISlF1zfdSPmldMUMyt4Y11oxQyVQgEtpqN74ug3vQfztUeozU2gJdshFAVfRCrCzJFzknvhSjRSuHAS3767CLS0kR86K+HTZrUiwW5azYvlVnC39GLl1lGiSTylDXLTE2iD+3EvXpOR9UDndqrr82gNXZSuv4nb1DATzfhqJgYG5dUyiogxbzuM4/Pg8kQlmHX5yR/gb24m0NpJ1efHSWdRizUcK01o3yD+SpUjv/kYlzIKm+t1Gv0usopFKqPgU2pEghqxjk7Gh2dZmcrTdkcXycEOfDU3jlUlnynKWLCo6WXFUMwxqY/GmJqdIV6f+B+Y3wStrc2sLK+SSCQoVSrE43WsiERkLEGplCNTLFAXiTC4rZ/Tp84x0N/PlSvXsCyLSDTC5r4eLl64RDqV58Yj+zl/6ZKEefdu2sTyygptzU1Mz81KW8fI1SEZy2+Iv6NL7ursZHpmQbKQsuk8e/btlOnJs6fP0dnbTntrG6dOnqa7u4PhkTH6B/opFsvy/KFqGmOj14nFo9SF68jmc8Tr61lcWSbWECUerZeDwkw6S29fH5cuXGTr1h2yyun3+enuamd2eob2ji4ymTShUIDJ6VlZIRKLq9XUGkF/iInJcR583/s59vLL3HTkZl47/gblXElancTf39yckEsQMYQp5HNyCLBtcFCaAdziAGsr8lnj9ri4/bY7OHn6NLrXx/Wr12hsaqC9q43F2SW6+jexkcszcuUajUWHubF19u3qZSm3jmnUaFC9GB4Nl0cllVMYqDdI4eOpMxsc7gvy9/eotHd4cfdu4urLZ7EMN1v3NHL6TJ77PtLKd783x+e+vcCezS66EiHKqkZupUxzs5tfvrXO8Gtfonmgh5VzQxI2q9YMfIlujFoeMzuPEutAEfDyQgpF86J4KpiWhrYxKwdnVjEllwNK3Sb09CxWZRm9dZ/sl2v1m6laZTzFNanMxinjMlQMbxBVd2NWCrji7djZdcxqCst2CNQP4qgpBUW1AAAgAElEQVQbVLMaHp9JNT2GK9iFqftQlmchouOK9FHNreIScGTNi6u6jO5uw1ZNSoV5PJF2lNoqav02HGGIyy9R2biK19eKKkxwxRVZFailZ/C5qij+dmqFaVx6HYoapOo2cFwBArgoL59CC3XiuET8XUc1CtiaR27fq+U0eqAehMJQdOdtF4q4nykObn9Ysgj0xCC23oLLzFLNDuPyNcs0gKglOKUUqrDnuUI4lQWqeZGqbMCI9eOyVJTKsjzbGapXQhjF0EtTsih6ADM9iyPuh6E+VMWDLf5/TQulfgBbUXDWL2MXM2iBBIaioYufQ3kCO7pDvsMsMTRp2IkirCziXlpzcFxhTKuIYqyj+juwKxmU7Ol/cHR3FNOjYGxMowrAqSN6k2VckSSOJwHZSYyFNwns/AzlzCy11Gm8kb2oYtJYWKdoOfISblrraO5NKLUlnNh+XO48lcWLuD0hLD0iL06IjZNmSZCIy9+MyEO7rDlqpoYr0isv60Z+AdUXkdNZARtStDS2GkdT/ZKirAlgSS4P9iK2+OGkF3DHuyXhUTGXsUOdkqiv+prRjA1cfhEZqZM/0CoGrlpRcgE0j44iaImLr2EUy7jrd6MZs1QWToJ3G+7WXoyN83iab5KACsEp0OuPYqWEp34OV9MRKtk8Hr0qp/JuQeEXB/KFF/HE92MGE9jpcexQM1opBQIApwmARiu1wijVUg1/rA3ENr9WxvZ2Q+aqVB4qAjyRHUEXML/8Im4zJS/UaqgNl7+RYmERd34dK9SG25XBqvrQwzEUI03N1YRIy/grZSpWRU5gbUd02SJo7hhUVrCCDTilJXxt29BjdYQDt9Abs/jUQ4cZGl9jeGqJ3/jQEZ57ZYhPPXQzFaFJGpqlo6NJDmOEpkJs+NtaOknEG/AGVblhKefydHd1k9rYoHtTkhdfu8q3HznLvUe2kk6lGZ9c5dc+tIfptMP/+dFxzvzgbnZ++G9Iv/EsljdIdu4SXm+V5B1/xuzbJ+m+6Xd436EGcjmbRGOUTDFFLJzkDz51Ny8+f0xGPdt7Orh04TJvnbrI/feJ6bHDr371MkduOIjqMqlvbJIaHQGoEfCOtrYuCe0QB8J4Mir99bFonBsO72V8alZSZ0Wft6uji/X1DSpmRV7qu7rfidSNjAxL+FGioUlCrbLZHMuLS5JKXSyX2bVzNy6vxuUrZzl3aphnXh/BHwgTCSg0NsfEtQ2nUmQhW2R6PM2lSz9j6uIouVoey/HJuGVDol5uhjdSRbx+FxcunORDH/w4x89d4/N/+n/46HsOsLAyTayhkfNXZgm4/dS8LhJ+nWq5yoXxVVbWqpx75R9JNLfw2A9+SHdPG9GGRpYWUrQ01ckD+P0f+HP6epNYlQI+sY0plYg1xHn5jUkO7o7zz3//l+TzZc6dPSvTHx2bN5FOreHSvdSFIkyMTxKuDxMLxsiWMvKyPT0xzgMfeIC//MLXeerEFLfub0N3XDQkInz7Zxf5zp+088Dn/5nJZ79L+w134+09wl2b7uDa4gq33tDD82cW+OR9O4h4NZ49cV1eBD7xwaPcf9dhXnvtdW6+aTdrizUe/vx/cXBPB8lklGrZ4OLFaTz/jzL+xT9+kFwqDW4vjz/xDH/w2d+lLurn2KuvSNie1xchu5GhXCkRTyZ48vHnePg3HuC1N4b59s+HuO1onPZkgtR6lrcvz/Gum/v5/d9+L/ki/Oixl/nxk2dobY+xuydOpDHKxMwy14fX2dJez7mr0+zZ1sL/94t/QdPDFIdfxlURsS8FJbiX6tp1mRzy+kUEsoK9PoMruU/6XdVgD7Wy8OJqMuqpiciaMHjoUYzcIq5gFN1yUzMyKC7RfnRwO5aMwxn5SdRwn/TKKoUl7GA/jpGW/97t8hyOXi8hPoJ6a2oxXIEGtFIGOz9OLXYYt5LDLq2h2/WYyjqKL4DpuIlt3syFJx7h/k9/jz19msBD0RYNcHmyKr/XC09+ktzQRdJ5G5filWTd8N6DFE++jLk2h7e1jcxq5v9n6b2j67rOO+3ntNsr7sVFb0QjCnuXSFHdKrEtO7bjltiOM8mkt88znky6M0mU5klsJ7GVOM2OS2JZkouaJapQotgbABK9Axfl4vZ+ymRvfkuLS/+ISyB4cc7e7/v7PQ/R5gjuxhimHqKcKVAYv0nfQ0dRDIMT7/8Pwo0uDne4ub6SYTJTJmS6ufifn6AcbKYyfRVzehGtcx++piBLz/4H/t0DhLv6qS5OS2aGL1/FjIfw7D0BczelL1w4u+30IgYW6bUKemOMjscf5cn/70/54bllHjk+yMStDTo6ApxfTPJAVxef/av3c/lff8Ce03vxjNzDz374D3jh8gb794bp8Xvo8sZ5/uYUe/q9vHgpx2d/fJCf/NXHyG04lKeuotZN/O3DZBeuUfJGaNrVS2Z5ntBuMfCyqM5cQks0I2iJrngrlQtncPcOoHWPUrn6I+qaTuDEo5TPfB/DJYbkUWwBNRveh5XJUpgcI373+7DdGvU58a4QFpiK/D5apRwcfgD18quURc++LYFnJ42+q12Cj/o/9l1UxeLB4Thblk6lmiMR8jA2leVzHw/wyMP9XL6wwf4Tw+RWN5kYn6elrYvztxd4cF8HzQ938T9/5wx/9o0aJ3cFaeqCmeU69+5rZmIhxfR6ns5QlI1SlkAoTtQpc3MqzcFHh4gNJdjYyLFwdV7WcCItzcxP36ZWs3C5XDI59L73/Rjf+Ma30XSN4ZEhLpy/JMFjAgAoQGWhQIjGpiZu3LjJ8uIqn/jkR1lZXyeTzoh1qbwsCPi6adbo7uxhaXmV7Z2U1Ih1tjeSywt7hiEhSoqqkmiJc/GdK3IIIS797R1td/RWmjAuenF73VTLFfLZnNz6dXT1SEr588+/Skd7q/RXB/0hXB6Dgf5+3nnnHarVOqfuvYfLFy7S3NxEOBJha2tLGhRivU0U1nbYfGuGeq1CuD1KbjuLz6vLgYBX8/H2WIrb//puuo8+RurCK/iqFmW3jbK5iBNtg3QKtSFBOb1BqKWD3Po6of7DMoWYT2ZoOXQflZ0lShvrVGenaHrwcSpz45TWV1Fb2nBHW9CEhiu9DT4ftekpQr396G1CZSy0VhZaao7q9rL8vAX3HKeyOoOTTaP39uPxhalsb6LEmrFSm+g5MfB1UxG8I8OFJmwKAjRq2bgiEZzmZnTHjZ1JyV+epgHK1TTVibN4H/kE9uIN9KYe6jcuU/d78Mc70IReb3OJsF7G1kPygFvOpAgN3YWZXaM+ex3FCKG19+MsX0UJNUO5iBaLYkd7UebOkV1YJrzvbmpWHb1aQtlYxm5N4OgxzJmrGCMHMDNl6mqBSKAJK9xC9a3v4Gge3EfuwSyWUDI78qBfySxDLoX/4P0yRZu/9jL+vqPyz6gkmkj/4N8xtArugWOoJRP10AFYmsFa30JNtGOvjBPaM4gejnDfJ77J+WSW4/2N+FUbtzfA/Po64UgjPe0RxsYX0XU/JSvH3R95F1Y0xNvffpldg12093Xy4vfO0NgQlWYJ8RkeGRmQX8fLr7xOW0ebHDBfunCZfXv24Am4CAV8zC2syupmoVxgYXqBBx6+nyuXrlKzqpRKVRnZFz9bLa3NbO2k2VheprW7jUgwzNjNSQm+29XTzcb6BpH/eoe3JjpYTy5TrVnsHuznjTfP8hMfej9Xrl5jfm6Ju+8+wu3bc4SjQVqbmwnHorzz9jk5lFhZXiOVLnDX8cPSkrO9tYPP7yLg97O0uCo5SGVx7hHVGNOWdco9w8OsJpMcO3KI+bk5NJdGLNbA9OQig4O9Mvo/NjHN448/LDv7E2PjMo3p8fnYWF2nIdpArpCls6edbLYgtYgDu/qlnvDSlSv0DXZLDpSmaYSiPgzFzdLyOh1tzRQqJYKBAPl0jvXkhhwAnLz7BDeuXaezq4NqpSItCV2dHeTL1TvJhXKJYNAn05z9u7rk+aBpVzuba2t4tmvceuemNC0FQzqZlTL+qM76Tp6GsBfLMfC5axRqDpdmTe4Z9PF/f7LA6MABbs5ksa0c8VCAufk0R0928MLVTT755DbvOdJAuWKxupknGtQZGYjzl08v8/Tv7ed9v/8n1M6foWZ3YlZmUf0elKqHSn0Hr78DM+BHzQvnfRFVmEbMKtTSOML45oDHFZRnBkssQ50KRqSDSn4TwxvE8Akl4DpWcUu4BLAqGXR3I45TloYjRfdim0lcvm5MQUOzTJzkdVmhUWoFzOTbuPveh2mWUEtZeaEXnjJVxO5XJ3HC7fh73ktl+XmcwgZG172UU5O46nXqigvNIzTwKh7NjyV+GT5UzZbPIXP1DUzFi950AF2w0hwTR1yAy2l5N6zV0rJaqYuLseLCVi10xcYS7ANPK9bmWcmnUyO7cYoZ1IAHxw7hVLewFQPFrsr0q1ZZQfHHsQp5uUDB3SKj/EpRpNAy2GoYPRCQGkOxlMEdkYM2kYjS/A0omsiOBeUCWzUiOMUtOXjSDD8Ul1AifSguL2qtSE3chyvCJNeE7QqipuewFQ0n2orHCUr+k+HyYwroop1Dc7Vgigq4puJCAA+XqAlNeqRXMqCUzBu/49haDSUwjMttUy9WUcobaP4otWod3c7J6ZAZasZQ/WjVNerlEqorgGWEsLPjuBInqQsX6s4tfN4IpewyroZhHNHZsTQJ6hDffK1eouKJQ3kVn7cD0xIqgxKUk6he8UCL4OhRLDWPIhV1JqYR/f97Jk1QuUPIN4wwpti4mQpaWSgholjBAAhQVO4q9aqKFe3GLRp09Tq1ktAB+nDHulCKGapaFbVclwcmX/MeStu3cEeHqde2Ua00ltIhD6vKxmVqdgRb8eHx1BChJi0gtnTzVIubeKIHqBWWJTHYrm/LdELN1YYvP0vdcUuiNvUAhrtERdB3W3ZjBvZgFeZwl8UEUEDAOlEjLZgl0ftNYAoVhNC/6DqKVUMRH0B3I9hCQaML8C6qKewFDrbmQasIVVoBLXQcy0qhlDaoC3iKJ4zl90K5gmbV0SIdKMLTK6IklgB/bEundPj4KbbnV+g78qt84N3NmFsagTYXxazD9EKKlfUCP/r273Dj6iWS21Xa22LMLSzT1Jhgdn6BvSNDMm71vWd+yIGj+2Q3yqsG0BUHxaPyW3/6DLv7mygXFRSlyOjeLirpGt98eYF7h0y+c/UC9bnr5FavSQWkbRvUsrPEunpQckXaDv4yR/ZGJdjR4wtxdXKSwk6FkR4fv/4rn2BzbZv1jST79u7nez/8vgQtHT24n3yxQCZXpaUlhl1XWFyeZ2RoUMKgLl64LB9ynZ1t+AMhCa7JFaqcOn2f7I3h2NRKFRrbmolGInLaPDk5LjdFF945JyF44mXR0tkhLQHXLl8jkYjT2t6KpugsLi8yJzYK4sfaa/AHn38OTYWBvi4mbs9x/NAQe/f187Vvv8LmRoFzb36F8laF6blb+IJxuZVeX0mSaG6iWC1JjoTfE5Yd08aOdn7u53+T5el1fuzxE0zOrbG+k2Vwdy+X3rpJylTojPk4sq+Xp1+8yoc+cpo/fPKPeepzv0V/3wgje0Z57cwrdHT2ceTe43zg3T/L1Ow673n3KdKba5iOAJ84vHhuhvc8dJDP/flnWJlakgfqZ59+GsVQ6enqJCAqFeWyND+IF/X07Vu4fG4OHzrG0vRtHvipn+QTj36EKzMp9u+PUcpqxCNeXjyzyB/9Qisf/51/o379ayyvV9n14GOUor2Mho9JaM9DJ7tZ3dpg70ALpYqPS9cXmVnM8H8++y7e/2MPUipkeev8ZT7/T6/T3twgVSvZSoHjR4ZIrmzxa7/4fl554SKJ1hi2Y6HamtxGNLW2UyhmqRRrGIZKPp9laGiENbHJ6O3GqhX59T/8Jo1hD4O722UFZ2Mnz9xchr/7yw8yNpbkf//Zi5w+0UZzLEos6pcRZdFLLOQz3JhI87FHdvMbX34KzCiV8e/KJIAvvp/y+gxed5W6K4QqBpWeBsy117E9rSheFfJJPJFREe7BcXJYuRqOP4pa3aKUHSPYsBslsId6fgq7nEXzRGQkTHGH5fOwmlvH03sv1cnv4BGRYX8nVmoSxOHWDuPR05jiBWDdeQmjiE7sGoY3gVNZQo8cwarcpi5eynYIn1cMKlvwd/uYeOV17vvIl7mn3yAaCHNsXxNP/eA2y9sOqy/8dwqpdar1Rqz8LJnb10nc/+PU1+YkMDa47wD582ex/FECXeKgf4Pc6hzuvUcxk/O0PPAwr//Ld3j8b27xoYfbsbYzdLUn+MYPl/nQfTGe/L33UtrIYGZNipEgbttAXblKXRXfR43iziYNH/g05ctnqCR3CO89iGk7FC6+In+26R4hff01ogdO4AkEcQVh67VZ3vXkefa2llB9XqmziwT9XJnNcOWf30NwIE511cOrz/yQx55a5r37I0R8CunZIo892MRSqsZ33tjkiXsa+NMv/BL27AJrkxuEe3aRWbqNr6UHp2piOSXUnU2Mpl04lTXs7SyW6sWIeKjpUXQBwjUC1LfXcEW8qA1C11qili8I5ihGSGxXHWrbSxgNCbyWRjZXwEMV7dDdMHmdim5RnrxC6OjjVNeWCcViVAUcbmsWd6CZci1LU0sPi7ff5vTnJnloUNCNs2xnPIQUnY5Og6dfT3L1u0dILxZlAkr1BImE3RTKOdnjHx5qIWim+Oy/rPDkswpPHI6yr9/h688L57jO7uE41ax4V6vUqJJO1vG7PFRVk/BoMwfvPcnZ59/kkfed5q0zF9hK5Yn4fbJXeuqBk1y4dAVd0YlGwjIZIC7eK4Jh4PVSKVQINYSYGL8lqdOCFi7STqLu1ZiIk97ZkdHneGMDlUpd9mRdmk5qM4XlWPKSIbafwyN7GBubkM/tfC4nncwHDh+glBNVRZdkBAjq+a6eHjl4Fb9HUTTmZmY5cuyY5LmMT9zmwQdPsZnMShbM/sOj/Mc3n6Wnrw9Ns2hNtHD1xjVpisll8viDHtKptIwLt7a0Qwg2FjYovrPAwKFO0lslaRzpH23ljRcuk9eq3Jiu8Y1f2s8HP3iQwkyWagiKNyaJHjxEqWrj9Yj0nZviThKXoJkv3MJItKH1HcFaHKe2MosqCNKqi0BnB6Wlaby9+7GX1sjNXsQ7dBht6CjqOz9EjzRCQ4KK4ad89Qzepiiuwbsovfw0WrQJog2ouiU7sUqwWS4q8uuzqKoPt1OksjGPe/QkdjCIvjgF5Spqohsz3IwrN0d5YwuhARGd7nopLXu64jLvCD6U6UIXNahsCc+978bc2URJzqMHI5RsBZ9Vw4p1Us0kUQtF3JEgpfErqAfuRq/XJPCyJhzaNtQEpVz4sBWbuitISKQ4DK90iNfNAj5fgtL6Cs72Ku5D91B95xUU1cLoGMZ2+8hdfIPIwf3onijlpRvYmji/aOjxJnQxWI81U52+gqdSRQ2HUIMRKskldAE90+oSwugOJkiPncVtlfH2HaG6toYtDvTlHLETB1Ebm3j0Q1/iwmaFn7urnx9NLlGxLUZaWshXHTY2FolGm1gWytlYiFq5RvTkIMWKTWFjh1w6x+BIPzWzTkM4IJcWInk1s7RAW1OCBx96kOeff569e4YpFku89eZ5PvDRDxKLR/nS5/9WbsS3dzal4m5laY2m5jgP3H8fzzz3fTwuF9FYlInx23T3dDMyOsLW1gaLiyvSrLRv315uTU2zs5NhsL+H5EaKcjkrrQFCLSiGX5OTt9B0nYHBQerVKu9cuELvQA9dHR3Mzi2QTWfZvbufRFODVDLff98pzrz2Jl3dbfK/cXv9nD93QcIMRaUmHA4wPDREcmudTCont/vFSoF4LC65HWtr65JZJFId3oBXgprFc2ElmaQgmFo1h2gsjKKodHf3SBCySCxubW4QCIakc31mdoo9o/tI7aRkNaKro018Sxm/OSYhh0PDA7S2tvHsM89y+uQpqROcuH0br9uH16dz6NARLl24KPWholZRrhbxe3w0NEaxLPuOKQSHUrlCenkLrTVEf3crY997h8xsgWAiQDjmxc5XpB1AKCqNgEEpKcwf0BkO84MbBQJ+hZl/P0mlkua5p29x+p5uttfKeNwm/Xu78H/0Gu5iiQPdXmq2iUdXOLCnhy98+xZ/9+SH+eRvfpz1Z7+Bt/EIppXEK5hs69ckY8oVbKFqulCDIdT0JHZ8H1Z2WaoBldgI9fK2TEirQplnKVKrrfkbpYauVi+i+hvQ6zbyH8tG9Yv6SwWnnKTuTqBVkyjhfZiOH6O+dOeuUrGxQhFUcdbQ2/AoWSw8WIaKs72IEtmFunYOs30vamodq7EHrbQFmUnofi9GMUUxeQ5XfBjF3YhaWAMjgCK29+YGZnivBDQ72VuY+RWU8CCauwU7O4GpC1OID8UpyxSrGm5FdpAUcfkWicwqVmEBo/kAWl3oEq9QF8MJMbAwXTi1DXmGQvT9nbx8b9UrNVllEAl4l7sJu56htnVJwubFMNkrKhV6A7bYylqraJaBrZbl4sZxRdGLm/J9JC7pVnZN2g8MUV1yCfi4giXSoYaGgPUrxSRmfRXV34Hi7UCtJXGMKGZpGq/SRtXKYdU3ccf3UN4p4WTexhPpA1sMOw1cigvEkqhekxV/Zeft33NU/Jj1JdRSEa1xL7XyDoai3rkIWRZGdEBGGcQC30mtonl0lPgI9ZqgSoJTuC07iN6oiIRUUcTmStARc2uglFGMsCQaigiq0bDnTrqgtERFEKgLKQJNQ1TVELW55zGCQQxXH3VlC1VrxK5uSa2MJVyOW3MiuS47/dVyDiW3grtxmJo7hlbahrLocoDe1oudX5egC93vp1ax8SVGqW8J/2MzjjeOVS3gLs1TNHfwxE/KnjBr5zGiXRK2pRkxKiI+YaXQcMv+iFbNoDbtpZqbRVMEE0DBEH/ZtTp4fHe6+WSplxU50dfUIIrHhVUVNQkVt+FgmxXs/BK2vx/FECCRNKrpQ89PYcYG0F0R1NwkwnblahiQIIpqbk1S/d2xQSyrIF90mq1KII8jhiuiF1IuUS6uEPD6qFZNqelQRNWilkfTomgBvwThVCyHcLydzNTL5KtFeh7+GX7w93/Bp377NT732dOMX5tjeibF0UND/NPTF3n83iF+/VM/xqUbF9lOO7S2NHLz4hUe++BjpLZ25AHV5dZk5zFbEHGxE1QyGbZTK3zjuxNMJ0s88eBuktsFrEqO1kQnf/vdiwx0erl8499k7yU1eQMldxtFb8HVuo/S5kUaGtqpVFK0HPpdeltsTu7fTcircGN6iUzRzYffsw+/rvPqq2/QP9DDT/zET7C4PCdfZtPTc6iaIjfcyeQqO1s5QmHPnY3+VoobE2OcuEtM8BW5LV9YXMTt9vORT35MUl51l4taqU4mu83g7hFsy2RjYwWvL4RiK9iaI1+yowNDcmIu1H25TIEjhw9INZuIhgl/bjjgZnx8gr/60vMMDbZj+DSy6TLryymCfphbNdk/kuA7rz3NP3zuj+nqaaW55Y6OLrmxTtDbICfxYoMk4CaRhhgrK+vs2TvCpz/xv0lmihwaaWNtOyMhkwLc09nhQbV9LK9uSWjY8kqRt1//MreunyeVLLLv0EE2NlflS/buu+/mwx/+NVY2Nzh5zwG21jZZTpbp6gyRL6lUCxt87et/w3PffE7C/do7O2XEU4C5xAYrlkgQEQrCbIr+3hG+972nuev4fSwvTdK7u5cP/cT/4IF37SEcCPK1Z87RF48zna3z+V/q5YHf+DK5V77ITiWOx1mi9cSPQ0OEY33vJ5fP88CRPlbWtmRqKNwSZXsjJ4nBsUiQY3s7EJrnM+cWaG5slsRi8bXMz27T1enhX7/yP/jXrzwnO2MtbW2ktjcpVy12Dw3I3tf83Cyn778PQ9U4f/4aQ31dbO8s4Au18U/ffJ6ttIWmC0NFlZZGD6vJHfbuauHy9BoDuzo5vDfG+QuLUpU31B0m1NjJ+PUrEgL0g4vfxym6KW1MoJWF/8MCxSQvqjrlFG6hGDVcktaKgPfF+1Gr2xRXb+GKH0RxKTjVrDysiHirUitjlUQ8L4jji2OVZzG0MFV0NMNANcUDsYjiVNFdHVjldWkZUKpLMuVi2h5J+a6aOq5gOwiPb3Ub3R/HFJ07Rei80uBuhu0JcLvx+LoopJPgd4gdOMGFb32Bxz79Ch+5v5PF1TKnR4UeqcDnf7TF9c8/xOBjp9l46QwBbxA6ekm/+jS+wS4oCBJ1msjeXjyhDvKrt8jPT0nImvc9H8CcmMRVmCTwyI/zjc/8NX/xHwvsO9hLpLgAiSb+9ZVVvv3pfu7/tZ/HHHud7NYONa8Hb8fdFGbOIeYmxc1NggJA1dwm2SkUsvj3HJKXjPJGBt+ufnTToUaRjclFhh4aYWcmxalffgFXo82htjjz6yVcPpP1jTq//MQIp/uC/K9/n2NqcoVDwwnuG47zzs0ULy6n+NP395HOZPjz7yQ5+x8fJ9EZZO7tCfm+C3s1zKZOtGyNanoep1wjcOQ4peUF1K0cTmMYvaWX6mvP4j31CGapiLq1SKVSJtA7SuHmZRSheXQKqMMnUAtpqcTyNPipF0poIm49c5OKUSegeLGCrSgtneg+L9rSJNmqg5pextcxTEl8jjZWCLW24+9q4nd/++s89VaFR06qpFYFMcMk6hXpQIWZ1RzPf/UB1saWsfMWebuAFgiQiPmolIoMHBvlz598mf/5bJWhlgB3D3h5bXaHkA27umJcubmF4lPZ1ROTkLVy0SKZzNJ2tJeBwyPcHpvC53YxsHeE8WvjVApZdg0NMjk+TbypAY/bK/3la+vb8iCfERyPVI7mtgRul0E+n2dk74i8pHd0NkseyfLyMp2d7XLLL0BgbZ2t6JqbdEaAiz1Uy2W8IfHOg0w2K6Do8lkiLj69vX3cGr/FK2feZu++Pnp3DRBLRGT/9/bEJI1Ncd1v6OgAACAASURBVDLZIkND/Vi1GsVSlebmGK+9/hbDu/u5NT4tL2If/+SHuHjuiuTkVMoVSRYX6QW3xyc9543xBG63AH65OfPqWfpHexjZv48LT/2Qzs4gWzsF+Q5LbmclS6i7t5EzV9cY9Ro8/9RJ/Foz2+s7VDa3CA4fJn/zMkbYQ2RoH9mz38fWgmgxAQYVB9IgZnIWJdqK97+SLJWleUKDw6TfegXX4CHcrQl0PUD+zLO4GxqpRBPoO2s4rhCuji7s5AL58TGC/aPQ4EHr2gerY5glRbIQSnYdVXwG9QpOXUEVzAnh727ehSeTYae0hua4ZZqivDqPp6cbrXUvSm6L4u2LKBh4du9H0zzU1sbQ/c1yaVN67SX0k4/iyyapZDYlSC+7NIU2fw2jbQBXqBFna4aq+P9tLuMe2Et9aw3PvpOU1pZRhdqrMSLVfOJCWNEAT4BgIkHdHab80jPU2ruI9A9QX9zAChrY2RyuhgR2ZhtXxyi1uXNYiWHCo0cpP/8PWIPH8CgV1p97DleDTvj4e1HMHPVSHiUgerRFPO4wxfUVzNWr+B75GazJG2iFFHZsF1Z+SUagjUCIaEuerVQjD33yGyy5FT54eDeLqXUymwXKio7LsRk40U1hxaSQzpHNFmkebYGmKNvJDKrfRcjrYyeVprO9TdqXxBCsXKlJdavH58IyFakgXkuucfzYMTbWk6yubLCT22H/3lGZEOju62ZiYkZeoMX2WvTs19eTUpnn9Xjx+93U6zaa5kiAdc22ZLe+u62FUq0uSfzHjx2SVYE/+bP/y10njqHqCsV8WdZotlNpfN4g4zdukmiO0drWhmmaFPMFttI7nDp5nLfeept7Tp/m4qVLUtG5k97B7/dJ7aZIB3R3d5JLCwK8m9u3b7NndA9trVGuXJ0kFg+TXNmkXC/x+KOPyWHGzNQ8lWqdo8cPMX5zHH8wQGtTI8mtFE7dJtIgANXX6OzupliqyMGAMCEUCkUWZudp7Wynu62NuYVFYk0JdpLrEmrc0dmO1++TlQWR9An6ArICcfLEXVKBPHX7Nj0Du9AVRQ4dq/UaoWCYfDZFqCFKW3MrL//oJYYEKyqVIRaLcntsjHgkTmKwi86eJt7+7uusXF7k6N4EVdNkIw9N8aBckgqAZioHg20BioUsr92sYxkmt/92F4lojDffXCLU6KbdXaV5T4QP/26WiaUMd/U2ULBNJpa2OTnSwz++MMXoYIzz5/+G0tnXqBkBTFeEcOsQWytX8alR8KuYhTTuUDe1nUkZr6/l16AwjbHr3VCqUVx5Dm/zSfDEwCoILRE2WXRxBxI3J82Qv6htYdd1uQyVWnN3j1xoGr5mzOwYlqOh+Ztx6qvo/i5UvZG6UsJavYEnIhbCFXQ7jxMakNtpwoPoxS3qiqhClbAyE2gtp2XVtlrMyEq6ItLTWpiiGFqYGQzHkNUAq5aTdTrNK8DHKckDUGwD3dzGbDyF4fZhZSdADYFVkgBSBCS+XkPDxNQ9crFkOgKUKf6cLmyXiSU4dYaCriUoJc/iT+xGi4xQLCdxC4C9raFYVQxvlJpTxM6tozXuw966hKV55b1NdevYtktG8lWzhsm2ZMjpSkQy3lwBj+D84VQzMkWhZaep++PomoalRaC4LvWVmuJgC+q/0YRRmKcmKmNC5yyqHqpIk4gq/Db4W7BVL1Q2MXwt1AwD0iuyFq7kz33Oqe7cwN16AHtHbL9zuGMHqGU3BA1Mdkwrcz9C67gPT2IvTmbsjl6glMXMiX78ENXsOOZWkkDHHhRfmHpyGcWvofvacQrzmEoETRxSijkUO40VP0xt4XUCPXeRS83j8bVKWqzjeFELSczSKkSGcOuqnECJvxSPmAwXC3jbTlFbeAGXuPx6oziVHQrLrxHZ9R4qpYxUEeqJfdg7a2jmNmrDPurFNRTxDSlchtgJXIJMkL2N4xKOyR2s8FF0UVPYnsapLWJXPOihMPja0a2cJC6KuEfV3YlankMVvZfYbqqq+JCo1C0dvbaKovqpCSducU5GgVyWjhpqwKx5UEUFuLgkY1P+hg7KVQefLsYOdcpiUFASHd8gtssv6wuau0EqOcxaGZddEHZvapUlVFcMRQ+hayFq6TG0QA9KtIfq2ln0QCMud4xKVUzb4+i5dUqVLVyeqIzHGGJ65ddRPbvJJy8SjA8T3HuSd40eIdjeSmPQ4PbYqoTd7GqLUSzCg/f2kd7Kye775PQ0HW0djOwd5vLVq9KretfxY0Qbo7hVjbFbs8KNw48/+ghf++Yz/MMz49x3uIeGVh+pZJqt7TQVb4jrV/Pc+P7HaHnwF9n50beIdHSytblKtGWQYnqajfPP0//Qx9G7B+lufhfDPWHcfoOw16C7qZvPf/1tfuVTd/PRhw/w/RfO0djayNrmqtQp+v0uTKdCOpUl6I8RDAekA/e1187ILXmiqZlL5y/wxBPv5fyFS2iGLocmG9vbPPHBDzI/tUSlVqQhEmVhbpaGxgQel0fMb+Shs6m9hbuOnmRxaVZul4TjWVwImuKNRGLixVxhYWGR5iYRQYaFpRtcnSzywqvjDO2KMr+YIhoLkoi4WFuv4ddq/P3f/w6ra2nGxm8Ta4jQ3deD21alGzi3k8Wy6zL9IRRWIlrV2NZGU7SFX/j5X5fAzN7dndy6vcZmqsj+vT00xeKcv3ZbxuQuX5uirynOZz77k4wOHyC5tsTy0gpVs8zhgwd459oNfvePvkpXIkJzdwtjNxcJhYSyK01vczPf/M+/4Vv/9DUZlT92+CiT01NsJjdYX1/jrrtPUi5VOHvuLB/+0E+wndymplRk33NgZJCPf/w3aWoPk9kq0Nocwh+I8uxLYzz1Rw9z+lO/xcp3P49/+ARG2cBSNggMnaZupIgFPoqCm59+fxuLy2nSZWiPR7FVm7HxBUaGunjfI0f5wpeeFxVZHrhrkMtTm4yNL/PTHxriQw8/RDgS57W33mJ1fV26kffvPyhhXCLh0ZxopG5ZnH37LB2t7fT27+Jf/u05fvOXP8xLb1zii/98hSce7SGdrOB2aSytpzh6bJTpyXk62oOojs3t+Zx8+b/3fYf5p29dYHM2x8zyt2QPLn9rDj3oQrFsbG8MJTuBK9xB1WhHsZclpbUkNmChIIZZxNSCWKUVVMWPW/NRK62geTpRnBKVyhbe6JBM+9irL6Bqcez4bnRRNXI1YhcXpRrMHfCTmTmDHh3E0ziCXUmix8WzL0l9587gVGvoxcxMS4CPHmihVpyhXqhghHpAQE43boA3ihpspjb1It72IXyRKHWnwqnTv0XPcAfeQoloWCVVUpiZT/O1Tx2g5fGj5KZn8LuiWEoNJ9yAuSFqSSkisQ7yO4IiXSW0+zClrRWKY5fRu3cTjkWwFufRdov3ygz3f/oVwi06p3obuXprhfmaRkw1efEbn8QsWRQ2KkSHh7n170+hoRM7/gCKiCJGG6U9pl4v4ZTL2JaC3reH6uo0tWrpDs1//BJKtItwa4CGh3+S3/3kZzi7YDMy4KNYuAPW29zKcX2uRCTaQGfQorfNQ7TBxStvLWN4I8R8VY4NNvHHzyzz3x5u5i/+/KeYe+YZGodO4WTX2bk9RuT4o3JrujN9AU+0C8OuU1iexTN0Aq+IjF58+c5ZQ/qBTQIn7sVMb2HVTShv4dQ1nHxOAgLt+Slst47SdwJr9Rr2whJaWxckOrGUOv6dFFszN2k4eA8lwY0oL+P2NVEWjAC3m/T8FXoO30WuvMn9P/US9TYvB2IqAZfORLLM3bsaeHEsy88+7OITDzcyu1rDa/jwNPhIbm4ScFR23+PlT79c4399fZUHh9x4vG7mNwvUK+KNVOXg3h7J6vDFvHhshaXttOSptB8eIV/ZZmc7TUM8jiDnLsws0BiN8673PsLFty+xnFynvblZDulWVpfJZvJys94odKANDexkcsQTcVy6zq3pSX7s0UdZWJzh8pVxErFGqoUie4+MsDC3jKLY1KoOk7dmiERDJFqa5L8z6ZxMKWxvbdPa1iJp6MKcYQvVaipDV2cn2ZKI+XpYXlrl4OFDzM5Mk8/kiTXG8fk9slu9tLwoB3zisyGegYJzs7i4IFkDHo+XPaO7Sa4nJRhLVKQaownJ2REdZMFPEak7U7FIpTIkJ2Y53NJFNp9mfS0jIcCDw4MEvAYvXZpjfa1G+T8fkdvA1ddnCffFqPcdxj2zyNqlV2n55C9jur1oi5MUhApyu4DT3Uu4tYlSbgt1LYOam0c5/QT1qRmp9CzrNp6ahpOcRw0EsXpHJOxOKNJE0qSqBXFZJWqVIubqNIonhq93ANvwUr19gUDPyB0ocX6DcsXE19wubQGK7r7jqs5vENj7EJXZyxRuX8doasbfOUxJLE3Wl6BrAB0P5trCnUNwYxilaz/MnaMolIFt3bJ37EQ7RAcVr6Zha15pzCml1nCVy1TFG763X17cy6ZNSK1TXJnDt+8hyrNjGI0x6mIxUsvLyoDPH8CydMyJM/gf+BRqfpPizE3cjR3YXX3Ub7xGaXubxJ4TFGolAvFOCoVVnKV1BBfL0xahUq6jbK6gd4/iOEXq6RysJ/E++Ch2LkttYYa8WaavrY+04shtoCfvYPbHaXCK3HztHB/4Zp64R1QxoXtXjGK6Rl4AyDQ/qe11gpqGZni5OZdi9KFB/O3NXHv7htymDw50yw76tWvjDAzs5ubENUmdL+QKVOsVAqEw7W2tJJOb8mK7b/+Q7O2LcVcmnSaTK7J/3yjlSo51CcY0icdjGG4VG0XqKkVNrCEWZWcrJbfoQr0nNvb33H8Pc1PT+AMB+fMZCgYZHBrk3FtvSSCgqKnGYjFy6TLbmVU62nupVErspLZkKmdg9zA3x27KIZw/4CWXzdPU2sytyRlamhvluUpc2sW5Sly0337jvFxijO4bYc/Ibp597jm6unvEEYdIKCjVhuJC7/f62T00SEtLC1NT8xIIarh0AgEfXk+QqlXh5vWbsj6kCORZY6PkRalossoqYKJdHV1cvznOPfec4vK1S5JX4TVUmd7ZMzrE7akZ5uaWKBTLtDU3SYaAGJgMDu1mcWke3eUmm9ohHA9L3oehGpSLBVlVEPi0w0cOkElluH5jjMff/RjjYxOS4N/V2c5mZoe4+H1uP+MvXaYn5GHDschuF6FUpXu4lfTmDsWaQyJsk6ta3LxWIdqmMP31PWjuMG+9PkPEVaGns5nf/uIc//CWw+7OMr0t7WyVswRrNtdSOpFylss7V3Bu/YD83DRlw02waQhHxNIrOWqSZ+DCzM7g8YsKTSd2ZhMzvYBluNHDcQxTR9GF4rdOXddxO6LqU0ARSeVgH4qVR6mu4+htOOLyLzbmDf3U6xWs4iqGrxWrkEbxWmieOGZmC13cRQL9WGK5m59GF1WBUCP1rVt4E8coZ2fRhM636SBKcQZHj0g9PJkpbMOD4m2lXlyVSR1VnI/KKTx+P5XcNrbYkKshFHH5172Y8v6k44jqY/4WjiuOLZW5a+iRbuziFuXSJnq4R3KDELYGxH1UVBFM6sUCqr2FHTmMWltDL6xQ93ah7FxHaeiV76eyJgYaaZSNGSzdiyvUhuNYKO5O7PQZamUNo6EXu7KNJ9gmlzpmsBE1m8Iu38SdOEW9kpZbeberE0UA7L1t2OJrsLOS4F+rV/EQxLHXqasJLARzaRTWXsHytEitr3gm66EuUWxAqZWkoa5WtNANVbJQLMHkUWtyYSgqB0rqrb9yVGsed+w+arUVbNGzaOihlprEHWrDTCelE9EVaKIm4A6ZSakxUMQFGh3DF5N0Q9voRHE70o+oCY2f7oF6GifeC2ozhlsYhV1UticwjCbYeUfGiFz9H0DJTos2K47oaoXicvKimA6V8jKeaD/Vmojyi+nLPI5mEGjYheNyU8uLCWkzVnoW3deAXU8LkiF13cDwdcv+f81S0UNNUJzFTm2gDT5Gbf4HGKUq7P4Q1vobGOFOnMIKZrUmBxoy3rLxEkbn/SimhePoaIKSmc/KDZ04qFm6jiu+h+rGVRRf4k4EppDGJXob0U6sSh4ndwPF341NBUOJUlccCX/CUbAoyW0y1SyED2Bl30QLdKMZDVjFWdn7tcsWesiFY/tkP9e2y2iKgaMHUMSl1KlTXnwJb/cpuc12CqLz65KXfZw6VU3B5W7DoxYoZLbByoOAEUWGqe3cwB/rxGzey5G2u9CjBo3hKFUzS1TErFI16v+lkPiDX38/q/NbuAM+iqUdDh85zvnz5/GHIiQaGvjRCy8Rb26nMRYm4HETiEaIxUP89VeexusRwwqH5bVFDCPKBx8/zF/93YvcfXeULz79HfLn3pL6nYCryvZKClcsgl2pUtk6T6TvFL6hITpdD/CuJwbpCYY4884NdvX2cuXaEj//08c5MtLL5RtrtLQ2cO3GTUL+BgZ2dTF265Yk3wofbGpnE783KF9A4nA3PTVNNBJleXFBbmzKlTyq42Fmfp7Hn3gPiqPKF6egc+soxBtjzM8t0tnZSTq9zZULl7n34Yd45+zbEiYXjsdpamhmamaKQNAn6wKiOjM4OsD5s2+i2iY/fH2SV87Nc++JHqqCHu5XKWa3KTohPEqNz/zKxzhyzwMyRSGgleJlW6+Ll8hBpm/fpq21lZ1sgbXkonxpdvX009HVxvjEZZ7846+gezVC4WbGJxbo6oqR3SnQ3dfB4mKSRCTIj87O8qs/9wA/8+mPcvncdfLFvHTvNnZ08rnP/DbP/WiCu+4ZJLmZJbWeI9ES4rWLKzx2TxO//79/g/n5ZQwBHStU5AZtcX6RhPCQu3RWF5clvHOgr4+tdJqF+WX2jw6x7+ETHOh/j+zHHt0j0hx11itVzp3d5rmnHuTYR/+Atf/8AlosQqhJ0FcNuW2KDfZR3tik7dCvCPAqP/vBU1y7OMXGZo59vW3UFYOp2UU++L5T/OcPr8phzcMnR5leFH1fm+PDjRw6sIuevhG++e1/Y6BvVFodwqEQiaYmVpaW5cRdbAezqRyJaJz1jUX8/gg//en38dWnvs3v/+1rUqkY8LmpWSZjE+vsag8Sa3LT0tDGS2cmGBmKcPd9B/md33+BkWGdMy//OU50HwtPf4VYdzOuyB5KhSoqIt4lgDhllNICrsiIMAZSLMzhivVh1w1ctTnqsZMYYhpeKVIVij8ljGLO4xDC5W/B1F13Ej0VEyPchFUpoVhFHCOAFoij2iqFG1/GFe1A63oUO5+Uh0AxRBBjRrEddQQIxiUYLBp18Uyrl7FFxyzQheVkUStb6K42arVtFJGoEsaCSCuu4Q4e7P8wY0slHr67kwZd4/kbC1TLDh9ohr/4y/eQ8bWTm1rAW0gTuOthSmLrVzepe/3ICJTmQmtpQBsbQzfcpNfmMdq78GkaavdBQu05znzxTX7/pTRH+23Mkk20ycff/HCbLl+Ny2/8BsV3blJxadim4KV0YxgGjs/GydZwF3fIVguE9z5MfuwFnKqCpyFEZXoasyFGoL0fPRxi641n6P6NP+Sl3/4LPvudW7REvXQn3FyeKdLbFaXJD2vLRYhphFSVy5Nl2ls97OuNcnVsjYmdOj26zStPf5LCSgqrpFIrFeW7wdPbQ3YnRTjWjNbQQ33hKrovSG51GV88hlOuYgs40sYK7uED1Fc3qCyNEzl2F9XpW/i6+knPzuOJBfAcepjCG8+i2TUJCKwVC7JiY+lu1FIO03IwanWKO2sE/BGUffex/fy3iB3aQzmVxFAb8TbHMBpdpJa2uP9Tz/Dw/d0sJ3ck0Er0J/1qjTfnNT7/8Rzve+Qurl6cJ1/I0SeI9alN9tzbzRe/epXP/EMBX1jn4/dEqZaD5Jw8qxslDMdDTSmxuJjFK9/LQTKVAoffd4p0qcLMxUmO3XOYbC7H4tS8rIiJzvGVKxcYHh0lny4SjkZZXJinq6uD1rZW5mYW5KEuld3BK3r4PpccPp8/dw5fICz7uwcP7adarbKxvcn7n3g/3/nPb9Ha2injwJtbm0QjMXbvHuDFF1+mp2uXrMutLSfxB334/G4JHPO6vVJZtrW1LS/nHo8L23bw+X2yNiQ2i6KXLAaApWJFbly6Ort56UevEg6E2dXbhVf45U2b1dU1XIZHfm0jo7vZ2tlhZWEVdI2hoV5KuTLJ7U1aO1vobGpjanya7MIqarZEa3cTiUSAeqnO7cV1DMXg3EKJr/zsKP/tp46TWldx5zLkVxcJHDpKObdN/so5GhLN2F17cdt1ckKTt5PDdeQU+Vd/gHH0KLGB/az9y98Q//AvYt26RS01jdbcJ1Vwgh+iVOo41QKuoZM4C1fI35pAP3CEYChBdkzERuMU1tcI9+6mns/j6hyklBJgzZqsXJZL63gGDmEuzFFLzuJt7sYOCRVlHqtcQrccKpUcft1Lracfc3MZIxTFldwkvzCFa2gELZag8PYPCcQ6sFq7cVdqpLMrxPrvJjd+XhCBJezP6NqDdfsmSksANdItzwzV5dtUpsbwtbZTCvsJOhHq5U0CsXY2rz9PsO8EWrGAJUwPrU2YOzms/BZ62zCq4WDdeAcjGMHpGcZaXkYp5qCtB235Fk4iJhXSleVpXCP34avVKKwv4hYKTt3EOXcOvcmDqUcwYhHSl6/i7Rki2N/I5ttLNESKRO4dpfjmBM2/cBZbq/DEqXYyWcG7UKTyrlY2WMvl6OlpprCVZTVZYN/pEbyD7azPb4jTsNzq76TTDI2OMHlzCn9DmEOH97I6t8DUwjI9uzql5cI2HZZWlqVC8+zZt3B5PNx1/Dgvvvwy5WKN/Yf24PN6GB8bl5fycFgsYa6w/5C4pKYlWV9AuoWGN7W9xenTJ3nt7TfxuX10trZz5eoVBgaH5IVmJ70tEzNjExOEI0KPJ2qOXmqiN20YHDiwl/Hx21QrVQnIFLWeV199nYH+XRw5fIRz59+iMdEsjUGLi0uyahYOiKGDjsfrk5f4xYVlmW5w+3yynplobqShoZF8IYNLd7G4tEh7Wyc5wfxA2HpdBAN+lhZW2L1nkLXVVbweH7ZVZ3srQ/9AL4GAl2vXb7G9nmJ0dICKXZeAwkDIg47Krr5epqanZLxfQD9ffflVTt9/iuTaFoGgVwKR3T63tBxUSlVy+SwDQ7sZv36DRHOcukgZB3z4AgGK+RyLi8vsHh4CATWvOBRKFXbSKRKNDdJso3k8Ep5ZzBTIXbyNlVZpaPOgRjXa4lHW5rbYqBVoDQUJaRrBjhCvXdhha7vKxgv78RSrTC6ojJ7w8Lk/ucVX3tE43KXT4NVIZcqs5Eokwl6ujucYu/SHRFta2bhylpC7BcvXhFO4KQGSbqMTzeUmZ27h97VQcYfxEsDZuYqthzHTy+iJISzRec/N4vEGsUTFxgngOCL6LlS3JVRHw3KJiviqHMLp4X3YmZs41RRG/BBUFqgroTsQ85qotVYx3P47hje/im50Y4rajV8sdStUt1/G49uNGd2Dlj4v9e1qbAREraK+Ba4wlq8frXAFx2hEFfeyfBYzOoJaT6KsvoPWej9YGSq1jNz4Uy1jKBFsUU8z87jcDThCt1EyZXXC73XLarBl1WUKsp6fpC5q5qol60tWPo1l5tGDnajRAczqGrbegjt/gXrVgzsxQrWQQrfE1xeRXC2X7sM0qyiKjmZtY9oaauNxzNI2uiMqt8E7lYJaWdbg63oQVz0DlSx1n2A+lbEC3dLu5SyfRYkPYqLhclSsUhJbNUBA3Z0QtruMUi/JBbG5M4mr9fgd5Z+hopY2sdQKSvxutOwsNSuPS6QV0lf+2hH9A5f4g4tLbmUdtBZss4hdnERvOyljbTVxyVYDkohYW7uJ2noUI9xCffMmuh6DSCe19Kr0W6uCdCjgSwLOsr2AJcB+hSTlnSmC/Y/giIpBfC+OGsDOTqFbRWqWQ628TLDzXdREzLqSwSsewuIwWs+jBzpRTJP8hS/hPvgxbF/jne2PZks1n5UvoLtttFAH9YqFXVzHCIZlEkBEwizTg+F1sHIZLDuPv2mUvAAKFrdxSqsY3k4JWqiLB48rSn1nHK1WRon141Q3sLyN1LYncIuNXqifqiA8pi6jGiFUlw+9cR+V4ix6VZWxfk18cF1ulOKGjJ86+SRG+CCOS6GemcJtNFIPJFC238bVdIq6GLyoFlU9gCEe/yIpUaxI0q1uhCQ3wdGikqQpNIuie6Z5O+9QwMXjuy6cqlmp0LHsAkq5itYwii1+4Kp5NHtHHmIEYM7b0Mva3A16jtxHdifNobs+zYG9rbgqDqrPpKt1F1cnF2iKajz5uV/jH7/6b+iayv59ggZ7k3Ipx9Ce3YxdneSuo3vwR0NMTkzK7uSjjzzKR/7772JaArbXiFa2OXJ0iHS+wj9/5wK7wgrv3Pgqir+H5LlnMVwavmCUal7B8qv44gNUli6iB0MEDt7Hbzz2IZ47t82BATfeYAMu1WJ8cpNI2Muf/P5HOP/2ddB0qXAxdI2Wpjaef+FF7rr7OKVChY3tpIzA1U2bpqYEpVqFA/v2yge8iJAeP36Cr33t25TLNf7wTz7HO2+/icvjlbRbcSEXGxGPSMKICKRi0NzWzNjETVQxzFENcvki7S1NskZQrFQ5dvQ46XSKkT17uTVxk7/9u6dYWKsTakiwqyPAajJFU0NEakueO7vEw4ea+fJTTzJ1a4xaTcWxakxPz3Dg8CHmFheIhkJ0tHfw+htnaEm0SWCPretMj42x79ghapUcf/B//hmfL0RbcxCXR2d5dZtUxiIRd9HaHOH51yd54HQfX/iLJ3np+z+Uf6aWji46uzv5wl9/ibcu3ebQyCivnZ9kYFeEtsZG3rkxzeGDnTz5J3/M2LVrcssg3NiNiUbcuk5zawfXb9ykXYBySiUZrxscGeb5Z5+jt7eXPScO8K4HfgXVazPQ187EbTFw8bO2WuO5f3w3Iw/9P5LeO0Cyqz7Tfu69VXUr567q3jDuZgAAIABJREFUnKd7unty0kgjaUYSIATCCDDBOWF7ccI2Tp8Dttf+jD97bbzrtTE4gA0WywcSQgjZSozCaDQ590z3dM6hqivnm9bnzN8aaVrdXfee8/u97/P8MMVzL2CERklEfNRbbpxKnYpik35oPyzOMLr7VzDDFmPdaXp3xVmcX2Nno8WTT44zt5BndmkbgdzujIfIlJpsbNX41Z98jP6BCDeuLTAyPMoDDx/l+e98F92tyvjtV//lX3no4Qdlf1xEHsVewO9VyO6UODQ2wMtnb/DFpy/y1PsmuHjuFlrITU+yn4qIU+7t5/TbtxnZnZQd7W89M8vHH/TwhTdfwl5fJbPewK8WqOZu4XVFCbTvlVqZan4dv9DIWBZGeR3VHcCy8uiBPlx2nerWZdSO+9Et0aMWLxw3Lv+9lJXmEtRpH3ZlGk1APDWPZK+o1ZLcNFviC9HcmE0PSmsRd7CHFg1cAjYjYl+1DRzhyA2KbpobR7Vw6kVZjxA6U5H0Eptqs1qQW9SmEsbni9LKXpR96cDYU7TaA/zM2ClyeO+pjApbfODUA/yfM/MsLRS58+ovSoZJYWZdxoVzNZNoX9c9pen8VbSysBB40Dt7MEJJ1MImLreB2lRwCgXq3hAetUHiwQmeeORznF1389SxKJ1hHwu5Zd65qvD4RJwvfvlHyF9ZxCxZBAbaWbtwloDuwRf00uruQW+2KN66iiccRNm1j4THR/adM7h2DRIbfphmfZu1ybcZfeon+eZffZ7ffWaJfV0hvKrGfNWiXqgykQ5goOHzqfJZMzCYws4WuL1d4s5yXUaML/zlIzJivLG4jLpVAZ+G7dKxDYfw0CD13I58/tbFIccbwqvoOAMDFF76OqFHfxhfNUepvIm/ZzeFi2+jhjR8niBmKEF0/DCV6euShq35U5g33kBpa5dR/8bcdcL9u6nldrA21zE1E1/XPgkvsjeXEfgSq3MXysJ11GA7nnAAT1+Y3/7MM7w1L2LyAQo5U0Bk6G4PUqmYTC2VePZ32+neNczq3VU5qFverPLE+9I8/Y0sn/xajYPjOm5TcGXcrKwUOLwvisv2srTZwB1QifoDUoM5s5Zl76kjHH78OC89/Tw9Az34IiE217blxbtVr0sA4PZOQVYLxEYxnyvI95fYPEbCEanW2zO+m5W1NbziXSYuFh5ddvOv3rjJof0HWVtblhU522rKz7FgA8TCEQrlEulUhLZUJ1N3Zmhra+ONN97i6JF9+AMRCa+9fWea7s5OsjubFHM1jh4/KCsHRtOkq7uTldV1BFFQbDZl1clsEYlEiUbDshPd1ZHC43GztrlFZ2enJLGLLfrOzhbJZBv5UolYJIrfK7RaokaUY3tTXP67iaRCZNZ3aE/FWXn9FrVCDX9EJ+LXKRhNqbB1awb5rRY1y8/ac0/SLDk0LIWKqCU5JWxTJxzyUcqv41gano5OXGYVJdyJOx4g9x/PSnhnx3s/QunqG5JabaTa8Bg2SrWKLQ7suU2cliX79u72Hiq5InGfj82bFwgfOIY+dgxy29TX59DWZ7A7d6PF46iZBWkx0O+7j9bl64KhLZkm7nRcQl4ba4uowsyhKrJ2aDlV3GKrWC1jCFhWwCfd6crti9RKIr5vEf2R36Z19bQ807j3nKKyNYt76Txq+gBWLU8glKKuWajJIZyVSVo7q/gjMUxbp1rcItKWolrI4e0ewaoKVkCUVi6PU93BiXXgatRkDNfp2QXbS/iiPdTdPrSgm/LtSQLRDmhsYocjqLE+mtlNrIU7Um3t7RnHFITxch1XIoqytkYrFsffM4Zz5yy5lbu0De4mFE+zubRJrGcQjzj/ph3uLpcZ/dHTDI4q7I57qRYbEswszhwilVK3VGIRnfxanuXVHP6hDu776CPy5/LG8y/ynve+h5m5Jfq7Oznz9kXGxkfJbO9QrpUY6OsmEAzJWoCoNIrudTAckJ1maZty62xmNnns1EnZ2xe2o+3tLVmFFWaMh+5/kHfOv8ORI4e4Oz1DR0cnd+7eIRJJUirn2btnjyT6i17/qUdP8dUvPy2J/V29PVy+cJVoPCrjyCL6LlKOgoOUak9x+col2eEXFcxdA0JrZhKMxllcWGJ4eFAO21aXl9i/dz+LK0sSzre6vCyXCRNjY2xsbsjPsmALnL94nu6ePp5477t47bXTdHWn2VzL0tPbRUWkvGxL6jYTkbg0gARDEVZX14mFQ+heD9tbWfYd2i87/+KzGU+kJPwsmytIa4gwKWxnc2TWN2nvbJcDgLfefIvOnm6pChwaGpRDE/F5FtajhaUV4tEoplhGqg4HD+yVl/1r129SrZSpl6r44mF0ly6BgGJplM1u8+53n2JtY5tbN6fo6e9idGgQ3e/i7FvnMIWWeaCf7dVtfJU6/p0SlZZFyRSLA43ODp1MvkJI8RGMBCiUK5xbtfA3y7z5uWFGxn04dZVvnnX49D/c4EP393DlTpZ03EMo4Ge7sMPrky0WXvgxeh/7ZXbOv4xXLDVEnbC+JVOleqybpoi1t+oEkn2Ul87i8cdQ9RS2U0YRNPvABDSWcPQO1Kb43hepOw0C3jROsyo8CViKSCULSn5F1mdVq4BYd7rdPszwAKq4xwkAn3jnB4NYIoFgZTE2buJqOyarh055EkXUlRWoBtvR6yYNq0RQ82F6wxLoq+jinaDi8jgolQyW/Fp7UZp3cWwvWuo41sZrOI2iZHMoIklZn5WLN1HRdul+mpYltbO4dKzSGm6ROrK9sruPpmMrIi3ggfW3cMcHsVUNJTQOpTlUkXhydKzyIrh8aKldWE4IO3cZW0+jKi1Usdh1B1CNvDxzBCJ9GMKS5EtK9ohV28J2IQeejqaghjpoldZQQ71oLgF8vkurvkjQO4jli0gLg0hOOJlLsnaueYcw83ewwh1ozQxuVxJDDDVbJTxKGDPQgZZ9B8vbi+0L4xWsPUNw+ATZ4b+US7kV1NiwvOsqpbc/65imAl4xhREPbRu3VaNZrksStDuUoFXdwGWJrpGg8/fJ7oJQzYkDnB3woDoGZnkRLTEEpTpOcQo7sRcK2zjxCFp1U6pxaFbQOu9D9QUwsosorTyW+EB178M2WrhdIdkfMSoraKEODNHrEBtvJYBbUOvdIdTiNGZ0D5o43Irp5+oFHJ8H1ZXCqC9iVbcJtu/DMN33fgkFWG/njjx066E2Guvn0WNHaFhFlPw5iJ/E5Y9itHLSlajVRYc/i7fvCYytCyiiP6HYePxtmLm7tHLzeHseAFOlsfA9/MNPSNCMpgZkRMxuVrEEsTs6BCKyUttGcXsxd86hhYdw7IAk9VtGEXd8FNPdgVJdRbWKWALy4BLTpk6URgZFM7AcHdXM06i10FvLuDpOYVbvAWY0VxjH2wFOA9ssoBplLC0E9bKcWKnBbtTWDk0zi7uVxA5qWNUypl1F14NEjn6MO698kd/53S/zJ3/wc5x++yJvvXObxYUdCZ34iY/cz0/+1IeYm1pEcxksrBVYWFjCNC10j4tUJIaAQBTqLepliyNH+/nsH32JUMcAgZCbd85OkUom+fC7R/n+1XleeDvD0qu/Qe9DT5C9+H0i/ihNu4ojLi25FTnRCoX6qItHytptej/4C/zBL3yKf/3Xy3zo5DDX5ouM7w6ytFbkzI0cX/78DzN94QbdAwMMDPbzyn++TN/gIJGIX74Mxsb3MH37NiOjIzIGJuj9K3NLcru0e2wMxzRpWgbLa6sM9A7xoY/8ILcm71AvFRncNcLqxhrNRo3h4d2srq/JqI+IQZVqFdqiURJtaem/7RS1gstX2H/wANFQSF78S0aT/XsO8G9f/gpvXJmlVTEYG2nj2mSGRMRFe0eaN88t8O4Tg/z9V/6OL//tXzK+9yj5nS283jB7Duzj7bfPkIyG5QNVTPU7OruZm5uSVPwHT5wgHAtw6/YkP/ezf0Us7aW7O87KwjZ79g9Rq1oMDaQxGw3++mvXeOxYiOdff5Ur3/0O9VaN02fO8Nhjj7Iyv8IX/vkZ2eUfmuigPRpidnqRMxcW+eo//6kk5144f5aB3kE8moc33nxNdvTF4MTr9TM1eYdUWxtu3UM8FsawXZhWi2jSx6c//ee0pTuJxaJkdnKoRo03rixz+t9/hoGHf4TCtdclQVp0WJ1YCo9vB2fDJLe+TdcTP427fp0jJ3+bK7MVfumj4+yUa0ze3uR975rgjbfuyI3fyfsHeenNefaODTI1v8mxkTgPPTSOGx1bs1hb2cIbDMg/m4wImrgp6b0Xzp1laOAeuftjH/8Ir7z0Cv6QC9Pw8NXvXiPqM6hVFILtfnRBkhYQFsMgGo8zPZvh6lSeL/3hI3z0j36P2mKB+tplfOEEtjycBGlW5zBVH8G+Y7B2CfwDKJE0jexlfM0idmSvTPQ4QvsXnsCjmtCq3CP+iwRT/i4Nlw+f06LlTeCy3FjiOeoN4zLLQuaJR4C4Cguo0aO4I0nM7Rn0+DANu4qWn8MRTJbCNfxWAscvYrpLuHwDqG0HUFt5+cwTWSTw4lS30OL7aGRP4wv0I/JaLn8b9WaTcM8Iv/Khj7G6Y3L/RBfTq5tM9CTYKtR59uYGl3/9PoIuH8Wkn2RHP9lrk3jjogevoakC9OMntOsYTnYWo5CDrh7UaKfU2HjEgTXYyZVXv82Rj79fbjLTj/8zuwe97IsoFFAI4OHpqzk+8+EUf/jlL1L/j7+jdGUef9tufAf30GoWqS7N4k/1YYd9EoLUeOc6TbNK4tFPsDX1Oq7iAvEDH6S0dIFUIsn3z07z4c/f4MP7g9QMN5qiUrGajHbGmd8ospyvMJ7wMtHbxkLJ4iuvr7CnN8Dpv/kgfm+QrN9FW6KTjdV5PLkqmm3JGL7v4AnMmfM4U3dRO9qpztzBF/OhTRzHXMvijosuRhQjv41L8aHFQ9RXVwgMj1A5fxp3ugcl5IdoEndZVGq8Mtoo4uPOTgYrmETJZqUC0p/upNqooqhNGvkdAu1dqOkxtPI6lanbBIMu9IEB3v2Jf6NrQMfnDeP9L/XnzWnB7PBzZ7lGqNLgf/9hO4nuHjbvblHOWBx7T5Jnnq/x0S9meP/xmAQwZUoaTZfC6kqB4cE0saAie/qipiji/07aT9++CaYX56mu5xmdGEZRhbHCIF8Qw2eVdCLO9WuTPHTyfhmxTcajEuS3MLPA0fuOsryywvT0DKMjI3h9PhbnVwlEAlRKBQICiqRY97ady8scOnJIbuxFbWrX8CC3b92Wz/hA0M/czLzc7iuKQyrVTl9fN6dfe51dI4NEw3GZXIqlEpw/e56+/j5pdrl6VYBc2+kf7JdA06Hhe7ozXfdLhkiiLcH0bXFZSnH/ieO88vJptrezhGNh/F4Xx48cx8RmZmZavnvSqZQEgwkFr7iMiMTCwUP7uX79NpubS4zEetGbBpWdLF393WxkMlIjGAi65OLhm2eLfPapdj77KydZenuGxOAodrOE6Ynh1WuU705iBnvQthZwDw9ieNNYq3cJptvR0l3YSyuUVqckmyJx6nFyYmgyc4fgvkexanM47ji+WBpz+TKm5Ya0SHUuQsXCrOdQXF78h0/Kd73V2MGaXcb2e1B9UZy1OULjE2RuXiIoEhZ6mPrKCpE9Y1imTm1jCj2/hSnObKK8WNvGFJ//xbsYpSzBkQM0ykXcbWmUQoVqSQzDurBnJlFow9TyqIdP4dXctNYWMYTKMpWSw00nn6F46xLB/QfwjZ6gOXkeuy0hjq9UF6bBdKE/+iTa8jLF268TGByXqmozu4Xb48GdTmFvLFBXRP2qjBZJSFibXWnhE12q0b3Ulhawt1eJ/MBPSLhhaeoa3iMnsOaXKc1cR9+1h0DPGJTmRT+BXCZHoGTiHUkTOnGUb/7N9/jUP1xF92p4vS72DSYZHh3g6W+fYai/k2RMZ2Z6g1hIXFSb3P/UAxQDJpsLm8zeWuHU40fZu3eCL33paanrFapLoc9OtrWztrzA8Ogovb19PPutZ0h1dEqmlrhALy4vcOjAYTmYF1vykeHdbG1vysSLR1dJxNtweV0UcyVi4Sidve2cPXee7q4+yoWsNG9U6w1pvpi8M83o6JisvjbqLVl3DATdMulSKtY4ev8x+bm8cO4atVpF9pojAR/VaoO9+yfkZ6+YLzE1PcPwwJA0DGztbFMqlRkeHuL0K28SCYU5dN8hFhZm5MV6ZnpRXsaDQV0yet5+4wx9A32yVikgiIqmUcjlGd8jTBJCiVhmZWWT3aODrK9tSAW0OKOJnn4wEKRYFNR8i9GxMV584QWOHT1Gy2qxJVTGouqguiRPQXFsLl66wvjEHgldW12a5/HH38u58+9Qb7VoT6WE9U+mGgobedr7O6lVKsxMz/De971HDkLEwPFDH3qKV157hXKpQmdnO8tLS+weH2VlaYt4MiGh0NtrG3iDPgn3Fvrq2VtzDBwYFVV8rj1/FlfdJhT1EWqLsL2ex3bDUERnLt8krlnSFHBuQaXZqJI5fQTHLPMPf7/ML3y9yQfGQ5itsgRvNkomfb1xvnt2nVf+6Sn2fPSjZC5cJeBKYVnz0uwQiR/GiIbRdmZo7izgSb8Hx8xgVTbl1l8VF+FmEasiuG8JCdjUdB3EsmDzNKSO4oQGsVrbuDNXMHy7UQNpWQdwFWdx2vejumO06hs4dlCqPjWPF6c2RUtE0YW+sziN4uq8V5UWfqx6Bc2o3uPdiHtVpYgRSqPSQGkaWOIyLCLsos7kZECA0ZUwqtZAqeWhtIrVcQhvfJ9UpYpUo9h4m+6Q1Cy3qlmUltDrjWHNfAvL48bd/4i8n7oMA6cyC/4kdtO+9/cQptlclzUGlz9JvbEjuTmW0UR167RWT6N4g7hDu6Xu3VaCeLxxmooL3dWgLlLtloM5+wJ6+wEcbwzHrmIbMVwDByE3j2IbmLZfwm9bxTUcpS4ZKdi+e4yGVaGk9eKLj2F4RHy0hpW/ghoal0w5NdyOaogqQQ1Td+EODaLWGxjFy1L7qIaSWMk9eBwfVv4mrWqBYKxDJgGVwqW/dBTTRhFbZW8YR+9Gy5ymoYjp8ins7Ruy09H0RHErRTz+EWq2hlO4AmYDT9t+HEfEdxexLRXNsqlvnsY7/GO4xYXUyqL0fhC1toij+Giu30KlhjvWiVlfR/ENQLWI2tzEsStS6eAe+GG00jSN7Hk8HcdkbMSqrcuXn7tZx1RdmI0yfmMLy5OQ2gWsHGptmVp2A09iFE0QoH0T2PUFCT5wijNYdgvH047iD+JUClKn5xQvY6lRdL9Bs25j7Mzidvuxut6FYmZlWsEV7JLDCkUVPsYmtlFC8cdR61vUxdSnuopLj2N5UzKWLxgDSm2VRn0Ld6wdS+9CFTCHnetYYigR7INAGjU7KTwFaN44tMoomg+HMooSo9HcQNWD+P09ONtvUI/cj0t8v+KHsCtzsmpg2TXpt9RDHThKu+wcYjSxNs7jxAZQBdW2UsbltvBHB7Brm+B40INePOPHefrP/ozP//3L9HSnmJmZI5AUVFWHiJ6g1rzXxwz4daJRD8ePDjOxa0hWGOLJGNPTcxJwJh74qViKPXt6uHV3mb/90iucODLGnfU79MW72KlU2DUU4//915t87HCCr535ewpXdmgaO5iVHVS3gJONohYnJXW84Wrg15No1W38e4/y9b/7C/79GzcI+1ysZyoc2z/M8Fg/f/E3L/KjHxjDo9Xp7B6k1qjJ6bPw3or4ZqGQo15vyD58Zicro5rdfd2sL62w98A+8qWq/Fmats1rb76Natv89E99ktEDe8ltbLCVybG4OMuJhx4mHPBz9u2zZIp5UtE4jqKxe/co8/MzsmawuDSHacL+vXt44cXvSStEIBLl/U++n68//RX+6HOvMdDrJxT1S6LogZFuDhw6yEsvvSVJ8r/1O5+hZQqvdBPHasjO3OSdGZJtEbltSsSTst8npng9/X28fvp1Dh3cz9b2DjevX2Z+YZnRPWPMz6zz3e/d5IMfPkouV+TyhUVmcy0O9ui8/ua/cvPqTV5/9TXe94EPY6uGfJlfPn8F26fyF3/+VfaMtxEJx3nmO9McP97Fv379b7n21luyN7u5to4Y9x/ad0jCQAulIj6fl0sXrsqpvID6iLRFZiPD4ROHuXl9il//L7BbMKyzd7yDtdUijh7k7OVFrvznL9B98OOUN7ahfAe1OoUncj8NLNxei8rqPGbNJ+nJ3lCI/ft+kNZWk7GJEMVGkN7eCPl8Db/bZmigkyuX7zI63sU3vjPJQFrnC//zlyiVTe7cvC6rFOJgIGCPkZCf7VwByxQ0bZ37jx8nX6iyuDRDT3eX9BOfuXiN+bk1VhaXKBk2Lt2FR4lQLuUoCXLw3QJRN7x1/vOk9z5MbfYuSmGVSmMBveWlbJtExLapmZBgVWHgsHFhWOIqq0u9jssTlroxQiE0LS3VPsrOJFguDOFGd/fgmKKyY8tJsoiQqkoKjG1w+9GcJi1i0lPuNoqgd0l4jCr+O46CLTgkzRyavwcxThfQKuG/tUvX5fTaHZ+QwB3NqeHonRjFG7jFcLbjPbQqS5I1oVaXpE5T6fATTp3iC7/5Kf7on6Z54oEYmyWHctWgaSqsZW3+82cT9AnN1a6D7Cyt4FegtSYOdTUCHbtQhzqwjADW6hR6MY/Vu1tUMjELyzgNP5EDB3CX51ieXGboY+/j6tPf5uTvXebjRwKkOxLMLQqWQJQX317hRHuQpy//D0pX3qa20sTcnkerlPDs3Y0r1E1xZR6lsEV8ZILta2/TcegUDX+UzNlXCQx2opoeUgf3sHhpnmO/+gxH+sKEgxaWYdBUIlTKeU6OddAZ9fPNczNUCm4uZ20+/ZiLP/6ZU3jifspLBSwjj6ttGI9ZorS4hauvA683RHljHXcsglO38EdCWLYPo7Fzb3OZ6KZeKEitp0ieWCvrhA4foLqVR3c5QIyK8PtuZnHfdwr/zDTO/vsl9Ki6cFMeLJxEmOrKIr6uIcxWA0+tjC2AR6FunKU5eUFzj3Sy9OwL7PvUj0Ojxs996p9QQhHWi1UEtcZwiYF5k8szJj9yv8avfTTF4ppNq1LjxHv7aARDJB88w66RJC5jm8HeBLNTVRpmjRPHB7hxLUcw4aVSbaHUW2wZTQYe2osvGKRRElvbMHPiwmiYDA/3s7y8SrK9Db9XZ211E7fXRTgUZPLaFE8+9T6+9c1vSaiYUJoWMlmW1lelA3x1bZl0ZycD3X1cn7xJNBiTl5z/9t9+lueefQ6jZcl47sjuEbnh2VzbIBqLsLmdIZ1qo1KpSK3p9rbY6I3IPv/tW9OyL/zwoyfZWFthdm5B1mOarRrtbSnau7sk8FduA7s6cByHUEikB5r09/YzNX1HRpVFn3difByfX+fVl78vjS2Z7Qx790xIZeFOtoTRqtM0TO6/7wgr6xsYjRqJthSj+4a5dOEG0y+eozeRwBXV2VjOo4d0Orv8ZFbzXJwpEdRjZK59mtrFSep5URVM4tEcaitrqJqDo6vo/eO0Ctu4Fmcx+3eDZmGubuIf2A1rk5jeKJ5IiMqtK2ij+3GbDkq6i9Ib38Oruwk8/pM0bryCbXlwi0u210Or2sJanZXbKQFNFZdkrzikthSUqI/SyhLtB45SL5TR42mq1y+hxoLY4ndYicrNl7m+jb5rL1a1RHNtCm/nAGqkjcbaND6XGysexx3uoHT+uwSH+lC8E9TnLuLqTqN17sK5dhY1NYgjnmnxLlr5nIRiam2dGHaDoC9CtdnAruZxxwawVm5DvA0zu4Hdv4dAo4y5NIsSTaCmOsE2cEo16n4X9t0pArE2zLAXX1s79fwOzuoadl8PbfEOttcWsDa2CXYNoKbaKV17h+DoXqzsJp5QgEZ9Gz0xjl3K4uvupnx3lrbuMPa7HuEzT/wB//PMDnv2RziWiLEloGy3Nnj4/nHWsnkJMm3UFPkuKpSrPPKTj5LXFO5emyakemWUOZ3q5tw7Z6Q6WBeVLa9Lvq9yO2UGh/vYzmyytLjM/n37UN2q1CsLIN3wyIgcfuULAqTnln32eqMuFcjd/d1sbmbo6+nlwpUrcmmRyWzLrbZY+ok0XDwpdHdVwnHxHKwQiUUxmg00TWdudpYHjt8vWUsry+uSe+H1uqVqLxlLsL6yRjQZJ+D3U6qV2dneZmz3CPMLSwS9QS5ducHE+CjJthhTs/P0dXVKc0cuXyGX3aHVqDM6MUFuR0AJvWxticGFIeGExUqNdDIhB3w3btyQXIBKMS+HIpmdAj29PZLkL0xLIqIcCvplWkJoEgWjKRQKEUsKe8Am6XRapiIajSqdHV3s2Tsmt/ji2bHv4F6ZoJ1ZmGWwp0cmSHOFPD39otLbZHtnB8s0CUXFc90k5BeLmj1cu3KdjfVN+XUL21AkmpBLkbtTdyU8WQwRxGW0lK+wb984hw4d4OtPf53Orh55BhVWoun1NX76Uz/Ci3/7dZS1PJ2DabJmE0+tTjgWY2alxHh3GMVtsVl0cW05Q7vXx9T39+DJW3R9aIld6SqHB+L8x9VtRnu86Ci8cDnPv/zm43zsD36bnXMvEO4YkakloQp2+fpwe/00a1O4Qilo1LGq67g7jkmYu1bOY9hbaGoQt6+b5vob6G0TWO42CQJUnTy2qKWVSlDaxpXuxWnasvbg1DewfCnc4UFcG9/HErVxV4h6ZVHG+L2hAWx/EsUQAGMTjC1alRZqclgmWOziOmgtXHoUw+nEbd7C8Qxi2SWU7BVa/t2SwyBscaLn7wSj2PlpzJYLT/ejmEJZ2JzG0frQwnEsqwSuNpTaNppRxhQWkMId0Hdh+UNiO43qaccozuFK9OE4XtxOCbMsqPsN9PhejNY6tliu+nrkfVlxG1jizuuJ02pm8Tk6ZjiGIp6TngBGaQGfDQ1XE7fllRBAp7aO2jaGYmjYSguLCrowABhNDGEf0QIomihtavJu4vKHMW035sZAT2f/AAAgAElEQVT3cQd7aTVdeKMJbKF2L8yA3onq9stBq1vwDeJHMLeFgcCHExlAKy3Q1AWHal40zwnERjCEVhCwywsoxctfcBShAbQdTNuDvXMZPO24Am6M9VnZZVRCwi8vvIcNzMYSarAHS1XRNmewBHUw3oMmKNJGFjvYK8FHjaro8gWwRf+hlcO2TZxQAi2/iNZyYUf65C+JEhN/vokhHPeWB8MlVD5uecnWwqMoho7VWLtHv/btwrBzcvPYaig0W9sEhGKhPA+RHlTXLpSAR8IZmvm7aKnHUe0F1HJORlpqoS48loEajNOc/Ba2gDQlh1HX3qTlH8AT2gvF6zSrm3gFKEMJgSAiKz4atR00twr+DtxWDqMlIpGi51EExY2LIE0nh+JJ43IV5STaEaBEtxe3AD4JIYjTxO3voyHI/KKZ22ziikRobaziakuikMARmgwx1fGGMEyvZA60ROyjvIpH9dGqFrGjYXQ7ipWfxPKEcTklHL/QiQlgSh2ntIkqOi/GuuQT4ISwdIuyAOB0jdG27yD/6xd/nt/54i2efFAwHESsxaTQtCSExa9Bj3DCFhvcmcnJ2JlIPPR2uzmyr4cf+sHHZFf83OUZFhbm+OVf+gQdPe28+8N/SHe6E6exJUEX8aRKZyrJtVtLTF0vc+3tHyd8/CPsvHEBfzQt9Y6GrsuJXKtWR/GK70EZWg0sl0ZiYj/N2xd5/Mf+Fw4Gh/aPcufWPMOjCZ57bYmfeO9ejh3soFK0aYpI13ZWXLVQPW5JQJ+bXuHYA0cZ6uvm/MWLKC43RqNBZ2c3Ozs7mM2GpOJmizl0TeOJpz7C1772b7zn8ffT3z/Ii889TyQpHg4Ohw7dx62bt2SEZ3TXuHxBra4u4w74SQQjxBIJ2Z/tam/nwuVrMsb08CMneebpfyacHuXa1XPcns4w0J+knCtw7sa2tCp84U+f4tH3fYC3zpyhUioTjSRoS8WwHYVcNsv6qojIdbHvwH4mJyflxioSjTF58yadnT04ouPjUsjntkgm2llYmOfZ574voS0Br5vjJx7jx3/+p7h2+mWpRRRU8e7eNMVKFU1zSer2wOgeWqUC//33/4RMtkT/rj5+/bd+mY3VNb773PP88I/+mIz/i79X9NwK2Rym6EwFQoyOj8k/tzwvNhODXL18iQ986MN85/mX+I3f/zof+IExJm8tcGgkjh1p4+yLt7l+9x+pb25QLRVl1Fl0/7V4EFpeHE8a3VqSw5yq3SI5MAKJdr7wR3/Mr/3xafZ2e0j3CAScl3zRZmcnS8Dj4pGTB5mcXkH3hfjkJ46SyezQMDWGersk1Oj2nUlcqo9oIkg+syOHijKW3LRYWV6kI93J4cMj/NO/v8rLZ+7wc594hHNXpimIyJup4TVVLizu8Pge+OoLX5XgTev2O1RF/cko0MitEBCJHmrYrS3Mmh895MeoZFC84hlWQg+OYJTX8CQ6pO5SKc5ieSK4vF4qm5cJRvbJizxWA2/HMLadQlHrmNVVjNwM7vQpbFMQa7fR209gFG6g6UEcxcRqmLj8MVpLZyWAR0TGjOamjJQJ0KXhiUkgklZcpy6Ugx4L298tn1OC7N0oLuFK7cFXrVBq7eANd2MunaVZsIh/9NfIvfMMh9/1eZ54sIv2Ni/5zRJFo8G3rud5+Xf28/BHH2PpnRlC3iBrF18h2T+Au2cUrVmlsZPFH/JhuRyMvEEgmcQobWP6AzTKLqkoVAN9WFviuWUT/tDH+Nov/CWfvbjEJ/Z3UlovoEU9NFxBzp9Z4uc/MMinv/qHbH3p83gDceo7JTz9KcyMuPDl8CfacFL9qLkylVYJPdWH5gvRPPcyza4henYPk5ucZfwzz/Oe4Q4CIYOiuBwYNt09YbrjEZ77z1mKNvzoBwdQ5+b41Z9/P9rRg9gXr9EMt2Ndv0rWrtHz2Mdo3L0gvcihPYcxShr+1RmKSg3/wBjm+iYGJh7Rb0x30djcxteVpjw7iV/EsdOjKKs38Lh0GuL9iBsE4C27Qj0ex+P3QbYiobq1uWn0QBAlNUBzZwMXDUi0oTXdUilrFCpoHoXQwCjOVobAsUP82eee5q+/McforjT9PpOuqI0rHia3kWNqW+UfP51k+EA7rzw/w5GxIMHBMA/+yC0WayqDCYOoPy7hQVUBIaorpNPicC5guybzKy2GT/YzsneM69emSQb81E2DtnQKq9GSfJXhsVFuX5+i1mxKcNn4xC7Jk0mEY1LJKTaIBw8ekJf0TC6LSxXKzhIHDx3BNFosiYtFJER3bwfXLt2QcC2hNvv2d15m355diIr3pYuXOXrsiKxk3Zmdpqu9g10jwyysrONz68zOzBKJROQzP5VOsbW5Li8R169flWyXnp4epqfuUq/XZQQ4GU+wIMjgiQjFXBGX7sbr9uDy6UQDIYrlIqVyhXLxHkQwny8SioSk6u/K1at0dnRKY4nQtjaaNWbnF9DdOvV6lVRbglRvG178nHv1HbTtCppfmAM8+BVLqnb90RAHhlJ845VpXvy9+zn1xB5mvneOxL4JWjubJINJquGY/PM5wF0UJqIW+vAeWtfeQtvJoBx/HKbP42rbRWb+BlGvhu/hH6J25UX5zFB1qNgBQr1DFN7+FpEjT+BqG6Dy3S/hFReT/gnYWAHBJMlt4wS9+KN94DFobm5h2y50YerZWpS+aV/HELWlGXzhOGrnMPX8MnowiZnfwBuPUxHKZVulIZ53ojLjgLo4g73nBN5ansrdKdqe/EHyb7yGO+ClUVnG5Unh7d5FPSd0pV6adkN+PhSB02tpaNkN6m6LYHsv5s4WdO3GXr0la0WNUIDwwYepvP4i4fYuqdxzCR6JU8HIt3Al4yipfqxCkeLb3yG+9z7sWDeWUUdZW6RRyRF84BTWwjzBdBdbdy6h7hQIPvwuKjcvYik61tIMgycewjr1AKuvvMQP/eZrZJt+Tj0S59yZHQZ2hfC5HEoGLK9u09aVpFFoUS/W8Ic89L7rGPmSGAiYqKqbZq1JtVIgne6madfp7uhmdXWFcDSI3+XljTfPcPDIIfqHBnjr+29y6Mh+CaYU74+7d2dZWVqVnfuTjzxEMV9gYztDrV4VWS6Gdw2xsrjIdiZPNBYklUpLF/na6hpPffAHePa5F2T9UABxb0/PcP+Dx1lfWpUcAEHkF2mW3p4+svmM5I+I1IyIxgvj0aFDB2VCQCQBGrUGkaTgJi3wxHtPcfrVM5RrDQ4f2E+xUGB2boaTj5yUiZjLV67IGHpHRzuqokiwsDBYPfnkE5x757w8A4hBW9Dvw6PrrCyv0N3bQ8tosbm6zpHjR6XKd3lxmY6udo4cOsrp19+kWq1IsOuBQxOYTVMmKMLhiBxSDI8Ok8nm0BSNznahcYTz5y/KmmWz0SLdnmA7syMrP+Lv1gXsrywgcpr82Qizx+zcIoePHyK/k2Fzc4snH3+SN8+8IQcgfV09vPH6GVSXyr79e+WZTjx3PvDUE0zemOXM228xOjJM31Af3/n2f3D0/gME3CHq9YqM+B984BCn/+VZ2KrRM95JLKixtLwpB4drk3nqeksuhWIJjdMXcjw+Fv0vBsoYn/n0Ms9d2uKjD6Z44UqOowMBgj4PL5/f4EOnOvir518k+8Y3cLvD0i5mKjW0RlHa1ESf3iVqsloTj7jci2Ts1hu4Qmm8sf2UN2/g7zyMkZnEKN4kEB+RKVKlWsQV68cW1qK2Ixibb+Hxe7FChyWUzyNsR04LW9TH2w7gtLKYRTFES2MLqn91AT19nJam42oKrWAelwDZO+L8L6L4AVyC6+YO4TSyUnlsakH0SlFWdlrbV3AC7QSiwzQFAX9nCi0gVI4e1I3XQCQK2o/hODWZHnN7+rBKU/LSbLv9mM0iGnVQo9J+Ybk1PK4wliC2N8s0lv6TQNdRCXlX3CEUp4riTUmzmlO4idby4+o7iKNGsSqTKILu2zYqhwxm+S7uwDDNmlDlRjAC3dL6pEcGaa5dw+VqoHafxMpOY+txEFY7M4ceTGM0yhhWA93fRjM/g6ttL6oqDBHbNNfP4wq1obQLdsurqIkBaUjRzTqNehZX6j5YfwnL8OJNDeP44hIiTn0dw9TRhNlO2cEM75d1CCV38c8dpVZGC3dLd6y1ehpX6hi2rwMt8xqO8Bq6NGwRhd9ZRylP4e5+UGrE2LqFqthYeh+mYqKrDnZlHlfgIKYg7qNixw9irbyMR9QDhEIlvwXRYenrVXLXsLV2+Xcpehy1tYDRquEyxH1TRVEVEN38rbMg3NXtB3HbwtEuDtU+XG0npLpCuftN1O6HMf0pXKLb6umkVV7A7arh0toor1+SjlJPagInN4kdGpJaCl3vwvAPo9OSNNtWdU4SF9X4YxjiG1+4hdN5DCqbMrap+cPYolMnOv7lNfn/LSY0ivB2F+dwNBcevUNGJc2GgGocwNEKGMVVGtmLBDpPSnCgVdjArs2ghYawdDdWsYxqZlEIYkV6sPLn8IT244gNf3EJd6gdpb4iBwGuVhRPez+1yjZ6tFdO0FqFJdATeCzR8q/Jr1Wo6mha0qssoGO6T7zP1+h574d59ot/x6d+7ev8+s8eYXalQH6zSG/vIKuZPOVWlbW5CvcfTbO4vIQnmGBkqJ25+XUxY+L6rW2igRaf+92fIBZ1k88W8Pv9/NUXvsuN/6LdH38gTcDt4fy1HO0pGy2o89LbOV78iw/wnk/+OJWigrWxiFXfwhdtp9FqorZm0aIHqa9MovsDaOlBasvzpPYd4e3/+Aqf/OUX2XuoH49Rx9+dYHVtncnbOR7eP8g//v1v8O1nv8fqRkacSRnds4u7k9McO36Akqij2A7hoI9bU5PsHhlH1728/uppwvEQ8VgHxXKJznSCcxcv8L4PfJxMZlVG7XTVg9vtIt2Zplwpky+WpAM1GolRqlWplEpMTOyVZgqhGhSpA5GWGOwfZW7+Nig+8pkV5m5P85k//RMUR+dPf/93qTSbFMsGXek2fuDDjzPQ28trp1+lXqmz5+BRggE/d25cI93eKQ+VywsrDI+MEk+EmJ6colAukk61y8m+GBAINeG+ib0sr87KXtyB+45RyVfwehU03cv8/KLUCBZ3tknG2om2tckX/dr6CrFoikqtyt2ZaY7fd4Lh8VFyW2uSWi1YCVM3lySIaHCoh0QyJYc9grXi8wdJdXZw6Z2LBGMB+jp7eOfiBTra0lSbNY4eOsSlq7f54z/5Fx56aDdnbizw1OMH+d5L5+XQY2buW9gLV6nUmqhOUk6Rm3YIt3qv26uWGxAwsEsaml4lKqj2ow9x4ev/yMd/5q9oKT7S/gYPPyhSLm1cvyp0N+2gaXznP27x0584wB989jf59jeepVKuMTA0yJVrF0hGU7L6UW8KB6vClStXaEvHKObFJLfGB556hN/5gy+TyZVoS4akUtTRGnjCHVw9O8OTjwT462e+ibVZpXDnDI1alpCeQm1PS56JKsCi7Z3UMhmU5qasHNnCbFJaALWEljhCs5gDYxMtOoAmJrCOgPB2oyiC6dGGoSrYlUXsyjpacxtCw/IZ7DTyknEhOtGNek4UHHAcAzV+HFxVOWhVVR1FRNOoSTaA3XShRNvwVFdlZUARNN7N82jpfTgVsaFVJRHcMWMozg6aEsQuXMOOjOFuP46x9A7u1h2U0ffji0Z4cORJXC4/eyaSZAsFDo9E+P9Pr3BfTyd//xdPULmxirb3EI3CBu5KiVrZRIuHaZkq4UCM0jvPYkXiRPc/iFmpYGfXscYP0bz0n/jah3EluyjOXSYWduNrb+foDz0jX24fPRHn/PUywZhDT3+Sf39+kaf/n+O86+c+SO3mHUqZHFpTw9I9hOJuWuISHejCWbtB7vZNIvFO6vEgoXg3RmGHhFYiU9Po+v3XeVdak+CnE7tSzKxmubnZImCYrO80+ImPdPLbv/hxLNcmzfUmzXWDam2N0O6Hyd+5gDc7j/v4B/GGPGTPvAYeF8l3/RA08zTXVmjM3kA/+h60xWnq60tykBUeO0L17hu0qk3pIVdXFzCcKr4Dj1J75xUJUVUe+hDVW6cJuAJURbJJUWV02ts+iKVamLUGbtXG0zIxijswelgyUMxbV3GGjkj7gR5skHj4E+w/9rM0DY1UyGJktIdCrkm+VsBr+9jKVPm3P0mTSLdz/ewC7/nYLj7z6Tv874sNHhzxUrcqaKE4Cb/K4noDQ9Dy4148epDc4iY9h8doOzqI1+1j9uYUtZY4QKe5dfmmvBjrIS/hoJ/VtU2SqTbMhsX65ppU+wlyfP9gH/VqVepkxyZ2c+fOXUnrjsUTqC6b0V27OXvuogR9CeDYxkaWvv5OFufnJbX7+In75MDg3PlzRKMJ0qmE9J8fPLxXksPFQd1s2rS3x0ikO0jEQ7g0j6T3h8Jh5hfn2D0ydk8R6LiktkxRTFbX1ykWqqTbUwwMDLK0tCCJ8oKDc/PWHRKxOCkBikOhUinLf09wBe5OzbO6ucH+/RP09nZw5eI1QoEw2WyGB048wNXrN9k13C9TV8mOOG6Pj9qlKRmFxV0lHk7RclvQNAlpJi9e3qEuOrPTv0tzcZFaQWP5zNv0HDyIa2yQ7ZdeJBkJ4sTiqIqH+toSWsiD40mgDw9jT1/Dvec+atkK5so1PNEBzHoFpZlBHxrCXhXWJwOt0cBsVqULvZXehSqqSa0mvnQPrVbjHgg6u4yr8z4UMdxcmMWMhlET7XgaJrZRxUy34RGQrsYWjVtX8aV6cMR2/e5N/LEY7sEBmisbNJdv49t1WIK4jO11QmOHaGXXMAs5GRtXigJWpRDu30fd0VAy0zh+8b0K0xIqrI1JLNOB8pY0wIhzjz8SoV4voNccjEQErSGegV7cY+M01xagXpHgMaVvHOvca3ja2ijWWoSSUaxAUlYTtGQEayuDNbAfVSSsitv44n00MjN4kwl8ZpSiYLkc30fuue8QGR0n3hWRz/vXv/oMj/z3u8Ta/Hz8wSDrsyWsaJzbV5YJC/f7RBuNXIPMUknCzzzhEEpXEiWhkZnP0NnVTaNSoaO3i6ZR48qVa5y4/wG59Z+ZnWdoV59kOSyvrslt9sLcEnsmdlMsV6XSb2h4iOHdA2S3cpSLZZnejIZjrK9v0zfYLYdkIkLfaDQln2dnJ0c0HmFocJDXXv6+7OaPTYzRMuqSm3FnalqqkAMBH7ntDONj49RbTfnPA3qQes1A87jlckKkxTTRY1ZUqvWa/Nx5PB6KpQJtbUk8bmGJEOdPL9VKle7uLmrVstQ0i26GrQiFYUWezwUQcDuTIZkICwO5PM+JOsP4nr006lWajTpDI0PMzswzPDBIZmeHWk38nTbJZJJ8Mc92JktHql1+/aFIQCYSBXAwFI6QTES5Ozcj6fyiauDTvTRMg0ZdQOkcORRQxDLPreBRVRzdhVc8ew1bXujFskAMLjo603K4J96B1y9dkwaDufllacdyLEsOOg8cOsTcwgylQkGydLp7+yTA99KVSySTafp62mUdQSQKzr15gXe/73Fmp+/Kocqh953kO3/6FXymTW9/hJ1tEz3toZ5rMpQIoXmDNIwMtaaLM7dM/r+fieGQ5x/fLBMyBQvCJFNv8MNH2llq+ckUsrz2zguULjyH5RjYAhSXOolaXZRbYE/6oLyANopbkiUi4IsCLudouuQQedffpDn0FNRXUcsFEHeYrSk0VwsttQfTaOKyfdjGEi49RksQ9OuL+AIDtOwWSmEdLZTEqBfQhLnNnYTaOo7QwIvvubjbqAFZObQMB7W+du8+aLWorV/EP/Qg9dwNtHIO7+gPYm7fxAi1oxbLmC4H1deOR0DVhaVAsA00N1okhF2zcMJjWFNfRWubkJ1/RSj02vajCdBrfh49EIfEBMbG1XtaZU+AhtHAp4Ux117G1X5SGpLMuujax2VqXRPb9/DIPS5YawenlEVJ9sllii3YAIF2vC2DpseN4Y7iEiT//G0saxV33xPUb/07auwQ/vQoRuYiSmAQxwljeTW0wpy0Njlt3fiiRzHXX5NGOLHANswNXNHd2LU6rcosupoEJQuefmy3g0v8PolhhNqQisTW9hJOOIXu7wC7JWHMptsDlY17Ngbxviuc/5wjPIpOax7F1YMn1E9r8yXMZhNPx/3Yop9uq9h2Ey0QxGkpmOIHrFnywm8IqItloGglaLlpNUuSkug0S7j9fgl/EpAlxRulIHQq4iDsiQF+ueW2crdRBMyAFma1jDu+H8dTx8lt4KrnaIWEOquMpidw9LCc8jTKWdmt0wNDtNw2aDFUx8JTnpS/ZGbiELriYPoSqJV5ENpCAXvwBLBMA0ePojle+f+kVtchmMSq5HA8ATyKI7+uVn4Gs3gNT+qkjFcoqoZjNu71+YsbuATMIdwvYxxqMUurtIInvQtH7UARyghxSItEpUfYFRzEEcqtpokvkqLaqKC7bRzVj7V6DW3wFFYrg1sc2rUUSnUOJzggN30ebOqaV0IAdV8faqCDuuAVVLNSxSF8xP7EEWri59RaRXGlBcMIgzxuNXAvAlhax9IcwkfeTWlumuE9v8LEgQhpkbTAx769ndxeXGVhZoehkSg7GaEkKdMzmqZRqZPdqjDcl8YTFLC9FgsLdUrFKuO7O/mtX3ySy7dv8m//9g6DfQMEkypvvHmXgeFOhgbjfPkrF/mpT0zwua99Dms+T92M0aisEPBUMZthjMYS9UIFf89DUJ/GqJUIxbqpFDaJjd/H6t0zPPr4/+Czv/dhvvF/XqDqRDl5fISzb81xeW6Dl7/yy1y+cp219XUeeeQRlubn2MrkOfHgfdy8Psmd21MM7hpkJycIsi5sq8XPfPKTnL94gRtXr3Ho6DHmZ27jC0Y5+dh7RX1MbnquCdhNJMDWZkbGwo4/cIL8zqbsoS0uLxOPJ6lVihQLeR59zxPy83JnaopW0yYY0km1pbl8+R3Gdo1QKDeptCqMDgygh6LyZRTwhZmauiwjP0KDs2/vOKtzS5TrdSxaJMJtlOp5vLqX7o4envvOs0wc2Es0FOPG9Vv093cRS6aZnZkiFmvHH3BLavb03UWS8ZC8KAbCMZqNIndnFnnsXSd5+41zdHSncbk98mUWjSfkduHu/+XpvaPkONP73KdS5zQ90z2hJycMBgARCIAgiWVahk3cwA2SbGt3tZZky7aCj8OV7vXeK1m2kn0sKx5JtuS1LFmrsCsuuYlcLjMBEhmYQZicu6dnpnOsqq6qe74P99y/gANiwAndVfW97+/3PPfusr2+wSPnz6Opfq5cv8UjD52hUhYKTlt6aYcyw9SqJbnFEuCuUDTG2PiYTBzcb550aJsmBwdVxsf6sTyXn/+3f8hDZ2ZYzuZI+CNsZIsMJ328dOF/0FgrUS7tY3h5goqJEpulXcwSEDHOVhtLTeL3angdG9cfINyxpSMad4Vf+cXf4tf/YJETD0TJRMUDhisPCbgu5ZZJRAvx/LOHGR8bYXsrR63elsOU8ZEJLl+/yshQilAkKW+UItWzm80xNjbA+1eu8u77W4RiYaq1Nqqq0x3UIBrm5e/d4WDlv9HpOUFn403sA3GgBr/PoVm7by8R7IiQGodEAG/3DvW2Srw7iq2n8bQwvuYcHTuKr2uARmVDHuIxInLyHeiawazeQtP60PHTiRhSB6f7ojICZigmbmMNNXkarCpm9m2C0z+KLa4/B7dwfFHhrEAN+OiU11Fdcf0ZomP7oXUTT+9DDQ/hFt5D9fWgdJ3EE2mr2jat2g6B3ofpiAcDu4DmH8TevYQXS6Ft3SR66FGcwSE+NPkZ8AU590AfN+9tc+zIEO8u7pLfaLL21y9A9zC1pV1Ii2njGnZ+n+jz/xjr2g9xQkH8/ihEgjiFEqYwpjRrqN1p0HukPnBveZHJ8VGpyTIOBWiUbT70L37ATz2a5upmjv39DifH/FzfqnNp0ebey/8UfXcJf6mOcvQYvlCc6sIytdImqbFZrKaFGvHhZQUtF5q6glZt0n/mLBe/+x2++N9X+PzpYZnmWiwUGUumeffeDl/7mUmO/ORPYS/corafw95LEBmNUNldp7OzQeqJH6N4IA5Cc8Rj3dRbm/QNfohy7i6WWcA/LB6QdgmIjd9OnnAyBT29tG5fBX8APdIlTSG6v4PWttHHTlCeew9D9xMdHKF04xLG4BiqaxEaP46nmBKaFxyZobN+i73XXqLnmU9Jr33x1iXiD56nvbkt/17QF8Ps2GROHaMRTjN49Bd5+Iifzz85wltzJUqFOqmwwtsrJo+ORfjtfzfEtQ9yPPGxU7z68hof/c1FnjwWlvWpiIgghzSK+yalco1Esodgl5+FGzs8+vmTtLpS5G4vEQ74iKSSVEREeXiAZqPJRjZH4eCARCLBzs4uD3/oHOWDA5577lneeUscOsqMjE+wtbmKzxelVqsKqh9PPP0k77x9AcsyGRHQrJlpLl68RrvRoFZuMHloBFsQ5ls1qeQrlauMDGdIpXq5cuUq4xPiwL4hjR+Grkgt285OXnIURPR0N5cjM5JhNDNCPBlifX2H63N3iYT9jA4MkdvN05/pJdnVJXu/m2vbpHuTtFodGYMWA45EIirTZrlcnuc//TFefeV1BjJpqoUGYxPD3L57l5nDk2yu5wgE/DTrDbELYXxyXEa3RaLBcuDY6Vne/9PvEDQcPEOjVfOwBShxopeD/RbxhI8ffLDDb35pkn/7az9H7e9fwtI71Hb3CI9MyMSUcXga7/Lr6FOHsfeLNG5exE0PEjs0Q3P+Bmpvv4zyBk9/GLuwS2P+Pfx94+i4qD3DVO9+QPzEk9IaZC9cQ09nIDFIa+EdgulRzEiP5CJpmQxasYRlKbgiRn+wQaQ7QyO7Q2BCPECLjb2KYzZR2837gGenidrTj1cuoQwdpnXxJfSZI+g7u7SLRcKPPIr9+mu46Sjhj/4I5kt/DSfOYW9nsXeXCE2fpH7jIsvPr6YAACAASURBVKGPfgHDVLFvv4I2c4ZWbo+wANBNTlK68JaslihHHsQpFGRFwLFrUK5Ig4bo6TaDCXxbN1BnH8fb3aKxu0TiyGOUfvgyxsS0VAx6A/0YIokgNpgX30eNxgkdPo7h+ajvLBN99tNUfvA/8fXNElHChHpDVAdSvPziFf7Rr77F8UMRPj4d4+2lOsVqm9mJbjzHz1apRP2gQmqsl1rNRG/UYWqMwZPTFC/Osd2sEwzrhOJBDCVIuieB4Q9y8+pNgtEQ41NjFAsVlhdXJIi3N9Mr05J9vb1888XvcuTwBKZtyzh7KOhndX1Tbl6DoRBBod5Wha51haOzs6yvrjMyOc4br70u6wEPnjrB6sqq/HuBSIS5G7d46sNPcffuHfxGAMts092dYGpqgjffviArPmF/kJ2ddWLxLvp7+4nGwvJaJp7BxseH5PvQ8Bu8f/ESfb19sgPdm0rJtN3CvWWGRkbJ5/LUKzUcxeP4iWNE4zFy2U3aTZt6o87w6AhLCys0aw2mp6ckL+nilfflc5B4/mpVq5LELwYLR44flVt4s9mQh/DDR2cYzvRz9fot+vt6qVUr5HN79+G5rssTT5+nWq5KpsfSnXvEkl0ScCiUfyIdeuXaDZkGxLHo6e+jVW+zndvkuU98RF5rVheWcE3BNSkzPTslzxTiGaivVxzQXBTXoVKtSCCoYJqIKkCp3qBWKzLQ28vszAyXL92UlaMTx0+wuZ3Ds1qUy2UOTR/iwnuXOPP8Y2xeuIla1zD3svQkknJR6ImDqV+jbHWo5+Hxs3HeXytwd6XDLzwR42KuTbnQ5shUL/6OIy1guzt5ekJ+/uat/0TnwKO+b6O07qImj6CEE1A9wFYNWW92iu+CE8Y/8pSslSnmAWZtGcNsSu2dUBkrhrC1FXAP1jD1kLyO6J4ACrfopI6gtPZRajnU4DCuWPo2tvAaFbxIt9jHyz56p7CCa5bRU+fupxc7HppZxW2JdORhXEtUm7cglEBvVlATs9A6oCPqov3P4tQ3MbQ2riMKyYocmgrlnaH4wAhiuUn0qDgz1dHcBoqexBJnsrYluQ+Krsk0goDId0LDUsfpqQ0Uo09WjlSzhq0F0MJ9WNU1mUrQA6n/TycvNmDdaL4EbkdUModRGnfwRMIo/ijO7os4WgJj9AnaS99FMTv4J47QKRYwCwv4MmfQ1DReW1SsdPyBDM2dD9BDfrS4sEJ5BPwhmoE4hhGHSgEvYGDZebTsFZz+5zBUlU7hNXzJs3h2S3JaBAjdJ2CMbgxbnBt6hnHNIm6liJqawBG8kloOeh7Esxr47E1csVwvXf4NzyOI1i7SaRfx9Z+DxqL85gqgAUobVVD2D97FFxylHh4gXJwDQ8VWI3iuD0XX8QIBjI4o4XToaGJ715LKiI6kJrak1s/tFFC6T6EUr2PX6/gGT+GU8yhGCz00it0QNMoOTiCOGurCFZ138VAamURxqzgihh8axeuIPocO5sF9dWD3YbyDVXxdU7SLN3DsMuHkCZqdEv5gQn4TXM2QXm67cYAe65G0dJQeNL/QWqg4pYX7AIvWGpbSBf4uVBHF9Qewq1nc2Cg+16TVLGKIKIpQ8hFAN9u03Qr+SJxOewe304uW6JeTNipraHFB0+xHKb+HGpnF1RO4a38nhxJ6+py0FXiSPmmhav2yZ+IX/f5oCq+Wxw2PSfVJp3JLdh4NR5c9T0GDNBRHam48V6QwejE6FTpOFUdE+u0imt4rzhf4/b0oo90sv/R1Pvaj/4tqROdnf/Q0lUoTUdvb3SsQ8Ct85mNP8J3vv8NGyaVYaqDaMNAXlDeIQr6BKRz0PV203Q47W2U2N2v8/n/+PK98/zq3FrNk+lNYlkazXWNiNMp2vkIhW+D9xdclWKRy+y6RyQco3r1OMB7DaTv4tDJtXxIEkMfXjxHuRmttUmj6SUfzGNMv8COnnmXPrpI1DU5MDjDc42N9ZY/3lhr86584Q080RLqnm3gyxcUL71MqNeQUNxbr4dixMUqVlnQ7P/Ghh3n1tTepVAu88KnPU65X2Nrewmo38fn8JNIiBn6a3NY24UiMVrvJbn6X0aEMlUaLgXQvByVB3e2gqbr0z+4XyxyamsLTVMxmnfGxcbZ3djB0Q0bPW1Zbbshf/t43efDkGVk5uDF3m/7eHqnNO3bkmOztTc1MyX+vXC1yZOYoly5fZnhIbGBskt1xrt64Tm8qLTt8u/k9bt6Y59TpE7LXunB3Sd6oM0Mj3Lu9IPU3QmHV198vvfcLd+9y/onHZIdNXDLrjZp80B0bHeHuzdsEYiEJMzx2VGi6Gven9Y029WqJo0eOyS7drbl5CfPL7mTJ9PbhiKyJSEKUGqK6Tm9vH8GAzn6xwjMf+TAv/v33+Nr/+BtGhjKUG0WUYISlxSzPHu/hP/7dK5Qv/S+C/jRVIujFC+i9Z3BbYk9toQjrglWVD+wKAvapYFdy0lIRmH0Ef/cgzdIWTz/0Dyi5Kp88PYalCf1NWaoo764cSAXev/m5jzEzleHCB7fRjAjZ7RzBcETqg3qTvdieSToV4ZEzJ1jb3OdrX3+ZuTtbjA6LSKJHtVTmo8+d4T/9wet85blD/NLf/A3utdcpC/1eo4Ah1DBCmVO/g54+j9usY7XWiCbHaSshFPE6Ef1sI0JHXEdLy2ixDErsKJ3iHKrVkjcscW0SDt7mwRZKJIPh1WSFxPIUdFWVW7hwdIZ6+RI+oRWNzdCpXCPQqsluMloEMZbtCO2mW0JtmRiCM6J1cARVuZHFL9JXZk128XSrjtteplPaxuieEdwjrPKm/FUAAt1WA61yA6XrQVqeRUwc/KbP85OPfIiXrrb5F58XVo8q+6UOld1druy63PrPj6Da4k6poUbTVHJZAjE/xPuwD4oEgqok3+qen8bSVSJnnoNWmcb8NYJTs/j7RmjVmmi1vPx98/YVUs+cZ/uV93n6ty4w3t/Nj51I8LfvbdGOhXCqLdb2TNYWf532S99jOd9m8omnKF17F91SaSiQPj6DtXUPT4uhDR+jPvcO5WqH2R//GH/8f/8BP/sXeb742AiNWlHyFNqOQbhq85d//HHybQ3/2gbRY09TXrmC0j2GlkrjXnuRVs0iMn0Wt7mNWSyhpodRm02M6cPUb99EaxTxJ8dwNPF6dnCHp9GzWXmgdDpt+RrEMyTFPtIzRv79bxFOxFEf+AjmjR/gmTX8h89gXnkHd2gUvWGij4zhbC/gxftR129DTz++yYews0sYXd00drcx/L0084v4VJPeL/4E3/qVP+K/vLbASE+M7rBDqdymKx5ksCfGr39nh69+IsyXPz5NYCjA4lsrPPzLOYJ+leOjMUrV+1u5ydEeWrbOSjFPn6JTLDbxT/Vy6qOP89bLr+ELxdAMl2pRsA1iHDt+WKZu+vp6uHXztuz8ptK93Ll9h1AgJBV6iqFIs8gnPvVJGce9fu06I6OjsjuvuC5LK2tMTUzStk12d3cZGxcarwDFgzK257K3s4sv4JfX0EqzjV/V0HVB4i/QaLXkfUgMHkSsWKS1RCz505/9NF/7k69hOy6Hj86yvbVOT29KQrlOnBQ09AW6hR9daJU0j93cLgfFCidOHJUbPJEKKJfqHJqZpFVrSOhppVLEbNmiWENvKiG97I26gIC6MqY7OjxGXsaE9yT9OxyP8r//4ht89gsfl6kCgiECrQ4LF27xwPgkC2tZ+jMhBuI6Fy7nmRrrpVTc5fKun8K3nice6iH/7tvEZs6iiARIW6WYXcAzAiSmHqC0ehe1U8ZLDhKIJXC2twjNzLL/w5cInziLUzjAaZSJT5+gKeoWWpDG2l0UcWgLxbDrFbx2g9DQFO7uEpZ4O8fTUM2j9k7KWKxV3MWIpbFFLbG4gxoKQTANhou7tUVtf4vUk8+jV/Zo6GG8pjAWGYSOPYZ576oEXLnVfYJagIawouxsyHtDbHIaPdJHa3tRPMviuUG8ep7mXpZQIkE7HkUtVIg+/DyFd18iEA4SHZmVamJX3JPjffj6+3EXr6NH4tj7+9jFHUkCj44epXpvjsDUDMr+FnZmFOOgQNusExkepzF3EWPwAQldNvc3CI8coZUV9QKXkGKhRPowV7eIDY1SM+sMnjsFAT9nn/xlbu7ByUNRDk0PUNxrsbl/wGAqSrXcptJuksikiTkOUX8Xb99d4PTTp8jMDHP1/TnCoQDpnj5isYiMqd+8cZNnn36OC++/T2YgQyjk59qV65JdFIvG0XSFWr3JYCZDq12X3CExjLp3Z0nWZkRnX+j2trfzrK2uMDE9Kbfaa2trTI2PymcYcVAZHBzAH/CzeG9JAhBFt940W/Jw1Om4ZLNZRsdG2cnlGRDGiq1dDj8wTaVQlumBaDzCk48/zovfEhwJvxyui3TBkSNH2VxfIt6VQlVd5ucXGejvpdlqMzs7y5UrlyUx/wtf+By3bt4hm8vS3ZOQsM+zZ0+Ry+9TKVXknwn2RnZ7h8zgMAf7u/T09cn0ZqNWQlcDFMv3Pw9B9J+buyP5SEcfOCbvYYLwv7iwLBkdtWaFaCTB3bt3GR0dZqCvn8tXr8jUwdDQGKZlUjooEI2GiMRi7O/uEemKy+VAKZtnaHyQ6kEVz6cS8wUo7OflfbnTtvEHgoSSUcYnJllbX8XvN9B9AVklErXIIzOH0f1+bt4QtaB+SeAXsOW2bclBn2V78vc+DVKCTVAqUzkokcl0s3FQZqS3n4PtPNbipjyvpDIp7Fqd7VxRHlADukk8EqZjOjRsk4TfoCsYJF+p0B2McuhwhJXFKu/ePmAr/3cyeXuwtkIoJixvJXz+KI3KFl7XDBoxvPY2arMgt/PK+PPQXMG1/QRiKWoH9/AlpuRQQCRE9dgRLFVs3Wvovi6s8pY0Gxn+KJ5TQwmOoFU3cAMRvOghPGsdxXRRHRPTPEBPPIDuVLDFs0h0HK14C1eL4euawMq+iRYZxk1M41ddzNo+TmMBw0jL4ZbVrONpLQlWFstakdAWgGmnto2jicGjiZE6hdcpS5ucFxvDEJUjgRfv1OloYQkEFedb9+AmWmQKL+jHa27JpK5Idhl2CTt+FN3KyUGYEenHq+1JloAmYvUitcQBvoETeKYuTW9+qw1iUeyCaQTvK99jKWg00GtruLFh1NhRnL138QkWwuCHsC0Lt7CALoCIQpMYDstUvTAPePvXaEil4ijBQFqamlS1gSaA0cRAc7FsH0bzADdsyPt/J38PyzAxuk+jijRox8KiKfkYIuEpAN1eWwzEenDE7qx6/Xc8cVMQOTjBAfACCp6eRLdNzNIt/N1H6ShRCQJ0/T60Rk6+2fTkGLT2JUxDnMUVTSghsujiB6B3YRavyS9ES0ygu6KnnMasrhPtOYwp+pCVZUyziCE6GraJ267Knpd1IA7ifejxMeyN1yE6iNF1HKuwiN24TXjwvOyH+eMnJUm/s/Uq6tQ/QC0t4TYEYOFBvPoarrWLFjqEW1nDiQ7j8+tYotPjZPFCY3jhYazKMlo9K/u4XtSPZmRQK3nU5ACO2AQrNnYphyKUDoEkjqBoBwTXALxwWuq6qCyDoP93etB6elGau1joBEP92KVFqWjygml0R1AAXGzdQ1d8dGplqVIRAImO2xShVUwBptDTqO6efFMrvhhqdAj74BKaUH8FJ7Aac6i+OARTKK02ihKktfcGRmhYXmxo2aj9h7EKO/JFrSp7hNQU/p4k8YkvSRr6+amQEIVhNiyKlsdoqodCuYauCpVmi1hfnFazwdJmnQcmE5JaKy40+3WPuZvrDA9EJQm62TK5s1ZkajCN1W4LICeu58pu90c//CS//8ff5Xvf/FkOf+JH2f72ywSGRjA8E7texB9M4oquj4AMhQU8UbD/TdrbC/gzZ1D0FIHSNzAe+Tl+6R/8Y964tMzgcBeHRyYxGw4XbtxmLV/nD7/6WZKpMLndGpVKgex2lgdOnmRmdpJvfftVHjl9mrv37khIywuf/Rw3b1xDV/zygircuRvrWR5/4hx37izIN91Xfvqfcf3KB/IG3Gq274NlFI833niLcw+dk3Cdnew2o6Ojckjw3ptv0jec4dFHH+HCO+/JzXgsEJQPfrOHZsnls/JiI+J2u9k8V69dlTeBZLyboZF+FEVhYXlJxkGFHubMg+d46cVvku5Okkz3sL2+SSgcpeM5stu6sLzMjFB2ZXMMDg6zt7cr1T8TIyPMz88zMTkpnbpigyYUNoX9AlOHZ8htbmOLm0RPl+wKhoNh2dkXUJ1HHnmE7E6eUDjIbj5LYb8iiaSxRFjebIXWsLRfYnJ8hGKtzPT0LKrmUtgvy45hrd6QCi3hym03WoyN9fPbf/hnlAodwpEwazu7PHRuhsXFfbqCbb72+mtU3/g6TcMi1HNCDg5dtyCVMk5NcEGmUUTXXUyhI+M4nQOCAbEJr+OWhE5ln8Spfyi7ai88/kluLdmcnUlJui62hWXobJdb3L2a5ytfmOXLX/w4iXCA/H6ZSr1DSFeoty2CSpvewV7m51b5Z7/yDWYnYoQTYXK5IlEtxEOPHGJ9O8fduW0u3v4bvGaH+lZBJm0CoSi2aGE3dtBDwxJ4E6gvySGdorQkmA9FpV28RUAcvv3jqOK9nn8DgmEZOdZFr0xYTsR0ubSMotTQAv20K/cIJo7K4YK/uUSr00IV3bRgHF1povt6MAWltp1HC/ZjqYL7sU0wMoGFSGJ1EJcmVwxknbBMIrULayiCZxJOo8dmpXO3vfEtwqLuJSpD7Qp+dwdXjWGK65wAxXUfw9Ob5G7fYfoTP8Zf/eqX+On/sMwXn8lw9XaevkScZ84G+Zd/tc0vfriff/+n/xe73xMWgRhKKop94QPsyg7BB5+BsB977RbtiNAjzqJGg7ibc7jJMVSzjn2wiauH0baXsDp1IhOPY228R+r8aV748b/iUkHhc+f7CBs6a9viy7JYWy0wEA/z4hv/DveDH5Dbduk6eYpGqUx7Z55U9xTF/R2M2CCKz6a6WaDrwXG6UgYfeuZ32LXg4dk4VlNlrE9ncUtnYSnH5b/7NJ3OAOUL38H/8BP4BAeirVPfvIoaiqMofgI9EflAJFglertGff4dgmNHcAYOobltGgvvonsG4W5R8wrRrm2hejpOcV86t91OCy8Ro/vIcxRe/Z+yDqVMHkJvNPAmjlObe5NAR0E3ApgCbJvO4KodxNtCrH+sagFPQIJ7x9AdVYIejSMP07h+Cau9w9CHP8s//NRvUIn0sO+YHO8NkCvqJOMOiYDB8mqZP//NMYyUh51v0f+lA44dC9Hns1E8j4Ah+BU11g5M2rbDzGgv68s7+FM9hE8OcrCfJRUfQDcMcRYi5Itw7fq8hKPeuH6NsYlR4gLIt5OTmz6xsczt7El2ytkzp4jGurh48QLnHjktmRwb6zlJ6T915jgffHCDaqVMJBKVD1+iPrC1tSPVZMlkFzs725w4cZy5W7dpmxYjw4PkcjnS/T3Uqw1p6hADB1EzSMZjkl1SrlTloUF0l8XgeWAozbUbtxgdGWFwsJ9quSLrAeubW/hEhNSvyjh1rFu851QyAwMyySC+po31DSJi4G+28Ud997eLlsvQSIb5m3NkBjNEQ2GWV5eZPnRI3ltEj1lcGwaGM+T3Dmi0KgyPjeGLBSnd2aR4a5VYOMi+UEe6cHRwiI3SPjG/yaV7HZIhlYVr/57Gt/5edkbdlIiNVzFzmwS7IpKeLWprQnWmuhq2WidyRBiDGlgrN7B2VtF7R/DSgxhaUFaUXF9M1knYXsd//Cx6V5LGrSvoIZXQ0WcxW3m4fZPW/jL+ibOokbBUeHa6erBqVYK5A9Szj1B4+2Ui6WFiDz1NY+2OXKQ0tz4gHuvF8jR8IR/165dQJsfw+zKIzYLWN0zj9k10p4XvQ5+i9cFr8nky6O/GnjyMs3wbvTeN12jSURX0UglPsegEfBiBJO3sPQjFCT78GXzFHAdvvUhi+pyMHLt6BbWj4rUVfJlpmW6wrn8fhIY0WyR26nGaq1cJP/YCzf1tfAs3MQNRgjK5M0f7oE70sUdRcpt4BRNbDCwGU+jhGFprlUrV5sS/vki7ZXDiRFIOvUW9JRwMSWZEelT0qG2UjkHQdaRWzpfupp2KMTw7RljXmLt0Rx6cRZXk9u07zB45REh8fKMp0y5COSxAcyJOPjo1xt7ePlPj49y+dxefpmME/TimK+uNDVN4xhU56Oq4DgmhCCyV6e3vlb17ofnOZAZpNBvcu32Hs2fPUm+22NrZlnYpsUQYGxulUq1TLpVIpbpkrXNvf4+NtQ0OHz4qFx+Cg5HuG2Dp3j16ersJBwJk93ZJROOcP3+e737vVTa21hkdGWZyYoKW0HYXiywvrUgAmfhzAds1TYvr124yNDYqOR+Hpia5cfOWTCb2prql2aMn1S2XJR4eu9ldOajYP9jjsfOPyWFHVyLB9m5WDh7T/SlazZZ8/wqWSCQakR8nzC6hSJBKuSItIuLPxNClqzspFxmNZhvXtolGwmRzOQ4fmmV7ZwtXVXnsw+e5c3meYDiE6trsreVo5Kt0j6YZP3mI5cVV4tEurs/fZCCTYXh4lDu3b2PoukxxeFqQUvFALoImJkcoF6uSKSAUz5/6zKdYWVqSZiTXdmVdN5MZYFlUoByFI6eOy3OVsIeMz4xx/Ztv0a0ZNG3xemgxfbyfqKqzmK0QEcaDmMLBbou2X1zbI/RHPNZqLRDU/LrCdtMht/UGzsZlOVCL9I1TsXSCahVHieO06lKFrgqgOyZOcQsjkqHdLsiBhnht0dFQ3Sq2UpewYnEGFKlFxROL4zZe2xGUBLxwEi0Qw3GCuPlXUbsflBBBu7yE3elgiESlaqDGp3GrGyhuE9UYlNdbUTFR/D24nX38TpCOlccR9SjHIBjpx7TruM0qalAsVDwCjZKsf3Q8G0/USRID9+Hom98m0P8IbUQFeQS1tkgnewu3axJDDUE4Jfv/gr5vOyb+yBh2eQF/sBezti2vK8Qn0cwCTnlfquB9rVU8AfM1unH1GKpVQdcjWO0CvlgGvXoPiwBqchoagjHhYfkTqPU1maolJuwIDWy1F6f0jrQjaIkHcCqL6H4P3chgtkuobl2a3UTaXW3XUIXVIZaW+nejnpX1Vb3/JEphEc/cQ+t7ELd4F1vR8SVmcArrKLqLFh3EbRyghgZwhWGuXZFLdew2nkgfBkLYZguldul3PbtzgC420YFBcJpYZh6142GIH350EFuPYDdKBBMTePUl6Zn1dc9g15dw9pbxxUZREz1YrZLsLwTTZ1AqYuMhSNejULuE23VCboicnXfkdEgZPo6yKxgCOl5iTBITfXYHN3Jfa6c6Ck7tHlriEB4WqnjIEbRI0QVr3CaYPINZ3sXefQ//oR/Fc+qQv4yXOkXI14t5cEWSGMVDgKH6sQIxaG1B8kGoF3H3LmGI5IBex3N6Ub0ajurdp/3bHYxIF/V2Q/Zsg9Fp2sU7+DW/3OA1vRB+4Y4VL07hvizN09hZJTj6IXRfAsuuogrf5vYdAr0nUAxNduyU2jy++FGcoAAXrqFUV1ASsxKuSCCKooXlphylgyd6H+09EEAL1cARLwThd1RdOraD6jTB9aMnxmgX35YbyVDfWTpGD55dxSkuooeD8nASOjrFV3/iK/zZ17M89+QEumajqzGyhYKcwPkDMTazJYrFNh958giRAPRFI3La/Gcv3pR94kdnY9Q9DwUbv/CSG6oEHNltnWjEIDUQI5trkupxcM0Eb71xh1/+uQxf/rW/wFp6k47VixONUVm5SGzoEalMUtu7UndR31tDVdoolR0c0XUeP48ndD7WCtFz/4jf+z9+mt/84wX+5T9+kj//+isykTB2KMm95TK/99UvUdjf5jsvv8cnPvdRfvDtH/DhZ55g72Cfb3zzdX76pz7He29dJBCOSgJrUXSAE0k+uHSZvoFB0j1d1BoNCXQ5fOwkH/nY87z+6qskkyLloVEuFzj74FnqrZqkSos34ubaCj09fQyODOOYLdqil2122NncIRoL4dcDbO9uMTCQoVatEY5G6O5O3tfP6OLiacrhD959nUu0K0kskUBD5cLFd+X26JlnnuPW3BztZpNHzn+I+fk7DAz0ypvnbjZLMp2iJ9FNpVKSU2yxsRIk3CGxpRD/z3BQ8gQWV1c4cVyYOhS5SRYdPbGlnRwaZ79ckO7d/nSK9ZVVaS4QNOHMUEY+CAvAkOEzSPYkMdtt2o0miqL9/90/w++XD7tTk9O8+dabkmw8ODDE0JFx/uU//yWWVvYYmegj6jMolHd573qBxwfj/Pd3/gJn+Rbl7BxOpI9g4qS8SHmujqgoNQ5uo1g2gcx5jE6VSm5Vqvw6jg9f1C+Ym1RLNgMnxvm1f/PL/NHXF3j20YyEnMSiIRzPZHu3zMbGHrWmR6a/m95eg2cePcX8nRXGh/rw1A4TI+O8ffkWVy+sU2w1mcp0MT3VzV5DRIwbLC3tsJZzufjtX2Py2SepvvsBQg9rulnwHUIXBP5ICkdUog5uQHgcw+jQObiGLmA04rolJrUUUQKT4HdpLb9PYPQJCb50zDpE7juJneo2SmQYrX0gbR1O+hx6bZVmfg7/8FmcVgXDH5E9t05rDTcxTkANyfil5hbltVswXDDXcZtldIQrN4Tni8ufu2oY6MkTuAIcWtqAaAo1LFIBbRR/VNZyfIIZkprBE8NeEd/VLIJGgEK2Sd/DH2L3xjc48+h/4fxD3aJSS8foyCrUG1fq/MOH4vzBX/6ftLPrFG8u4Pf5aPojRAMaHashHyC0hFButVBrJay2g5PbIHr0aWxRB9rfICC6iAf3ONjeJDp+iGhvEmV5E3V2jC99+U8xIxF6khqFfY+6YzGdcPn6lSYnRlRe++Fv0NhZIvveXRKKid6Tvl85aAkbQoL93SLB/gShxCBa0uDBp/+TjJOfSNt8sFLG73lM9qfZuoYcxQAAIABJREFUXtvgz//kS7i+Aep35zEFLdluYRw/h1HIYu41YOwwytgI+saCHJQKLo1Zz8sYI20VrXsAI5XCqtUwYgnsfUEPruIIF/HgYRRDxbd8i44ewFU92j6dkKhbiEhjKk7z6juY9Qbxz32R5sYGRuMAt1BBnZyhs3mPyMxZXNuhXcvDbgGzYRKJaBR39gmqOskfe4rWXJbpL/81v/uzp/n9b9whkoZQG0nNf/ValWfPhvnaV2cwGwWO/NM8ubrNF0+Fub3WwJ8S7yMf69tlxqeG2F0/YHO9Qv9EF0eff5y93R0J1RMk48tX5njk0ZPcvHmLvnQf4VhYpo+EaUMc2rO7Wc6cPi1mYbzzxgU+/cKnubewwNLSEi987mPcnl8mlUxKVok/rOPXfJQrNcZGxqTLXBxE6rUGwXCAna1tkqluOqYte8tCIZiMiyRVTpL5uxMpVlaWJMleMD4mxidZXLore/hl8bPQPDnY6krGeOqpx2TKYf7GHM12m3vzK5x5+KRMFly7cpUPP/mUVHuVmhWwXbq7u2m0ahyZnuXdi+/z3Eef48I77zBz+BDVugACVuTnuJ+vMDSUkYMOoRfrH+jn9sIi48PDBKMRaQqw2jaJdFxGmBtWB7dgsnV9nsGwQdPRqTUtTp4alveLvkCEilXklZs2v/evn+Cf/8Qk63/6GqmZk5gBDSOckERorW5jxeJ0VAtdj0KtiZOI0H7/VeLjs3Tctkyq+ONxGstzKBUXZawP994crWKe+Ee+iLt9V/bhvdFxzOy+3BIrAxP347eC5D90grZr4VN8soKhuBWCRx+j9fbLqMlelIFJeShlfwWlLJhGDp7jomUO0Vq4TOTQabRYivrc97HGHqE7GpXAU0tE8BtNbE0l6Be96Db+I09Tv3mZQFQTM100n0Z57grhRArt1GN0Lr+Nr3cQq5VHrTs4tTpMHyYQ6aWzfl1Gjp3xYyh7G/erMyuXqO3niQ7MYG3Po/UP4w8PUtiYI9qdwWuViPbHqe/vUV3bIzmRobXbJn1klvXNFSYeeVzAaXj7Gz/k+d+4RqAvzGRU4/is6H8XKBRbJBJ+QqEAB/mSPOiIA2lru0A2onDi6UeJ9/fw3nd+KHV8mqHR1ZNkd28Xs1xjdHpC0uALxQNGx4Yk9K5UKFJvtWWUXtDl15bX+NRnPs783AKlaplkV0LGqj1RHfUcupMJFhdWpAVAWII8r4MvGGPuxnWZZM0MD7G8sMLQ0CC3RLf+iFC9KWR39xnKpCXcb2NjlY985CMsiWpAMEI8HpCcmp1cjt5UH/Pzd+nq6sK2LRJdUfbyRbpTSfmeHhrol+wicbgtFsqyry8GZwv37kkop9Rj9vSwur4u/81wPCIHHALMefnaDT7xsY9itRvcubtIIBhgZOT+gsNsdeRyQjCZwqGwVIV2nI4cJkjegEgTB3XMmkksHCY10MvmxpYEcYpnKXEvHxkdl7wQ27G5ffc2Q5kRaTDI57Mcnp7lzuI9hjN9MuEgWEj3rs+xeuUuiZ4ezj/zMMsXr1OqtokMpEgMdmM5TTJDo6wvrpMQFoTtDZpmm8OzR2RqVFinquWGTI8Kjst2dpsjR2fZ3c6zvLzE088+y/UbVzk6e0yClQWX5NxDJ4hGYvztN18i7IuwvLzKp770KRbml7Cub7JyO0//oRgPnhjh9pywrmmiUcd2scl0d4o727vyPn+4P4RueGxkSwykMrx9K0fu5n/Ab+6xtq/QN3ZK1mBUEWUPdKPVNrHdCnpHx/GJRHcPhqFIwr1TX5MGDcfokoMKf2Icsos4/jp69AiO2LC3NlBFrD4yg9auSpWe03UcLSQ0gh2oLsoEuHjm0rtP0RHd/5oAw1chkEYzy5KrJqrLnhEhGIjQEXH80i1cz0bxBXGDfej1XTnMEr5714hJvbwwlLiRk6ili3Q0HT00hFU9QEuP4WXnUSKDeFoItXoJ2/bfP9NGRnDl4EGk05u4nQSY2yj45EKGSAyvvI1m7mNH+9EcjbZr41Md/IEhzHAK9q+hKTWUQC+2WUFNnUa1LLT9u9haE7fnOJqrYtcW8bsKTjCDYdvYRkNavlxHpxNLY4ivRfQ5In0onoqPCnahKNkaiqh+GD34sbGabXS/j4545tTTaB0bUwBgxWCrWcPp7MjUqy9yBFso5J0GqkjfB3vloEWYGZTwIF5DpLYSdKyCPFMr1Wu/47lOG7e2j5cclZMJY/c6dvIwis/D3LxKKNaL1zWEXVjFEJ9oeR3X83DDXXgiUt99GCrbmK5CKKBidxSpyROTBjfYxOj04rZW0EL9mEITU72GJrbwSgc3v4gX60HVDTRflJYjYq82aqWE57fRw4ehY2E7u/LG1rFEVN6QBxq3tYWeOIVnrtOxC2KFjhYOYlfEA3cXgYHT2PuLuMLt2HOOoL1Hu2sGffcqncYKbuK0PHAoHT9m+TL+ntN4wV683FX0gIrri6AEh3HEN61eQu8Zp7l/B6PvBFpzG9cL0wmF0AXStt3AVgJykGBmr8kJiz95GFfEci2hnGugaC62kUavCNhgC7fvNGpzB1vAsgbGUVp5NCOJeXBLOimVkUfpiId5QQZHbBm26HS0+1EcN4TZWiYYzaCE+miV1/EFB3EaS1KdIdQx+wtzDD3zGXbvXmDkof/Klz88iE8zKSohFhc3SMaEK1mlbducPz3Jk+ePkt/e5NnnnpNbjoCu0zuW4dL71/mTv3yb9y/vc/ahUYJaHcsJkC9ViQvFmuPgUxypYBIPbn/+t+/wK79wgp/81f9I/eo8ucIaQz3j2Op9/ZQqOkyNAwJxwSsI0G4to7sqiu6D8ACGJijBTRzbJXLiUzj5S/QMfol/8+OPky/ts7qzI0n/S8tl/smXnmI05WNufomHzp2X7tXxqREuv38D3aczONQr2QrCJbu0ukE0EiEQ9qO6Hv1DAwT8Ea5fvUB3IirZAx9//hNcuXpNTiu7413kdrNy057P7dCyLU6fPM3t2/OSKusL+Lh6+QoDA/10p1II51zv4BABvw/L7ZDb3pXE6WgsISfDw5kBNnPbUis1e/Qov/u7v8fxB2YlD0DE3UcmJrh16yoTY6P4tAD75TLBYJBcNkdUbIcKYrKoMjQ8LL3g68urBH1hovEQVsukL9MnoTsLQukYCjI6OoLZbNFot+UwRyh6crs7RMNRRifH5WZCPEQsrwlKtU44GkIRFy3bRPP55Ia9bVkcOfQAd5bvsLqywtmTZ2QK4u7deYZHhsnv7spOVTgSJd0d58LFK3z+H32Wn/3Zr7Kwus9Q/wAlu8zZo1N8+zt3+PiDCX79G3/FxtUL9IX8tGqbtBv7+FLT+LU+6vUFfE5bDt1ajS1Cwbh8P1vxJH5VoSpJ5N1Uq3ki/eK1EmZq+ivEYk2efeo488tlPMshFdPxRMs+4OP23WVqBYua7RAKqQSDIfb36xI2lUlofPj8FJVqFc+LMjTcxeLiFj3pGN985Q5nx8L8/bXv0rj+Dq4tXr8uZnMFf/ohWvkN9IhB2wniL13AiB7C1jOgCZdtE61nBNsYxasu4hQ38FHApRc7OYpPeHI90ELDeIojp+tCAWkFh/H749iNTayDy4S6jsoKVqdyXcJLhQ7QaiwRSM9g7y5g6CJXJFJXOgQSKDpotg9FmDR8CkrbxRXT62AAXRvE0R2U3WWIR6RlRStv4wYcrFYBI3QSyxOgHoVOU0V1BT1XR+0sExRq1eHjnBj6CEOpDoPpIW6vlmTkefaBIa7fXuP9X3uK6Ng4uZtzxPwaDVFhmDyF5rTllkEr78mHTMf1YcQ0FF8UzyzhdBTsepPQwAzm9h1ix87iNCo0V5aICOPJE+dY/NabfOFfvUb8cIK+QJshfxe5tuiIdvPNv13DTmosvvhPoLhFNetSM4V1JokX6yJcmUNxItKUEgzUMBd3+JH/9gHxaJCaaXG4P8VgWOW/vrHDLz2V4md++fOsvvptYkERZ8/jT4QIDs6gBaK097YwF6/ihuP4490orTKW5yPam0HrErUSBXP9BsFomIYD7UqFZLoP+kaoXLtA99QhapZFuKPQCbi4bQGtDUoomhiKOZpOIJ7AE0OCzBG8tRs4/gj15Vv4UoOo1TxK7wxaWPStLRrVNgkBMwuJj3GpL28wfGqGH//FP+XFSy1+8qEu5i2bAS+K4c9TKIW5e2Dz7d8aZnJqike/8gFzm/t85HiKtUIZs6ERDqrkiy1mBsU1LsHiahbbcnnoJ56T20rroM3DTz+E1TElWFYw2cRAoLxfxB/yy1jw5laWWKSLvr4UfZkUr373VdLpQXQRdcNlf0+Ax2ZkZSmaFAcZRYK86s06C3fuygHr2FgGy3Eo7O8xPT3NW2++QywW44mnniQrOueaj1K5QrlQIhAMS6NJpVKXEfzNzXVOn3lQKv2kOmxsXCoJhZrwe9//gRwotpoWfakuevv7ZUJA9JdX1gWHYpLd7A6RYAgjFMbv09gTgDi3QygQlgNdcavq7urhB999g2QqIdMJAmgrPp9TIp0wP08gFJTVhEazLq+9sXBCdq4j8RC9fX0sLS9z9KhwpmsszN8hsHLfVW/6/Ti0GE13sblTJ+rv0NXdxzffWmLhzz7P6LE+tt+9SbIrhtY3SHNxkcbmPKHRo0RiEVqVCg3FIu4PY/uCaIk+qQIsfudv0cdnCXX30i6sowfjWOsraMke9O40Xq2ArfrxDUzJ9JWztYk6ehSvlMWpVtCSSRpLHxAQnfpDD0F+Qx7ajYFhydmor8wROvcEnb21+ynH9CTm5iIDw/2UbQul7qJ2BVHXd2moHQzVQY3EIbtGeWuD5OMvQOUAM7eG/4EHad+5RWLqOJWDdZzKLv5DT+CLdeFs3MDxxLNeHLdchFIOqyeNr3+czsGehJNRbOHrStGqVVBVEYGNoiWSGH6VxuayTFca6SHMfA7N3qeWraFSJT5zGOPk4zQXV2nNXyXd20PgI2fIXbzJz/z2m9xY03nkdA+eVcdpqGRFVa7cJhIPEIz6CXd1sXd3m518k3RfkLFnH+TAtGlWi4S1EHa1Tt/YoNxYF0oHPHzuPP/7L7/O6ZOnpNKvVqkyNDLExsaWhNMlursoHhRlZ1wMEPsyQ3KAtH+wy6lTp1leEckxjaBPl9W24ZERqW7M5Xbp6orLhUEoGJS/Do8Oy+u1GDLILbntyGcawcU6fOQQ8zfm5VJCpHp2dkXKcUQm+rI5kZ78pGRzqJpfVv8y/X1ySCEOs0dmpymU6pL9MTY6wcrKAsMjAxRLNaqFIgKsdOrBE1y9dh1PUfEbBn29/ThOh7WNDTJ9A5w4e5zXfvhDrLpNKp2SJpHC3j6lUonx8VFW19Z5+pkP89qrP2Qvn2f26BE5eGg0WtTrggkgzGN1aZgQm/zFhXtygCH++/GTR2SColwqy+ej/oEMhX3hkEeqPr//vVf43AufZWV7g5blkLuzSnNnj4nxIRodm1q7LYhlJAfS7NVrJLt7WN9YZfrwlIQoG8IUUKzheA6HDk3RcW2ZTAhH49y5d4+ApjF1+DB7+SyaJvR5Kk2Z1uhw5MgUL3/r+wyODhGLR2Uyc3FxkdHRQZLdvWzcWyZ1qB+fP8jtr72DEdIJ+RU6QYhaLvm2I4nypw+N8PaNbbqF4tsnkiGCZ2Yx3B/nD76zxbVvfIWjTzzB/sU7hPoGoFak4gToCjdp1w9Q1C60+KBcxLiVHLbTwkiO4CkJqK2A+Dozp/EE9LO5gh5M4AgCQKAXw9rHbZVxHKErNnCMCEYkLVV2oq4tipwKIezWgUwWOIXbaFoT4rMSLG6ZO6jWgayBe6aFW8vRwcTomUUJptEqq7idity+iwWrACa7rV0Ux5HL0U5iGqxd1IZLR2+gCyMAMZTWhgQZKvEMioy+qxATit4aujC5aSFZEQhEMjRpoHs+VNdB0zN0ajfvm5MEe0osZOMT0rglUgBeQMWwo7iCNdI1TKc4D6lp1OqWXNRo0T4ozGOFJiA2I8+KTnMdX0J8Hg5q6JC0y5l2Hn/borl/m8DM5zAPtnBqVwgkT+LXg5j1HbRoBqexiYdYFnTj7r6CnhxB0YbQY3659FIF50CkWfx+PH8XtDYx7DZOZAyvtY/l1CWcXsAjHTEMiEwKGbBMqCulD/6LJ3zQjt4tFRFm8Qq62Nj0nrpPpW9n6VgdQl1hzNxtCAyj+MRmS0TbZ/HZFZp2Ba94h0AgiR0fldAZ8Y0WflHPboKA/m3+AC1zHCV2FuXgEo7nw/Nr0BYwBwe1W3RfO3Qqe6gd8SJbRe87i+mPozme7Ij7vABtpY5GHNXn0intofZMoe1dxdZT0mWpiUiIoFv6Yzhii+wTm9xNqXroiH6b5tIqLOGbfEH2VnS/jWIreLV7OFoKPXFURnyF5sYXFuTKAqhi6mRDdRMvIPQ3D2IV7qLhg2if7IXoQvQnHLuiAyN6+Uovjr2MT3xNitjKl9AE4V/4JmtbWGYdPTaMVt7Acmv4uh/GFTEcn44SHcMTig4tiE8AFNt7tBHAqDaGeJO4RQmd80djmIVV0JME+o7SFsOOxjpa3zRqpwfFzBI4dY4/+vl/xQ/e3KRvNMZesUA21yHd5aOpGuxuFTk93cX/89V/Qjio89d//T1GJoe5e3dZft1HZmbo79EZmhrlq7/8v3jl7Q1OPDDEyEAPNxeWMIIhUt1BdIFvdxzm14t88pFxfvV//j6NWhfu2vsoThbTahCITst4r9ax8AIhaXbo2CV8kVHcWkHG+3yu6La06KgG9toFuiaP0nb8JE/8Aj/ycEYusI8eG5MdrRdfvc6Rw708eW6SeDTC0loOp9khkgjTslo8MHuEfDbH7LGjchL88rdfpqc7zfThaYKBIK9893s8fP4JbLPB9etX0XwxPvuFz0jYlLix9femZW8zFAhIGm8ymZR9f2FHME1bbvgLpQKWaRKNRnAtm4ZlsbW1ydkzZ+SDqWpouI7LzfkbHJqclpur/swgAREd9gekr3p5fYNKqYCh6izcu8PxBx9iP7fNXqEkQXaxmADxTHP9xg0ajQqDQ4NSn3Pjxg0Zbzz70KOyyypujN3pPk6cPM7B/j6vv/46zz0npvkL0hAw2D/MlauXJGwmGApLzoAAb330kx+T230xHNnaznHhvXf5+PPPUymW2C/sS+JurDsp+2lvv/sOP/Xzv8DVC+/yzltv8Pzzn+G9i++RSHeRDEcp5qt84gsvcPbspwmFBV5bpVJv88JnT/FXL6/xM8/18fO//d/I3bpCVBeJmxZeJIzV0tCtVTw9gpE4SrO2SqC9hpU4gQ+dZmmNYHpYrJ1xilelIkhJzhIaP0Fz+336Dv0LkTLn048Nk+jvolmzWF0tYXca8rUh4oS2q9BqVkj3pSU5vi2oqaKfKi4vHlRaJmtbRcbHetle32Fz22Zn4y9lj6t6532M2BQ4Zdr/L0nvGSVHdp5pPhGRERnpXXnvq1AwBdONhulGE23ZNCIpiuRQEiXNkcTViLs7M1pJIzOrORK1R167S2nPamZlKEeRHNGLZFMk2wENNBquCqZQ3tvMqvQ+3M69+McDngZQhayIe7/vfZ9n9wHB1knpuRcQUGoVCPXgU3O4DRfPZ+LZCqq/SWV3FjPajRboQtjfaRQpZ24/9uO2PYFT35QRYxsBlSmgNotyCq4qFp6bwomaMoJuC7iWKkiuGo4AwoQ6sEvrqKFhzNgA1a2v4gsdx9VjqCLSp4uuWACl6WGJJJEvhC/eglWtoafaoZSh3nSwi+uYgW6UQAjd7JJsAWoNaTFRYkPya7aLC5QPNun9yI/zY5MfYrngcvbECCuL61x8agwtf8Dv/es+P/wvkzw1NUW+aFHNbxNO9OMXfc3yKmawFU24kMNxWpItlG68itIxjpsMoawvI84DdshAC5qoiV5JsK1uPkBr66Y9OIT38gVu/8Xf8b/82W0uPNlFMZchXzNRtQA9vUFWH2bY3ivz9rd+kfBAP7Wb36KQDhMSNofCHs2uYVqHB9BiCn/1O3/P//qFJT59aZh7y2kaSpl/98wE//Fv57n1hY/S0Z3kwV99hc5XPkSipUm5GMEp7mPtzskDS+zkBUqr6+hxDatso/oVzHAnSk08s3V8zRyOkZAHbNHHd9u7MMMtpK98G6OWlUNmNxIiMPE06sEM1l4Wa3UW39lL6KZJ4cEDQsE4jWKeyNlnaNouvv05nK4TmIpCc08kznYJn3oWNdKOVtth6wev0T/WhfWeHyF8/y2O/ey3mByP8GCpyHvPDrC/XWGjWGGjVOE3P9rFL/z7Ef7nn7zGV7b9TPaAr+Znp1TgxFgPhYKoDzUwQhr5dIVMscaP/vKPSbvNd7/0Kj/6offz+tW3qZTLXLr8NPvptIRNCRXYR370A9y+cZdStSwP29mMII5H5Ya8o7uPldUluZ1cW9uUhhpd6rKmmLl7n0q1xvETE6yubNJoWuJ8Lp3eh9kstXqDM0+ewnNt6rWmfD4LZWr/0ACGT+XrX/sWl1+8TF5o3fJFJkbHmZ6Z4fjJCfa39+Q25NHDhzz33PM8mlugXCrJ4YSoYyiOSq6YIZFMSFCsaYZYW1+X7xiRXBC/3//2y7/ElStvcu3GTZ44eYr1rS15wdAFi0fXiMajkpWS3s5Rb+bwmyGeuXiRzb0tNlfXsRoulUqFkeEhGVkViYdkWztnz07x6nd/QHtvH12Kzo2vX6W7PYoS1VAth4ODBo7P5NRQnJl8lp1HJQ7nfg0adRb+8U2CPa2EW7spbS2hmyEQNYC528SHj2NFwjQzG7iVHLY/TEDoo3wG5fQW8fFj+BN9VCwXbfOu/Hx7I6dlQkLfSVMP1SFbRaWJE4yhVUpSh2s8/SGs21chHpGqSS/sQwvFaaS30fQIgdY2rNymdHpHTr1ErbSLtbNKcPQYzTtvUNndIPGTv4K6s0x58Ra+tl58Y0/CYZrSzW+hegGiF16hsbuJfe9t1JNPgyfqiXF8kQS5W28Sag1iOyGZ9Ar2D9PYXkITw17HxRDGqmqdRq2CMTZKWI+S3dhCSwQwe49Tu/MGZke7TOJUH/0Ap2FR2z4g8OKHiDVraPkSpb0CWpshNZr+VIT737zCf/iVb/BQVUiGHM6dGuPdO/OMt/eykz/gyOQEWQGsdhx2ZvcJRoMUD8sMnB7CG24jt3Mg6ywH+4dyOH3k2LBcoC0vbhAO+KlbLo1amZaOFI2yRUD0kUV2LBaTCT9Btp+YGMOvG3IDH08lcRp1XLEosR0U25Yplokjk5LsXRSMn909Lpw/x/7uFo2qjR40mXv0QG7xT5yZ4vrVq9gNhWgyxu72Nv2D/XIh0N3by/5uBl3VCMX8jA2PsLS+KuPoralWunvaZd//nWvvyJ89Eb8P+kPk80UODnLU62Ui4QhHj47z7ju36Ortomk5pPfSTJ06zkHmQKYGIlEBGWxKwOHE+Ch60ODWOze5fPk5ZmZmJIdoqL+P2blFwuEwW5ubMs07ONArAZ176X2qFWEtSMrhhjjPicXIo4U5cocFRofFlldjbukhx05M8ejeAxyhLzQMSqUKne0pmfwUNgWRBBBLEwHiVHI1lFwBWySpUkm2BaTUDBOIh0l1tpAtl6SRQcCQW7u7yWbzbG6uceH8RfmcWFmZ58jRoywtr1ItluRZTCzjstmSNAKIFEJ3bw/pvV3KlTonTx1HM/2sL69QLVYklysSDxGMBuht75CGgGRbgsmnp9iZXebWl27S1dZKUAQL/Q5+R6ez1WR591CqrB1Po1RtyLtJ1O/RkgryzSs7fPFz7+eDv/Bb5H/4NTBdrLYh/E5UWk8cpwS1nIybO2YP/rhQk9+VjBCr4wxKaRUvt4Zi9ksLmiYSe1YVve6htXTI9IkY2GuhLqk1FvF4UfmgvCUVoaop7j061A/wmTqu0KPXSqjRTpTggFwKSh6R6OKLJUk1T6OWQ08eQSuv4Ik4vlPGFktRzZB3Si2Qks9Un+HHLu3iCPhuz/NomSvUXQ/FzqP4YhJkb218G0cX/fsWFCWE4YnBueB0qXIgIS0mImmt6LgHN/ESA+i+Ply/hbO/ik+or0LC0OTDZ9VRrTyu4N8Je53hyPOScnAfxTRxo4NojSZObVeCDgWXTiSaLFd8vRMoVp5muYLhZgRZEEUNyPuukhrAPlhGs4rY3efxV7M07bpMIPoFTSAQwNZs4TahqQdRLJ9c2CuVA7z8Q7SAsGCFcZyGBIArZhTdH6KRfoQWagdXJB2K+IJtuG4QzcnjCPVg6cbvethlXLMbr7qARxSnuiJ7G1q76BfMUvOnCPm78PwBfIV5LEfDC0XkoED0RfXIEKqWoGltyW+wz9BwShnwt6KL7nu9SNPnSS9sc/8eeutRLCOMml5Ci8Sw9QA+JYHdLGFXV9GTRyG7gZ7soVHaR/GqqIEEqtEmN/qy46xbaDUHM9FF/WBJ2gj0SBIleoJGOSO7dXpxl2pxh5CwGZRmcQPdUD/Ecuty+k2wB2vnNv42Ec/tQq/vSJWRax2ix46KowFuQ1Dgk9LtLUBv1B2UUEo67JuFHflSVHRBdBYfmBRKYQNLbaI09mX8xddxErtall0atZmj0nAJBOO4IiFxuIgSFpHbZXShIRIUy8oGvuQZ6vUcgdoijtBY6K0YSgFHRFJ8MfxalNrhDEZ8HK2yTlMoSzzhEk7gKEGa9TTN3S06jo6iRU4Q6/kI4wMeF8+MkK1Z7G5sMj7Qy7sP93jf06N85jM/xpW3rvOlL/2A0fFjdHaGqNWbrK5t0d3Wxp07j3jh+fO8+NJpZqY3+c9/+jU6E0F6ekKsbVcIhhT8viDhiMGb11b51y//B8Ze+XH2vv0XRHrP4Rbm0SJDYhkju0ACSCb0Pa69Lw0TtaaJq9Tky9uq7RGMDeFoSfTCNKHBYZrhAM9MfUZyHDrawrTGI+xnDmTfTfMM3v/8CEND4+g+k4W1FfIHGfnK8se1AAAgAElEQVSges8zF6XeTwxzdrc2eM/zl1lcWJVxLTEUuHP7LtFIhI6eNjm8aesd4NLTF7l1exrV8+SB0FM1qa052NslGk8Qi0Sl7sZyHHyaT7p0gwFTvvTEBPj+vfu0tLTJy7QlhjSmTqlaxdAMOYEXaYtH9x/KiM+RCaEMXObSpUuSHLu/v/8Y8GMJ4vQiT515gm98/Wv09fdQKVdJxJN09vbhObb87/p7+vB8CofpQ2mDqFXqMo3gOBZvXbnCxacvEgyEWN/apL+rQ8afBPxPkHnF1F/EWa9cu8rU1JR8qR1kDyQ5d219i63NdUbEy3/5EaFojAsiXbG1Loca8WgMfzDAzP17HDt2XFJLRfdUKLyKpSzPvHiZS+/5aZ6cGqWnT6jwPNZzZb76zXk+86Ekv/P//CGF9Q0amT180VYCiWEsq45duI+nRh5H1+v7UlVjbb6KGWmXnXpBaPXcCla5gkoIYgaF/AqDlz9DeWeOF89+nKgvwBNPjLBbKZHPlajmHSJtYdx6BS1gsrQotpQenakkwZhBWzzMGzd2QLWZ7O/m0K4xc2tLxqmm3/gsqdMv4Nz6LtV6Gk+QcOPdOAcLNO0CuhrAFYmoyhyYoxDtwilt4Be1plCK5uF9wahFEXHZ8BhKYgj34AFacQ2lYwpHEYTsm2hmm+QCuI4JSgHVcVE0W87N3eoBnhj6ITQvZfnw1xt1nEA7mmrgFebwLBta+tCVCFZ+WYKvPKMVT2pNNZTmIXZtF6fzJfxOFXt7WvphzaQAlAZRKwsQ7adRbsiUkhZpg8oWdrGAr/uoHHB4WYvI889y7a/+hJd+7gv89KV+oq0ud+dznB+K8Jdv7PFHnzrCj//Cx3jw/Tfp7+ig6dWpr29g9vRBLoM6PImyu04js4ut+PH1j6PubGGOH6FuRNCrhzRzaTzHwoiEaGwfEh4dILQ8SynVRvTcef7rr36O//LdLCeHTEY7kiwtpxnpC1DzbBaXS6wU4G9/4zme++AFqrVVglYcOxDC1xbg8Huv860fzPEn1yv0RCHUdHhUcIjrUfJegSnD5Quv/QGbX/km2YcP6H7mMoZexes/i1fcpbJ8DyMUg95x/EaI6pvfJPLiR6hvLz22DCzMQmEP1d+CefoiSnYD4oPovgalO9ek0SH85PPYBxvUD9JSH2QcuYgvvSBJ3sGnXsbd3aGW3kK1Crh2E//UJSpXfyA3JsGp56nvbuNGW/Dtz6P3HyX7aIbm/gYtE+M0D3ykJjW+fWWeL32/yisXEvzTrX2UwgH+cIiVtMfGdo0r/8c4h8Dl31jlqSMK3dEQGxkHn+cxOhGlXtZxGg6b+3syClqMhOl6cpS7r9/j7FOnKNcKrM6v8PwLL5DNH8gaRFdPL2tr61KP2t7VLe0iYrufTCRlGklcArK5jOzBP3PpgrzY3Ll9j3g0Kt3Rhhlk8cEs45PjtLW1kskccrCXYWNnl0vPPi0VYvuZXekvX11eoa2ljVgyxfVrb/PkU0/JYUKtViWzl8F1bUZGBiWgNRGLkxfw00CA1mRcGlcq9RpD/SP0D/Vz9/YdmWgSerV8LktvXz+rq0u896UXefBolv7BAWZuCwCvRaVeYXxsTD5DRdR7Y21LKv9u37xLT1+XTElYtkN7R4IH0wuSHSPSGaZhys2uUDWOTIwy+3BBVqsmJsd549XXmTw6jNmalMCm7TvzVFfz4BcR8Th+pcpORmxFTSKKyr9MpxlqM5h/85dwV4uUdjfxgiGsvSpq0IZUp/x9hDKrWhSVlLJUUbpbayh+sd0NUNtcJpxqpVap4Zj+x6nJTJFA7wCNzZuoJU/qDeOTRyXTqTj9JkqqC/+QqGrV8BUzcmOvmx6BVBfOzi7a8AjO4a5cRFSWb0klqSren9lduVUNjp1Ba5ZpbK3ilPP4AlG0QFAO+nT8hC69gmOGaOys03xwB32wDSPWJzd49Y17RLpOUdm7IZKsBAefwMpv4bgq9vYavq5OjHgXiHfQqAB/LqALl3mhSv3m66R+7t+jbm1S2p/D9YsLq7AtBbDFUM9xifd248QGUTKLVPIl9HiCFq1AyW/zG3+5w1/8ywLdvUGePdXN29fmGZ9oJyOSGS2aHNaKJFdAUSgVLeKaxl7mgLYLJ7DCUM7USIUDpAU8LxIhmIgS1PxM35/h+ImT7G5ukEgkpdve7w+wvrkpNb9Nq4pp+HEFlwtPduBzh3lZy2hpb2F9dZNL73mWzY01qcteWdyQhgrDr8shW9AfFAFhTp8+wvT0A9mNf/byMyzOLRBLJonF48w+fMT4+AimabKxui6hm/2DfSieIusnop577PikvBwLPWFLMsnc3LyEaMbCQZYW1km0t5A9zGA1LLkoERH6to4OEtGITMMoeLS0d3L17bc4OXUKu9mQCnFRWxQpEcEfqFWrMvkjzErpvT06uroxTF3WBDLpfVxH4cik+DruSB3ohXMX+eIXviB8g5yaOsFB5pBiLktYmAk6Wnj9jddRCdDf383JU8e4fecOPT39cjgizk0+n8YH3v+yrPi89sO3ePGl51hcXSYaT7L37iNifpMTl59gYX6BWqaIGdBJDvSSFkmecJD0fprnX7jMndvTckjY2pqi4VikdzNSySjqmIZPJxAKUK812NnZpbenj7aOJLP3Z0m2JgkGIkzfvc3A4Aj5g5yEFT576TmmH94hHo7i8wekdeTpZ59kd32PucU1Boe7iEVi7Lw1i1WtYLaE0JpNGo5KudFkpCdKTfx5e00mByLUcNGbLuv/g/z/2790gfd+5o8o3/oHvHoGwzeGExQQcRW/W5UDa5FOaGRFNaAfxUmjxofl2UV08JVoFFcAAxUPJ9iDevAQPTYiPMnUihsYcRGLX6Jpr2NEJ3C1FnnHchQTr7wm4+cClVffu4refgFFb8XOTksFq6gteI4hl4JieOeLp3AtcUdrobF5RdaE3VCvXLJanhhMPsLXeUHWnn21fazKNm5gEJ/foV4UCaAgptmJI7SCopIgEteajW7GqCsBKG3i6z2H0hDUY8G8qQhtGq6AHwaHcZVDVDWJU9nDF++RgyOKa/KSLQbC4kLfyM5hBFvwNANNj9EszONrPY5bK0h4qd77NDR3wfOh+QS4sIKnhvB8JYJ+seB4B0/txfM5+Pw1ae4xgkdQqhk8samv5nGEZcCN4E91YR+sooqlV/wYnrOKrkSpV2uobh430o+vtC+r8poeB7/4ThmoYvl88EAu1DwzIivlQrNoqypqM43qGSj5t37dE+oWrfMkvkoaK9yFZqs4ez+EyDhGuIda7h2UpoKWHEfnkGZwEkobuJl38XwBzPgoTb8pO4Ga4pME/EZuUUZZ3Wgcv09Ar8I0GwVorMveu+oqUmuFF0bVfTTrZXSvgm0L/eBJmnv35NRe9FGVcBu2ACQQkoRsJ9CJEeimWVpBqe1A/DRaaQZHQBhigyBgYo0iXqRHHsgFLV/Q5R0rgO3VpG5BqezjKeJf3YK6Rb2ZxnAaEApTm/0+kalP0mg2ZXxJKC7EVkp1IyBMBY1dmm4BJTqFVT2UU0VFj2I3BXymgRZokQAN01HwYt2YlRWavjjN4gq+WCfNtbsY4++T0EUBMkT4uBNtqFYFt5rFEZu+wy2MYCdesAXbUCVlWmyfGtYGmhrEZ4SwjVbs3DbBeCu210QRh30BrDIVfF6T4NhZ7t/5Hh957x/T0eLn7MUxhvvivHF9FjMYZ+bROv/pZy8TDCRZ3Upz4ng/uYOifKgdPXmM3fUV7i+ucGJomFt3lzh5egx/yOFTn/kiR6daCIjahmA1NGpyOhtrTXHv0RbvPzvC733lH8jd/Rs0vRO34Mr4al3oyTQFz43L2EpdWBrsutgroCQH8EpbeGL4lDqBq7bJ7os41JiDk3zyxPP8cBF++Zcu8S/fmub4WCfVmsXbN7b49j9+mof39phdWqG7t4Xenl4+//kv8+wzF+ntaeP6jRusrmzzvpeflb7o2blHYvFN+iCHZdUYnxxmd3OX0088RdfgAI9m5uS26ead26SiEYbHJ3j76lVOnjwt1VaiNzc8NiZfTrVyRQJ50jt7GAG/dEUbpknQMDGDYWZEpH9ghI7eLtK7O7KDLzr6gj/g2h5r60sySSBo7Vs7Gzz11Dmmp2cI+gNMHD3KuzfeISLc4K4tO/0Dg+OUygUeztyTB9fB0RFi4TBr6xuSPisiez6/6E0+pv2WymX8fr8cZggF1tBwP3u7aWkqeOrMWZnSefudt1lfW5PKyqNHj3PmqXNcv/K2PERns4fEUykOdzMS2lOrlllZXyMVbyEcCZHPFSR0Kygo0l6FWqHKkeMj/PhP/RI7uzUuPztOriQ0N1W+f32fv/j1F/nU7/4xa9/4P2npjNJQ+0HS8IXdIoLW3Me1gzjCQS4fYmUssxddMDUONwlG4jSCHfhqFWprXybR8wqF+iEtT12isfB93vvJP2NttoEZMjk5aRJO9eDWSzKC6yoO+XqNVCRKdq9AJtcgGFQ4cryfr33rDtuHHqk4PH/M5P/76pdwYpC/cg2zNYHTdPCqKm5Ul2AtnykibuKM5aGI6Xk1h9syglMvozZ2UVqO4aspNAMt6OnXcBwNJT6MLbgmgXFpTVHKD3CJgzmIZ20gpJzorYJBS72wiEoVIm346qI+5Mep1nFCGkZiEnJLeHZFPm/kc6ztEm4pS7P0Nkb7+yRoRxEvJUMcCtIo9W387a9gVdfxmnk00etTIrjRBKYl7io1KtkNgskjNFUXzy5gxFI42X3sUglfa4hY9yWKWobu1Mf5mYsdbGRLrKQrHO+MM5uHLq3Id77yaQrT2zIJozYq+I+fezzMK6+i5PPUxIF/5Cz6wARkdig8eB3qRallNUXQ7dzLVGffxnM0zJEjNAu75B4uo1YbRM8eJTUU5zd/4Yv8zR2Hf/uBNqJBjVgowtVby/LC5TQ1Xluok+r28dkPdzAx0MFhrsriVpPf/9ocosJ/rEvjwpPjLM9vc3wowrOjrfzKf5vmH37/GY685xX2795AazawbQWnkEGJhokE2rHiMajk0PM5rFQXjeVbmMMn5FZPVQ3pvVdDcWq7gsNQwsmsobT1Y2XLKCENPdWLUzqgvrZI6oVPUFccqle+gb/rOPQN4d9ZovLwJtH3fpK658C7/4IT78WrCUWeD9/ocbz5d9E6RmXdyKllMDp7CB7W2LTTdL/0KfzaPBdP/TfSCZtXjvfglH2sZTN0hEO8OpfjP14K8rEP9jHx8zO094QYDQlYkV929gVQ8cFsWlanhvpaWVtLUwsanH7lNG7IxF9p0vBcipUKgz0DLM0tSb7Nwb5gm+jkijnZ2y3kS/JZ1dLeRjQUZHl5nZGxYblhFKAxTVUl6VuoBkPBMH19nbx15RoTYxNym/Tw4ZwcnOqawcBwn+zChgQdWWwlQyFGR4b44Q/fkBf4Yq4gayr5Uh5DU2V8WAxKb757B9MQTm+dcq0iKdyploQ0BUTDYarVhrwACACgcHsL24qglbe3tshUj92EUiXP5JFjpPf2JYBMAFbzxTKK58ju/8PZeVnJKojodVcv21ubsisq1l9PnDlNPpulUMwyMDAiO+xCVfbw0SLFXImLl87JTnd6Z5+ps8coZSssLK/zgY88z/6b95l/sIIRE0OuKHPbOQYjSVyzykEd3rmT5tyQxpvf+2WcK1fZzIToffY8pfnrVA81Im0JlKjYGPlFKA9new+tuIRlRjDMFOboaWrZFZzCAXolj60F0MRlc0+8Q+pEnvsR9Fgnlbnr0kJSzeYIt3ZR3riPGUnhxRL4GxaVWpFAslXGcmt7S/LsZ4yfpHDvCrGRM1iejbO6KN+XgjOlxAcJTZyi+vBd6Rw3W3uxCyI9FYNagWDcxB15itqX/givb0K6q00ziC/aTVnA+oQRw9FxFEG3blCZmSbw5CV0qRArY5cK2KEEib4xatvzVGwNJ72DLsC422tU9g8I9PUR7OzncOYtWgZPEBg/RqOYY/Nr/53OUycId/ahTfUx/7UrvPTLr1MApk52EReDErXCzp5Av7okWoNs7leICSWi3IB6Enrtb4vhdCdJDfdgHRZo6Wxne2lNpgNoatTtihyuPHH6NJt7ewR9BrlSgbZUikg4yaP5R7L6ePL0MbmhFso8kSgVgGXN1bAVl8G+Ae5Pz8iho/hcB8Nhpu/do6OllYODLCdPn8K169x/8FBG7k3dRzSaIhDS5Zl6fn6esZEheS5487W3+MQnP87+7h67cuCns793yEBvj6ywCB7G+JEJjkxOcv/BPckCyhwK/kCYY8eOyXODpvtIJJMc7KXlYgDVY2dnDyyNo8fH5KXp1s0Zhsf6pZZzP30oOU5PnD7Jw0fz7G7vMDw0IM9GIlEpIvaiAiESlyKxkM1mODjMMTjcL+HYa2uraD6NqRPHmF9YlmccoTsUcX6xeS7nxaXdz5kzJ/n6179Lf28npUqNIxMTbG/vML+4JIcA58+dlTrk7cN9RoZ6Wbs1R0skyvrKqqw0GkE/XtPlIJMm0tNB77FhmZhcmF2QQ5C7t+4xMNxPe6qVh7MPJCBRVD0Fo2B4bFA67kMhU1YPFhaWeeKJMxJcmojH6OnrleDS7u5O7s3cl/rpzm7BUGhnZ3OXRr1JTVzua3X5vREQ0UcrS1x+33v4wV9/g8JKkc6OOF7IozXiY3X5QCZG2tsEL8yVTC/TDPDyuT7++dWHfOxSD//l779AceEOtf1dTC8tOUWeLqrFOZrVQ7zQiFQga45gUxVw9ThKeRkv2AZGCs0qC8o3ij+Kogdwapt4pV00kbJOjeJvutQPZ1CCfTLRYWXmIJSQKk3x7EYAwNU2lPrOY1W8IPeXt3G8Ml5kBE3Y4ywdM9CK18xii4i+ALvbRbz4SXzWPp4vji1SBbUyrhYBTRQR6niGWMw8QO19Bm/nHvgreKnTsDuDmRilYWXRtSCOAOhaJflrjvi9QyLBbWOXd/AFdNTwcZziklS5Qwif2UHTrUkln3twV/wIE2x/TjLnGg4Y4t2sujSdLEGxEA8fR9UcMBNowmoT6qFZmcVqZgm4cRRqNBtFlGg7jj8pN/iiGunFUuDqKNkrKKET0DaEtX8Df2QQy3XwCkuYoXbqoX65dHY3b0PuLqH+yzQTx1FFJb2RxQ6OSC6TWHQ7ioomTAhmSiYlFS2Ir35IVZxX4x2oVcFdu/prnqfE8ATdvn4gOw9G6iieiN+KGFXyOPbS36MEhR/2BKr4QAQSOMLbKy72vgB4BQnnM7Q4NT2CWV3BEoCFymNKtSOQ1OIh5oFnilhqU1KLhY7ADfZjeGWZIBDeSrNREEgbqfgTHySneoAWH5DdC8Wpyct102miNg+lxkHUFzx/N2otgyX6NQJeFYjiFVaxnCZBs48m26B247WNoW2/BVoAx2yXk0WfV6apmETMVuplcelOYKVv48WH8etBGuIDn30kv2ZfvJ9Geh49kJLACn/bE1Sqm/gKc9iBATR/AyW7ji95kYbewN2+ihYblJ5PLTUlPZ5ebQ3VKqFEu6hbFTTPj+768OxdrKYff/sEXiENao26iJwc3kZLnZNTZtGLF8o/MV03gm1YQiWVuyeVgkIRI7ZngnJpaQViySh634s8e/pFgqbHe99znLW1DN+7vkA4GmOgK8TUWAfPXTzNW1en8QVMhgfEg8Zk+q6gvEalg/U73/o2v/CLP8frN27Q15GQ3s1/+tKb/PfXlnjvM0NUS3VJgj956gmm799lZbckmQbLB9dwDyrkV95GifSia0WqxZzcXmL40bvO4JZ3aBR3CEaGaAgoR+MQr6qghFQawn/p5vAHO4mdPM9rX/4yv/qf/4kLTw2wlxHmCcEOKDGzUuBPfutHiPgi/Pl//Sc++YkPoVJnfWOH7r5upqfvcfnSRSrlpjQUiGmt2D4JD/UT587IeGitXiMnnNVt7bK3JQjOot8mO6mlIvl8mYmxYWbn5uU0XtBsb9y8TSmb44X3vkS+VGB1ZYnjkyeo1+ryJSYYASKhoKoqh/sZ2jrbadQtDg/22NrZo0to8wTgqixoopqk9gb8AcrVquyqCj1WMBCWKQNfQNC7k9y/f1+qqmKxuATxiOjtxsoqT549K8E/YiAhuqx9ff0Mjw6wtrrJ7MMHvPzSi1x75yZ7u9v09fbLSJnw8B6kM4yMjBNLxhgaGmVteVlG00TBNWDq2E0LF1dCiFbX1rBci672Lhm50zSFREsL03dmOHp8ks2tDTZW1vnJn/4pqrUyl1/6eUYnBxnvijCztEzASLG2leWN1z6HgU4pe4Aq3taZd2X8yRW/KnSjbkNqxVwvRaO0hun3yQGB7U/KlIyAzDRDSazmAcHcOt7RD+Nsz9IoF2h7/uO4xTQz197lnz//ef75X/ap+ZtSl4Rmkq/UCPhMAoZFwu8xPtzPu/c3OD4SZna9zI9/9BS/9bs/gdHxfsjMsHnje8SSARy3H7PrGF7xPvmthwQ7TqNL7aON5relWklzcjiBQRSxOd+5j9bzpCjjy4m2EXmsSTKjfbjZbZRW8fLZwG3m5Ysr4Cvg+IXip4QnAFhy6tyA/I48NPusLK5h4DVVrMIKerQVJ3MTT2/BaH9CHqZVw5Mv06Djp2KVCMS6HycSxN9NVKoaaVwx2be2oOGh6UEZeWzaTXx6AkWodAyhvBqimZ0mmDyG1dCx6ss4ooaU3SLY8yR6TxsvnPskRzv7KNX26R87zsHuNtOrByxsNVn+x5eJ9h5l6+prRNpG8QwoLFwlNnQBf69QqBVw529ijD2JLxaguLyBltkmMHlSPvdEFUUNh1GEx3twFHbyWL4iysYioWf+DUpfhGBhnd/97D/y1dfyBOIh+aIb7oqwc5DlVH8LkWSAd66vcm9X5cAWIj4LLeTxdG+QDl+S1k6PsFvjcL9J9/Ek/3ptj0Chyb9+/qM0FD9WNUjGXSPgdBNqidHYfkhja4nw1Afwt0UpLN5HTw7Iy0Tp1b/GjXThsz18R0QPsIYl6ORBg8bNH0rDjN2SxGwbkX08ZeMRytgF7EAQJbODojUkpDa3vYEvt40v1ErTNIl0dWP7onjlCm4oiJ7dppkcwLc9ja/3qOz8W3d/AMEWgpMnKc3N0H7uCfbfvsrkL13h5ECUyfEQ5UIFvxnD34S3Njf5k589wa9+YZm5BYsTPQaTfUlqAY/tzaIkilebDsViVXBoibZFGfjAecqHRaxiRYJOH80vcvH8WWrVBndmpjl18iT5QoHOzi4ODwXDRmd/KyPVZiJRdObMaWlh2dzc5cjEEba3tyXgK5YIEgpGeXh/Xj7vNjbWGTs6TqVYZmNlm1NnTkrontA+dXa18/Wvf5tPfOKjLK+sUhbJFMNPtVwhmWqVlGpxSReU7SdOn2Jre4f0YZqB/gH56+KwLoYSi4uPODF1CkNX2NrYI53NMjTQJ7eU8/NLnDhxQg5iS6WC7FnnS0XJJhD1sdEjo5IcXioXMXxiYCK6t35ZSfD7DTzNpS3VKS9W3/r2twmHwrS2tpBoTbC8siJBZgN9fczNztHa1kYmk6Gnr4Onzj3B3/zlF+jo6iCUjFI4rOEuzhEOhijn6ngCjtv0U8NirKOVsmrjWjXuzBQ4Nx7km6/9X9g3b5K+/RrpzQITn/ppDu5ekakgs2sSXz1Daf4B4fMv4qyt49Yz2L4IajyCX8RFO6dwVudxgg2CXVO49RyN9Tm8YhbbbRAePYvWmsCafSQXFOa5l2gUGliLb0OqG7/qYQWiNCpFzFJV2j6cQlGCN2uahRlLoImFjKPj31+lrIcIHBmnmUnjbW0T7OnG7ZmQPvXine9DtYGZFPGcNnLLtwn3TKD6Valx9atBcksPMFoT+OPdlB/cwDjxFP5ggtLcdYzOFEbDpbaygCe0gVqE0JEB7M00aqoDnxmgvDWHUrWxfRrhk8/QuP+mfO7GIwrK0x/Bb5X5t5/+v/m76SIXjrfxgaleylhcv7ZLqdGgoytAYa9GvLuFjbV9jLpLwDQk/DH1ZD+tx46Qsys4+2lGjh6nks+zvrZBPJHEsZu0xJKsrSxLg0xb++PNfywa5fatGZ55+gJbmzvcnZ7hwsXzstueTh9w4uRxeVFN7+9RKBUkpFecA3d30tLclGpvlUM1sW1eXdukpTVGa6qNSDQqzy9iK5yIJ7h5612Z9hNk+3evvysj+dtb26RSLZKR5NdVurp7pG5vbn6RoYFe7s1M0907zPbGhqz1vPjyS6yuLVGt1OnobqOcq5HLZiRHo5gvyhSjsA/Eo3FWN1bZ39nj2WefwQyEiSfCTE/flwMCQzelIvDR7CNpBBEa43KljK7p1MsVLFHJK+ZRFdGXr0otoYBFdnR1ScDiD199k/GJCfnuFf+tqDSKZcTCwiJDw31yICGMIfOP5unu62NrY51iPkdnR4/kRw0P9/P6G29IPlS8q4OABVe/+CZnXjgmL8ELd+4TT7ZIIGl7TwdDpyaYnV2hVskzMDJMsVCQiYwW+bOcJZs75MTJKWlEe3T/EcFQGL9uyqGLGFDEQjG55e/s7GBxcV2qQU8enyRbKtLR1ornqWT2d+TQIRVtZXljjZbWpDxvr20KJlELrQIQW6rQffQI89+8wuHyPk9fHOT29CbJaBh0hc1Mlv5YEk+UhlWPj50/xh985R6TMZtX175Jc2YXl6z8TISCndSaZRSnKO8kjmAcpfrAaUKzQLO0QSAiLENB1Prjc5kgz7tqK3pSDO/WUFzBe2t7DKKsH6Ki4YbCKFpYbs09Eff3inJLrggQcNvg4wqAHsEnlHwC0psSPLgAFJdR9SiCMKw4ZdzYIIZIm9tp6mocs7qBJSxznoWuuHihLlTHwTH8WDt3Uc0whpmQ6SA1HMBzWyTEnvIctp7AHxR9+nUUq4aj++Xf2fSpeEYKK7+Lpwp2kyIBk4hFeCODHYxgNDXcgAnVfVyzF59g0Ed/Zh8AACAASURBVJUWpDVBGNpUTyxkYwj+qYC0a6qG7VWhlMMTdefSDj4R1289jyfOhNk11HBKViXE1yOqnfb+bYy2y5K9ZW29ScM/QMDvSUuBKmoCuh+fatBwi/jqdWx/ED00SEP8nerr+M1uRGZUN1KojTW5OPdIIETE/mAMu5yTEEdRE1OJIB4cwrKgHN74rKeKjZvp4nOCuBRwM3NoZi9KKIIX68MtbaPkZ9B6PyxVLUKfgBHEqWakw1qx6yhmBD8RaqUV6aBXWk+jpkW0tA1P9Bz9rfhTvSiOgiv6GZqgF+5KF7ZtRFD9flQjCkoIT6hcBEdA/COqraj1HTwR/ZCXBAVHH8Ct3JeTEM/Xgs+pYgk4UqQbq7ZPJN6H44uj1PcfH6KEXqKRQQ22SWhEpZpHbzuOWVyhWllHV02c4CAc3EeNJuT2TI+mcJpRLGtDEqwdz5TaLUPE1pw6htGHorhYzV1cxXvc5RBWgMNNHLVBoPUs1f0bsq5ghQfxVYULPYZBnZro2lRK+Jo1fGMfwaulcZe+SENtxRi5jF6uYrtp/K3HqGcXUJQYWvwI9vb3UcXXHz+JV1rBQKOq+Ak6NZTOMayCgmLYqGqeaGqE7OYVBs7/Hh9+zygvnhviy9++yX6hwWj/ANdvzPLnn/0Ye7ld9jabfPwTL/O3f/dF0E1Gh/tkp0vAjjbXVzl37jx33r3D6FiPwHowdeoEz37095gaj8tOT62pEjJV6bbuSVoUD3Q+/93PUSvkqOeEZQG0ZlamPjzxQ9gQg5bk43/npifVWsXde4QSQgciyk06jXIap7QtI4ip868w84U/5ezPf5NPPtdFT1c3it8gt5fj9vwmmlrlN3/xI1y9Ps3g6JAE4uUO8nIiLGsCiir7oJcvP8vN22K7HhS6Tu7cuU9fb6eMcwpNn+h8TZ5+kv6+Qb7w939PIZ/l9JOnOUin5WZJaKHGRscoVarcvP4und0dkrYvJvBiKHDt2jXqDYuLF5/hIL3PwqJw4iYYGhmSrllx3xUXejFFFtPa+zMP2Evv8tGPfYL07raMwm5vbZHZP2Dy6FHu3L7DmSdPU6lUJQF7eHSUTDpNqVhkYHCI9tY2VleXyRcLEuIjEjiW26AoLve5Qzpa2uWfKf4sscFqVOuSpisn7KvrBENBPMchmkiws7cvo9exRFLyDAqHWfniEpPcZDyJ32eQzWVJxBLysi++r6mWpHwhDQ+OScXW1bff4VM//RPcuTPNv/n0n3J2MoGq+YgFUjQDFV5/a5PtxS+ikqWy/ACj82nqhkFz6auY0SP4EqPUMvcJRjqxqit4SivoOq7bRPEl0JW6vDSjREAcum0FLRjEKWSpZWYJdPYSSx6n2TeGoaxRvHuVxeUirm1w7fUbGAEIRDWsUpCKXaYitqiFOu//8AVOPTGEIoCd8VGqe8ukH7xFx9jTsufVzN9HqZZxfUFU3ZCcgsrONUL+GI4vjKfF8TklGd0ybRtLaeC1TNLYX5QHAqFVVRsllFAcJ78gh4ISsiM0UZEeSuk30fwp/LER7NIGtmJK0FZTDEmFIlUBpVrCFf3cZJ9MjrjNHF51CzUxgVHL4wbbKW9dJR7qwYm3S0WZ4QvS1GPo2RtUTKE4PIZyuIalO7h6H5rPwstvgB7BtUW3MQTCGSuqOK6oIxxieEEwdFR/K9nVd+l5/if4s1//Rf7wz+7x3NkgVkFn8Eg3784ss7hv883/dIETH3qW7I27qIaAmZngFrDXV1E6OjF6j1AXW+9UG5VwgkA8JesWgp+h9/ay85W/pvt9PyUj0Pb8PWqOS0uvYBzskd1aIzHQSWpiCsvQ+NNf+3M++3aTkT6TD3dqGAOdfOF7S5wZjKKYQgGXIGo4LO8UmFmv8D+9PM47syusZ8HnCzHQovGd+3s4RYXMjZ+BbJHNhSZqtEIg78qNhXnhFcpby3gHq9LF64XC7M+8ho8QnZdepNGo4qZ3qPs8GjffpSURJj98lEisA1c8Z2p1ml4TZ/YaXlUneOQonqLhpZLUtrYIBvy4kRbqpUPigRC26aA1HAnaEkrUyMR5rFodp7CLV2tK9oc5fhTVc3HLTbRWA/veJtX8Pj2feB9d5/8IqHOixU93ZytbjSbb2+IQBpeOtXGyrcpvf6POYK+oion0iI/eFoNS1UYVruuWMAe3N6i3RsgHDD74oy8yv7jC3P2HjE5Osr2xSX9vL3vbO0yeOi63ZYbPoCZcyXpA9vHFdFyE52zHYmRsiJ2dbUx/SEaVBVy1szMpYXgrC6uUKjbvuXwBx3Up5PL09HZJ6r9IitUaDckW6O7pkSA+se0TZ7OnLz4pvem78v/rkpHrY0cnuXdvWh66ozGh/FJkIkpEHrP5HGdOn+T2rZscHhQYGhuQWzKhkBLD62MnTshh3rs33+HY8SlpaRGXkanTp3h4fxbXsVhaWeXIkXHioipQLEilq4AYCnhoPlekJZlia2+LlniSumWTSsbY2t2VBoGu7l55+E9v79EqBr+mQfrggJdefoHMQUYOocUWdfPggKGBTt791+t06kleev5J3njtDdLpKscnh9F8dR7OHdLa7uE2TG7O5zmTVLg69/tU316hMTuDOdlPc6uMF7Rp7BcxDIVSJElsaAxr4b7c4PoqBZR4G3q8DcTndOFt9OFJmk0PV3RxvRqYHYT6B7GMIM2lGZyaRWD0JM3iEoKx5aUL1PNZgvEkSrIDJeqHdAZXKLQaORqb25hBH0qyTbrLG0KZqPvQ40nsqoNilammNwiPT1Hd2MOImGjBCI6lSZCbvTsPHWNo4Qj2zJv4L76f6o3X8Q9M4EslqWzMEx04S25tDmftLvGnPihVx7X5O9iNGsHuAbI//Da+0ScJDw7h6mEqS7dRNjdIXX6ZmuvgLMwwmzng0sc/AFqRN754lxf++C4dapDLp8PUzaisgxYrLvmDCj3dCeLtbdybnSduGNRtA6VYxzzSyX4+x+iZCQmynr0zTf94P1sb24SNoLzgLSwsyYFXJBWmmCsTMH0MDA9y59a0XAJMTZ3BEqkjFxyrJs0wIq0iovrt7V1SHywi9v29QmkdoFIpSvp8qVoiaAbl4mF7Z4dTU8coFEsycSC4GwJeKej0Z06e4uGjR1KDNzo6TEFUUowAu1tbstcvLrqiPiB+JpoNT+oARb+/vb2Vd67forOzU5qLXGEN2FjnxIlj7O5n6Gprl1H/vYMMY6PD7O9l5MU7Hg5TrNUkwFAA6cQiIdHawtryGtFYVP7MiAGh+N7s7R8wMT7C5vo2mcw+F595isnJI3znu99ncmJC1qOEYSlXyMvnZUd3lxw2iN+nXmnIoaBgDlTEz7tt0dvdw/3ZB3SmBOPDpVa3cAXHy4JKqUD/cL8cNNy4+q5MN+DZNLJFqfktFKuceHKChQeCK+Gwv33IBz/9EZa2D3h45z4nTo1h2x6NeoOAEZRnoosXz3Pl7belulAMBnVdlXyCesOR1Q1Uh8nJ4+xubdPb08G9+7MIs96xI8c4LGRlNUioVsWwcWdzQ1aDHs0v0NvVQzgcZXdnh6XFdd7/I6J2MMve3iav/OiPsPrqDZy9Q/I+j3y1TFcsLuujUvSkqBh+h95EN6/PzVNJu2S3PicQRKTn9wkFwN97Aru8iStq2o6FpvmwmnVpQvFcFbdZwEgM4hlJ0d1FLazS9MdQnCpubkfWrpTYAI7gc2jCRLKDE+1ArZSxvAaKkcKpp2UFyo4OYu9cw+dFITUoBweCf6R7KhXPxYym0FyHamZGLNTxBQbREAuSViwl8jhBYGWxK3sYPefl4IDsCv72s3iCMXawQrD7vFwOCyA9gYRkjHmaGChkwCrJxamlGwTkkGkHVVTCnQaKLkDKOprgAFhVao5DQKT1DtOogQCWbeE1DzDFErblNI38CqazixsYwmvmsLUIui+I29zFqRzi1nRUNtA7z2KLv49lYUZ7qYs6gjDcpeeg6yyG26ChJ6CawyvfJZA6T8N2cKqrEk7u6HFUOfAQ7/o0nuCGaTE8OwvBuEyCN8tpfIqLrYqUcAHDb2KVtnD97XLRLdhz/siw/FwY3gaaFkA1+7H2b2HbJkrh2u94rq5IlZEbHcJe+wFOQMWITKI089hu8HGHIHsLtBh27oGcHvg7RmgW9tHwUbMexzD02Bns+rb8gAidoGu04It009x5B39qEk8cDCq7+L0YxKN4RgIru4qm+fGZndjNPI6mgLWHoSbRQmHskoDwhaRuyy5lUJUiivgQegbW3h3McJKarUjoSzSaxBFgB/GP2Myh6T0QSaCJ4lgghSvAgwe38Dw/RscRXJFEsKuoji07l0KVowTPoPrFQGEXxcuh+ZMyxWAfLlIvrWN2noJAF82VL0NsGDV2Bo0yWnYVNzyA4g+ilNdxzCRGMCQ7borqolbLOHodLXEUO9COLvpsIvrePoKTy+AaAZR6HlUL4ikVnOIhWkDE69rw/ODmV+XLyBcRvRtFaixcQegWOrnKCqrehhrskGqHkl2i9egT3PvGn/PCL7zKx59JsldUWN9Kc2FqmN3dQ+b3Kvz2v7vEa2/f5PnnXkZ827d3t2lULdmVOn1mioXFBTmBFYq6uUfzHD0xxcGO2M6M8xt/8C32DjMMdIhps4j+r3DhzDEeLizSETL4p5uvs/vOawSb+5iJTuqKTnNnEyORktsSMUPyWTbNgPF4o1Ku4Gkaiu6XoA9DgNF0B8+OEG2Pk164xtQLf8jEeCuxkIVP+NPrLhVbp/E/VI1/8KsfZ2l5jcODEp2dCfkQLJcbnH5iSh789tKCwG5L60Brm4BlKIQiBmND40zfucvS0jpnzp1m6tQ5ZqZvS0r/mozF1+UgQUCrRKx+bGxY9klDuiGntasrK5TLIiL0eJsqNkw3rl2ToDNxsRYeWJHeEP2/mft36esfkN9rEYvs7x+WwL3R0VHefP01BoeG6B8alATqkSMTbC6vovoNWS84OMhw7qnzMm546+YdaTIYHhqlXCowv7DAkYmj7O5sE0/G6Onulx7thdV52ls7GRgZpJDO07CacnhQrpQYGhqR3TsBsxEOW93wSX1NIVfmlQ+8jx9897uYsZDs8IrhRFtbm3xA7mf2yRbyxOMx6jVLahHbUlGp/hLbi+NnTvHdV7/NH/+/3+GFp4/KoYNQR21t5nnrYRE7+1VsLUT6h18mNHIMX+oCh9/7RaKdJ1FGPoBVXIBgP2bjAMcu4/lb5eXU2n0T3WhH73iGRjWHrjdkhUaka3yJXmrZNH559dmXnw1/sh+j5Si+sPjVfRmtR0TYiofQ0g1CwScIt74yNBV4dIWcAFG64pK+S2zwJK6hUj5cQbUVGZ31gik0u4gqLv2CYVFcpibmqYEktdw0Wqgfp1yCQEz2bbV6Di88iKHUsfObWP5u/IKITw3FaMezN1HVKFZhDdWMQ2QEpbwoqzxaMCVfwgJ+6gidaS2LU1rC7HgWT6vKLqVdRz5f3cPr+IwOHKUut3rN1ktyOEttCdWy8CXP49VWaORmCbYcoekF0ZrbNMtZFJ+JT4/hYUktna+6jdJ2Fq9Rwivn0ZOiC9eQ7t3a7iqtT7/C3sJ1uk//Op953ySrm9s0vBLnB0e4vrXHmGLzuS/9Gu7DRbYeLKEGo4SiBm6ziBrvxRI2gIN9XL8P89wlit/5Kr6eDtSmRyCQRIlFKGzPoGhd+CdPo1z9Oo3ePkKdg8x96fOMXX6BQDQsLxD+aJjrt5f5md8XAE+X88e70BsK2wKeF9LxGhpxfwUtFmd+Nc9of4qrt3Y4P2YST4V5mK4xt1jhf//4KB/9yWfI3Non2eFDCfipZrIUV5cJhwVZN4rZ3YUrXsrVEkYghLe6IA/qvkQKu72bYKIDN5KksTxN9dZbhI+dw7YqkN5Dae/AHHmS+v4WpluiXqw8rhaIDVeyD6M1hSX+d1vP44NY4QC1s4va8gaBwVFq995BiYexHQjpQWqCKaHrBI+dpXn/Oof7e/R84iP8/yS9d5Sl513n+Xnjzblu3apbOVeHqs5qtaRWtmw5gbGxMYxhgD1nCUPcZWdYhmECO3vO7ADHw5odGBvWYBOMbIyDbNlKVkudW527qrpyjjfn+6bd52n/Y52jllTdVfd9n+f3+34/n/mbm7zwC3/Py88P0yzvonkh1kpFnjnaT7PZYKcAx0fDvDlf4daDLc5Od7GxVSbq1whE9EedwFqbmdUCp37mGem4v/j2dfr7++jr78FqNuXFfD9XYm72ISemDsvO/Oz8HDs7+2Q6hdLSJBqOyBRUs9WWZPLOTBePnz3NX/2/X+bo1BTjIyNceu8SvrCAoAr9kSfrSZVyQ5LLxQZRXMBFP/j2nRmmpg4RDcZ4uDRHIpKiUMrL2p2IywpjyZVLN5g+cphUZ5oLF97h3JNPsrGxQaYjxcLCCoODQ3IIkExGZSz4n//pOxK2ODw8IHvw66sb0iDQsmx08Ww2fDLKK3rI4vkeDieYPDTK1sYOmukxMTHJ5toGG5vbjI0NyfpAOBLlvQtX8PkMJo9MSrBaq2ERigbZ3NnkiTNPyIGwGBCLd4iIU0dCIbq6O9nd3aPZcjl29BDVRp3tgzxqqUF+Zo3R0U4ZE9+vFrAbOpbaQvGChDULX8Djn6/vM6LBwuIf0qzbFL99mXZ5m2T/IWwBbs7nMCp5/OEgdSMm6zZmdhTL7+E+vE3r4R2UeBfhY0/hFXexxBBAVTA7u2luzaO5URSx1V97KE1N/tERHD1Je0OkBnwEesewVmbRPA0nt4mdnSDst+S5JHdQx8vPExw7SyDZSfnmNbRUilBXL7WdTfyZGIRSlL75CtHxwzSru6jNBsZzP0H7+pv4h6ZxmjV5KTY7OzEKOxQ3logMTMmaW72YR91Zw42YaMkBaqUC6uoc0TMv0M5O4l1/g1ZrF9MfY//BDN193ZDIEFV0yluLRD/zSQmz3vrud/jEH89zo+CQsJr87m8/w6U3r0sezZ2HB/QNpRnoTLK4uEm53WKkp4OlhZxMu1g9EY49cwJ/NMDu0hp7Wzm5jT95+iQrS8tsbe9KZadYmiwurUj6+/jEMKlkB+9eeJfuTDcT42PMLyyytLREp+jxmwahUJBarUm9Luo0EVIdHdJuITryiQ6hdnVZWlhmfHJUbrnD0QjxWEJuzeV5IxzEZ4Qo1YrEYhGZaMnlChw9coh79+7JhIrQ5506NsXu3j6Lq6sM9vfRmcnIAX4o6OPw1DSrK0v09w7I4cDdu/dlT18kb8LRALmDvBze+jSDpfVlTp08RblcZj9fwLMsCUwWphDBEmgKXbLVlGmDcDTK5sYayVga09C492CGsZExYtEg9x/MYvpMcnuioqsyefiwHBxurm094nQUizKFI7r24je6vrmFz9AYHBrg9p070swhapk9Q/1Sj7qzsythzuL3mOnuoq+7h3uz9+jKdBCIRCW36MGb14mE/bJicOPiXXwxE7+qE0mnqbXqVD0H1ecnGY1IdsdOfleyQIQla319B9e15LBR2KJESiiVTMpz2M0bj9IOx04co7BfYG5hnslD4zSbTTHyJp1J02o0WFlalYPJD3z0RR7cmiFX2ueJxx9na2eH1fVNPv7Rl2R9SrCpTk2fYnNvGyPqo5mvs/7GbZ5+6jDrB9ukEgmqZZv8XkEOamKpCHWR5qp6lChz++E3cJeXKBSDxIJlijUbrS1UfB14AQEP3pQDZtXXBdVdCTy3m3m8WgWjY5p2PY8ZjqMaguifRxXpVRMsO0+jKjhoQQKhrExyGyLdrAWo5xcJhNOoyQlaxVvSaISvGyU/i61oj6qU1TWaTo1A/8vSPGRX8zgBP25pU6aHxDHIiGdxXT+eV5QbeUfUxcX3JZTF8/zYrV0MNw+BSdzqIvjCGAKm7OmSjm85Cqq47CueXGJ6onCpOSiVAwmCFocpeUZJTMoaaru8gb9HsONWaepZTKNFe/lHGMMfRLEqGHaTpki1CyW6HiRQn8USHLj6Gmr3KTxhUXGDKGYY/eC2rBXYnYfx1eo0cjfw938AS9OkItA6uI7fjFEXjIGGGAbHUbIv421/F0v8tyJnJBvKauyjxfrRqmuSkSCc1IoABHcewhUMObGQt0oYRheq3w9i8VBcQVN9KIKvoIrkepGmsAoUFwh3nEApX/qPnmeE8Pav40UGMWJT8pAmNrT1vQsE4r00qi5u+RK+xBh2eAit3hSrNHRRXLFLuI06ttiCIyYcHQSC3TRL96Ur3hcbBD1IY3cOv1dFMSK0gwNQuYPpJWmbhgQA1RoFfG1BvHXwLB2ncpdA5kXa2oHsY5q+RyRJtbFB42ANs/voo61ROEzzYIVAYhCbIu72huyBtCtzmFYBS0AJ9SAEBJ8gIWOYgvhg+6PoAtrTKqL6gxJ84VoH6JUtEPR/G3TRdSnO42TP4W5cxIz20NJDaFoW3VnGrh0QiI1iNTawjeCj6IqIfQtytmAFqEHc3GWpyggkJrAF2btdRa/M4fqz0PcS7aWvE/CnsML9kvYvP1FeBqV+D6tVQQ91yB8y2xJgoBRCgu41NhFrQa1zGq9agOa2dEsadomWHZCXnsjRU/zxb/8HvvDKPf7zv3mJP/7iawx2DUpq/qtvXmRq6jC/+68+xvu35piZWSYZT3DmzFH2D0oSuFSq1+SD9PSxKQpCs1KryRi9iGQeOdzN7/3RKzx8WOSjzx3itYtzHB3voatT4av/vMEHnwrzN2+8TuHa2/IDrXkWrm8Ax81Jh6ehhiWowqkIvkMUp7yFFurFELUHoVDMTGMLW0BwHL9XQROO8pMTPHvq12hVFcbGEsyv5ElEBTxQ5fJMjn//P53l9LFBdkttdnf2CARMNldzcpswNjSMousUSnuSgC+2GQ6CsJyT25mbN29zkM/zyU99kvmFVemSFdsf8YITFP9YJMSugOfVmo8m2WLS2mxIGMzx0ye4c+uu1PSIab3PDJLNZuR0u1Ioyei3MAicPHVKOmfHRicQ5JPXv/cqz3/wJaqlkoyr3bt/lzOnTssHlYh9La8KD2+QQMAv6wjCxCF87n2iY1up8Nabb/DU4+fY2tvHUFS5zRe07FS6Q8IQhU0gEgnIQ6sAHooL+527dyVvQGyx/H6f7OMWxGUDg3qjwsT4KBffu8rExITsHXWlO7h09QrhYJiB/kG5dRPd3r6+fgqFEuVSQfp1hZNYEUNBVIYOH+Kv/8cX+dLfv0k8HiXo1+hKJLh0a4nNHYv83p9hGUdwZt9kZ/MByexp1JiwjyyhuEKBNkjbzqG28yjmMJ6zg6ekRCgE+2AJPfMYamsJzx+Xzx2/V6bR1tDCQRzFxDSitGsF6vkdQh0d2GI4kzAwjS7a5Sr4xV8HsNsFlHoN/AHaYosTDaH6XFw3iiV6bQnR4VxFicXQRU9f0bAK87KG5AaiqJowkYRwRZ/LC8tOvdrVjdOs0C7toDXW0GJn5RDBXn+VQOpJLN2VkXzdEwPJUTxrGxo7qFHxALelwUMxkui+sFRA+ZQamElcNYpuaNibP8LWReomhmsfoBmd0qbieiJWPYGiNGlU1+VAVaQkfOEwbfGiDQ5jqiZOfgEv1I2pJ6jl7mNEOtCCSZz6JqYjAGY1XD2DKhJR+auytiQmzoraoN2oQyotwarhk8/yzMCzJHp0zo/2cW25QtiGutfitffLzP3lC8QnT7N2/QLpiWex8iLN4ROGKRzXIpTpobVylUDmDDXh6h2Yxlq4iSa6xPvLOJvzRCZOowTiaGEDMxijsbpObGqKytxNquUmoZ4ewkoZ37Fz/N1//Qb/+m/uoWstfv7lcXJtsfXOsbFdJxoBxQlRdG2GO8IYbptY0qSwUebVhxY/+v3HOPqZl6jfnKe0tIY5nERVQ/iMJG21QmNhFrOzl9bMLUKnz+M2S3iWhyEOKJFOrJ076FoKikV5QFe70jRFrzlo4Ks25WFG9Ob1zDBa2IdPbCIXrxHOHpVbSMGVtZwSbK7KbWfg0LMUFm8TEFyegSGUUo7W+jpadw/exiL64bPUt1dhbZbgwBBrC9uMPzmN/vSL/OyZ3+K9XJuXjmfIFxrYUT9JA5KqRkOP8O7iPI2WxrNHM5SLNvc2KxzqjbO8XSIzFMcuW8zd2mP8qQmc4ShDmTR3bwiQX1w+P4QCcHRyQlLKdze3QCgL/QbFfEkyAMSmorenl2arSVse+B3yBweyV9ybzcp0klCZRSMJ3r18kV/5pV/k2sWbrG9vS0vJiVPHyO3mmHs4K9NVhw6LjvG6vDz4/aZ0zGuGKvu5Ozs7El4WDofI5w9IJRMU8lVW11Z4+vzTbGyvUylWJfBMpK7WV9cIRXyyByyYBCJx0JFKUSlVKZUPCIeijI6Pcv36dRmfNgyfTPoJpeH6+hbdPRk21jbI9nYRCSfks3hpYUluY6vlAk88/SSl/bK07IwM90ibSrlU5oWXXmBuZhZN19kWdbNGgzOPnebO3fuotkumL8ONa+9z9uw5yXYRvIITpw6zsrjD7Yt3mdB0ymqbVDyJatmoIYXdzSrpjgR+3SKjmXzpwqo0OVz9q8/i65xk89Y9upIhSuUahuFSXtohPD2GurZL3a08qnilJqmt35Q/Q/b+Fu29GtbYUcJ2gdLVK0RGJ7EONrDTnYR6D9O8/gZmzyiIAf5ekeqeeHYfxu3I4m3OU6dJMDOM0jeMuzSH4hcmE4Xm5gP8Q8fQesdh8z7NXB493Utt9rocmnnBiByo2/WCTE74lxbRzjxJe2OFVn4PY+wkPs2l8t6raIdP4ov3UX3jbwlOnZFkbi2VwbrxOu1AgtDYNP6gSrOwR2l/n7AhEE9+jHCAwtqa5E5EH3sRtb0OrsadN27wh1+5xGvbPjJhHwN9YrBYQ4+EqVZs2b03HHG5swkkfDK5IMB8PYcGWcnlGHxyisbOHttrOeI9Gar5vPSUa6qBq7iywre9uk5HtgtbHJXrDXnBFkP3vgElfwAAIABJREFUg/0CbbEZNBWp+jUDAdqC1m8otNuO7LBH4jE2ltdkF98fCrC8vCIhl9PTR5g+eYzL712WA6WR0SHarTptR1i3kKpDsZlu1h2OTU9QqjWoV6qsrGzS19dNNBKTF+nZuRkmJyexhK3EVBnoHWBza4N8Lk9IqEgdONjflYwV3W9KE0epWOT8M09w6+ZtOZgQCwnd8NHbLTaOClsbmyTFe9ey2NneZXd3X54ZAkE/LadNf7ZHbuobDZEKgWQyRm6/iG6oxGNi233A6MSotBeMTY5z5fIN+bUNDgywsLjKmTPHWZhfou068hwjUpqhUIRjJ6fZEYyRfElWG0fGBqiW2nKpJX6dq2jEIyHWNtbRAyYdiSR1xyFSsbj+7i36ejskR8DSYDDbx/bGKiVNI9HbyfMvP8XK4ia3b9yS9Yh4PC5ZJIJNoGt+0t2dNKoVopGoVAIKK8C1G3f4zKc/xbUr14glojJtVa7UOHHymExZmJrBu++9x9T0MXZ29+np66Zeq7K8sMrZc6dZWlmjVKkS0DVSiRTVVh3Fs8nlSkxNTbC2uSXfQZWdPAc3l+gQ6THVw1FgfCTLw6U1yhWXwZEIpfU86f4Bvnvxr3FmH7K5epFoLIsRHcfevYej26jBIXQR9beLMq2D0sIUDILKPHZpF/PQpzACIdo712lj44udRdMbssPeEuloRwDrgrilWRQtiW/4adq1VWh6EpSnChuOosqkuOhkuk4BTSxbgkn09jZevY6jehg+H4qexrMeLXpdaxNXiaLpEQmf11Rx32nhEUALhPHKD2hpWQLizrZ/HyMQlpdgLyLi8UXJsBMLZXH+kOemloVteuilMo5uoumurApZmoteeoBDCF/6Say9d7HE1yI4RuFerFoNI+zDadRQgx0yiSYGIUr+Lu3UBD6RJvUUnOpNdLMXLzqC3nZwRMIxdwdHLMXjx1C3L2KkprHbAiavoFRs2vEUaq2GJ35NKIla2gR/GJqiTj1HoPvJR+ff5fdwNA8v0InuhlHjabmoEepgwSswnKJMIXjRE1IzL6pt4hnmWBW8dk3W1dRGDi+YxMickHVMJfej3/WEz9hSgui5BzixCWkDcLROVNcGU0EVvfuNGTkU0DuO4SIOz/u0CtsShqAN/xie2GLV1tF8IXkZFtRz8YPTrjxEF7RI8fedMkrfpySN23EbWDWhPotgeVV8iiFjG4ISb/gyeFYOp9VCDYu/buLVF/G8Kq45IF/oAhjm+TugXsVWxX3SoF4t42/ksGNdKHoQUxfTKQXTEr+mjWd0ytmPIqJmdRfKV1C0TkmEVQw/hlORNEZNzIhaZfkybZXmcbU0ZiAiwYeeXUH1D+KKLkdT/JBGsHJz+Dofh8ZdbAEJCvZBNIl6cAtLSxJIxmhWiuiRY3iGBVsX8dInZZeF7Zty6qQKgnd1CS2UfAS1EBtGsbMubEjugRnN0hIGhFBQXvL94gprV/Clumi2hCitideycAJBaNWJHx/nVz/y6/zzpRV+4RND3Flu49M9aqUm1XqbX/qXL9PfneDsucf5x1e+xfzDBfkyEA90MT3UFQVT0yhUKpSKVQ4dGeGNV9+T8cnjx8b56rfept0ypMLw7s11PvOZJ1ne2OIvvrbA33/+4/z4r/9vVK5eQHFr2L5OGe1XK0vSA67jk9ox0Y9RBDRSEM+F/s8WP6hl6fptllfREuPyZ0j8fMcfe5lf/MBn+O6PVvjNX/qA7MNHjRC7ZY+rc0v81s89xrNnTvK1V75Fd8+wPLCtCvKxapBJpiTgZmR4hJ3dXRYeCqDhCTY3VyXVX9H8bG1tSCDLZ37652n+/xftL33xi5x/8jymoVOtlRkYGJRRfEEtFSoXQfEdHhpm72Afn+mTETTx8I4kk+DapFNd3L17iyNTU7x34V0ZnxNT63RXFzevX5ewLKHNEv3/ZDIloTfi5S8ifbFwUh6sb9+5y3MvvCh7+WK7b/oDkqMhvkfisv/Ms89L+u7O7qak8596/DTvvnOR0dERfEE/G2trTE8fZ35mlsuXrnDu/BMSBijAfiLGFo2ECAbDErR07doVJsZHKOYLknXw5BNPyc/K/ZkHhAIBpo5NyVhgs2kzNjzCd771T4xNHpH/HdHBvX/vNoqn8nO//Kv8+9//Pd545z6tlsHUoaRMlBSaHpmAwZe+/kdUyh7tu/+Enph89BnqOCdVK9XFL+PLPoMqemm2Rlv0R3P30f2jWLE07N5A7zhEc/0ivtQhWvWKnOjq4oXhM4gIxU9hBwWhmwlhhNO0q46szVhuEGf3Lr5khrorYFhlqLcJpAaxSus4xTyupaB3RnDNHrD25YsBcTnP38ENiYf0jlSSOnoU3JqE42i7l2k7Hl78EP5gBrshoEhhPMV8BG8LJPAEDCccgVYRosdQqzN4ioIa6seqrKJHhEvXwwml5VBTTHJ9HcO0CjOotmCdGGBkUIwMWmsdpbwA0VGc8IAcUCqRQRTNwsmv4DbbUvNjpE6iOTZt18Zp7Mm4YtNVCfnEz3MDw1d/NICLdmEGemnt38HxdeALp3C2b2DGemnpwoNbkEM8RSSw9veo7szT81O/wV/95m/yB5+/zMun44QiEfZbB9IoMDdf5//+6S7O/uwnaezsUFzbxacoEvbZEIfFUBolGERrWo9sKZUKLdMk2jOBazYoXPsRnY9/krZdwNvZwWqUJFzI6shAuYxteOg1j3Y8TDQghjM6Rkbhwrcv8oVvzvCgblCtuPzPz/djtywJffQMj71CnVLFxDQ9ri235Gbkb391hA/+zq/TuPsOrdkVXDOEJ1zCpotvcApRhPd0k1a7hLOzJxMkRrQTt5ZDE0MJxSHcVmRKiLCGmy9hiGd9bFgOlDRVxy7mUKol7KVZGl6T0Ngpirdu0HnmFK1AACWQFEs0tO0NlGYNVRwWxeAxnJQqWKdewgt14OvI0KiXMUMBdAJYpQpGdy8uGm2tTeLgMo//8kVs8VnNhkgndBq2xa31moRdDvdFiGgKK2Uhz3CJ+TQKYnPt81MSthLdJLdcQEmHGfvQWWbvzXJ4qI+q5bGytEJPX4ZCoUhHspO9nS2RbGdoYIDZuVl5AD95/DihaIi//bt/YKC/j8GhIZYWF8XEh96hPgxFkyoxoWcdGu6nVKph+DSa1Zbs0oqY5ZHpoxJ6OjF2iLLolPt00skOGfEXW0BxqZADh1KNYCBIPp8nEA5IKJr49WITL0jqhuqxsbWNbdmcOn6K2/fuEo+E0UyVfL4sE1hnHz/F0tIalt2mu7OPnf0ttrd2OXP6JNffv4amGExNTUuGizAbrKyJTVaUibFJHty/LwfAYqs+PDjIzP1ZuYEVij/RmRYmFxuN+ZkHspKmGRrrS2so6Jw8c5xbt+/IDe3xY1NSfXjtyvvSuiO2uTP37nL09Cmq5QrpeJjv/fWbJB2N584NMrMv+DEtjvSGyTU9yd8ZHIoSCfr5+oVtxpM2r/3Zp+g5fI79d7/N/BszTJ4cQT/6FNbBApX7twgdeQalvSOfE+HsGFU1gLV2E7VZInjqxyTTQo/HCPzE7+DMv4W2s0M5t08oGEJJdcmaiDU/A5NPEchmsReuUdorozg1zEaLwOi0NNM09pZRcwdox59CD4TIvfMKoYaoRo3gpCIE7Qbm0AkKD28TjmdppyIEwlmasxfQImlo1tEMH2bvMM0HV+Tl1jhylqDPR/7yGxiCZN0zRMjQ2b93g+Sx01LL2lxZJnbkMdzyAdW1XfwD/dQ9ja7+bpyuGM7CPd7+3nv8m+8esDDvUNFrPH88SaNYIxJP0pUK8e7NhwwP98l3s1ZtEe8MUC1a3L++TrAriD6Upq3aJNIpCesVVgpxxnA8j3L1EeB3eW2dbHcHfT09bG7uUatXeOzUcd5+6wLTJ6e5ce0agyOj0ugjpgMi4pxICVB1m7m5h/j8GoNCGWk53Lp5i3PnnpCDtIODA3khbts2dtNGZMk3tjcYGR4n6POztbMlwdYvvvwyn//8n8mL+eHpw7JuU8jnOfvEOdmFF3VGoRMUQL2pI9PcuHFd1hlFrF5UCLN9vQRDIZlkqRQrdGezlKsigv/IlrG5vcWx6Wk2N9elNlNRNVzaZNNdsmowOS6AmXUUxUFRNPoGh9jb22FfKAZNnedffJ4ffP+Hsm8d8IfIdMYplCvkdvNkMhmKlRzHjx/j/r0HhCNhRsfGuXf3AQGfwdSJadZW15ibneXQ+BGq4qLUamO32o8qg7aCoTsIc7fQKK9vbrK2siJ1g0enp3j33ffkBb6rt5uLf/cDRsZ78IdC3L75kLHRfnFp4P7iIs//i49x/fpt4rGIPAufOHmcH77+FslQmN6hIW7euEmmu5PFxWX6B/rluUgwDXwBH0F/iHhHVNpMBFx5ZGSMheVFdEVnf3+P/v5+trd3GRrsxXI8NM3l0uX3efG559F8KpcuXqHdsBke7CWWivHuhWtMHz2EFtDkpU5TFGquLUF/W5ce0ljeZ/hIllKjQiaWIF+vkgiGGUr5uL2ww4XZCrPv/jmjpw+xJz6L2bOyouaU5zBssdFfwxUKXrUfU9nD1jvRbesRIDSYwll/Fbe6jzv4QezCMoa7i9r3Evb+HEYwjaGHqC6/jd73PGrhCo6Zls9QReixqw10ry5ripriwxW1Rm8bI3gYq7GJWt7Bjh6C0nuogWFUPYi1dwWj43Ecfxi9kaPVKkkzghrow64u4lZLMpWg+AOSS4CodInql/imt1V006K9M4OWPILilaV5RDEFqD2PPzkmP3dWc1sOFsRPrhKdlGYnvXaAK8DOrYpkHaj2Do4WlIBT4v1YzRx6cRdP1PuCSVqlJdTwozupfXBXwukdpykHmsIu57ZEcquBT9ybgxH0gzu0xeBDFcDNTpR2CRwdK5hCtXdB/LkJa8DmW+jmgIQvKqKGQAPDewSyVhBngAqOYC6Y3TitFVw1gGakaBUfYpoZHLeAFs5IeLiofYmvVfAuFDFYUTtxBFS3dg8l986/95SAgh6awBIQhlZB+rWd7TdRxIMp0IeSPiyBBUJN1Vi9TCA9iSvCU2KKYwfxqkvYgQ709Ems8hJKs4QS6od2AaOxjtLxBI3c+/hi3XhmP+3cBczYKVynhCbo+VRQRORE0dHMBG67Bsl+VNfEru9JqrYR6MDSM+gC2uBY2FYDM5LEq9XxdB+N7TcIpI+haj7qe3cIdr8opyOt+rKM25jxSRrNAiFF/FCHUJ0crqPjBDolAderrIIXwBBbei2C45ZkRKS1t08oncWNjqHsvEfTDmNqFVQlIDdAumJj7S3gdR7GEwfmtgP5y6h9z6PtXccNiTTAAa7ou5gRvMiYnCA1RZ+/VSWYfZxmdQUVQT5/5IqUHzxRTVAatKwWhj8tt3RiKOLvfgZPieBU70HhPiTHqefKhDu7cdomhmAfuDnCp4b5y9//U779zXsMHO5kabXKmal+bs3Nc/X9Pf7o334cwzRZW98gGIqyurHIkYkphodG+YdXvko2289AXy+buwd47RbZbJ8E0phmm3g8yR//xes0bJdIPELYVPBMjc2tOoF2jTf++TeIHH6RkqAkq1XU8DB2cx03v44WGgLdRfF3gbONnd9D7xrDq+3Rzq+gJY/JS5OsklrbFEoN+jNDKNko/89/+j/5s6/c5PBAJ7YYAjkWWweCBqrzB7/x44wMZrl29QbxdL+kuz98MCMfvDJWZmgSEPPk009hqkKHt/aoB2foknD7zpvvSNr/hz/+E/zTN17hzKkz5AoHnDxxXL5sNrY2pJtWTMNrzaaM+Ylo6c7mmoxNRUSn/+5txkcm5D+3uS3ioaMMCmLv3XtS8zfU/4itYPh0eQHs6uzm3t17MvIXjUbo6RugUszLbbMpDsfNBnfuPODM2cdkj+6HP3iddCZDtistBwnbm+LPJ0eyo5NUJMHd+3foE31ZX0DqgcRGafzQFMWDA0Enkd7darXKY2fOSPK1+D2JLtvY6KB8WQtQ15GjE1j1FvFUglf+8R/58U98Qg6iBGCwKWwZrZbc9vd29chp7fXrV+nJ9tOoVWjWmjz34Q/wh//5/+LSxUWGRmN0J7vBKPPe1X16owp///qf4m432Fq8QGrgNPVqgWCsn5bolInuWjxLeeMKulfDTJ1EV/00KhsS1onqh9gQmoj+N4V6aFcCWLTEKF47hyI8uIpHwOikodi0CxsEvApeJIhmpVAD0D5YouGEZGe3oSaBtkwVKUI1Q4DGzmX8kTSuMSApye3c+9iujR6bQGnuSICWoadxtBJUKpAWdNotaTFRvSheawndn5QdY0dMl8VlsesJ1FZRkmI1Iih2WR6WwI8W7sYurKF5G7gd53A2b2MGhAAwIFNVqi+JXZ2XfUTHP47mNPGsLdTkGVmpkjAcp0nLCWPaeRRrm0ZTIRRPU2/toigCnljDCiTRrDZOXejIEmg+BddxaAvITnUDJZEiEJ2mtvgPGIlhQThFqa88qjVZbexmg5Cmys9a6Oh5bv7gFZ7/7H/jZ853Emi6LItNb0c/u3tVxlIuf/4XvwaLcxR2GjjROFa7iNHWEeVDjTbtZhnX0vBFI9SXbhOJ9VLK7RKcOI6v/yiNK18n0DdJeWeHyPQUjQdXZFXB7J9A4EZajX2a2xtymNFpqFhHpog14cZbV/m1Lz1kqWDTmVaoli22msJmDkndYyro8MvPpfn4v/4IRqyD2uwGubl1skdGKRzsYQrzREcP5eUrpMZPUnj7BwQHh1HOf5z2g4u48yuYXVnMdJLi1UvoI0PoDaST3DEUeblka4vgobO0rAPMgJ/y7AaRw0eo19v4xCBaHPgaTRrbixidfY9SUIZCa+YGoWCcWiVHINWD3j8qL0LNg10Chood7YBiHnEEiPX00RKEZQFSm4ryb/+Xr/K1GZWzh5Iodpv1YknOm1KZKFazQc2ziYghUM2W9a9sr0FPUgy7/DjNFm7BYWnngLGXT3Po6ZO8/bXvS+JzqCMh35/1ukVXV4q9vZyMzYrI7sr6CtmuLDfv3sVvmpw8eULyQVYWVzl19qyk5YuakWCFrC2vSUDp6Ngw+VKZkM9ka2uXTDbN7ta+BM6KJNbQ0LDs+RbLBflcnZ9f5Oxjp7h24yZnTp+SyYIVoafNdsl0lfj+i0t6b09WDn0vXrwiU1VnHj/L7Oys/LNGceWm9NTp07hWm4XFedqWcEiLUb9wegsvdJHRiTEZE379tR9K6Jaw4Yiubld3Rkafd3e25ZbRJ+oH3d3k9kXcWyEWT5KIh7lxS7izI/gMhXgixPbOAYcmDrG8siSZM8MDw1TrFXJ7BfyRIO1ak+3dPSaPTFAuHTA9NcWdO7M0qiUOTU2ysbnD2LFh1q+vMf+Du/RMJ9FaCt19GR7enMON+2lWHfq7wvREk9zd3mV5tsmFLzzG6Gd/CfON77CwtEBK1BtCEXwtFUX8+dZr7C7M093RQQ2hwRJwqZZUMrsPb2COTdFSO2DlfQId3dT2N1Gi3QQzHbS3tvDqewROPUfj3hXJx+g48RxuJE1tawGfruEU96V9QBscQN3cx3/6HPX5ORnHpbmBYnkoo6cpXfkW0ewkajBAa3cLr7aP0jGMefQkrevvEOgeQ+3pJH/h+4hmc9epD1DZWyAczdCuF2l4Gmp5CzfeTefweZo3vsrm7PuEpj+MrvmIhRRUrYF/Moq3vMsXX7nLH//DGrM1H9FQk+NjKeKJTjoiHg+X8tSbbZIRnWhK6PjypLNJKFqsrogufoBmh8m5T3yIZq1KLVeitFfFDGlSi4sO+wcF0h1pOhIxvv61b/HiB56XP2vSXe65kgz/xmvvEo6HOH16ila9zb37s9JtL/SWP3ztdXr6svQPDsjKZaYzTVdPl7Rs3H/wkOeef1aS8h/OiQGyQSmX48Tpk6yvrUsuzI4A+CoqH/2xj7C89JC93TyRaISJyTHmZh7SbLYlPFAYM4r5Kk8/f05S9be3tmVaI18s89wz59nY3mR5aYVMpov9g10yXT3ynz90aFTylIRyWFx6P/zBl2Ta5+KlK/IiKgLBqmYQDIqhyDyDwyP0dKVpex5r62sM9PSzurYh65LlcknCQMeGx+XAzWf6eer8EzyYX6TdrMsK6t2bdwlHQ/JrFfal/uEhmWQQVP5Tp8/IwUjAZ5LuyXCwJRYxBrpPZ/8gJys+qWScWDQhdXq2J5YyGWkXyZUKdCVT1Fb2WZ1boX+sR5o8fIrghwS4cWWBqeeOcPTx47z+g7cYHByWg4f9QoGuTBpdNLy3tsnl9jl16rRUIwoGg4Aabu5sEwlGpPVkeXkJXTXY3z9gaEiATtfp7uqUyaPllTX8oaAEUosa0tj4CDP3Zpg4PE7xoChrrcODwxKEurG6ycTkYWq1CqamoGgG9+48IJ7uYPBwH8WtCjtXb9NtBGj5NXLbBboF3LViUapZnDvUzTu3Zsl29vKDW9/E3XhIdXcbV9fw2j5Ue5Vmo4EZFpf+OnaoA68iEoYRjI4BWhtXafm7MJ0DzOCwtDq09+dRxJ1IN3GLt7CdpiTRm4P/Es9sg6gst6pYToFA9gWZdmwXd/E7jtTVOcFubKuCpmgycSdU6raWQMfEbWzhRvpRrX0ULYLtmhhSZSw0fX3y3mIX13DEYiJ2iIDq0WzmH6VGRYoheQbb3pOmN3Hp9mxVAkzxBaC2BQICGO1Fa5nYusBxCuOPKlNsEo7c2MVRfaCHxVeDrfmlVU5coAXs3t57GyV+Gj0ieHEqzt49mTjQ21XJqSMkEq0rcHAVLTqMFuxEsetYsX6U4oKslwcGX8JqHuAc3MbfeYp2vSKXTkowixEaxM3dxtWaqIlp+c7S7BKeK2L/QTwvKs+fnvyeDcL269gdh9CDI7R3L2EGB9EMi5ZIMBHGsnbRC2vYKXFWrWLZTfRot+QiKOVbf+H5rAMqyxdQ+k9iqqJXV0DXRVTDwdaLMgahJk7jtHahtI4SHQFd9G+Rl1utLVRJg3j1dTQ9htd9FGv7OmpuFn/2JO3M4+jV+6hM0N74hnwhm+mjUuPQLC6hd5zFKL+PoyRQjDau6C10npI6FF0R7dQmijisuh6m42BoAVpKDaVdxdqbw9fzOK6vB3JXcCobaF1HUNQwzsrrKEYYo2sELTBAu7SCo2l4TYuAWsROnUdt76LW9nE8Ay8utrc+XK+Frptyg6TWV9Fih7CE9k+QLNs6XuEGRvIxCQgU8RS/z8MWB5HkGG51BfxJ3FYTrzSDFp+UPASp+yMmozXiYau2bJyAgS99iNb+KqrpoOrdeCKu4bQk0VE4z81YH1qrjp1fRk304ojovxmntnuVUDhDTQBvQil0V9BSF3GVlOwvxk98mM//5i/yg0s5Tp1O8OXvrjMQb5DtTrO80eInPzBKOGTKqefo+IDsULWb4mA4wMz9O3T39srOmKhPDI5kee3VHxCLdfCLP/eTXLx6k1/7g68wOd6F5yi0dJWllV0CoSQ/Oe3n3335T3BzDWp7awRMHy2pfwii2MKFqaIoNk41h1PbJegP4OghLNFVjh7BtnPYpVnM9BOo1hqKFaWtu6QPDXLjjav8xOf+lE+8NMnS2hYb+1UyaR8LG23OTkX5L3/w67z77hUuXrrFU08+jsjDCXI1aHLTvbjwkOc/9AG+953vyZh/27FlpE9McddXV3n+Qx+W8ef1NTEVP8rli5cl4FFMpBXx4PVgfW2DocFBCeR7443XZXRVHBy3VjcknCaVTpNIpLlz6zqjwwN8/7U35YHxox/7KDu72zwQQ4nREWZmZ4mHgkRiCYYGRygU9uSBUcRbxdBHaOsS4aiMDoq+3quvvsqZU8eYPHSEvb3dR33BTFq+DAf6R4jEIty6c0t+74WSz6eqLC0ty1+zsbPFB1/6oHwBDY+Os7O1zje/+U2mp4/hNwyu37zJZ//FT+M2ba5cvSY7uIJWW5MwwV0s22Wgd5CVjRVSsYRMIFQqFUwxOBMvfXRGRkbkxiueDvHFv/xb3r64zU9++jwrK4toJPjKDx/wY0dM/uGtP8EpBWjVDVQxjHOaKK0czcIWRqofPdgl41Xelvizr+Nmj2PWQW2vSjiepYkpsoWmt3Cb4v9dkajDUf2Y0QHawk5SvosRH0ezdiHUjyuix23xGQ/IqFhbUfAOtlAE16C8RbVkE0llcQXxdvMqvmgQR0ugNWvUayJq140RSWCLfJ1VRmtVJMVZUzy8juPozQXswtIjf65fdPEtqO9hGBEcsQuM9GGVxcG5JJS6+BIDuI0KmuCOhPvxGtvSt+uFh1GrD2Unum348IVHsJv7+Nwmju0D+yFK6DS2U0SND+NuvoOXPI5mb+LWa7jhAXyqRdsJg7ODajUwAj00xddam0dT4zL2ZsgDdB3XOZBx9lCkUx7k5P9KyziJEekHNtqiH2fiNwWpVnA1DBr2QzrSfbQ7IwwEPs0LT/YxnoUbswVSYT+Vdp2rN6rcvfhbOGtbVPP7UhUWEImfYk5uOl0Rxd/ZxUkMyN6xkezCDYRprT+Qkerm5dfxnf4ITkzARSNolQaFjQUiz32S+rWrKM4BubVNBj/6MapLs5hlMJ98Dm9vhlC3LuNz7//dW7x2aZnT58cprZdJBF2ePHcYpS8m9YRGcJLGyhb1mcv4sp04Uy/iXrtIM+RhJDpprtwjfOZlWrcv0WxUiaayKJkMXqPy6LLS30O0oVIq7xIZPoIWiNOav03br6MLvVFLx60cyO+lPjiCVyiDGHb29uDEO6Bap221MAXoMZqRHJTm2jL+Y0+j7CxhuU0soTerVOXnS2+W0DuGBfaVar6ALpIdfpeMcC2PH2H45S9hO3WeeKyX/bUDSi2LjHB01wtMD2SZebjDYq7N2cNJtvarqKaGW7Up1Ft0hAOs7VeZ+MA0aixIbnWNTrHFrjbxhLZVfCAVTbJQdncOcByHeqtGuiNFfu+AkfFhGbV//bV8f2bBAAAgAElEQVS3ee7Zp5ibXZKk7mq5KqP25VKNTmEeqVUJ+PykOtKSPj11ZIr3378ph2VPP/uk9I2reFy+fF1CxsLhMPv5nKwR7O3k+enPfYZXvvYNmaZ68vw5CRxbWFiWqsAHd+4zMDQgK1hCiduZ7GBlfY3tjS3OnX2MUrXO4soivZkuWWeYnV3k+KljNKpFGasV74BCscydWw/43M9+lkarztbGFslknOvXbxIQnUpFJOCTdHd1kRMUe09jYWmJvr4sQwODXL9+Aw2Vnv5eDh+d5C+/+Nd0plOcOnOKrZ1tecAXxpZSsSBTZj3dWZmyErR3sd0VXJpkKsHG7gbjo2P0DvTw9lvvkk4lmX3/HtX7eU4cylJ1LWpth0QkyPZWTQ5kAkmH0XiUr9zYJGIrfON/PcbT54bxEklKd3LEh0bYvvu+/L6I93Q9kaB27dskp19Ab5VpiXRXoINQj6jL2bRvv4OT6cPa3SZg+FFHT9OYeUvWB/wiYblxh7YSQO85iqlUcdWQZG00S/sy7aJPPUekVaC49gDL0zHSHXJwJ+jxpljeJLtolnL408NY7Sp2q0JgcEymfurLQukplgQG/lQvSlcPxVf/HjPVgyl87rvLaBE/gbMfxpy5SlHYErL9lAp5UqZOcqhTCORhPEx+Hr7zowf87383z2a+KpMgv/Rjo+ytlnh7ZQu/ojA53IPdbLFbs/Hr0Kq0iaVDOLUq+7kWxWqL0acPE8iIKHebgXQH1aYjGUm1SlV2vwXcspA7IJxMSnuW3xdgeGgQPRiQuszFuXnOP39ekvwdIBGOsLK8RjgWllo4AbILBUyee+4lbgq9oT9AKBzg+tUb9Az0UdjPEwyGpO2nt6+bRr1JOBqWOj3xzhfKauGbFxMCAeoVCZm66Jcvr/Lsc09z9co1qSkWA6nF5QWmDx1l92CHcqXOpQvXOf/cEzz79Dm+8IW/kJDHcDjA9PQUvlCAjfVVNlY25KVcpGxCkQTL8w/ZO8gzONQn4XGi1iCWH2LZIiL+8VhIcgsU1ZNQz3KxQv/wALeu3+KFD70gqwjf+/4PxZtJVgr+9q+/TstuMD4+IRcV8nlRrxIJR7h9+wGZzk6OHJnkxvUbhMJR0h1JWVU4yBcko2R+fkHqP8U5aOrYEdZX1mT9QFRvUvEo4UiQUq0uVZ+JdIx779ym/nCHsRPDEijYrLeJpmLU3bZUFY4/c4bZezOMjg8SiyR4773L8ozc293Jg5klbNviqWceZ3N1nXqjLb83tUZTDijE1/pwZZFGqcq5J86xtrYihyaJREqeM8OxKJ0dHfJ7293TK8/kKVlHKmLh0Wq0KYtqQyRGPJ2UNRJhXhLP3Y5Mknq1Iau48c4kzaJIUCZobO6z/NoN0p0hgsI4UM4RjccoWYLHYDI02sur353jP/7KUX7rv/wJm7cuYzgugVgAtbyJkz4MuQO8ZhlHFYtYW2r6VAGxE1Ptnhcw6huU5956VEtOT2I3DwgKU1pxBV/6cSyvjFqak0o/J9aHLi6thXkQ3fNYJ2p1hebufTCzBAfO4rYc3OIsXmoatbEsIeGWP4tqbaP5szR2L8pLtxkbpCWscEILqMZlxUUk1kWcXWmL5N4IWrwLb/sKllDdCcC8mZLAPV2PyUW0eKZZWge6Jhm1CGqdoVaxhXkilMYp3cIyuiUI2lQ97MYBXmUXJRBFifSjR7PY2/dwq0vyTikUik679UixJ+6irT28+Bie1UYp7qHGB6QlwScqU80SjdIqSqAX1VMlk84WgNSaJzW1XiCFWnmI7c+gCj1io4TlNtDFQNRQUePjuMKeJDgHhhiIaKghPzQK6MEsTqv06PfjD9Mu70I4JpfbWvsAYj1ySeaWRMU2L9PJoh6qKXEsyii5i3/otZp1fL4yGmKy0I0RUIWRGkd8ow+WcMVkJzWKJ2iIzQqqIcj/4t+Vp2V7ssOvhftpiUv39msoTpygoFXjYTdzYPtQBUyq0sbn7eEFBqgVFgkEdBQ9hBqbwKrt4IrfcLwftVHHMYO4rQqaUFSISoCpQXUNW0C/xFRF9Mu2roEbwBt5HF+zQLs0T8DsldRIpT2PHj6C5QliYhalsopmtSRcgsAQbnMTW2jzQhqKrxvVTOCUFmWcw63O4QnQmOiCuAW8oqg2pLFEV0tpo7kqTqQfZe82th7DCKew9q/juJqki3pKGM+fkD90itAFaQnpq7RMA2t7DteqExr/ALYXxCvexaeJad0tVD2Fbkaw6muYviyW4qIFQyC0O+0lfL0fo7V3RzoqRZrAwifjp75kCsuLoRVn5PYht10m++FP8/pf/Skf++Vv8t9/72nmVuvk96q0vBqLSwf8yi88Jy+K4sMQDBksL24SC4W4+eAeQb+Pn/nsT/Hlr3xNwpE+9rEPcuv6bZkWGBrr46uvXGJ2o8BApkeq+OqVApPHhsltFXn6SIDf+R9/w9aPvkyiY4yiiFlrLqYvKr2i4qHhGaJDrePYtoyOee09tIaNF4piVbcxzLDsL+dXVzEjoteWoHMwTSMUZ3Toc3z6I6fZKewTMzX8ET/fen2BwZ4g/+nXP8Ly+gYb+xXSwk3v8zPzcIknzp4kV6jKF594ibz51ns898J5qvkq67vbTI4OcfXKTSKJKE8++wzdHVkZrRP9slS6U4JaxKVb9Ltk+sR1JbwnkYpx4UcXCIQj0sGb6EhSq9Qp1UqkEnHZGU2nujnI7ct4X6NeY3R0mGvXr1EuV5k6fIRiuUIykSCf22d+eYmpwwKs1cebb/9IJgZErFDEuMXQoZjPUSxUcO0W+UqNoK7R09vPe+9d5Kmnn6YqOu248lLveoqk+Qtd4M7+Hvt7B2QzGdLZDK9++1uSwvupT/0EBwclvvyV/86nfvyn5GDi9TfexLNdph87zUBvP3dv3ZKgLQEMmhwbk9PXK5evMjE5TqFY5OiRKda31llZWiObTnH66Sf42c/9K5aWi3z0Y6ep5cpcvbfMelnhtz/Wz6//t39Hc7VOeeUmSscAAVX0vt8j3HlaKrgcRfhnJzCbWzSaS5IDoQZ8Ephm6xVUQbx3/fIBbCl1dF8SXfHj1oSK1MF2dVrlVaKiA1YRAz9bdqJ87h5uIwfhQTTND6qNY9VwNq6gJY7KGpKoo0QVaEXGaBR38Im4uRbBI0fL7ME0YmitJWy1U2pt2tUl3INZtOQIihiLexZKeIB2bQ1NNVFpPOrwi5i+EpFuWy0+gurvplV4C8PI4hLCqm1ido7j1sULuIYWH5XxV1vEYJWG/BnwPBO/JmBKdaytN/ENfwgq+3KSzcN/Qov3okYmcVv7uH4/qits1QaeUcanD9OiidYWyRKPdnUBVfAVKlepbd8hdvxX5c+mtfYasewJgXPFFxuhkb+PY5j49VGa7W38sSyt3ZtELA//Cz/Dz597mrdu2Xz6hU62SnVymzlGj3Tyze9v884fPcPgh19g49XX8We6qN+/LV9QgXPP462vYe0sE5g4IkF69uocZPrly8nZP0DTPdTh8/g0QcV2qL7/NpVGg+ynf43a1z6PW2sSe/wxyptVUlOnqTdzVIT7WfPTRsFZukj2+fPoI6O4t2fQjzwDO1vy8CrqHpXFNVqFOrau0nXuLLm7t9EEZNEwSZgBWqNn8GkWhYcLdExPUznYw7f8gFYkhuE4WJvrKJ2DOF0pjGYBU7iJRSKsmMNGpDAEf0eB3lH04jr0jdNeuAfFfdS+caz5Ofwjw0TiHRSX5/BluvG292mZdcme8HxxzMquVOIFj5zEaZSxVuaJJjukH11ZvMfu2gqRoTTheIS/+vos/8cPljnXk6LRbhFO+KjUPFkX2N8roRoqgZCCT1VY2irR390tD3bLewUJyNpe2yE5PcTh88dp11psza8RToQl2FMMbJvVJktrm/R2JVlZ26I72008FmNlbVXaTwSEVGwApe1F0SSJWxyGn37mvKxBiYGo57VkSko8JwSZP5fbY/TQONGIXx7wR4dHZNKqI5Nm6vBRZh7Msrm1w8d+/CO8c+FtBnuHWNncxGnVeOKpJ7jy3lV5QTh8eFLGp4XLWbBYxJ9RNBTm/oMHPH7mjLShCCuA6PQrnisvBbqqMzQ8KIGGN9+/K/vDQoO2srBKKBpAUKfCEZ+sdPX0CQ+0I6tiYtAoKmSC5C2GtQLiJ575q2vrEsYkFE5dXR3sbu9jex6peERuyG7evMnxE8ekpizkD1CpVGV1SqQCBJ9GAArv3LgvP9vHT05JE8vlS1eJR8PUqw5mBF78+It88wvfJj9/wGRfiL5jfbj1FjOLB8T9Jtv5OnGfLqOvXR3dvPr+AqJtmPvu59B7Uxy8f5vGTJGwUFWK4czlHxEVSr9ihfzyNbrPfRBV8WjktgmkBvAsl3ZpFa3UoBbwkZo4R/7WW/jbHsrwYWqzdwkcfgzPK0gQpSvOkB/+GbyHd3C2dwhMPUb52puYo2Oo4vMSTOBFxQG1RijbhXdQwAkl0DPdKEvXKOQLRE+8SKtURFu7Rfj4M+TvXSfQG0dPTsuDdOXqD/BaBULRNJVIF6wtsEeLdHwcX2uLaG8KXahDnSK7m0X+5s9v8l8vLrObd8mmwpwZ1Cm5YinQJBSLEA2EKGwXKTQa2BZMjHaiaRpLq/t0JGNU98qknjpErtpkdLCHerPJ/PuzRDtjguJLrVZjcHiQkeEh3nn7ApNHDrMwvyArIAL0JhIvxfwBmUyP7H17modfxK4dWw6vxAVe6PkEU2Pm4ZwE1Amw2eb6piT+qz4D1dNkPU4MhibGxnn3ncsyzTcy2Mfq+ioHB0V6evskvV38e6ePHeN7335NDrTOPHaS/f+PpfcOsuw87zOfE27Ofe/tnNPkPJhBBkiCIMEoLEVSpGhRsiSXtSuVy6v1lm05rGVL65Jd5Srt2pJLkiVTS0qyJIoiRYIgQBBpgJkBJk93T/d07r7dffvmnE7Yfb/ZPwkMCzM9957zfe/7+z1PPs/a2roC01VLJby+EI2msFHCFIolwvEoqURcnW+kBlSqVjl35gx7+/tqoDA+OcrG2qYCDMo7/8adW8TDQvGvkO5P0Wq1lRVDtJVDg0PKajQwOEiz1qRQLLDycI3jR+eYm5/nwdKK2oCHE1E2Vtfp2Y4ylaQG+5VOWM5Uwhu6s3APq9dlbv4YPp+u7CKy6JA6ZqlUV2wjUW/WK3Us21FKYhnay8/nlVdfZXZ8WjGNJCEp6Yd6u6u0falkPwf7exw7c5y9G0uYLRe8OofZggKORtIRdZkfn5umZrUpF6sMTYyzeO8Oo+MTrC2vEowEmZ6aUbVQqS0J7z1fKHP85HE2tjZVUqB/cIhbN6+T6h9R33cBg0rVSFSgMrApl4uEw0H150+lB6gWC+yLAtDwcuTUUQUMlOVnrpBXf06n5xKLhZRycHNnCxcvo/1p9nP77C9vcvrjjzMyMcX1P/suoXqHsm1RqbmMxHWC8SCFaoexdJxm+ZB3F7oUDl/HHzDJXf07AumTtDa+gzl4DkOqy3pXVAm43rjqzuu2S0+G2O2K6qGL+l3S0XrgBI5YhHoWhtmFQoGubhDx+Kh39zBDo/h0D7YABgsfYrmSvvBjxVM4avl3SGDoJPa+DAQkDHkE16ljSCJNYvx7H6ANHMX2SKqyTiCQpmNEcasbGFpHGXpkQetNH8PKLyiYsRseRm8IdytLeHAOS6j78jekP2ImSVLM6fXU2VgL9KN1SkrVrNkOVjVLIDpJR9TrAYEGSqTeg958qKqSekIqgbs4Tki9282gB1eq5fUyRmIGtyPv/R52eBSrtII3KGmBsUdg+U4WUzgJIblfB9RivV3KEAmFsf1JOrmbaMEBAr4BNegwgqNg+nHqGzithqqz6CGxMUhtOq8WhD6tD6uzg9XIYA4+gdEuY1cX0QJSYRFrVhDCcdxKFvzjuD4NX69Ju/IAPTSqqhgysNHKb/5T1/D10IKn6DR20GIDBAjTOnwHHBOk59ouY0WnlS/ari5hCrHaF6OXX8erm3Ql/uNoOIaBR+jR8u/9Ei1sqV69qKyMQILmzk/wjL6AE0igi6sxInqJGr3ynvq1vuEZ9eKR+oBTXUKzWujxWXptGU6A3s7jeGNK3yCebL2yjRtNYFgturoPrxnDapXoFW9i9p9Fk4iY48MNRKFzqA4eusdUukHpjdjZOxjDz2B0qli+gOoq6bqGI3QSU0fXoljNAxVV6tlerOxVPIFhrNQUlHfp+cQ7mcLri9OtrKtoizd+hE72JjgdzLh8SWzcbhu/aeDYQp501F9kJ7usehx68Ai6v0ennMe0e0r1YMiHrXmg+lN2bJ5e9Q7eTgmXcTS3guP14UmM0ysUcN0mppVDD52lXVgkOjpGp6MTGYuRb1hMTv0qX//qCLtLRYLRiIqw/+T6Gk9eCPNr/+ArHO6UlZKo2ejQsZoMDU+QPdhDQsiJ/gT3btzn2acvsbG1zde//jK/85++ye/95W2+/Jkz/PidO0xODNB1vUT9QX70zgN+8Ac/y3M/8zKrr/+E4WPP0il8gBE+idPcpCtx76EZ2ocP8YXGcCyDjt4hljpDvbqKe7CBZ3xeRawa2Z/ghh4nOnqcenaXoNHANz3Mz7/wC6zvWXQ0hy995hReM8Qf/tWHjPaH+K1ff4lirkLH7KNSLeHxOWw83GV0VDY0M/zpN/8fzp4/yckTpxX5v1ZtMjicpNNqcvfeqoqgffLlz7F4f4li7lBFz5557mmWlxbVoGJsdJhmp8fDxQUiiQQjI4MqKdJuPposLy8vk+7vU9ui9MAQe5kMTz31tHrgb2/vKb1Jp9fG8Pk5NjNPvnhIs9sltycVFw+tRpPZiVlGJsd44/UfMzj46IE/NDDKM88/z599878rJdDE+CiZvayaukus73Bvly9/5YtcuXJNdfiEKSBbq2Mnj7K7tcX5c+cUA0F8xJcfv6SIuNmDDJ/6/Mss31vi3v0Fnn/+OUWj3t5cU9Ps5OCQYg+Uinlmj86rDaUoA4Xy+2B5mYuPXyLi93P77n1VrxC39sVLT6KbBj/7c7/GZz71PMsr22wIKHFqgmJ5j77/77vy23/+u3Qe3qBcEJNIEqPbQhNiquuRurBEipTvWZ4pHs0PxXs0SvcIHf9HdMt3aeaXiY9eBC2A7YmojlannFNeYYmni2YU6T7lb9GrZvBOPIdtBjAlyt+2YeQFzF6NRuE2vkD6URXFkb6/Sa/h0M5fIzx6VpFY3UaJbuEhhjeKPvYcttbCKCyrrXiXDsHghCL4S9fK0KfQ3G0VxZQEixadh8gQenUDp5nBmf5ptK33seyH+OLPo1N79MxyWjSrG5iR02itJUxPUNWGerk3lJbV7ptSzzDbKuDzJHHFGVvYULUaM2Jhr9/CnnkJs1jB1oU/kFADEs10MXpiYAhiNVbwh6YwQ2HazR6e3j6ON40tm73aFnpwCL21jZ3PoA0/hhbtR6/kaBfv4onHMKJP026v4o2OYlW3qG0tMvHZf8z7P3iFT778f/DpC14+cvkCi3c32SmUqVsaLw3q/KPf/RqVdxfxDIi2qYk/4qNdd5QVxZeIoVcqOOEkjW2JwU2ojWqrsk302HNUb72Jd2AII1eAqIlTaRE0Izhzx7FaO9Bw6BzuET12huL9KwRG5vAEYvj8UM/k8Xk8bO7uMmrlMM+9SEfqEfUQXYFtLd8k3ucFK0AvFiZ89ByV9ffpHeTwDE+r72dnZxOvxCBnj6IVKzSDYaX2s6waZmqI9sIdQhNjWETprbyHXcvhpo7hScawttZwmlXiH3uJ8huv4pOhx/odBQfrBZIYjTotOsQSSXbfeYf4Rz+CXhfoo0XLn8Kslamv3yQ6f57OwQFurI/k/FEqC/dxjA5GKIl3fA7drita9/zn/oBEQOfsXIL1XJlGvYUW8uPXDIaSQW7c31ebMb9Hx7UksdRPq1lnO9sk2p9gZ2uf85/9CJausXDjjkphjA4OqPfBwWGFSDhAJCZd8wDNtsPawwecPn2aRrtHqr+PDyUCHPQzO31EbTKl0uT1mcQiYfXcuLOwyPHj87JAZ3s7QyqdUluuwdE0vZalwH3Hjh3nlR/8iOPHZ5g/Os/hQYGlxRWm5sYVMV16836PyZnz59le31SpptnpOfqSMTbWd4nGQ+iuxu7enuKrFIo5xkbGGBoe5Na9u9RLDXVhkRTDB9ekTuJR8WfpI/v8plKfSTJA4KiZzB6RcIhWp0csHlbvxqGRtOKtiOIsGotw5/Y9dfmanBxjZ3ePyfGJRzF6Oak4NofFEmODQ+p5uLi8wkA6wYkTp+h0Wrzyyus89dTjtLstrr51lXPnzjIyMcLBvrzzYWXpIamhYcak6tZ10G2N/UKG4clx2tt53vzObY6ORAklpSbWJRH2c1jvcGpqnOWHmzTbTaanR3nj3j5B3cdvfmmYX3r+JJ14nNzNW8Qmj7N7/zrjj79ApZjDWzwkcP55OnurdLdWqWY2CVy8AJtZpa0UYK6zvYbeP44ZiNCpl3H2HhA4egFdKrfy3G738M3N0rjxLuGQD0ZOoVV2aJTLGKE4nlhMaaXtQ1E6y5lIgMk9Wg2b4OgETnEDraljDg/S6vXwuh7MaJzW2j16rTKe4ZNEkn4qqwuYgrkfPount0t8qB/SszjlbbSulz/8xt/y63+zJ8UG1ZedjQU5NurH8IUZGo1xdyHPzl4VT8Th6Gic5GCM3Z0Sqb64/BG498Ea3p6GMdbHyGQEpy/G1vquuph6ZQllydB9kCvvX2V8coZAWBYFdQUAls+GnKVkwCRR+0ZFjDEe4n0JFY8vFSrq73f+6AwLS6vqnzWaorw01Aa4XJCLaEB1gKW2Nzo+QiAY5u79eyp9ODY6xmGpoL7DFx+7gGnoysYhAEupDrzy/dfpH0iq7bgMAqXe5/X4VHz/8y9/RqUS3nznJ1y6eInF+wvqcikXUn8wTK1SUkO7+aNHKZcO6XUluSOqvZiK51frVZVczWztqQ27xP6npsaV5chyhIauqYFc4bDI6PgwHqnXqJ+DrlSX0WiQaDyptvbC7mm2ekQjEXU2k7RN9rBAMpmgP53m7XfeIZVKMjU9Q61ZxWpaSjMqqYHNtR31+5yemFDVxLv37vPpT3+cD2/eVkMOifL3RfuUaapVbTIwMsxh7pDNjQ0+8+nPKvZCY+MQjyzrgrr62R/m8oxODJNIDvLw3l06IZP07CiUxddjEYyESKUT2J0ejUaLYMBPoSrwX0sBAZuVhmIinDh+TCVyc/sFBSUdEf7A2oYaGop6+dSZY6ytrCl4al8iSk8sZJqhAIGy2KmUD5V9Sp6fyw/WGBrqpyeX+WqV9ZV1PvWpT6hz+a379xgZHFSGrrOXj/P+tVssb2zw4vNPs/H6hzSysrjqw/SaVMoVWk2HgeEYqUSIb37vAb/59XP873/y+9Te/H2aPR2/EVcwTrmPNOoFouOfoX5wG626jic1jy36404LQyLvPbHR7CqSPq09dH0AJzyC1TnE79GwtDSuJYQ8kS+9i5N+DG9E1KQ/wtEj6LE+BSnWez7alffQk09jGLKMsdTnuds+QJMFsLzjAqPYLTnHB5ROUBcdms9A7wlks6V6+V05w9V3sVtttYgTWLorgLxgGM3u0S0to4UH8YSFHXCA15uga1XRmlk1lCR2TP06p3OI1mupM7rjlc6/VKM0dacy7e6ji74sg+Y/hUfA1KYA2aO4h9fAa+D2nUar7WJbVczAoOIlSLXedePorqXg9x1HrWTQOntqwONGx/AYjkoKGJEpBfqWfydnW1dsAJIkFy16TSqaE49g2E1JSvRwojOKaUNtD0dL4To17MoGxvATmM19uk4ewxiHxgGmp47gQnTfBFp3F09gACs+jlPMopWv/TtXj0zjihtWa9ETUqBMHZtZOt0aet8Mnl6XjkRfZXoSfETLpH1ALz6PR2B9nklMTw+ntIwj+r6AxFUd7MoKpj+FFplCEzDM5hvooUlMnyinEri2o3RvemwUu374KForYIboCVy/hVU7IODp0rGkR+xVdQDhA+gi9JaNfa2J4a3Qc714fGGMTlv1In2OTqtxV1Z5uE6BQHAUW3yLrTUV8Xdle9/tKDiY2yopeIwTHMLrcdCrO1iiQ5IPkLgwPXE17XWrIo+Wy1sKW4I6Eoup5rD8shWU6eSw2jDU7TaBoAentIkZmkSPDSs4oZgm9Pqe+rKIJNljSe8qRc8wFWTMGxmjGx7Hli9dbAytU8TOL6P1HVVgCivQj8fvpW370QI2ZBdx+2YwqxmlWoof+QJWc4NecVlFYMIS0zt1llHvRxgYdTg7LaCjHF1JZTR9ZHJl/q9//bNKq/jH33yTT3/mORxHUwTQoYEQ+UMhvuZY39vnH37t0+xul7i1WeS//fkbpMMhPvfJc7z+7k3CfWFq+bpyiV9fOOCNP/4lLn3tH7L22t8wLBtDSU3bbUJGk4ONRfpPfJROvaA0I0ZwBE3ozqJXHH0Gt9nAKt2ibfTjDfsI+Tx0ej5W3/kG/YMTjLz8j/mPv/iL/Ml3bvLZl87xvdfu8tR5IeBq3Hq4y7/6lc8yMBzm4WaWD96/w8svf4Jr124yMTGiSLRvvH2FL3/pCziWxQ9/+EOOnz1Fcb9ItC9Oo1RhdX+XX/6lf8Dh/j6RaJRqvUvQb/KDv/s+p8+cUhNk6Z0OjQ+ztrzCyNiIArlkdnZ48cWPk0gmuPLm2/QPDDE0NsKff/ObzM4d5dSZkzxcfkipXMR1XD7x0ifZP8hy/coVPvLCC9xfuMvjjz/FtfffUw+G849d4M7dO/gNg6kjR1QUv96q8HB1g7npSU6dPc+1q1cVSGZ1aVl5fiXi1uk46iUq0cMPPrjBqdOnWXywQH4vy8kzZxSBWi4MEuPMZ/aIpfqolqWbrjEwkGRCqOIbm2xurStIznPPf4wr196l2xIatp9GtcNjT1xkdeWBgt1MjE3iMQyOP4Z2Ua0AACAASURBVHaWw72s8t3KNu5b/+0b/PD6Domgh2jMT9Rjc+1em09fHOQ//o9/Tuad75CeeUlFuiz81MorGK6NzydTZwfb6+B2JDlk4UucolPbBQGAdsEXjeGYoqYrql6ZfNbFn+wLT+A6OyK3Re9aWJXbOImzIFuU3CpuZEJR5eWl7eYXsPwp/DGBukiqaR+sKt6+eSwzire2TaNTIhAdwm5VsLrCvkhjmSEcuYgj6ZUWWnBCxeXk8OO4JWjZeANJ2lKJMkLq4a51u/SoYQSnxeWJU2uCJGDcgvosuOEkWqOidIZGyIPVM/EFh+lVN3DFe+sN4w+P0e3pmHoDWnks37BKK5idPRU9s6LnldUgoFv0fAlcM4IXi1a3guGL42TX8Q4fB+np9cD2CB7bQrfFqyu9Mhc9OI1hFbFNE9fqoITBQpL1jeIGE+jtAra1TzA4QmZzk7ET5zAHo0xPfp5+PcRXPjfK9Q8zLB64DPX5ubWdZ/E/fZ6Qx2GjZTMaDZHbLhIfFx1jC6afoPLt3yf8/IvosRR4DDjI0F24DuE+Bb4xR6ZprC4R1GUL5qXh2Aqy53Ns3IFR3EKB6vIdnOoh8eF5OHkeZ3sfK3Mfz/yZR0oj0fNtLoBHxxiZxirmaFUL6LZD+NgxSq+/ijUyTEoPYUUSNLM7+BMC5xvG6rYxdpaoj4/RN3SSyvJb6NE0EX+fuownLs1TWMiSOjaLr3TA2sIdEiNHsQJhoskwvVKObqOI7k3je+Yl2jfextfM05G+/9oKfSeewEmlad96DzvkRxubQ8/n0Q2X9t4OgZF5VQWTwUy0f5BmZh870Ud0fAKrXcfbLPEX37vF//o3h8QTXU6OD1BvtamXO/ijprK2DAwkaLQ6xKMRHm7tEQ2K7q6K6/FiFHocujoXPn2RbtDk9hu3OH3hmNpWic9aoHwH+xmKpYqKKcsGXJJEnU5P1RfqtSbzc1PK0y2qsZHRUe7eusP6+hbPfuQpqvU6/f1pdja2H/X1K6LvmkUzTBbu3efC5bPc+OBDPvXSp5QG7f1r1zlz/hSnTxxj4d4DMrtixTEUCMt2LOqNR1R+06OppJVowarVsjIHyCFxYmJMeZQlqShpNbnwZ1X/dpxcvozTazExPsvi0h1OnjnFxuq2iuiPjo2wsrRCerBfgdLk4u/3elTSYVu21zwCEIo1ZWpqikjQw907S0pXNjU/x8FOhp7dVQfycCSmmjTNWoV2z6HZqSvdmcc0KBayigJfk2RHMEA63cfC/YdEEzGSybi6hAlJutaoc/rkCQxTZ2sro2KjYqkZGRplcDzNytJ9tt7fZSwUot2qkhiPowtkcbeMPyRka4OZgajS+X24fsjOXouXjoX4xq8+i3kkgp7T6TTkElPEra0pSLM3FMHrq2J3dZXECzaL7CzeZ+DoZRytRCtfxe+N4w5I2rGM7eTp69k0oykM+TXlPL2r38WKjJCanaXRMenuL6nfu56IKUiVGTLxRvsoLXxIdHiUXniYwg+/Sfz8J/FPDOLcuYGeHKBTlRSTg9YwaR7skZqapjkwQTBfoNPOo8+fIOK18A4EcB4ecnvlId9585A39iyuLmVI+T2cPzpA/0Ccta1DglIlOcwwPT7J6so6Xc1QMXC/7bK9fcjkWIKYN8LaRp665nL0uYt0nZZKAD7z8ee5ef061UpTba9lJyYd7r2dA2qNJoPpJAmpm6w/5FD0a67F6NioSm1Fo1EKh4dqoC4X7Uq5pobqA8NDKs4tdQKpgiT7+on3xdleW+PM2XO8++47xBNR1XPf29+hZ7mqGri5vqqqjALVbTSrarlw88PbFItltaF27J6C4RmmRjqd5uAwh9f0qkup6OmEZ9Rs19Q/k/rBxPg4+UJB/V6UO1Boy46jLrUyIOwfHCR3WFAsnFq1rKoOB/l9+uICK7SIJSK0mi0GB6W21+XW7XuMTY5wuF9QxotEPKoMRLdu3lFsol6vrS7bbRlQzc6p56tAMAMhHxcvPMYP/u6HDI8OMT46QigSVpDAweER9d+Q7UChXCXoMxVYc2trk27HVopQgRMHgkHWN7YV1+app59QA77tnQ2K2RqmCa5XBpIRtFaP22+8z0lReeb2iKbjhHxBcjtZjGSMSDpO/8gAtUaL7fWHCugrCYNWo8HP/vxX+Ou/+LbiOYyMTSo2g+41VYqq1X6kEG112xw/dZT8YZE7t25Jk4XHnrzM+uoaiUQfuUJRDQGmpsfUQOjMhVP85I0rPPnkRY4eO8Y3/ui/K5W0DC3kGTwyLoOJmEqDLSwuke5Lk0r3sbW5yyc++QJXrryD3RONq4/YSJTNm6uk8l38Xp1ST6xALs1uneMzI3S9LuV8kw9ul8g8+B08c8/CD/8TxM/T8wmRqCizS5r+UfwdqfVY9MwknkYRTcwnh+/heFKEBh6jLYrj6gPcZg5v5Kz6983MO9JvJDRwAbu+Se/wNtrAKczyAU4ojpk8R3f3dczYMTq1A7ymq7bTTiiIp7aN1WrgRgZUD1/Tu3TKWZCaXDRNt7xLIHWBrljcuiW8oT4szYMjjLjYHJovpYwAWqeObei4/hgePYBuVejpUTyBOE5Z0pthNI8JlVU0/wB4wjh2A13Ue9Kxl3ORGaVduoURnsQj+udeA8d2cERJqJXxBCfR61l6uqNYI5Zp4An008ncUotuOxiG7Af4+56g0zxAPoD+2OlHFQlfF7dr4+zfxJ8+qz5XmrWD6xvGGx6iFxqC0hJI0iFxBteQYcC6MigY3jR0Gxgh0TZ7sWoZ9EgC+W3rYlJp7ePWiwog3a00FQ9Ek/Nvcx2tbx5XT9Hb+L6y2Tmp41DMoFXe+eeubNU9EnEXt2BrHwJpNcERp690NET5Z1kh3OoqkcHzVGtrSvlF7AzWzo/QBIDX6eIJxhXczBH4Qq+K7k/TsURl4UfzJtSHw+kWcUqi1zqK1r6PVbXxTD2N09pRJHzHtjAdR4GwBHbQyN+jV9kgPP08GFFa0rVt57C6FfzDF+iJi1JAWhIDau9jWV48Qgz2e9BFJyiHYNrUtm4RPv5xfP5pyvvv4M3ewXf0i+ogY7a3sVt13NiQAl9oRgqnsYJryjYvhyGERTOOERWieV3pLoxoml5VIjoa3exNjOGLOO0a1cw10vNfUp7uXrsIVhGvadDV+7A7JbzeMI5sO+sbeFNnaNtVzPwSWnIaxzOKp7alvLutelvBwozEOG5xEdvu4Rl/Eb20rH6vtiuatAk8wRB2UzSAeRqlJuEjH6dXy9PLvMPgy7/Bb/zqv+R3/vPb/PMvnCTvdPBHwtz48AGRSJpsYZ9//09epj89xPZegTd+/Bpf++JX+B9/+bdE+hI8efk07VaXi48f5x/+k9/h/fcrTE2lOHt8iIZVYmUpgy+cQu9phJI2d1ZyDGhe3rv/A7TKCoebq0QmH6dZ3sCrSwS6geHzKrqpaPNCqZiK5zTWf6Qix5ISkMp+aOrzeCq3Ke8uExofxvTP0O2FiJ4c4b//u//Ar//b1/jyJ46yvpujUCqSHh1neXuf6ZDBP/6fP8dBoYiDSapPHt6yWW8oyEohX1dT7b50WB2spNQpyhiJ6A8PDNM3PKwOaCFfgFgySTQsL+06zWZdwftGBDQ1OMTC0gOK+UM+81Of4+0332J8bFx1Gw8yu+qFJ4eBsbFpVlcfgOlR/5/MnqgbXSLxKCeOneSb3/oGg4NDXLr4JH/z13/BF778ZVxX4+HygtrQT8/McvzoMb7/w+8rjY1MtwU4srm5qYBBpWJZKf+EGt8/3E8xn0PN4XWNUqmkerJC/O9LpDk4kEhhkJ7r8GBpSX0eA+EwI8NDdJoN9bKTh4UcTCcm5CLd5cq71/iFv/8LfPjhVfb29njumec4zO5j6xrhSB8HBzuEfV48wTD7+/vors3E1BweU+fzP/MbNCydX/2F57h79z62YfO3r+f43V+5wC/+lz8if+WP8LXEoX5excYct4hhDuBqEtFewWu7OP4xLEkbhUcwZKJa21Pfua7VVORU6QpbroYHGyN2hE5zC10MHeHzKgKq+yI4zSZUlnD9YVwB8nmGFdOj64kRjAzSyN1Dl5rN0PNQb2AV3scjOk5fP83Mq3iGn8Ou7aGFYxi1EqbHxRGIpdtVTlk55Bke0ZM1sK06nsRJtQ6zqtcwk8+otJQtwDdfCJeQmhTrbhdT+B6tLWzLjxY9jd5ZVFoYDz4sqW8g1QMNu72H4Z3F0Qqg96uthkTQ5c/tSAFIYqVeE6dbwt68jXnqaziH97F6eaUTNPx+XO8ALjmM8g7ttoPX78UMpunIxiw8hi+YolVZJhA9RocGWj2n6gZOaAC/MAwqmUcwmtis+jvotg4JR5IYVhvvmWf4d7/8K/zpX6/x1c/M8fbNGl/59Dh2Lc+v/HGW//bVEH/vn/w9au/dxQ526LRCRMbGKHxwVfFihj/2FUrL8myzSJw8R6+Yo7O1hKd/Bu/ELOwu087sYY+NqmdraOgouR/+JfGpCaxwis7WPXxjUxiFBsycorn7EH13j+CnX8BZW0FPTNAo5/FKCk0cwk4Zt+USmD0FQZPOsoCKWvhPzFG78T7h2ZMEujrlvbsET30UPe6jubKMd2wGKmW8q7cpeU10y0tgdpa+8VnOPPmbfOWizj/9N1+l5EahUkILjWDtreKZmKS5c0hgXOwQFbJ/9y1GXvwEkMat5um6LUKnP0r71T/FjqZwB6fxFtepd20i6SR6VL4DOZUMy22skB4fpuNaeNthQucmcJttTv7cnxLTdC4+NsbO8j62WlL60OVnmghz++EO8aCPZL/ECztq6K5ZFunhIV59bYHHf/octlcnNdTPwnt3qXcbPPn4E1hYrD5YIzmQZHNzh0QixsjYGNtbW6prK/9bvObFXF5dJFrtHpn9HU6fPImjO4oPIiT7YDDI1fc/4Jlnn6aUz9Hudjly4hTXr7xHKB7GdExCET+mptOybAUgHRhOqrTAgwcrTE7Poskp2kGBVCXGHInF1SZfeCxPPiksnh6v/ehNzl84x8LSAslUknAsxtbqOrFYVFWbhPBfKleQVWosEiMaiysta2Z3n9nZSSrVGt1Wh8npKVZW15gcHyXVP8DG+pr6Ph4/ekTBXJuNFtlsnjNnTzI/L5Hsd1XXWSCE7737KAkRiYaYnZ2gVKopGJ5UDfxB0dJmlAVH4G6p4ST3b9wjGIrj95vKGf/RFz6igG5yKSoVikzNTrCysE4sGWJ6foq1hxtqq/3y5z7JT968yuKr94nobfoGkmiuB8OvkY5F2Nw/YHO7yjOnhqlpTVWHz5RcpaL67q8c5YmnZtCOjuEUOtRuL+G6Jvn9MsmhERqNPSyPj+jsGRo7m6QH5lQapal7ST72URof/IjKwgMGv/pzNAs1/FZBaVfdqgbxIIH+CSqvf5vI45fw+Aap7S9h9c3glLaJDo2jmTFyV79NeuSYMgS0cwU8dpFmvq7qfB63Qzs0hNWwMfwdqveuEjt1ktD0Kby1IvrqQxgw2VktcPWtRf63N0vsNz3EdZvB4RBDQYOAz0csarCXKanPVKetke5PcnB4iCfmVw733OY6hjfG3kYWVzcVmFh0mp2Uj/3NbfS2rba98o4dGx/l5o0FpV4U04Vs9+WmJApJ4f5s722p+PneXpGe1eHZZ57gu9/7Pr2OpT5HXr9fXaIPcwVGBgZYfLDIiRMnVS+8XqvR7XZoNbvqLCoxeOnuCzgul81y4uRxTJ+X7e0tZdeQ75UYKA72cgTDPkWfX3+4QbFcVmBOMQJJkqVQqqhUgyyvzp8/w5tvXFEx/yeeeoK7t+6RTCXUoKhUqqpL85OXn2Brb5tKsUyqP6mWJHJZHxwaZnR4kLffepdjJ07IW1f17qXydrC7x8defJ7lxRV2MxlmZ+dVP10u/mLhiERCaikmYF7XERuARwGHq7UahXyJg719BTlMJ1Mc5PMKZnvpicd568dX1CISGX9aBh6/h6nZeZbuLdCfTCnon5y1+pJJFpaWMSyXj3z8ObU0GR+ffGR6Wlvl2SefZHllVXX75UI+noqxfP0+kWQav6vT7skw3kfA1AhGgyzv7jN+ZF69ZyX6/txzz/D9H7ymKrECP5bByOrDFV769Eu88fobamAYjkaVfUCSQCvLa2QyB8omValUGBoaZmt3Vw00vKapjEojw6PqbCbDyft3Fzh17hGvoFAsq+egT2nGUYyH6fkJ7t5cZGZuklazg6yn06kBGvWaAgxOTo1TzJeVCnp2fJaQQEGtNrd/fIuRlk0gEsTfHyQcj5HPZLG7LkMjYb77zgGplLBqb9O48wdYrSk0lW7bwNuJo7U3YPwJarksQU9PeeodfQxP/0n8ToVWO6Mqhq6WUksJhwqubMPrTbx9YXp6Ag4e4njamL40bQ3MbgEzPI3WKlPtZgkFRDfsw25ncUJjmPUirs94xD+q5fAFYujBEfBF6LSzmB0XLT2JYxewCnIn66mqlhGeoC3nl5BY00z1fJchhnxnupVdZfjyRCboNXI47Sy+8Bi9XhWPoSutpRkbwuwJlLikBgOaLGLCQ6pmq9n6I7ZAQ77XWYyAnB/zOJFZNKdDZ/Wv8Y8/i23EsQ4/xCMJ1EgKR4urKpHlC6FX1nD9UdXTNz1TaHYJKzyi2hRWaetRejt2EkuSoj4PXrEctOU8bNAR0pRrYPfa+OJHsWRoYbdwzRCm4dATSLRAFc04ruXienxwcAUETh+apdvO4AnNgN3Ctpp4woPQydDrOeg+WeoU0Sp3f991ihlsIfHrEQzDVQ9p1xdQMKN2aUd5xu3kcbzS1WhWaTa38fuPYNPBrW9hhidx6vex3QhOYhC9G0IXN304rv6jnVoGunU8AsiSKUVsBKOeV3RDBb2TCFfmKp7EeXqtDUxfRA0PbOnR6j56rT0CfjnArKG1RZ81hset09P6wdpVmopevYPW3gUhKFb28PYP4DgJ3HAfjpNHz9xB9w/j+L2qdmC7PszmKo4/AbJRlAh/5AS+UAiruYst5EnNVmkD2zKUVswWV3etqHyVpi4DjynV49HrD9S2UqJZPeEmRCbp1TMEIjF6pW2wOrhmEDM+Qq+QxT80SS9/X0U9PGaSTqeK7o3gCbq0xOKFwNUkguLBmzpJNX+boOYTdrbqbppSJfCnaOXfxBsYwAkNYZYOcHs5CE/gHThNeeH79L/ws5Tu3ebYE7/OxScjuHWHeDJKtdRgYKSfm/c30S2N//Lvf1kyfOhWj6NHjvHh4g3aVZd4IsbVW8v8lz9+D9u1eeHpYxxmcxRqAtfQVO8rGAlQbdSIBL0Mpkb5xneuc/uH/4Lpj7xM5u0/xm2XiPedpNKTn2cV38AojhXH6xaxS4fYRg/DEMvBLo36BrGxn8Kt3KBrFfHog7h9A3iMKM2dLVKzIR7cvsGTP/1tvvalOcr5CoWWXx0K6+0Gv/b1lxjvC7O0/IATpy/x4Y13GR4cUaCbVKqP2wsPGB8ewnJ6ipg7PjrF1OQwN67epH9kiJm5I8TiUTYzh1INo9Pt0K63OHv2NLVWU8W7a40qwUCAoaExlpcX1Yv9zKnTvPXOT1heWlAxT9EJFQ9zvPDiJ1hYvM/BYZ5ELK5epPn8o7h5s9VUF2fR68QTSZbu31dQrcXFRWbn5+jv7yeTkZeoUNMNNTl+4smnWVlZwDT9ih4bDgWYnJxVoD3psB4/epzltRWa1Zo6mKysLHP6zGlMzWD/MKtAfaLSmZ+dxev3sLK4TLGc56e++EVqxSp//hff4vy5iyQH+nmwsIjp9TAzOam2Fz/80ev4dVd1zeZm59E9Bg/u3uH0mcf47t/+FanRfj754mf51l/+OX/0Rz9QoK9ut8nMQIyB6Rm+99p1fuaFNP/s979NdfH7uNUuTqgft7Gu4v/+8BCuK5vpioTucAVk6DbpHEjncQzf+GU6tT01UNO6LkIK9KaOYclmt6vTXP0G3uGP47hdtM4qenAW1xeD6hre5BkahX1CvQxW3zHc0BheSyj+JQy3Tnn/OrHpj9Mzw6o3JnAZASv1xDpg7aL5ptH9/Vi1FTBCykTSabcwRVXn+lWtyBsYp1d9QL3wPv74Zczh57Byohn1KnuBqGiwBQLaUrwRp72N7hvE7mZx22V8kSP0vDJtv0m91iMg5hFjDNetKHKsGRimK9YUfwrDP0i3U8bQRAvZgk6FZmODQPo0tNTbVulKxX0rg1m7uUVv/xr+41/EEx2iu3UXOwC++Bw9Qpi1XbW5Ek2rAHssn/Sd25h6B83w4XQsuq1d/NEpdO8Etr2Knd0j/uKXybz7Zzz9wv/N2Qmf6lBODUZZ3Mjx/mKNX34swb/6k39N6+q7OF6Tdk8GFy5Oy4BqFnMgiHmYpZ7NoEud6sRT9LYWCQ/OYCcStNZugd+Hty7QHxfDqeEfnkOLR6l98BN8E1PYAlCbfZJgMkD5rVextDCe6Sn0e+/jnztDceFDQnPT6J4UutHDKldxI0m8g6NYW3eVnis2egG7W6ezfw8tPo0RTWH5vXgrB2h2l1bhkBA61f1N+sSqUawTGxAXb47P/Mvb/NTFJF897eJPjdEWY0RqBCuXxfXGFDPHpYNv4CjNh3exI0F8ZgzfhQu0l26iLdzGPn8an2XQyh8SOf0U9t4m9Q9/QGD+SZoy6PakMGfm6N1+F1MLY/W5RAdC/LPffIu/Wurx9RdTPMxbtOpNVnNtvIYfv9shFNJ4mG0zlI6pA23bcgiEPURcnUqpQvTyKaaeOMHtv3uLidlZ1QF3vBrFgzKtVlNtp0+cnVMdZqkSyVZOhqkHBznOnTv9qMse8ClI6d52hqbVYXx0TOn5xJgiG6/33n2Pk6dOKvaKHHhLxYIanCkY4GCahbv3iEVjzByZVTXCvf0sxUKesVEhc9eIRSP4RW2r2Yq0rWk+NdA8euQI9+/fwZWno2Gqnr9Q+6XnKVFseT4J82B7J8PE1DTVao1iPqu0iQJY83lNNbyTiKw8H4WXEAxInautup+FXA5Nfm3Ipw5zg8PD9FotCcMrNZt42hcfPGB2apb7i0s8+fhFipUKO9tbnDh+ml6vy8H+IYVSSSnRipUSB5l9HrtwUV1UvD6fqi2JCjEU8KtBswxys3sHBEJBLMvGcSyymTxnL50lEnrEShjqH1QA2Y+89CStdp2Hr95mZ6lAPBFg4tQIu2vrzIyPc1DtQL3ASdnytptsFTpURBm3UWUy4mU4afHav3kW89O/CPc/oFPcx2p1aG0s0zYm6Tt5lPLNN7ADXhJPvEB3u4FZvIkn2qcMFsVynfjMKXL7h8S9NfIrC6Re/BW6rT0qb32T6DNfwBeIU19feGQVuf0dtGCIlu1REGf/uSfRHBvD06FVKhM6XMeOTtNxAujeHvbGLaIzT6PNjONprVJdXaTR6uPP3s7wez9eodCQgUOKYbJcOjtMtdokIp8BJ8jufk4BBwvFJsPjSfV9WFxbVx17s+PgdR1W94oclDqk5xMkx/pJHhMqOWSWtjh36ZSi3Mf7+sjtZ5memeHw4ED1zbMHohOeYHxigvWNDdZXt3niqcfI5woqqi0pAdGVPVxZ4YlLl1m4f59CtYTP9KnKyePPPMXCwj0+vHabmdlJxqfH1NZxb/dRUqDTbdE/0E9mb590Iq469sIckgGxJEYC0SA7m7uPvh9lsVFJ1cElne7Hsjuqqqg5mur+S2XFkVN6q8PskWkqpTrlall99kRlXC1WmZ4dZeXhhor+Ly4sMpAeUJq6i5fOqiVDIBrlg/euM9CfwpIIEGLaM9ViZWZumveuvM2XfvpnuHbtqkoYiibYdkRT5zI2Oab4cQOD/dz88A6RYJyV9Qc8/eRTrK6uq0FAf3+Kra0tNcR75tmn1H/zxs3bHDkyowY1iw+WGB0ZI7Ozy/5egSNHp9kvHHJq/ggH2ZwaqAkbYG11jYHBAYZGh9lcX6dcriitoWzVxXIgC7TReILte+sKrGy1mqQSwus4UKBDx+clcmxUafqEZyHJziPzc+TFKOD1q62/5rjE0wmlxFxZWaXRqCsY9M7mpnrmJPqSFEplhgYGFVhwcfGu4jlJPVTi+CODI2SzWQyPqRIfhqPRbHYolQsMDw8rZaB854U38sHN2yoF9OzHnuF73/0ehVyJk8eOsp/NMiG1o+0MrqurROj65irhYJxqo8zI/CTWfoWD6w8YGoyTFT1qD6X/jfUnqezmiA/ofP+dBv/5X32SX/oX/4bKa7+HPnKcdrGFX34W9h6VG+8SnLpAePAc7fJDzFgErWNhyV3QbuG1y9gkIJDCKWXQ+wJoVkzd1QQw6wrMz4hi9Ip4vH10Cg9wQn5lUHJbD9FCZ+nl3sVInwcjBs2HglBSRrZufgMSo+qcZbeaeAUW7RnBsesKxm04ASyzimnbaGLf6fTQBMAnFWqr+EjDLHckYcoZZeh7TOkOzequivzbTgNTauByeQ6m0ayOOkdJVb0rSlypVwsI0Za+vYtX82A3qmham4AvgdU+pNfJYXj6MIefxa2tohOgK/WDYBxqTczuAW6oDzc6h13eRPPF0C1JmgbU8MIWXKywnayceu6EUmdp1w9V8tVODKOLatBuqAGHU1vADM/R04UvV0MrVtEjITy+fmW30HQdq7mn7FNYfiwBqPaK+CQtJHBWcfb2LKzuNp1aTlUpvJI8DQ2h1a79tny0VVzMIxF606Pi9BJ/tzJXIH0Mx0hhtLZVtJR2FiOcxCpLRaCAb+I5nO1b0DepOhm2/Ui3ENDlhVwGOQQ5PVzl9haQhEm3WCMwdFzRxCWS62hBrOyrGPHzaHocX22FmtPGm5yAloXhWLjBAJrADBQPwMYRN2WvCB3ZyOu49Rw9r4vfH8cODWA2KzgyZDBA8ybRk3M4+bvogRTs38FKncCMT2A4TbrFPXS/hdeQnk+Zbq+Lz27R8/eht7tKU2cJzbLyEDtxXD1gjeY6ti0l1gAAIABJREFUhGbVJk4Pj9Nr5dAbW2itKkb/NI7txfH0oyN6sD5ca/PRYQWdjmapi7cZP4LTy2NXt7BbLaVE1Lwe9SVwzAS98j3lszX7JlSkv1Yo4DVbuL60iqi6pQVsLYoZCON0CnQNHX+zgN5/XEVE7fYBoVNP89u//L/wW3++w/PH/TR6DvMjUxTaB9RLbdYPe9TqrkgI+ezHZhVRWabS587M8c7V97hx+4B0LIU3HsDvsZgYGGVbUaqFYrvP2GBCdder5ToDU4N858db/ItfPMZv/Ndvkb/yBrXcXfpiUVpGkHCgR61lY5hDUHwL3RzDP3ZagTE8sknVI1jNjIrAmJ4U3WAar8AzjH00J4AvGUYnw5kLv0V8dIyoViVXs5kaM8jva4rG+fnPXebyqRPcvL1AOO5jbzuHLhmQnhzdupw6dYr11XUVi5XO0eyM9EiDZDJZXnnlxzzzkWf46IsvUjjI0u52CPhC6nO6uHCPsYkpZS2QF6RM4/P5Ev6Qn3K+yLmLl9WASJybtVKZtbWH9KWSxOOi0dJYWV3l9OkTHObK6qB9ZH6G61ev8+6V93n22acVEFEIuFLTkMFKPBpnK7NFtVBSL5l6o8nI2KjS4RTzBc5eOMf+/i7Dg2PcuXubcqXE9MSMAoRIJO/gIEujXScuL/APbjAxOaEO5/J3K4cVIfL2uj0ebm4wPT6qFI/y82jVO5x/7Jwidl9995qCC+4fZJQ3+PLlSxwcHPDWW2/w937+F3j3x1cYGBxm72BFOa4//6u/xtc++9O8e32f//OffZG/+PbrBCJ+Uok+/uJ79/nD//BTfO6rX1XxaVcumbqrAJhNu4AX4Sj0CKZOYdiHNLJLmIlJfP4x2pUlfDoqjSLxJd3Q6ZTX0PwJNfzT6jtY7QxG6rLaMtidIj61UXQxJcau+zAC09iVd7C9MlycVmwBJzFEs3RIyCODyzkVy/L6OljeMVxdwKbxR9ueagYjNq4gf73CqqoimZEpXDOArTceaVlEQ9irKB+sVitg600014/rSygWgFPYVH+GjmFj6GEF6BP6bFvSP3ZXXUZwGxA7hWaGVUWo60njlldw22IYmUfvrOJ0vbjhcYzqMpYyEeiPKlHRI1jlh9iZv8SY/vt4QkKcLeF2DXqNbbRQAic4DAf3cFwDrW8UQzpvAuPs1BR7QQ9MgdFWSQWr7cHT2EAL96kYtmYHqEl1yakQSo5Te3id9Ow0TMwz4v8EUwMRLp+L8cqVXc4fSXP5xCC/9a017vzueZLCoHhtkeSZSWq3bhI99xi9lofcnVcITJwlmBoSPyOdSIpwYhBr4676HvkEsjR/msa1t3BifkJ9w3TjQ2ir9/GdOEOj0aV39RX8x56gvnId/8gowcmTNK++hjF1FiMSxN1+QKd/EqOQUU7xztZDjPI+LctD8NRl2N2iXa1gTIwRS09S6zXxFg9wDrZxEmm0eBw3u4M7OIldb6ltgJkcJ/zEJaw3vs3I33+Tz58N8Vs//zjDc2McrjzErJfQZIO6toBer+PxWnD0WRX/r26tEnv+f6K7fptWvoRmODi5fXy+JFZUxzM0QjA1Se/wkF5/CjMj9pc0gcgw5Y27hEdm8Oa28J0eYPDyN0j060ylg+xlG8wdSVGVJImlEDYcFOoqStxoNInGgjTqbUrVJmYNanE/57/wlOKd9AdC5IoVZo8dpVkrq3jzwHCKM6fPsLqyJsElxTcRvdXI6IDapj/91FOKTyJbFDGWZDJbHD9xnMPDMg9XVglFghw7fpSfvPYGp06dw2NYbO5k8BheEvEIvmBQ1ZbmZmb5wQ9eJRwMEks+AqfK5WJ2duoRGT0SYn8/T7IvSiwaJZctqg3bzZs3+cKXfoo3Xn9bHagvP3aRq9ffJxyIsLub4diJo6qHe+POXY7MHGF1fYWZqQk1mHzvynucvXiOQjavUmDhWIR33n6PS5cvEg6HWLr/gKmZKVU3kEuKENVFITt/ZJZA0K9o/mfPnOHW7VucPndevU/KlSKXLl9SCS2700XzeNja3FRDV1EGvvOTdzl6bJ5UOqou+xvr26picPHCBf7rH/wB58+eZv9AYK2HXLxwTh3EF5eWeP75Z1m4dQdH85IeSKtD8s7+BgPDI2pAr3kMdq4vYe0UaZWajB9L06x12DmoMTaTQmuUKPRMBg0/F88P89a9XbbLLUo7TToe+LmLIV5+eoLT82MMXBI+yj69yj7FzSLdO9dwfBH84QiBRB+FYh7v8Yt4hXuRXcLtuvRsYQUF8XbrtGNhWlmNULiNX9KaZpDA6ASd2iGVK6/gO/UxTNGNlgTM10TLFgjE02j9Hqr7MiQPE5zqwz94gu7BFtpBjt/+q1f4IB9hfbPNStYmEuxybjrBYbND2NSJ+334zQAyOxYNbV+yj33R38W9xONJmmXxYQeUyUZUmrdurrFTsJg8M8RHvvgs5YMym1s7mAGYnTvCnffvKGOJsBt8XkMZImS5MzI5qlLyucMDYpE+svkcpqPhDRj0xRMsr60rUN7M3Iy65G1v7nDpyYuU8zKoD7KxlVEX1e3dXQV4vXj+FB2p2kivvNai3esqY9Lw+BDZvQyxeArNoymLxdH5ecq1CkUBJcajTE9M8aMf/Zh4MkbUF1ZGoCGxdrjQn4wpY4atW2qQIO+He/cWuXjpAuurG4yNDNGSnnouh655lSVILqOtepXDbF4pnq9/cJOLj51lY32LZq3G/NFj6IajFhX5XJ61jTVOHD+hVIa//5//hLn5aR67/JjSbqaSKWrVKn6/XyWEQhHZ4DZVhP/EyRPcvndPwfsEoClshFgirrbZc7Nz7O3uktnP8PEXPkG1XmEvs08oEKRjd1ldWmNsfJzUYFKdgeS9LMrMi4+dUdpAeX4IL+Ewf8jo6KiY3dnfPyAWCHFQznHmxFl++I2/5okLZ8lmD5QdSmpJyUSEet3F7A/Tf3QEq9ZSTChfIKjqDkF/+FGSQfeys7NFMtlHvVrhE596iddfFS3zIJndXcKBsNLyHuZzctfi5PGjZP7/lEIwFObe/Tu8+LGPsbD8AL/po9Ox1J/7+eef5rBQ4P7dB0yMjyjzx+FBjnqrwakjc9y8u4A/IGBVD0PJOOG+CIu3VoimY6q6Uas1mBgfwDU81MsVYgNp9bx660++z0cfP6lU1712XVUdGvU6rieEt1Wn3Kjx5qJLu/Jt9MoBpXv3CE7M0JMYfj2DLRyQySkFKvdFBrGcNJ3sj1W6ppu4iJG9TsfU8A1eUtA5vbanNOi2p4d7IGC/GPrwY7j1HTU88XQadAUOGJgB3zBusExnb4/A4Dx2bV8tNnveGAF/Wl2kHdHRO20sqTQPXsYIDkE7h15doiuVA08QvVfD2XsHz+BpOt5pfLSxDR+GJMFdn6pdS1Qe2dBr8v3yYx8s4IbDigsllgNX7muhpNLFShLKdOrqLIvPh2XJxbmOx+jDDfhxxAQnwzhXxxcYwfH5cJsdesW3QOvDF5O6gI4lZymB6Pv60OrrUr5HD47hUMbodFS1w/QGsIgoJXw3dwU9lFImFX97H9sn99IqXbuL5p/G6zZBFmXRMbRuTz0X5J8LUKS5/xO88XEMy0un10ILhPEYPXqtHrrpw3DqdKw2PrWk38AWJkD6At3KvtL0aqVrv+1KLEPi+ZrpgJnC6hQxxFel11UqwIzH6eY2MaoZ1U31nPw6jdIqgXYZzZ/GamxB/zmMbl1tngwzpOjNQiI0/EHcdhdNou/1bbyhURrFe5h9J9FaWXqdGr7/l6X3jJL0PM8zry/UVzl2Vec4nWemJyMOMAMSBAmCICVZlCXKkimvHCRb6/BDR7vePV57tSs57dqrZFm2VlagjklJzCRgEBkYDGYwsSd1T3dP51TVXTnXF9bPO/sPh+ewUeiu+up9n+e+ryucxucYNIIDaOVrqnKg66NgNGiXVrFkeuLzqw+9ZQWolrfRJGFg9WBG+nHNKKZEcp0mrpvD0SXWUVBxx47eJOATfYuNr1PESY0+3nj5wxiBQbzynoIXGpkJWpsfYpY3MCd/Fre1pf7/us+l3dRVbMeuPsTqvYjbyNEubmCGExiy+febIBF/t0Enu0BACLW9R9FqAjBZRI9Nq40X7SJa13Gc8gqaGBV8cjksgxnHbZbwxQfVQVwyLHZtE71ZV5tx/+Qv0mgeEBAtni9AU0theSVMicj4YgpU4fdncMO9dA62aXtZgk4Vz6gSP3KedmaIo4kXcS2DF1+YodPS2M9LZ9hkoD/BncU1hnq6eePjJXqiQfYPGgykfPT3J9ElVu4LUq1V6LQaDAykOcgV8PwBUgGLnXKdqeE4T585zus/ukRJtgh7Lb732r8gHjSoFVtYQpPuWLSdAo21K1g9Z1TkLhgepuk1Mewa7fomPn8aMxAFOrTpJuAVKe0v4VedcA0jOUbi1AX+42/8C/7+//EmXzozwH61xvig9OLCvHttkf/pl8/z8sUL/G+//jv84t/9MrZAzyyLO+JYnZ7hG3/5F3zq4gsEg0F2t7fVluno7DS7W9uk+wY5ee4sjXqJdLyb3eyeAnMIiKVWKzM+NqkiXzdv3qBQyquf4dou4xNHaDXbqv8+NDDM9RufMD07we1b8/itIENDI0xOT3L71k217ao3G2qyL0YA07DY3t5Uk3KpJTzx5Fk1vS9VSqpr5/cH1JeaHCyffOIsrqORy+0RDERUT6x3oI+uRIIduUTo0tUrq+i/6H9kAOG0WgqE0+o4vP/uO3z5r/0k7U6H//Kf/4hf+h//Pvu7AnIxKJQOGBgYolgscu/eA3oyXWimQSKVYWftEYFYmEq+pBI58WQMy3Rp1l2lMWrZNeYmhzmsw0/8/D+lkNO58FxGHWjkGTrYFeTr31nh3dd+lZFjRyk/WqdV3lBfElIDk4erXIA6tSxaIIwnPBDTUvAZIzyM58gwbxsvKnUTv9ocSZ3Gc+TdaWOEQ5ixAeqFXQLhFK4RptPIo9stjMQQTmlJwVdcbQwzpFNa+H2s0Cz+0U/TKdzFiI3hFLcwfRZ2IIHRrtEpLmJEx1VawDn8GKvVga458LUVKd2y0rTdEmariB5M0TZcDMlfGxmM1gK29OZ6n0Erb6IHLFzdxMndhOA4vmhGVS6cw4cYPWfxxA1rgN8u0TR60A0Lo32I7h/ELl1FF/2hMEpcP53D6/i7ZrF1A1s2y7pwCvZUzNJMHcXdeh3XLqOnT9GpFAn1P4HTWMMWP26tjN7cRosfQW/V0ajTMKWfOkqrsY7mG4XSHcxwBjsQU3Acvd6krdto/iRO8S6G7RLoOolnuTSW3iPzpb/DN/6vP+B3/8PbhK0mn3pykt29GlW7wvvzFX7luRi/8s+f5fCmg+N34KCoWCqu5n+82e7tJn//NuHRMXVQbxfyGLUmLRmyOh38Q6PYmw/wIkk8Xwi7K4i5toVvd4v6yAksmZjvbOANz+JsLmIdPYFbb9BZe0BwdJpWbo/QyJx6BlSXbuOmB4g8cZH6tXdp5dawRoaIaN2UiouYdRPNL4d6H62+Y4Qr+5QDUfz5Gm7QQw9E8JVy1Lc2yVy8QKtS5HM/9UcUIx7PJjT+4PXf4vDadaztFfYPqvRdeInG8jUYmsYsHKrBstYqYcj7xWkr9ZtUKbxIWHXM3XoV5+Ey/rMX0YI+vNwie/NrTL34ebauvoevK0Ms3UP45ADf/70f8JU/3+dLx1OK7D8xEeFwtw6mQ9uWjnwFTfqDso1pOXTctjp0S/JGYprusX6Km7vUOy4zU+MKUCTbcA1P0a8N3aCrO6mGgr09A9xdvMf48Cht1TN2KBYPCPljVOolhoaGqFarivJ96sxpBbfb3VznqfPnyW9nOSyX/v/tvMHxE0e5desuzXaFeCTBkYkx9ezcy+7TqDXp7U5TrjbUzxcP+eDgAB9fucLTzzzD0sIDtrcPlXosEYmyvb9HOBzC01x1Adja2OHI5CTHZiZZWHyoLjKxcFSR/cUuIM/CY8fnuHLtCuXDGqFYkHbdZnC4h3pTIp8uzVZb1QFkeNDqtJW14OKnLqh6pPRuhUae6e2lqzuFZQgL4LZKzUkaQrZHtUadY0ePsrG2ihEMkYyGlfotnekjHo/wwQeX+NSnP60qW+vrW2owY5p+PvXiRd556z1SyZTqUd/85AblaoWx0THlNc/tZZk8NsbOxj7hSIj+/l7mby5y8vwxMql+vvvH/5WTAxIV9rh2ZYFnzw5SqhQIh4IUbI2o06ZcrRMOJohFLcykxsO1FnfXKridJpPDBv/PP3qVtfff5+XPnWbs2WceU787bWiEqa3dVOkKe/+AwMAsJb1O8b03ifX0Q/dRmtUDtOI+XU+eYufaXXzVJnYyiNUqkX7+M9QfLGKZSVyzplS/Yb9FoF/o+CHwDsCJgnAz9lv83p98n+9umTxYLUp5G0dzuDAQw+kJ46+V8QUSHJSbeG0BSSbI5Ypqm7q+UyQQCVKo5OnvTasNeDwVU5yThXlZEMETXz5PIB2jkM2RjkYoHMiAzlLft1Kxk67vo/uL/Pzf+1tc+vAyuzt7jA0NqA26wG9bDYewpFIkFl57HHfPlx8T5g0dHgjpXjS6/b2KPyRAxOGRUVxX+sKmgrv1dHcRiQbYWN9WTvWR0VHFfbgtW9+TJ9na3OTJJ5+gXK88ToQEgupyv7e9R3d/F53mY0Dfy69+WukBr9+YVxBBIeevLK2ryHimp5ulhYfMnpxhf1cSbZa6IMp3uj9g4fPJ97emQMTj4yPUapL40hSDQoZe559+SnX6BUQs55WrV68wN3ecwcFe5m8/pNloqdfQ3dtNdmeH6WOzlAoCqoZEPEazWaNUquNKTc1xVA1i7vgsW7v7LMzfZ3ZuSr3G4mFBXYAFXDh79CjXr91QdiGJU3c6tqobiQGhO50kl89TrbUVdLndapBMdlMoHaokpKQaL1+9pqo2w4PDLD1cUklMMemMz4wz//oltcGW6kJHhNzpKF7DVuahYqfJiefPsbq9SXZzmxc+8xnqtSqm7iN3mFVVg6uXb+FpNmdPi1HqUEEN1ze21HLr2IljlEoV1fN/4txT3Lo1TyqdoL+/h/nb9whFgpw+dZbvfe+HquJ87txZ7ty5w/DQEAuLD5QeUO4X0zMzPFpfYXtrRw1EpG4k0NBnnn2KO/N3FYxctKrJWIrFxQX12meOT3H9yg1S6TQXnn9SqVjT44NQqPHo/fv4DZ2O6zA9068WU45hKoimFfFx/doBMyNhLt35Dq2rb+EI68B1lNUm1N1DveWnWbiGETuhQM1yIdctKV+m8Cq3VC3RbeSBhvpdtSyDUCCtmEwSYCc6oe41jpB5JfXWWEGzhintvE5ASxLsfZpmYV6lAo3IgKpG66Lwk4SAZuBPnqKZX8Tz+dR2u1PfUbwluTv55e5gFzCtiEo6dqprmFJhF8aavKauUfT8PHalAF1PQCeH0y6iRybQkC6/XOIHae5L1z+NZkj63cKrb9Fq5gkE00rBbJhduNEYWj0PsQkFNrWFdRUZVml4UQ0KUsDxwriybba31R1a7mm6YdMpiEHvJO3GLgFXzqA+PKOMJ/fFThMz2od98BDLb+AaPXRqdzCNXjxPgPAN9TON6FF0dx+9qVO121iGiS9s4rh+aDsEtCbVtiw0XVzRIAYyyk5l6xam368YT56XxBeKo5s2TYE01oroop+uXP5Nz2vs4yaPq+mAT/bruo7R3ERPzNDGwLf5Lu1AF/6xl2isfhPTP4Zv+Axa4bZSBImr3nbbONUDTCHuh/pxSyv4AhkajUcE5OHaNUuntaUUSUZ8lE5HerwBcAqqJ2T4o9ht8DbexRx9gXZ0FH8+hxP2oTs5pbzTCo9w3CBWalrBFNz8mvoFyqad9hZO08MKRbFbtjrMd9wagVCSelmiw5YiVZq1PPTPKACZ5tTR7DqeFQF/HwgsTD/E6H0Jqlk6tTVMoZzKxbRVVYBCX/y4AiDqAXHD12nL5l4HR5ON2QEk+3Eb0mV89HiyJH5vI4zbfjzt7gTG0aSCUMthUcINHMGTHowVxrRSdBoVfPEB3INtzFQaTTq/rhzmUpjVO1TdNNbAadh6D7twCyPzFJ4/qmiQGjH8GYm4e3T2D9GCBbxGjdQLf5O9q69z5sVf55XPzFHIisc0TEmcvEGDeMLCLmoEk1H6M0F2D0uUqk0SoQjbB1n6u2K4bQ1JXucKB4qTcO/eIS89P8jUzAQfXLqlJtiT/UlOPXWK3/iXP+De7V8n2TtB9sYVwiNH1Ua2sP8Iw6kQ7jmlprY+/VClL9QAR1zBvbO0s3foHK5j9E5hhobwKovo/n7Vh+2U10gMDPDxa1/nlV/6IT/18jiFQolUOkLACPPg0Sb1co3v/PGvc+Xmde7dXVHayOde+DRXb9zGZ2gqbinguq3tPWaPzuI3NR4sLRMLRtj67yC7f/7bv83rf/ENFfWTSNm5M6fZ388TS0S4c+uu+kI4/9xzqhcmmyaBzdSrNZIpiXf7WV1dZntni4svnFdO6nfefU9NsQWiVSzWGDsyghUw1TZBYm3SWZNgtHh8xfErcVqJw2mGQbPeoC1fgskElqGrCKKwCLa3Npk6NoulG6ysrChtTyQuB6F9Nje3OXPuNAv3BFIl3bWmmvBLrFa4EpIEkIuH52rYTpu79+7Q29en9F3RRJx0IqV+ppgE5KBw+/ZtTp2cU1327MGO+jLUPL+Kt0m6/aWLLygV22//69/lX/3bP+e5kz30Dvbw9W/d529/5RyuL8KNjz9haa3C8sN/g+0bo5G1Vc/J19mnUc/hC43ghXvR5SFdzCrAC0ENuy2b+wC0HLRaDs8XoCODIzNIw9FxhZSaGMI7XFefMdXd67TwBf14vgy+lqR4InjCAfHpqivvhYYRMqWOAGZc9NgIdtvDPriKFU+hh5/Bba+hy3CyXsSMSQzfj+vt4gYG0Dsd8Lnqb21U12jkVvD3nlFJhPb+FczAJE7ssV7TL/9bcRlNoKGauFi3MGJH0MIC8XNpZz9RdSbPLROMDeHQR3v1DzH6n1WqVAHJ4AvjC0Rxmk0Fz2vrWYzUSQzR0Zg+OtkbaFYCq7lKgwSByAm82l303mk62S118OoIgKfeQGtsY4ePY/hlI7ar3LJOfZlAzzlatQ38wV70VolGfonI2OcQGUpr+Vv40sfQoilMLCzXoyk1jcQkvoNFYnNP44TgaPIVeqM6T8318/F6jbjV4nRXkn9/aZ/X/+/P88xPPM/WH32D8OwseihFZ2sRw5MRRIeopVNb2yJ87lk4yNLa34ThSSiX8Af8dHw+mqUS4aaN19eH1jtM6ZN3CHg1/Eefobq1TFckTTESIn7kSQ6+/6dEzDL6wBnySzeU0YLpJ6h89FeEol14vRMYuOhGlHp+meCJz+LzKhx+7y+IDYxSP8hijY+hSUor4FK7+5Dw5ISiUTMyi7NxB//AAPHjx3jl1X9Ou9zmQsrhn/3VP2Plz79J9+gI9a4jBDSPTnYdLRChc7iH37OpSKJNdHmDw/iCQTrry/hnZqjfv0nm9Geor9+gvLyIv3cAvdQU6xJO7zC+tmRkDtBLRXqeucCP/8zXuHW4z8+fH+Pyao6egTh7+21KhTJ6KEQi5MOvuepzslcoK9+5LxCmXCzQ//wsRleC9RvLjE4PqYtruiujNu4nTs0RsnyUSg1isYhSjclzSKLGh8UCsVCCerOqYurhSJh2u00kFGXl4bLS+sXDMZZWHqqocP/QEGvLj0gkk5QrVaoVcZmHGBmTtKCPBw/uEw1FVL9WDukSrfdbfu7fu0soIgmCaQ72Dtje2ycdT9KwbaUf1AyP7J5EJMHVUPqy5y48xes/fEs963p6+3j3rXdV7WtsfJR6vUZXdzc3r82rw1pfbw+nTp7hu6/9AL9hKbPJqTMncdq2es4Xyw0VGU4l4ty8MY+maeqZPTU1QSrZRU7eH4bJnfn7Ss0lBPbDgxzFUk1RzufmjqpLz/b+Ie1mhYsXLvD+ex8xODzEtavXeP6F8yTjMT64dJnh4QH13y8MBEk77B0U6MukGR4ZVNvjza0NQuEoayurTM1Oc/LUUf7sT7/J9OSYisN26g5buV2mZieZnhvle//xe+RWDzg+0kNVa3IklaAglRu9qrrloz1pdfFb2NlidCDNXHeIlS1Yzq2yVfKRrzcZCZlkokG6Bwx++sIMvSGTbqtN37PP0eVUwN9QyUwljD95DJaWoNZWwC4Gjqj4rba5DGGJ9pZxpbaT30Pzt2iVCrhycI32UCiVufTOPG68mzffWuBmrsLDXEe6d/zUxUmWdov0dofZ2MwR0WMEEh6VZpVawcCKhqiX6ypxem52gLIDTU3gjV1sb+zQ25OkupVlbadMergL30APvbPDZHrSbDx8yM52Dku66X5LDQO6EikSPRmmpo9QLZR487X3SPcl1dKg0W6ztbWlEnzyWZHknCOpvoVFnj3/NDtbuwoUJwP32/N3efkzL6kO+uVLV+kfGlAXuu7eLhVlz+dz5PNVVcERr7wn2HFcDrIHTE3PcmR8lI8+uEwyJYyKPTJdXTiezs72HidPHEMzUFC9dqvDK194iYWlBXyGX/XT/SGLlYVHSgcciUaZPHKEheVFyqWKUgL3DfRSr9VICCUf+bMtKe6QDPtlW/jx5St8/gsv4bga3//2Dzl79hiRUIz5Bw/4/Muf5cb16+qzY+g6xVIVv1/eVzA2dkTF/+/M31FpF+nbt5o1BgYGFMvj+InjfHTpitIPjh4ZJuCzVHy+ZbdYW91idmqSUq3GyMggG2vr9A0MqZ/X35fh/v1FEl2yvW5w99YDRkf6sEJh/LKQ8xwWlx/x6uc/p36fG1ubTExOqsuT1I2EtxQOB3ALHdau3iMznCEYDlMuFRgeHWXx7iLE/Dz7yos8uH+fYDii0hETw6MKXCpQwUQ6pqj1o0ODVOp1CqUCyXicvd0x54eWAAAgAElEQVRd9VzL5nIK6KnrPtKJGPu5PHMnjnP548tk0o8rPfJumTgyrCogo5NjfPDWJaUBHZ8YI+ALEI+FuX17XiUY5Jk6d+YoiWiC3/+9PySVTKgKilgMbEdsCG16e3oURFDSIdVGndHhYe7N36Onv1f9Ny+srPLkyTk++NY7SDO+f3iUXCHHYMZPs+nQFpKl7RLxw9c/2mb/o39K8sQrVD78Hq7PxJfppZUVlWmFsIC6hV3UadGqr+EFezG9kFo6hLqO0qosP65HhEZxsu+gZ86jaw2ahzsEep7DpkSwvasuoB27iG6G8Aw/rfojTGtQ2dI8XwQKy1j+Hpz0EFpjB7tVxatJtD+sjludtoVeXccYfB63uoQjujy/1NAP8Jkp9FAAJ3sD5OzcewrHS+JU72M1ChiBPoqiPkzOYUZnsRvrmHoQLTGOnbuJowUxo0n0tqvYdVgJdKeJZzYxk8/iVjZpHdzGjB9VTC+jtqw+f0Y8hStaVJ8Q8QLKJIDbUelQORxLBUEPRDF9cRpiegrKYlzHJzUT4UZpdTVY8MUnVCVA7ovtg3tKuejGRzC1qNLQG9UdlWBXNQNhY7hVvOYBTmEXLT6stMm0KsowZxgDCsgpFXXdJ4OXLtyaVC76sEUlomxzbfQB4Q4U0UqX/jdPJp/S9Wxlr+NLHEcTSn5jCdcawygs0JG+av9LGG4Db+8mHV8YPdaL54jerwenWUFxVDQbt+3Slu664eBqKdzyQzVRCfU9pw7hrZ030KNzmKaDXc3ihiagtYpuDaIL/VmAfMYo3uGPcF0fZu/TaM08uhmn3d5DD8mBeJzmzk31z15yGnf5a5ixWVw9gc8rYUeHsZpZRdAWOIJT2VcxfqMll4AdHKsHvbWDGZtQUEJW34LRi+jRabyDB7QsVKTNyd6F/s8oLoIj8ROfj7bhYbZtDMuntrFuo4KlO7ipJ+hIwqF0Gzd+XG3jyW+ARNrj/eqQTnkJL3lcDQDEQKDpaUXa1m1HTYhoFUFo5aI49IvHW/oyu9itPaxgGMffp7QrMk329AjOzkfI8CbUd5w2GRwhZGo5zPAxpWFplHdVb7fTWCJy7lle+80/5Sv/7NuM90eZmvRTLjqKbyAT0XTCIpkMcffuGk89McnCg31s3SWdCmNpLmdOjfHaOwuE4mkqhTx6s8a//vVf5A+//j7vfnyX6elBDvfKhKNw7Wae3/+NL/KFf/K/cnDpr4hEYjRbHiHZ7roWbdHptCv4bFuBI+tCWXdM2uEhqGWRN5NQ1iNxHTdnky/t0CUwomqWaDqGG/Hxyiv/O269yNPPnGQrn+f+gwOOT/fz4bUVpsbjfO33fk3pb27eukdPuo9r124Tilq88KkLNFsO9xeWFADs7OkT3F1cJpZI8PGla5x7+qzyyEa6EiruJOo8ITRLzPVbf/U9PvuFl9R7SrY6m1ubfP4Lr6qUwI/e/hFPPfkk1XJZGQQEdpXNZpk7dlzBhxKpOF6row4TkhqYv3OHkaEhTFEGdqU4PMiriKBEP5dWHnFsZkpFvCQGJ4fhdr3JfvaAiy9+ipvXrhGPpzj35Dnee+9dRkdHuHPvLod7WfqHhzl76qQi5gYsQ/3u1zdW1dZOthWVWk2R7z/9uc/xxms/VF9qx4/Nqi/n3N4+h4eHChAkX95jo+O8/c67DA0OkysWGOkfYf7uLY4enaSY32N6dorgQIK/83O/yTfffMCrT6UotAN0RzXiCZNSpUOmP8Nvfe0Ov/bZLv7lt/8L+3ce4S8t0k70YmgJdel29q8pL6s/GKaxfQcndQLPF1U9znbhPv74sALQEUwqj6ttGJi+mLpIOW4Rs1HCiQwpO4lAOjXHwI0k6NR28dWXsEIzaKKq2fwhjpXA6H6aTrum4l+WdCgtG71WwNYsiPRhCfU10kunuoMj5NbQKfyNdTyhqopvVg/QaW5iCuwlJERtR7mKWwIF7R4BV/pn+2itFVxLJtsQMvw0vQ5+X0dZRmQjLxNrr7yJFz+CJn23g7sYoQhuz9NYh4u0dj5BH/2imirr8Wmc3BaaMA68pmKXaJp012TS7KFJx7u5ixkewW3p2LVbBGNTNPUA1uFV9YVi+xOErBClzTv4k32YotARZU4shbP7Do4Wx4iM4R1exrGS6IEkntvAlIGmDLjya3jZdQIjT2OE4lQO1giljxGeSPKzx3+ST/JwfDLE9nKFV58fYiub51t3irzam+CP/uyL2PcO2XMihM+cofXRm5i1Klr3wGMWjNPCPzlN6doVxU4RCGBza4lAshtHalNrdzEl3SGaxVaVxMQsnWAYt+4RaBxS2FjH7IrhSd+yVcA9dgEtlsC9c5Pm3hJeIENi7gzu3gPatSLh0WN0VpeoLi0ROX2aumYTSA8/BgEtPURPpWgdlLEru5j901iDPRSv3yDx7Fnc4CT64TzRvT2G//GbhA2YSFl87TcuEq7blAfOKQpz9u1vYyRimJk+0qkUu++/TfrZF2kWihhSCfGnaEwew6ru0bo7jzcyQ2iol+bDe+gDMzRkoJ7L4U90Y4wN4MtvE5g+yj/8ld/mzy+XePZ0hqm4j62SzvX1PU6M9iGCB9usKYDj/IN9dVBueA4RXaciWrBkkLmffJFWtcPW/Aonnnts8JBtpK67ijh+8ZknWd3aVJo76fw37Tafuniee3cX6EjFwDJpCMG8WmNqZlI53JcePuJv/9Iv8m//1b9TnWjxW3/0wSUymS56urtptBucmpvjk5vXGRoaVnFmufhIP1kO3levXqc/06MO+wP9GWLJNHsb2+zl9+hJ9xAIBCnVKmxsbPGZF59XkK0bV28zMjVKq9ZWqlV5TsmHTdIEsglWSj7Ppd1xyBcKpLtSSr3VcTyS8TDxeFwNOuVifPPaTaUhFUJ52/OYnhxneFgUYjmKhZraSArmOyLk/WaVUDCiLudy3lGQv0iIoYEBlY6TiLJcCkJhiQ6j9HH37yyrgYpsh+XSVCwUFYDwhZcuqI7pD77/Osl0irPnTnL96k06Tod0qotitczI4IC6cIX8whPRKZeqJNNxpbrc3jkgYHgK1rYksfOnTlJrdDhYXONwLUezUSGGS5d0zdHY2cwxOZZgc6NAoVhmrDeBa/oIiYEk7zB2IkG2AB/fWKJQdzHqBlXdYTgFxbZOKuLj2cEQ6ZiPXMPP0xMZos0a00/OsF0v0lxc5+jcKFrIT9H2uHr9AdRkANpmoxTk7uIuzWiEyw9E6+mSigbpSA3TgSAwmo7R2x1geijFzdtbuEEdzzUfd49dCFgB6rUyqe4oBYnO2xoDqRjlckMB+GTLq2JnMjCPmESOjuMPPeY9uO0my/ceMDg4piC4rqZR2ctjRAPs7u7Q25fm6NFZ1ja2uPnJTV555fPKa6+JhSGb5cHCsgI1CqRNoL+1Wo2W3cHuuKrW0m4JY8OvUgSLDx8wNjSmQH2xSFQNAt584138flNBKj/70ku89fZ7BIN+1le36O6TVBjcvn2LM3OnWd3cIBYJMz19jIXF+8q8IZv45587TyGXU69xcHRApeAkzm/bLWVxki75+uqK4ljIhvn+vXtMTE8pSOW+dOE9WFvbUoC9F154ng/ev0J2b4ev/I2fUVvlI0fGWLi/qLR7whrKZBJ89NEnzExPKS7F+voGx08e43A/p5TDW7s7Ki0wf+fBY8MOGoVShVdefpGPL19V5yphJi2trJCISkxeUylDGcFLMqKrO0a1VGR3L68+pxKjT8Yleeqxn81SLNd56tkzbK5vqoSiKEmFjSSLiAd37zE+M6Wg3+sb22SzOc49eVLVNnQPzj51hnalxtd/5+vMjPWRqxwyOjREvdxga2tP8UtSJ0cJRMM4TZd87lDF8HdzOarFskoDffFLr/Cd739fDWvqRXnezbLyaEV99qaPzqjnyt3bd1XV5+bN60zPTHPm7EmufHQDK/Q4JSKvpasnSaVYVnyl+/cW1HtoanLmMRNAkpbJBO+9+wFPnD5Ly2mpv+fM1Cy1Zp133v6Qs+eOKXvD/fvLfPZzAmQ+5PKHl+kfGOT0E3N8+O5lVUuZO3OM/Y192lqLJ0+e4sqfvsFof5x8y0VrtcgMdRE0DQ6yRSYn+/jk7ja5UpW17BvYK/vkFi4TzQzRjg7QWnobR2uRHPsy7eotZUcykudpHryPkThKxx8j4AvSbpTRZblihGlbSbVUkyRhK79CZOyv02w8xPR3qRpI6/6f4R/4PFrvUTqHD9DcBv7kCC2BAHqSJAji+XtUp93n1RUoGXsfPXUMdBtTj+K06rRLD9GDg8q8orXWacefRg/F0Jb/AFdAzumz+APdqg6K3AvtIk6gH680j1feRes9o9KZzeIDrNQMVqibTnEb3XLw/GOqemCkjuDI3W71Xaz+c4pV0NFy+Iw4uhvHqYt+XVIm+wo8GIz30Nq7I3Al9EhMpQ/kzuyIrcovg5QwgnqW2rZu76P5U1DOYkbjeME0jgwvXA394CZO91PY1XUC6VmQaichdF9LfW5sx6eq7J6w4mRBShQi3apSa7byNLK3MEfPY7c7GK0adqPyuC4rC7NoL51OXaWoXEnm5z/+t54eTuCufA+bCL6Ri5iiDSBMp/sczqPvY/VN4xLB27+EMfKy6tbTKWJn76stlxvpUxfcWvYapmYp5YIcloWhZciGu7pBq1VXACufbqlevkzpOnYHw27gyR82MgUHD2kJXKH3DHpuAY0SevdpqIgGr0cprXytPcrFTaXi0tPj6mKgFe/TSV0g1DNKe/cT1fM1pN+htF0H+CNHadkFdNNCl45LSzyOmcfxC+nD2jm00hp2cgq/EVJvsI5XxSf06MiQGgZ4ZgpZObR2rqMPzdHZ38YXGVAUbl9tE9fqVkMCnzyI4/0gHY/KOmZUfKWWchS3CvP4Y9KrCaK3NtA6bWx/EiskDIEl3OI+/q4TtJs7OALl69jq4aD5ekEuIrofrVlVgw2o4I+M02hUaWTvERw4RTAyQHP1DczYCJ7lYDdsAl3D2LU9AnoQ68QxPvnGf+Bv/IPvslKweeFsgkwsyYcfP+LU8W7lJM0fNJieTXLv9r6KevvMNssrZRodh1jIIODXOXesj3/wyz/NSJfJb/3Bj/hP377B7Ew3er1NZkyiM002HxR4f/4PaT1cptPYQAsOg95QhEyJqZp6mnZzl4AQguslPElDSIxQPkndx7FzD+k0yoR7JwGJyB6oi7PlTxOZ6Ocf/Pgv8J1Lef7uL1ygXD7gv725wviREIl4mjcvLfHcqQE+fX6Kz75wnoPdXd7+8DrBWFBNXTfW13DaPhynrWKk2Z1DnnryGL0DYyrqefLsWYFOs7a8qibYqXQ387dv8GNf/Gt4OvzVX32dl19+RXW1ZLskl7ftzV3GJ0bUJT0ZiRJNJKhUywqqs7WzTdt2GB0ZYXNzg1ajodQ8Z06dVvF/+XcI+bm3u1dd+lv1Ft19vRSLh/gti6NzZ7hx42MV6Wu0WsydmFNfVkLKtVsdpR/s7utRP1+i/0sLi/T1DXL77rzq/I2NTqjollB3JXqQzx/QJ0Akn09Nqa9d+4SRsXFFoV1efqh0X3LQTSSilAo1FcMrV/MsP1xkYnKICz/xs7i2xutf+wa/8Ku/p+KJf/0z/Zh6jEeFEka7w9PnJvju928r1Uun4/DG13+N2Inz1DcO6ZQv4UWn5TeLW63hVG9g9p7HRLgXNwjqRarmAJb4WeVCHzmCXV5SflUh6BuRiKpkBChjexF84STtZhNThmVmFKO1jRsQGFM/HZ+Hv12jXpb0zlEMzaVTvoEvMoNnmIodYkf6MB0brylRehfD81RlSSeMs/cRTmpMxeu96g52u4w/0CuFApzOAZ1yDku0p1oaausYwQyGP4UTTNPM3cWyYmh+vzqceaLYc3XaxTWCybSKA4qCxtX6MWVguv8OVt+P4dZ2aJNVlg+/r4XbdJDJWmvjHQJjP6Gm3zQPoJLD6D6Np0u9pqbgofIMkiGCLTE4zcBLzGIe3sYJidkliK9RoEVbPaeN1iENUaC6KD2X2E/0YBeO3sLOLeP362hpMbxoaPUsjcojjOggvsg4WmkBJ5igvHuHgROT7D3c49SLv8Vz5+KcGAiTKxrslstMR/28vZjntX9xgcRohtWFAr1eGcfnxxqdprizpOjERiBIrHeExqN57K5RrESC6p2PMbtSRHonKa8u463dIvn8F6gl47C1hRWNUV+9izl0VFH6bek7ZhdJjR6nogeIz5zh8Mpr+HKHRJ97Bic6iLN8G61nkMpGFre0TubC5yldfgs3WyD5c3+P1oc/gEgcEgM0Vt7HNLvpmE3ik+dxlufx8pvYPVPE43W89ADnvvgHDB1JkXtY4bu/91nS/cPkPrhG8ulJSreuoFs9tO0GqWPnaOTlC7ifVj2HKXAmGXqkBhWhV9vewhmeIDQ4ROv6ZbR0N53dHYKjc7g7NylVYPSzz7Gx+ICRr77L3z4XI57xs5br4FoujzZKnJhMc3DQYGSohw9vPEIPG4Q1nbgQ+x/uEk5HGf/sabbWcyRTIdZX5XIju0CXZ88/o6Kqf/an3yAeDnHyiTMq8r2+uqYI+PlSnhPHT3Dt6nXq7QZ9mQFW1zdUVWBoqIdava283FKlkqiqbLBs2WsYGvVKlUqjwez4FA27yf5OjlqjTH//AMVKhenjM6SDMf7b995Uh8exo0fUpfS9N95l7swcsVSMVrWuNr5mJEy1WCCTSVOpVgiFQ9QqNUKRMNmdA3X5SqeSqn+9vPJIwdx6evoplvOcPj2nNKuyrReTi6QQZDB78cLzvP/u+2qjKJq1crFCNBEiHkuoGK4rlSNbWDl1AuGwquhJDF90XLtr24xNTqgIudQu5PkcsATua6gIv2lKwqDI2dPnyB7ss7a6pl67dMVvfHKT2WOTtDsu77z5Ls89/xyZ7hQ3b9xQ3e3e/j7VyS5WilRKZfr6+lh+uEw8GqbWsVUcW1gZmXSGxYeP2FnZpHdsgFjMjz/dxfrVBRpre5hiSzEb6nf1YLnGcDrExU8d5frVJXWAboYM+iw/lap00XUmjgyymd2iWi0xM9rHSHeGew/3aOk+lpa22OlomG0Pn6WRszvorkXEkPRGQNl9yljqn4OttoK11i0P24G4TyduwWDGYCLaRa5dQwv4idgeVVcjkYqQb5Q5LNYoHrQZyyTpH0sq3WS+YmM6Et6VhIBNNBVVta5dGVjHI9TyDQ62K/hjQRJdUczxDFXDYGZ8jJXNTdaWlunp7lUaR3nPv/3O+5w4PseRqVEO84dqAx/PJNleWWdkdIxC4QBXM+m0XXqSMfpHBrl+/ZZKlEh8e3Z6Vql9j80dp1GvsbmzjdbRiCbCapguVdVASMB/tiK1Dw71sLO1z8zxGd57/wO++vM/o6ow21vbTE5NquHG3va2imuPjQyzk93HJwuzRkuBhsUjL+mSpYcr9PfKgCyJFfCzv72rOByypFhf2yYSC/JjP/ZFvv3t76n6jpgx1tbXKR2WGRjuUz3/dCqDzMY2NzdVNUDYGsKjuHnzlhpslcpFLl44z4Z8lqUL3erQtFtKkXl0dpaKONeDBtk9sWAFVB1A4MYnTp1mc+sR3V19mAGfSu8cFnNkkl0q5i/nG7/fx95OlkDQUindaCyk6pDyHaTI5826SvaMjI2phYQ8Y06dOqmGH4fZPQzp4m9vKEbZmafPMCSDldffUgPB8fFJ4skIlXKFjbUtzj3zJNmFRbYe7NKdCqNHQrSqNaLJFBvL6wzP9jP77JN8/b9+i9Gpcc6dOM6tu3eZnpiiVCxQypeotGo88cQTj6HN23vqb/bMM+eUpeHBw0ecODZJKtOt6g/VekOBnLN7h+zsbKlqlHxuT589wfzd+yo16rP8ROMxutM96rP79pvv8anPXGB9dVXxeAKBEPfvisnHYXJmWP2MzfVtxSnJpLpY39ghk5GUqLxfsgqgODE5zjPnnyJ3uEcjXyeWTnH/zjzHP/Mc2R9dobi+jxu1qFfbNDuPU04Bx1ZDhrnhDL/72jYf/cnPc+4r/xiu/UdKVYdI3znsyiMFjcPqwghEaTsGocwYbmMbp97C9KoqKYVcQGPCMAqCVKgzp8HT6Gy9jRHuRTOFjA+uaeBWpQp9gBZKEHQN2gbgz4C/B604ry6tvsQgzZoH9ib+YFLF+31WN258CgoL2HYDMzWqeHBWeBxbkuWHd9C6n8AgjlO8+jhB7ho4jVUwhzG0PTrWkKrf2cv/GW/sVwh2Nug0qpA4glc7VKBiUdF7RDCCTQVwN0V96o/jdjx8WgBXK+FqcTTdQ5fBpdLTWxid5mNofV3OX2la9QK65tCxghjVNnp6QvGcfNF+3FaRTnEFK3VSQf9crwWRQXVZl4FDO9RDUGou9UUIDirQoasF1GszumZo79/Db3XwYuOYuoVdWwXR1dsatj+E6QaVuckrSMWoDtEjclt+rLOlBmUBOMrnz0HLX/33nls/RPOqGNExNIlAiEJLeZkXaddzhLpP4ugutkT4MuPUhTBo+LD1KJoo6gIjGOGEIk1Ltig8fILazgo+Xwijd456doFgalrahXQKu2rzJ+s719BUDJP2ofqiaBceYoX60JJjEO5DLz6gtT2PmRxS4MGmHBSbRfRY+nH3o9FC62RxA1O0S48wYnHMxjbtlgAEj6I5VbFyEZJJ7dAZRfrXa1toEnXVhZYIphyaNQ9fJ0vLS6jNvl1ck+ID9EziK81j2z60xLAYmZVz2jEiyhBgmGmc5iPsyqb6JXuRGdWbpbGF2d7HFSJ1zxiNSgPDFj7CIZgZDL0BAemdxOhI1KQsqiGJbEqPJoo/EFKQwGYrj9kzjZlbxLYraJFZNL2E5nVRuf81wkfOYUSm0ewq7dqu2n64NNDDY3h2GbdRVF1aX6SfuFuTOh1W/xPo3RF+8+/9Gv/mP33A0LiPNN04gYqKI8k25v7DFUKipPBHFO1cKMyjQ3GePDZCs1YlFPExNzvKX37jLf7xr3yR/+F//iaZ7jiGXufIYA9+gvyff36Tv/idV/nyz/4ddu/eJDZ6gdr2W0o7Jn0icc+HUqM0cgv4hawpBMvqjhoOBa0oncomzXoFPTWipozSUfVpMezmJqm5p7n+zf/AK3/rW5w+lmZwMM7S0j69qTD+kJ9K0+HB4gHhoMVoT4Sv/tzznDwxxduXr9Md9pMvNgmHuph/cBefq/Pln/4Sly9fVvHZX/zlf8Sbr/+QozPHKdSryO1WaKQLi3c4deYsya40H1+6hKX7GBgYVFPkerNGrVRXOqhap8Xa0kO1SWi1HRWhVdopiaOFIuqQKFR9V3O5e/eO+puJA1eAJc1Gh3AipqbPclDsHRjC68jUfYUj09PUqgJ0cRifHmP90QaZRIK6XVfdVH8oqCasjWqF2blTWD6NVYH+jI6xubND/jDH1BGJTLUVyG9kaIz93B5dmW5Fn5WEgbzmpYeL1CsHjIxPqTje2ZMzxHoGSHb3YncqbCxucHd5hTfeep8//c59RjM+Th/tJ+yT+KhLf0pjY6tEKJ7kBx8u8atfHOfXvv4HkN+juiVdzZJyyJpaD51ARh1SPCePIbUVrYrT8PBHB+i0y6rT5GgGRqOuHMVyCNeFKpvsVv00eVY5kkIKSP9SHsgdLH+SjlyO5cEfP4qnJ3BqGxgImCWKY0YwtDYdQy7kMaiu4tNjtJ2c6qPKF4pE8t1KFl96gk5xAWnbY43gyYVfN7ECSezGtvpSamsuuu2pLndH76BL9aC2SiMQwQyN4FZ3BPdHJ2jiE8K1bqgEit9+QCvxAqZTwfFp6PktdDkFZaZorL9HLHmUhtNUVQjp+XeaW7j5JYyeKbTAcfR2js7mN9BrHt7U5/Hyj9CTE7hCuNXCCvDULi5BOInh76d5cI1gz1PY8rtwDXSfR1uSTEYAr7aEmZ5TIFjXaYMWguICfiNDMwBCC9PtHdB71TDE2XoPKzCIkelm4+Yf0xs9QurVr/Lyya+Qr2R5cXqQUs2m4XkkZPu5keerL0zys//wBRof71KJeLiFMsFkBLeUg6FJ2msCkrRoNStK7eh4Fom+YepFeZ5rRCdGqbz3Juap5wl193Fw6ftEe0Yw0700V+dpy1b3zGdoNg4xvQ7tzT3M7iTa9h7aS1+iIZf3Owv43QLt/hFCI0cwNtdpJ/twLAOf8CYO9qmUC8RPnKe6t4Gxco3IqU9RKeVwa2ViY9OU5m9iV7Kkjh4nEO9m4Gd+n4v9/WTrOd751z9BK9PF3ut/SWD4BIEe6eX6CGgmzfwmvr5x2gufUCuXCU3Nqim+KJScUgNtZBw2HuIWa1j9A7T397FCEOvOcP/eFgHPYfrVl/npX/iX3N9x+NLFY2xs7/Kg4Ci//WhfFyFd58rCLqPD3exu7tIzIvAml9pKnqancfIrz3DYahM25JCcV/yQnY0tWtJLPTXHu+9dUsT7l1/+HB9e+oj8QUFFUCUmPH/3HidPzRG0fLTtNmMTR1i4t6ggp7VqnZ3tbQYG+9XgtFarcPaMDC1vISLsoZFh9vf2FfVe6OOGpat01sz0JLVWnfHZWW6+8yF6sUF8sA/HZ1CrFBmdGVdOcblkCZdBItVykxRDytbWJsdPHWVleVMBBwWqurS4ooaa0sWVKK2YAsrVmhqwNtt18odFapW62r6JBlAO21bQJBKMsSx6OTwFZN0Rjd6q6Fa7VcxfNnpymZfLzvbWOr29/exuZlXyZmBwkNWNdWTNNzM5ze7+LiP9g9y7v8xhIau2rFJXyPR0ceH55/md3/194tEEn37xeW7Pz1Mp1ZU6UM5NjU6bWDhIOBxGNwwFCkx1xZQuVupm+VxBWQl8PoNyscGZZ8+yfPchh/ms+h1LB1wAqaJuPBQlneapCpBUv9ydQ1r7ZcKWPI0c4t0xBcLNt9r4IwHKpRqV7QJHjkn1II/TtOnt7VIDjVqtQ6fToIKQfOYAACAASURBVK+nRw0/dFeeGxbhSIBiu06naRMN+anWBcLlcWSwG7vhUa8Lwb6jgI/ttkMuX1W1NB82+4dFpZIMBSxqpQalRo3BgT5CgQC5QoVE2M/qZo6evi72N/cZGBsi4jNYXlhGk+VKrUU4FlHnm5rbpBMxGTo7zeDoEDc+vk5fV0YNXu1ylcFhYQ3o6u9aKuXxC+ul6dJ0a3QlehRVXy7Q5546xY1bd+nv62Nrc0vV77q7U+riOzY2rnr6ktJbfbRGLJZQQw4ZHoipZ3R4lGuf3MQzBGzrU9WlwSF5HzxQF9pARKLecQV5u/bxdY6MjrC6sq6i7y+88AzXrt0iHI7Q05tWn7e1lUd09/ao+k1XV5pHq49Ugu/osZNcu36FEydOs7j8gFQ8o2omYg5aWFji+KnjNGpVrl65wYljsywurShjhQDgYrEkU1PjvP3mO+qcJJo72YQXCnkc18ZvBFUCMBjyq6qNq0MkGlE1X5/fZHllTQ0kRkcH1dJBXpvoBtdWN5gYH1OLjbTYAhybYr5INnuoIINyrpC0RKGYV5VagSDLBbFcKinY4qcvXuTqtWtkswUmZ8YVVV+A2alMFwXRRPpMFd2XZYuYtuKJBI1aQz1H0skubtycx9M85k6e5OP3P+EzX75APltk9co89n6J4YlRBQSMxKL4NI1QNML6Xo6+qcc1LEfTCAYttjbWlZ5wYmKCeDxJX3+GN994m8mZaSrlEptb+zxx9gSBsMW9+QdMTExSq7W4cfM6z198nlgiytWPPn5sSJgY5TAnquY4/kCAt996j7/5N39emaX+5I//jKGhXtLpLq5fu8dzF595TKSXJHerrdTUPT3dqv9/cHjIZ1/+PJcvf0D+sMzY2Ih6tk8fnyYaiRCNRPngww944eIF/uJr3yDT18vU0XHWljbwx8NMnZrl/vfepLyYZ3RsgO12nrBtUbZblMptXnpqnA8/XmB5F4rZf4eRr1HJZgmHu8DqodnMqsSj1zrAblYw4mN4xS28+BRabQ8vEsUfHKax9RZ68TZa749j+DrUG4f4+8+jle7gdiR5ncUfERe9nE90WuK0L29hBCzsttifWriFOwQyT6pNeb1ZJuTTcMPDaPnbeEYcVwDQ5Yd0mk1ligq2FrH1LrTkLL7Gokq56pkplRI0Qj04G69BfAhdS+MFkxiVdTp2U/279MQx9NYmnkTqvTBeOKFqMe7ubXzJPlwviVaex42OKqU0csHXOiqVbnltmq0qwUQ/rh7CbtfRWzmo7isCvy8zh9aqo/t60EMGdqWCbeeVLt2MJRW13+tUsRtllVL1p8YfAxR33kMffBZdi+MIqbd8qMwEugzSoz14HTE+VR8vuMUKV14hFOtRMGjX01QVQfhN1YMlQpLm02z8ekxkmmoY0TL8WMER9MqqoOvROg5a8cq/8rTmHkZolLZc+g8X0BIS0Zcl/x18bhRHLqTSVLY15XFvHtzCjB3HjHbTbOypyawurkGtjRk9iu218HUOaOo+gng017+Df+Cv0fRZ+Bzp3McVlIH6PrqZErGOOji7ehQrlqCdv6kqARJp9w4foqenlcJPq9zDERWVkURrbKp/jwAGUd5OH0YwqHQpYgnwRB1kS8d3ELeTw6YHf2uLZvkhwYEv4Gz9CFcUfxKT6H9GQQU9z1FvTrm4a5aGXVhA949iN8UFLmCNVdX9s03/Yzp3IIZBGKP7FG5rTw0zWjSxmofoyVnahTWMwgM6wQGVNrCsDE23il59hKbJfiSERkvxDzxzGFf+fZE0XnkDw3Nxe57Ak+REfRvHFAjenHpNWDHsTk4Rgf2ZKbx6mU5pFdMXwYz1qy8Qie44+SxGPIhtW+ilB1jJcRw7SGwkTKdvkl/+/M/R3yeRpzyttk08nua1d25zfDTJwGCEpcU9jo714Avq/Pirn2Z4aIC//OZrVGp1Ts1J/KnCyy89yVd+6d+T++/woVfPH+HKjTWGhlNcml/j0ydG+M9vfIP61T+hUe4iMjCILdvY/CaadLLdMIbWQBPlq6FjCKncdagfbBEfmqDdSWG0N3BredqiENFNOoV9IslJwk/8FP/kCy/xx2+u8WPnh0gkA9xYLah4e0/Swqe7Cjx4b2VXEV+/9OkpUtEwX/3qT3Lj1m2GRgdZfvCApvTApZdktzjMVfjsF3+M/b0NJo6eUD0wz6lz+uxT3J2/zrUrn3D2iScVdEb0breuXyEQiSnqrERzitUCQTPAzOwMrtPh/sMFLM+gd7CXg1yJ+wu3mT12grAVou11aFZq6KZGwAyREBptTfyuG7TaTaXx6+rqZuXhipoCp/t6eeuN73Px4qdpdWzefeu/8dQTT7O/v4vdadE/NKyi0p3/rkM8zJboHRnGaVXJ5grqINGfSfNoXTrhBseOPaV0grc+vqoc1KfPniGfy2EGdKUlHJo5QvmwSCF3QDyR4trVG/y/f/Jd1QW7Mb9H0O8Sx6Os+RB88rEjada3pH7QTbW4g252c+nqOr/6lTH+lz//C9xsmfztH6jurnTl5fctjnqnc4huJ+m0FmkWlggmnsCUzn90knb1kfoM6FYCWzamsUHMjkmtfAczv4M9+hIBSYcV93HluWKl1LRXcy2c+ARWbRPP0BV8zyeE2VpORdy1cERp83QxmshnVguo6alb3ESPyva7rR7qltfEC47jNHfoGFF8As2zdHx2nbYVV/BPx5SEcQCjtoEv3EdbJtvhbtAiOAt/CaEurMHnFcOjU6vgtxK07X01PPIaBo67h/f/8fTeQXKn933m8wudc/d09+QcMIMBMMAuFtgFNicGSaQpyZYpWuZR9vmKd1eWz3ZJd5Z9J9llyz6Xr2z5LJck+yxbgbISaXK5DBtIYLFYLDJmMJicc+fc/YtX74u6+4tV5HKB6elfeL/fz+d5vH684W7stoEnOo5VW8NxmrjRXrSTO7jKIEREUmLvqfrUDuFNDtPp7KB5Uwh6pJjmuoIZohm46edwix8hfkNSk9goyPiyLVSswQSm5kXv5FEdD2pE3Cv82PUdGf9WRHWpdBPVP4tVvAVh4fkNYtcFq8TB3zWBWcljFXYIDJ55OkUuntAO54nNfoU//7Wv8Y9+Z5U3zqbR3Cor1QrnMz0s7+RY2HR4fONvUrixLHuswd4hlE6BejOBXVwn0jNII5eXGqRofy+VhkiMRfB3GrT1EMFomObSA3z9o9h7T7CLOTh3EX9qlNbKOq74fY9M4jcdlHYVZXAC6+4nGKVdtN5TeIb6sHPbeJN91B4soKWz0D+KevtD9CHButFx6hvopouePQNRjdbaoozUGd4gluInceZ5AqV9Tu7eo//tt2kd7zH8t77HXMxlo93m1r/+K7SaFk7xiMjZl6l9+AGetILv/BVa968T6J7Gqgg9UAiyg3gaZUrXfoB/apZAKoUeiciXm9reJpFkN3YoSODgAMOrk3z+Ate+e5vXf/n7/IPP93B3vcFJ1SQQ0+noFl41xcbOHhO9MQmoqtZsiidFIt0Jagc1IsNJBl6ZI3eQZ/7WPS5feZbsQB8P7j5koK+fnc09IvGw1GgJQJ04qKezQgmWY21tkzNnT0ut1vLSmtSjabpK8UTUheKYpku5JNzMOh6/F5/HRzqdpVIry4HC5sYGkxOTMlFQrzY5PN4n2zOAadRJ9fUjXjseXLtN1h8glEoQyyS482CeX/jaz/PeD38st2mZ3m5GBobZ290nmcqyvrnG5KkRymXRye2SMelEPMFAzwALT56geUT9KYjRNmUFR1UhFo5KPaEYajx+/FiCRsWhTphdFFWREexENMy9h4/p6+7FMNuMjI7w6ae3pfprYmKMZr3NwGCv1K4uLCzKilVPfzdGq0OtVsYjXsJ0hd6+XnA1uVV94dKzPFlbk3aEc2fOyetxa28Hj+rKLnIhJzapAUbGR6QCzevRiMWinByfYDs24WiYaCDGwdEBFy8+y/ralkwuiM1pu16nUq9KfVnf4BCFyolkA/RkMjLqbHs8UpMbjgapHeSpH1WpbVSJBkQNwke73iEzEKWh6lSaBhMj3RgVg9XdfTL93ZT2T3jttQssLGywuHbCzHiPGGdSrjdotRyqzQbjY93YpkLuqEYw7CcaCdE2G7QMm4DqI1csE4n7iAa9TI4PMr+4RcAfIpYI0Whb+DVHhFBY39ql2VboOCZ9faIaaBLDT8DvpXhU4ijfZGiij9XDYwn36x/pYf1oj2h3gp/46c/x0Y8+JZNMoLhCC7eG2zYlHOviM+fYFBHx3AnjQ6OSRyEOzCcnh9KpLjSuIh0gFkf37t9nYmwSr1fn4aN5nr/6IqsLi1ITKaopQikstG6HR0fMnJnB6rTl905sw4UeM5OJywOqOPCKoXQslkbVkO8ui0srUlUmftgJQdZXFZn+WF9blbaeiakpvve9dzk3e1ZGwxPJLsJRoZx7QjbVTb3dlOYHq22xf3hIt+jj64JBVKYoBqoBHzMzp9jbPZTb5O5sBsMWVHuLWDTB8fEBdz99xNe+/hUK4rsl4cYWuZNDpk+dolSs8ODhPJcuP8fm1iZHxye8+eYbvPPOO0xMjJMUNTBLZX13h3gkKi0eYlglrrW1xVWyPV0y/p/p7iMY0CV34PH8olygiO9ypldUoVIc7R8QCkckU6RaLHF4UuLszJTkDImazfTECPcezmO7Gl2pOM1aBUVTiYbFZxsiV6jKw5q4fnaPDnn1xZe5++ltObRotS0uvDTHowdLGPOCGeYQiEfk8kC841rC0KF78fclJbNEyHdu3LjLuTPTtNsmpm1Tr9bJFfJyOBUOh0lnuvnkxi0mp8dwHJfB/n5W1jae2oiEJcyj4dVVKtW6pL8LEGl3b5prH36Eazmku8Wiw8fa5iqJaFxWQETCJ9vTLTXRA/0DkkK/uLRMNBLm/NycrD+I+4/PJ1ToYmiiSJXg2tq6ZJsIDsVJrsjFZ+d48GAen6aQFgPzWoXNjadpgnRvRg7w+sf7Wfv2J2RMBe9gQqakPEJ5WrfIHZWZmU7xJx8d8cuvDPAb3/9N9t99V7KZ+kbP0zY7+MJTOK0DbNGbF2D1xhZaOIKiJaC9h2X5UYUBKZCQ/fvGw/+Cp/9lPHYRy5dBoCJMYWvTgrg1wXKKgN58Wme2fTLq7gl10TFD8h1LHNTFotDQUugCAbV7Cy3Uhal1SQWwVlhFcSy8fZ/BOLmOYypouoMpOGKBuITvOYIv19yjrSbwKyUUfFj+MezNbxEcuIThG0Upv4fqn8Rs7KNHx7DKS+DJ4k30YLVMHN3Baezi86ZkHVrTw+C26TQLT3/WponaWoP4WfmuZxsGSjuP6YphcQTX8GFSQtcaKKao8R6jKiF8PdM47SJOfhkldQElGEYxC1AXB6E2lgDjx/oljwHXj2U1cQwdRW9LLqujunJ5ZQo9o61g645MYSmBIKow1zVOaFW3JNOp5YYJCk5W+0QuHW3HQDMM1FhWpi2U0s3fcEUPQ3zYwn2tWiUJAxSTTE/oHK7fwT5ZQY0N4/oC0BTgvKqM+GtKB8cysMJdeEUvvXqMHcjK3pvwLJpN4U4X0fUymq3j2gq66j6NQHp6cdODouSL3m5hZ06jNEXE1pUqmlZtm0jfa7TEUzm/iJaYRiOP2Sjh8ffT9oZQROy1fUyzvoU/egrHbaPoWQjGccubKJ6M7AR7jDJG+Q76yFdRSvex1Ta+6Byq0qRePHhqCaCFV8RfO21snxddRO2bRwRS57Cqa5hCuZU6g6/4mJY4QPRcQDdbuGJQogRRyxsYehhVxDmMBp7IKE6ngnXyCZ6BF+Tmz6kd4uiu3OCLraJt5CXwTWwaNV8I21JlSsA6fkQgOYBlx+TfURVfzuqWVA7atQq6P4QvmsJue3AjGsbJY7yxczKW7JaLuMo+ntjUU26C6CyXH2O1jtGHfhq1sI/j3CFx+nN8/vxX8ST8KJqFPx7GYys8Xj3mH/zdn6Svy8fWaoGRMRFjKlOuNWl1HKkm+qs/97O0am2+/b0f8MzZcWotja//k2/ys29MUC6L6VyTdKKL9z5ZZWv7+9i5ZQ5v/jGJoZeoGk1SvdN02iXcRgVPMEqrVkcNpcHOo6sC2tZCiaTkBN5rHuGYFq46jD/owfGKjYMIXMygth6g9f0yl04pfP1rX+IvvnGNo2KbbNJPtCeF0haeYYNc2cCyXO4/yREP+0jHHa6+MMUX33iJjtlkbzfH/OMlPKrGK6+/ge3U2Nk/YXx0luPDPUZOTUuF1K2Pfkw41kUo4KNQqTDQm+X+/CLPP/ecfJkUiqjH8wtiWY03IA6uDarVEtlsP+sba5JW/eyzF+WkfG/vQEY3xfBKbLsEPXr+0RM5XHn+4nPMnT8nadQiWpdKp1ldXyWbSEt6uCANz54/S9QrUiwaK08WOX12WhobhGP6YPeAN958U9KEN9Y3Jck3mhDgH5vDgwPSqQQ9/T2yw9ed7UHxu3iTQ+TXN/no+jUyiS7+6A/+hIcreQq1FptHFl1xhXYLsokQVy72EvHA/aUdhnqz9Cb9fPOjRV59eRrjuMB3Psjxt75yhl/9L7+N0nAx1u9RLwq9l40eGsCJpLH3PgWvD9uqYWsRgvE53Egce+8DHH8aj9CDOkJOWUEX9GmZAhBQ6Bi66EpZwtAg3OuDOJ40zfXvoidPyW2fqPRo/V/EXv7PMkmkD76JfXQX3BKOtxePL4arNHHLR4g1q9su46Zn8WpBOvl7KLoPnDC2s4c3OCkHK7pI/GgezOYxll0VdwMc76BkjhiNI8lCcTVx0z+A2CVUtYax/C6+1BB216AYr8vtlyX69KqBJzGOtfT76NFhlPBZnKCKW3wiLSpq1yu4zSNwavJBroZGccoPaTYMfNE0rqjJNAQEx4MT6UFttYESmjeNbbpSKanHB6T3vlPdQvONoIoumy14JUHalW3p8vV1ncM1jrDFL1YL4lE0TKG9ETE1x8FxWmhKDcNW0cygnDA7nR08sdMSnmoqBnHTz27hEQPP/Axm8T7D079MpC/Ai4MCUqiwcdJgvD/CH79/zLf/7kWufPYM9/74W0y+/gVUs031ZI9IX5rCoXjQxggNDMt7iyLSP0oD3VbxTD+Dc7BD82QLNdknIkKEqyXyDz/FOzZJ5IW36WyvU793jUBqQH6nBHhP8wYJZEYwlq6h9p7BjPslcb2z/AS1XSb2ypepbM3DxkMCb34J+3gPd2OdjltAqbdRzr2Frjo09vaJBaF1so/v9Gly124y9MWfYPXDu7z1q9f5yy/08Ud3j7nxj15l7M1ZKo+30XvHsQ7zNA+e4LbrRJ59nubCA9REN754CLNuYAsDjfAc9w9g7e6D14MejVHcWic9fRWlO0zhvZsMTiTQZqbou/J/ExsJMuioaOkgTqNOyxFEb0HMtvEGA3Rq4p7qJ5PtIn+Yp9O0JdS195Vz+JMBjpZ2uHBpDnHq/uT6LbozGUxbZXdnh7c/8xoHR4dsr2/TPzDK4yf3GB0ZkxHVd955F8d0pP5rfW2bJ0ur9HanUBWNWDLB6MSo1Gfd/PgWF5+7yJ3bdxkY6mdyYojFhWXahimTAtJ84vdRK1coFo4IJLN0xSNsfnKfuD9ArWNi+r1kh/tp1OoyUi3+zA/e+0C+CE+fnmR7dxej2eHcM2ekNlBszrqz3TKFcO/uIq+8eoViOSeVgAdHR5JX0NOXJuQPSY2ZSAcITeL23rGEwnb3Zclm0rL/L0ws4VCErmwX66ursqYgtnKCRH7/3n16enoxzQ7PXb7MjWs3iMYi9A/2U61WZLf33Nys/M9ILIJf87O1tcPQ6CDhSJQDcahOdVEo5WWlLpvtklopccgQrIGlxSVpPvD7vZw9f1YmB8TmtVyty+fXuelTzD+eJ1+sSSf8k/nHzJye5s23X+Wbf/ZN2aMWm8i9w10ioYCMWDdrhhzgH2zvcWbuHBs7W/QO9rF+f4H6vkGnkOfMyIAcXquuRq3UJD2QpNSo4/d5ZHRc6G27untoime3cNPXTXSfyv7OsTxYxmIedg9OODUxSCQQ4MH8OslYWPI0RBJNHKpsS6FafQqOaxo2voCHnnSCA5FMaLUYmxjCcBwZYfb7dEJePw/urxKM6DQMBzvg4dzzc9i6K6GHV964SKnYwKiJdJaH4609Vta3+Oybr/NARtlD9A32kisVKefKEp7bN9Qn753iGSFgdSLKn07G5BBmb2uXQqkkBzS2AoVC7insz7LodDqoHk1u/cWUSGy+BwS80eiwsbYmIW3iftlpteUwTNTThkYG5cG63TQ5ODji8tVL7O3sMjw0Krfg333n25L6LtSONTkUO8SrexgbG2ZjY5twUNQ8YXdniy/8pS9Qb1YxLJf1J6uUq2V6+/okhT+XzzE+MS5rLkKNGQ+FKNeqpLt7ONjf4S996Ut8+P77FPIFnr96hYdiIPXCCyi6y+1P7korgOu4jA0LWGZb9tR1n6C5izRlkKXlJbq64iRjcfYPDgn4Auzt7zM2PiYHZo16g7bRZnp6SoKHB/qHMNoNYqmkBBeKhcLa+rpMRKRTXXKo4PUqEi4oKxKWw8nJMdGIsFNEuPfgAW+88TpLTxY42i+Q6e1icGRQQoxPTopyMJk7PqZvcEB+RuKaf+vNN9jZ3ZTDjVc/8wora8vkF3boCcZIZKLsHufkpnd6+hQbD1c4bjeZfuNZlhdXuHz1Mjeuf4IHVQ52hP5TWAbEwVto1sThXAyFRA2yu1ukG2xZ2xDDzt6+bo72RbonLWHUYrPb1ZXgYG9f9vhTyfTT9A2OPNgLq8HS6jJjwyNyoLi2vsnsuRk+vX2H/kw/Xd1JDg/2EE7LXLnImelxRCDv5iefcu6c0AMjK5tiKeTxaXKQJZJM4vsszm4COBjPdJFNJugezLK9vs/C48e8+sXXae3mmf/zm2hRoRNNUK9XaVTbJGJenpkb5PHtI27v1The+j18/gD1nXlsfxa3UsH1a3jNfbTQOIpjyKWvJjR4akwuZ/z+DmbLxRsfxhAacvx4jAPq+9fx9l1BiU+i1G2s9j0JR/aIKL/bRMjHnUYexafiiAi7HUHXCijNfakXtTsHBAd+SgA36FQeSdOA0/UMan0FpdVAyTxHJ3dXVteswJgcJAh1iVQb1w/x+KLYojqQfwiKgTr6NnpNQEgbuG0R9Qc9OUb7eFGmNLTIEJ3qnvwZVQEw1TSM/D6+QATXdXF0PwHfiITBt81jNC2E3tjDSgziUbrBF8CqzKPoUVkzcu02amQIyyzLNIBAI9jFefm+pfU9C+0CiqiequAaDt6gLq9xUbUndQlPZEQuw/VIViZkHTEg84ZpN4/QFR96ICZTov5oN0ppHwK9WPn7tEtb+BNTEBtB8UdQ66vUqjuEAkkUr0jymmhOWVZ9ldKtf+464sAqtnGipx0QLydVFLeAGz4tyYZKcRU3PSNfNBTHh20WQXT3/T2oVhNoYtdzKEGx/dKgVUHzRrAEsM8o42ojWEoJ1WgIKID8YBCx9eYx/vQpSb5XhcjV46CUdlC6n5MvwGqrgNL3stRniehV25PF3r2B7lXwdr+IJeiSuheP8HB7RTxNxCr2sV0TfyiLYzQlaEsJxJ5uADVBP9fwdLbw9rxC3SgQDAxhHv9AKiiInsFT2aCtGnibNYxQWJIcPb4BVOGATIxIU4HXa+CERqFewOnkcdqH+MwWTnIGWzVR3Az4O1Cvyg6o6xOHGRuO13G9XtDD6L4ErtLGaeZwCAjVtjysOPUarnWCKsS04RSuP4WS20L1t+Xhxc3toGWH5AHa3L6Jr+8FVDGRC42iB20sUZGriHhiGC2s49H6MSt7oLTw+tIY5XsQPUXs/GW+8sbnubvpZ6JPVCE8vP7yWf7d799gOOXhl/7ma2zstghFdHInBbriGUmir7crktb60cf36Ovpo7s3JKm/f/sf/jn/89+4St0w+cH37jE0luHPP9zj3d/7BV78yS9Qvb+AKpRNwkMZ7sXWo+he6IjocyiK4k8+HSgVTrCam6jZ57DdIpwUCPSfo1XcxKWOHuzGrxiUivv0TM6wX2wzMfd3BA6D3/iHf5mbN++wtrlPT3eK06f6WVs7IVfMMzDYTygi4qE5VlZLBHziUOvj6uVh5mamub+4yFf/+lcZOXuRernI7sYmPf0D/PZv/itSqSxvvfWTfHzjGsWTE156/WXajRr7R3v0DY3TaRp8+OP3ef31N9jf3yF/cszzV15kbXVNRtSaRvvp9DoR4Wh3W3Ytr77yCo8e3sewOjLGVynXZLxTUHZT6S7u3nlIpVKgXK7xzOXnZQz5ycICw33DRCIRol0JniwuEE2kGBsYwHY9LK88xqc7hPxhjnInDE9Oc3pyilqryr07d5meHMXj8xGM+2i1FZ48WuMPvvEHPFkRcJwUd+4LIAzEgyqxuMZgT5ipc1N85/tLzM0mcAyL2/MHzJ3q4cLsBH/w7ZuM9UbxeTSemZ5hc2udP39/h6//3Cl+9fd+Czu/TP3JErFAjZaaoWlCOJCgLabxhdsER74gExNm5UAOqnTVh5MXqhhTbs8IelCalkwNOO0croioa1FcEfX3ZyQX42T+O8TP/KxUYrrF29iRUyjHH6JlZnENRWpoNKeJFR3Hq0bBWsXy9WAKhoBIYdS3JHdCSw5AO4bmqeMEhYfVwS7fR9VSKL4gSjBCY+2H6Mkp9Pgp7MournJCIDyMURN1m0O01Bh6p027uICSOYvHE0aprmLFxYHZxqwe4BFWE8eWm3xPshfH0nCcPBop3OYajlAABgdxK8uoImZntbHzT1B8IUxdxxeMYxbFob5XMk0UqyZ49jIV4hk4h3vwIZoSwVBAazRkSsEbHcIUyhzLjxMWoLwCuuXg+EVKSkdR2liug11/gC99FatVlt1lwR7RlBimVsZqHqI08jJlRPwMjdwDAmoDN+jDVwW73cD/6s/xT//aX+df/sk6X73a6chNqAAAIABJREFURSad5uFBCeotImmbtfkO1699HVt4jpsKrcMGTv0Qr+tHG50iENBpVEromUHaizfktkHr6qXycJ7wQDea3ZF9PH3mEq0f/yHeTC+Eu2lvLBMYGcMbD8vUV0O8TKzeRRUd+ys/T/39f4fRgWCmHy2QQE1nsNZuYRU6GGPTeIs5fLNz2I8XUEIBbLMu0xX+M7Ns/Ml/JKUrBHqHZcczfukSrXvzpM9Pce/jRT77Lz7hf7rUxX+92+I3fyrBa//9FVb++BbJVADfy2/T3l7C3nyC8vKX4ORA6hdr8/dJTZ/BCIjtWVB2bN3SttweuTUb39wzeFWTjoj1+cLEMjmu/+5d/sbvb3B1Jsvm3iHdA3GiHi+3d8pSCxb3eAinfVRqHVpNAeA1iUZ87GxWmbwyQe/5aarFGvOf3mfy9LikFAthtSNeVFCJxyKsr67hKC71akNumEU/XBxOxXZSDCPFAU0krO7cXeDnv/JFCTRbuP8Y8fASmzVRxxkeHZPUcnF4npqalEC8mZkZHi8uSuaK5g1IkKeglIcDXlb395jsHeDGN9+XoCuR2NnNV3jtCy/z3/7iXfoG++X1KVJU4lp5cP8O/kCI07Mz3L1796kjvVyRDBCRdBKHb1ENqJaq8nAiyNjtWodMtwDf7cshuQDCCeJ2vVal1WzSlc5IM4rgp8RjgrotVK73icQjhHxBqQQUEMNKsUqiK83KkyUJ8/MEghRPcnKoOjo1SrlQ5/TMBCfFAslEjOXFZRllHh4VqsOmjI6LYYFYBhQLJSbGR+QwRWyKxSFCvN8ZUierMtDfx4NHj5idmaRQLEvH+tmzc7IffPWVFyVg8fTpWVqtBtV6lcuXnqOUr3B4dCLZMYIhU2vWsJsmzUaT7tEhVpZW+epf/1l+9PENqqU6r731Kp/+6IaEOh4u7LI5v8/c7ICsAEglYzxGsEccaA5lxHRqdgS71eThwiazk+MUSzm6erPUGlVsUyjVNFzdJndcZkR46ZUWpYIpfyaRSvHqfnk4dDo2wWhEpuTaojbgivdKi1g8LCn1AnwY7+6WMXUl6iPRnaVhW2T7Eyw8WiOeStOfzfDR9z6kYht88Us/KXkK4qA9Nzct31eEqzubSuKqNo1qi54eMUTflLUTcdB99OARz156ht3tQ8lvmJ6cwrQsOTQXhyvbcohEY9JN/7Vf/KpUu7377vd5/a03WXhwX1bnxCb2+CgnhwKWIxRzLmHxUt6uyQOviJ2MDA9xcpzj0fyihFSeHB+TySbJZtN0LJudTUG97yEUCEl6flcmyc72tiidScZEq9YknUnLVMfakxWp3RODrJkzp/nu97/HYN8A7VaTs2fOki8VqJSrPFleIpvJSpBevljm8qULcvu+tb7NyvIipXKDvsFuUsku2TUX4LFPb9+V7AHBiRBb/Z3dLXn9nz03J+8Rtz+9RSqdYmR4mOPjvLQGbW1uEIqFCQYiUnm3sbEj4Xj53LGs05iWwtnzU9KuIQ6r5WoVRzKOzP+f0N/f2yc1cD/60XXOnpmh3REGDpdMuktCNMV9R3AOrr56Vf65O1tbTE1NsLyyJodcAup5tHckDQqrqxv0nR7CKDfY/eE9Mn1dNDomqXQSQ7HJr+/j9foITXYzcGGG/M6BhDZPTM6wvrwsP29x78rnj4hEogT8fu7feShrJTMzUxJcKgCEorsvIMlyGNRqPR2M+EOy5jM40MNJvkilWmV8ZITbt+7KapQn6KXTaEpgs9jc33/wUOodX3vpCrvHB0IjJlMfIlUifk/VWoXPvPkmt27elmk4AS0NhLxEIgmK+YIcQC0tr8nqgEg6+URd12jS3ZOW2tBEQrxD3uPZ6SlCg92sLC5RXNikT4BJg14K+TrhgGhieEn7A3TCGu/9cJW/9lMZ/q8/u4765BOMRgvsYzqOhes2JOdIPB88tRPc7Gl0My/1d4IhZ7Rq6I0nmPnHuGNfw9/exGiJIWKIdvUINRzBG5qm3VnH78ZoqU8H1+LBLJhsnvAg7ZPr2EaHyOjPYnQauKaoBIfxiIq4sAXIJMIJiujii8VgICuf8RhFPKmL2LUtnHYLT9cEHWFTE2lrcSjPLeOEh/BUnmBnnsExy1DdhsQUZr1EKJbGLh9g+mJoovIg+HXhIRSzIt+32raGarVolRYIxMbkgsr1ZNB23sGO9qMlprCPF1C8Bm5wHE1UwgV/KZKF0gp2YlyqpcU9TizMFW8CIgNoAgrvNMHbjauZEujpiu9/SUD8fkIap2yrg4cGLauEpiXQNFUOv3WRDPGmUO0TCeG323mU2BQ6bTqVQ7yeCJ6QH6vTlLpBNXIBp7WB2j5Gi40+ZdU4dZTSnd905ctAcYVOLCu7516nKX2CImNuVjcJRocleMFyDXzxKczqProtqKMuFgZueBxfU4DwIk+TAoJoX9iQ6gGRWRCbPNwKiicmfzE+V1C2B1CbRdTkOHbhttQDKqkJrHoTnyeM7fViHXwLJfEKunKIa/uw3bD0z7tmGb1wDwLjuP44iIO0iPZ4dVTXgkAfmuGhYxeeEhnFNqi+gZF7hLf3dTlRcSobUrElHmya3UbRbBqOn6Djys28IpyKwtko1o5iAyhYAUHBPFiW7suOnkBLDKAI5YKpYvtFv7eFq2XwVA5wxJDABjXYgyt+uHYeTbjBu05hishx40DWJlC8cuKk+5JY9VUJDbSbTezqNmr/RXRHo5W/hZqYRBEHGPHFFT2QQOipziE2gJl/hCd5DqstCPphNN2HIrb/bkX2b4KxAZqFNfSqeFnL0AhmGLj4Mj/+3X/GW1//Jl9+e4Jas8XxUYXDSo2rc9P8+i/9HL//Z99ksK+f+cWHvPX6G4QDQd59730sx2ZibJyh4UEJqMgVSvyHP3yPRDJJNOQhLOI8Vp7vfbTL1/7SBX7ln/1v5BdvE+iaRC8t0+gIRUUKo72Hx3LwDVyQN0fN1XAaWxIWqEUnsMpHWM0t9GAWPTpFu3ATo+khkOgh7E9jRcOEpp6nsfwtxi7+Co0apBIB3rg8hlercnRsE4sEwTE4KFd5dqqHTkejIQjLaS+PF/OyixjSvVQqJlcvjxGOqxLO5/F5ufrGi/i9Qdk1K+/mpZtaKGA0jw+747C1s8765p6MPA6Pj7P4cJFgLCi3C2anI/uDdqsjdVfRVALbVuX02Ks7zEzP8WRlRbqK65UWA6NZzs2c5gcfvE+r3eLZ556jUMjTk+2WfTrbaWPbChcvPMNJ4YDFhUX6s/3UnRapSEpuBa6+8RYib7V0+2NSXeJnNSic7JDMDrK2tszdTx9z7/Emnz4SWzNVpnJWKxYDUY3RtJ9YNkA2m2B5fo1UKikjgpNzozy6u0G50uELr8/Jl8PNvPhdObQUU26NbI9BqtbizmKD3/ntn+fiz/0SzaVbtJauE+obxVIz6BQwNcGJUDE7NfT4KI4hdJgGur2OGCNqItov/LC901iCtB1M0mkKF3RJpnMgDB4Fu3kswWlasAcjd4zXH8dVSyjBBG70MpQ+kTBFTziLqkRol9bxU8D1CWinH6eZxxHXV3wIQmNymGA1N3DbRWzFhyfSh9PYwCntoIpKjeBT2w2ZYKKrV1YRdMWgU9mUgytFRMDae7j5eZzouOzH2oaIcfVhVdpYxgqexCxmblES/DVvF57EGO3KIW44StC2aDf2cTVRKdJQRSS5eYDhiciXSo4foHRfldFFAUG0OuvYAmKKDycYxG7k5XUkem6KOPxXV+RhUiSk3GgGmga614MtOCHBtEwnWdUVbMeL6vOiNI6lJUB0/b2dfRqG6N+FsAT3ZP8hbjQoNTwetSOZBlpiVMb/VUv00eIookfsD+KbPkVn4wFTz/3vvDodlHHgsOol7LfYrME7n57wf/zVcf7Hf/BVmv/te/gvvUzH0WQiIayHaFVLdHbXCc6exyid4FYbBEYnqd+7iT4u9KtVGTutlUR3rkHk3PNysJv/iz8jMNBH6MLLmCebqIaFk9vHVDoyumsX6qjnXsbZ20KziiQufY5ifgd7dRvFqaFbJm66G7MqWDgRPHoTemfkoHn//e8y9PmfQQ11y/qRqFWJgVCo2+RwvcWb/+u3+fKZEP/2Zp1//+Vhfvrvf4X8eo7Gww/weLvxDaXRBs9Tu/N9gkDw+Z+g+uGf4584jy4/vwi1zXkCgtA/eQbLo+BVbJrXPsJIxOj7hZ/hwe/8IS/9+iNmJoL0irc2bMqNFm4nSHw4zPpijmQiKNNlpZMqiVRSqjAFkC8x3MvLX/4MH31yB1/LQeSRhZb0/R9/zJtvv4RrujxefiK3jN/7zrsyhiyo4JFYTN4Ddre3iYTjNJp1uUkX26tStUJ/fw83rt+Q4C1hAMrlirSbdZKZNNWyiP7r5PMFMl0ZOUw4ONiXfVWxVWyI/93rRfdqhLJx6rd3OD48INvXRTyZYCWX48zzc1RzNXnAFURzobuKR0L0ZHt4/HhJbtUEFTscDmDaFmbHYn1tk9nTp/GFvHLTJAZK4kXcdMVnqtEyOvLvU6lVZTLr/Nw51lc35b9LdG2nJqe59fEnXLg8R6thyvSV6FNnshl5MBLqQ3HYECo4AR1stMRLsYpf1+SGv9k02dvf4fnLF6XSVSSvBL1f6AcnJkYJhYJsbm0RjsTkvVVE/UvFAmfPnuPo6ESCxirlIl3ZNB7dx5PFZQkMFEC2a9duSC6AiFNPnZrgzq37TM1MyK3pd7/7Hq+99iLegJ/5Bw8xWw6JVARFDDq8OkFfSHa7w7Ew/cPdHO0c4yoeFh7d4fILVzku52i22wz3j2K2WmzeWyJgq08BXw1bmhRcw6LcMKg0DAYHYvLaLlUq8vo2hWoslebR4qbsUse6kjhKm3g0guoYBL0B1tfEEkIgIRQCYa+EwG3slUglA/hCIQrVMl2TfaQGMpycHKEHk6T64uQPK1iWgMGavHblMhsbu+ztHJFIhIlGI6xu7kqt25Wrl1lZ3cBotrhw6TL7e5uUSxWKpbJMXSRSKSynI6F29ZohIX+Cai80loIrMX1mhnRXFwvzT2gJtdrYKPu7u3T3ZijnC3R1Z+Tzu5A/kdtbEeMW0ZN8MU+tLJ5VIan6EwmTTCZLLB6VQM2XX3xeQueeXitD7O4cMjs3LUGVAihndAyCkgGhym24iOjqHp/cGEdjYXRNZ2HxCdVSjYuX5iSouZIvUa5UZUJAVHDE4EMsPASIU/x84mAl4uziICNMQOL6u/nxHSYmR4iFxXfPkT18cT1USmUC4QipuNjw73Owl6MrI561FuFQVBL7RXQ4KGvAcPHyM3xy67bs+vdmsvzwvQ/54k9+no9v3pJVFcH58Ie9HO4eywHX7Tv3JHgxFo+x8GiBsfEJCdjz+j1sb+zS29eDR1VlwiKTzsqEhmAT+cW1dngiBymZZJKNXZE2HGZh4RE9PRn8gQiq5pBNp6XFQ1gAEukujvJH9FgBPB2DkqglVwQ4NEir0qJ0XObiZy+zXSngCQtQeEfeWxwTmeCZPTPD6tIqU6enqVVKMg2VjCak8lEc/oWBQKSQhoTO8+59DNPk1JQYproil02lWmL+0RITExNMTY7z8UefyGskEY+j6xq9Az1SmXj9+kdyUNjb28/q2jqb29vMzs5yKFJgwNm5WebnF2Ql2bQcmbawTVveVwvFIsFwlLGxfvlnCbuDGNyePjPD4sIK8VSUvr5ubly/xcjYIAFvkO3dPa585mWufeO7uOs1Qt0+9LBfXt/HO1VSmSADgwnyhwIseMT9W/+CWF8/xuoDqgfbeKIx1OBZmey2zTUczziKWOQKM0Coj0bLRmvtogZ6UANh3HYHX/cQteohXiWNUl/HMMsEQ0MYYjkiFHdaHNM9RjG9cijkEV38pLAxJMCoozibuIFJnNgonsNbMk1opS6ib/8FltaFN57Gqu+jps7jCP6Rosrho/hLCjq+6guBqmAqAVRPF07ptlzYCq0zni40AXZtH+PRvLTFssStyeGBPGvEBukYNayj+3hVBXfgFXxmm0ZlDV1TIDiD09rE09qTxipFDA0CXWiC2yZSQ6XbeIMjkJzG29rHFMmF409g5E3ctoK/IdS6a6haL45r4s0IVpVJu5QnEErL1Kvm6aF9eJ1AepZO9QAt3I/aquI4JYjNyuo41Q18io9yfpFAtA9P+llo7dN2rKfnQZGcVyxMQQkICOOcWDCs4CphNJHCFbXW8oPfchVx4LdtQtFBGoc3pGLLCU7SPvwhuj+NL9pDp3koAXai34aWlFF11azj+FP4omOYy/+JZqdEcOArmMWb2L4+AqkxTNHlraxhCXVCakwOGIRXUehdVI+AqMXp7H+KabQxExNSlWPUd3EMD2pURGybUttg+UJ4Q0EUPYkpoHz1BVRhKSjtYbaF6qsHXelCcYUmTMeubkhwmNdpo/i6MdUItB/jiTxDvbmJJiZW0QnZHWlXjvH4A7LH22zn8ToqjpgO7X5AqPsCncK87O86WgTT3BM1DRSxrVQtGYWhtY7VyqG3Suh9L9GoFtDLqyipMUl5Nk0DRdHlAUP002QKQPjK45N0OgXppBbKFdNoyQoCApbk82PlV/D4w1jJUfRWB3P/xzii/x6fxN69SyMSwx8eRlWqOJZHgv8ULYTilBGzBV98FKP8GIKCYmngDXbh6Gmc0neIP/cLlDaO6D/7Fb70whCL67ucmRqSHZwPrq/zR7/5izx6vEoklqReL8seZjScJpYMyy9SdzYtwSoTw4MEwn5+708/5IOPtjgzGiPWHaE7Hed731+lbags5P4Te+98g3BiBrd2iJKexEuQaukx4WiPdGO6vogEabiWihLPYBb2CPqTtHUDq3pIqOcVHDE4Kq3jqMK7KeBOHhy1SfzCz+C2K/yrX/lf+Ke/+0BAgjnV7UP1hzg3LnQZBjt7BcmvEDG7YqlCIBjB41UJ+wM0yg3SvWEOD0p89KjE+ZEYC9sVJvv8TI50kehLE/fr9PT1YttterpSXH7+efrGp7nzg//K+JnzxHu7qeULUpEYT6RpdYQHPiS344db29TrJWauvkR9/xDT6OD1K3LLIiA4yZ5h6oU9yoU2/ohPTnXTgyPUC0XCXV08uP6BBDt19QxwsrlFrlyWE+i2Y5PbOebdH1ynUj5G8/lZ3jggn68T8UcwWyY3NyriViEVS4kQnJsZxuoU5c083RXE748TDUGlIqoSHer1Os9emGJ9K8/Kxi6zY73E4hG2947IxHzUmgq7hRyzU5Ncu7ZEsWlyOhPkb33tNF/59X+DbUPr/oc4mg/DdfDHekXdC8vYBQH4dDQ6jSORroPCInpiSL6MtggTtiqoqbSkPuuuUG8FcL0ZXKOA0Sqi+KJ4Y2mckxVJ69cTc6i6hVlbkpRpj55AVzyYpVV84VFMOphi4h8fo73/CCUQwCNqQbRRjCZupywq9Fiqii7sUV4bp30ktYFi4CKAno5SRYlfxKmsYjsePH6/jHSLGpHHBDWUQEHHdBx01cRq1dE8KRTBEqjsYUVSqAcP0YZeBV8YtSUgiIcEvAOYzSfU9u8QP/U3pVHAcXLoShKzXZcHFuymJNO64RiumpVQUzkxV1RM/HhLj7A9YTlg9Eb66VQ3UZQAvuQ4lu1i5x4SyDwna1OdzmO8wSso6r6Mj7UObqEIimz/LJrgEZRuo3ozKB4BwzHp1HekOkboOAPhOFY5jxqfkmpUT+oUbsiHebyC365SVSJEBG+gvEj08pv8y7/za/zjf3udZ/o8JMMBJmYHONzc5bBmsJfr8OTG36f043eoaKNojRJhR6hjayizL6CeHGPniqiBAKpfxa03EPKbyPAkTrtN6cPv4hkeIjvzHAfz1/BrAaJv/GXqH/4pljeKPnoGc+Ea0ZFZ6BfD1wDmzfekEkx7+adQt3ao3XqfyOs/hbecp/zgI2LnnsNUUrRWbuL1Z2EwhOf4BCvVh368QivRQzDbT+f2h6iFMlZqgK4z3dxeyPHK37/G7/ziFL/67Sf80ZfP8vwvfJHi+gntoyVC2V7Ib+MMnEXdWsPweXF9LoqSwqkWMTeXiMycwWhXIBgCJYmvtk2n0sCw6kSGRoiNRfnqL36PP9pr81OnQzQ6Cj7NJpON89HDAwlkVcU112rTlc1gNer4IiKmrPNwqcjn/rtX2S0cUDup8fpnX+G7332fubOzFItF2SVsNFoEvF4Gh/u5f39egvNEN3P/5EgmOHY3tqg3mrKTLg4Ws2fO8F/+8x9yfu4M5545z8HhgRxQimG3L6DL/uzo+DgLC49l197j9bK6vMLUlOj42jICLqKzq+s7UnEVUXUW3n3A8HgP/oiXaqNKpL9PoGzx2o6EDw8MDbG3vyf1XpcvPcOD+UfyQPL6a6/wjT/8Exm7FzcUETEXKlBvyC8P9plUTEb4xTZfHHhELWplZUV26Lt7ssTjMTmkqFTKBAJBwpE4PaI322hRrYr6VkXe+8QhTRcgMl9QbtnEZ5bP5xkcGiIhutU5sTEMkS9U5AFd2FMEmPXZZ89Tq9XZ3tzFwpLDi0g0zPr6GgO9ffLPFKcqwX3xB3Rmpk9LH7iAE8ZiIUxDELtT7O1t49M9WI4rD0ji/i+grf39Am5nUW3UmJ6c5vbd+wwN9tMSJG3BfNYcTp+e4aPrH8lD4xuf/zy/9e++wVuffZap0VEePFikf7BHQn63dnfkQUoA8mZmZ/nw+kc8f+kZHv7gmnw+iufU9My4PEgd7x7KfnKmq4vNjWNMRyGZDNKd6aKSL0qLSkvS6wPoQouHiLkqBEJ+qXnM5WrgVRmaHeRkv4g3FGFockiaGeh0mDt/lm996z1efOUi1354Q1LqJ2bHpHb5/t1HTEyNysPmytIafb0Z8pUCAd3D6NgU5WIBXyggB0apWJzlxXWi8aA0UzTKhtzui42zXzBoLJNEIs7O9gH50jGnpk5JZV+xWsYyOnI7PjQ0wnvvfSABfefmZuShLpGKSxPPwoMFqcvLyASJRigclimCxwuLske/v7Mn3/3iqSTlUk0aH8SzbXl5WX5fnnvuvOzwi4rMzu4ez158hjt37kltZjjk5/79R5L/k852yWi++I57NA97R4fEQhGC0aCss4gD5v7+vqyviAXB6toyp6amuf/woRxCiYi/MCj1DvRzeHgoN4LjE6dYerKIpuvSWCG+49FoktWNVUnWF4DjZqMmBwRC5ScGAWIQdvf2bUQWfe7CnPx3f/zxLc6dneX+3TuEQhGZTBD1iU7bolTMMzw8LIn8IkItBpNisy1i9fV6U6Z2ApGA/OeqlaaE6BVzRTlcCQTEAdWlVCpz6dIFNje3uHNnXh54BXyzv7uHx0+W5cb453/xq3znnXfkO1IqHGPhmz9i5PSIrHJU8mXJxDJLHVS/h8TZAdqahtI22VnZYmBqiHgsIXkPb77+Knfu3Zfx+JEhYYva5sqLV1hcXKZaqsjvnBgE7h8ccPnyJXK5Y3a29hkc6ibd1UO70+DBfaEEHCFXyMm+f6IrIRXSq6s70tf+NHEkAIAxFh89kcDEdE+GmlDDisOo1SYej7OxuvV0oHSSJ5qIyXtSuruLeCSBZVrkiznpop8YH2dzc4PpU9MSOCnSNqKuJIwlp8+cYnF+maGJQbID4j3yHp31E+rlBsO9GeygTu4wz+ysSBw28YZ9/NmPD/n8qME3Hv0HDm+UCMazqAEPWmOVdrGAaxXxJi6gagFaR9/Bp8fo2DpafAQtmMQ2bJzSQ/yJWQxR++7k0SI+HH0QtSOebYdP09nBAFZhD29qEPNoGT2SAF83hiVS4/dx6iWU+Ai+yBBm5QmdSh1vthtv/hA7dkoC5KkVcIMBufA0VR++dpFOMIsiFO7lNQLeMLZYbBw/wtZV1OwLqGYDxTrBaLVQvEn0RB9u4YGsjts+0eM/kiY3xWhgC7ud7sfj+mkW7uCNjEnooM9borN3A0Vs+xPTkq/k86i4qkbLbuATathIFquxLVWFrqqjFh/gJC7j2EWwy7i2LnXWWm0PPXlBpuhp7EFiErfTkDBdj1mSas22HsCri+Sr+3TAYWtSAS2SD6JeYVS20QU3KvMMnCzg15EWJI8jFNEGplA6H3+CnZjBmziLWvkUR4vj1g9Ryh/9E1cxy5j+LlSrgx5O0WlX8bQPJVBMy16S01xveRdHvHA7JToHn+D3p7BEjyH3SG7UlOSzeDyWvDl0Cst4BKzPtQWOT1YCjPoO/vgsaiyNJSIJYmjW2kEVW3jRx1BMFFNDDYsvQgrFbmM3qvJwq9oBEFFJ4UAUsQ4RizUEdG8Q3S+2ZALnr+J6RBy9JGOgioirWFs4oXE8VgVUERJ3cI4e4vi6UEMZ5ODDqUDhCKX7Elo8i731A6xgLz5fHLc0j9v/ImZuG8E783vTmEYRR3Pw2h4MEUfxeNGaJ5iBSTzWAXZmBD0wBofXaOQ28HTPYXmzeH1ClxMBEWMV1MigD6NRRBNVh+Q5GTER3RKjdUyo7ypUBFHSQBWpikYOJzSC41RRO8c4pgddfPbFxxhmHT00ieO2JABCAJXapW3MyiLB5IzseFWLdcJ+D2p8AM2oU2yckBw6LQcFvae+ztvPDxHyZ7GNAtF0gD/45gK/8fdepDcxwKcP7kvtkDj8bm/uMDo0SLw7w8bSsgTYLC3t8sWffJEPP33AvcUSoYDK/uExz8+Nc+3aGo/yJrnl3ybY5aXzcBknFBDjDpzWHlY1gG/wNKp5hCqJvQ6OdYCavIDKAXazLRUbSjBGqyy0Z8f4ekbA8skXCNMs4asIWEebyFA37uCrtFfm+Te/+Y/5vT9dpVx3OWnA3GCIq89NsbGyQ+9IimKtiV8Ncu/eMjNn++hORqRSZ+HxBr5QgsLxMUNDAzQqFvu5PVSvALiI+opOb8ZPrdimKMjHquA/IP+7k1KbmIB1RTUmJ3vpzSRY3z1kdvY0w31RnswvkYinSXTHMW0R198kHYPAQSFEAAAgAElEQVRqy6Z/cID522KqnpZJgqWNPR7efkS9YdHXl6BwWKFjmtKFfFJ0CHg0SaItN1tPaxlVh0TSL8FUPUmv5Az88P0b+EMeRkd6sY2n25hoyCe7mkP9SYy2TaFYl5WA43JN2gxEd6vTLtOTSWK6FvmTOsO9XXwyv8lPfPYS7/3oriS21vJV6g2XKxcD/J//9O/R/crn0A0PSmmZzR99i1DPOcJ9A1iFdfyRDB0xtOnqR6mLm5aJ2t7AFhDRzBBqcYe6qRCzy5K9YYn6jFVB99kyHupNZLDywustougurqHKaa/jaeFaaUy7il8TM/oAdiOH0d7C1/UMtuJF7RxJqr03Po5SeozVOURRQxiRZwikklA5wbJKEraiOWEUxYttleSWSvPH5ENAPKhMK4FevoemCYqC/6lGL9gno/auUcRLiXphh3D3FSyPjd0po/v6aRcX5Q06LKbJjUe0fYOowUE0q4Tr11EaorW0jZYewOnoT+0iAvTnNKAjhiAu+HRsPYPbKqIrYoNrS2COqWQxdr4jCnVoqVlUPUz7+DY+kUga/gxG9RHW7g283dPY4bOo+R/jzb4ko9pubQdbM+T03gxk8DR26BS2CPYM0mqIvmsErXWI2jCwemYImPtUDh7h736Tdv0BTnSGoLi3ywOJF9s5IR4fpry1TOryGVqbO4Sf/TV+4cUAz09N8d1r83T5kTHuf/9+jv/nf5jmC7/0BvkP7uEdOAPHhxw9/oRkzxD69HNohR0qm4sE+yewxYNMwAajHpxciRZVtFQviulDz69R39sj9Lmfxj05obn6SBK560uLhF/6PLalU8tv4xdDInyEEt1YxztUniyR+cLPYle2qT5aInj+HN5QEnPjAfr4eYzlJWg3IBpH7x2j9OkHhGJJPH1ZXHHIa1WIfebz/Ot//Pv8iz9d52//zBi/9t82uP4rL3H+cg93/vQdsjPPEsv008xv4jby+AanJbPC3F9C7xqQ0MVQMkun1qDtqii7D9EGTmE0akROX0HriuIvFCitfswLv/KAeFZFsT0Mp0I0imXafg9eW2Gv0mZ0KINltLAUl2rZxO/XsBsdiqUmL/2dvyKjscer28w+c5aV9XUZa4/FIhwci22mn95sN5s7e3Ijd27uLD6vLsFSb33uZdZWt6mWxWAZRgaHyJeKqLqO5iqUilWpBxT09nQqQ6GYw3EdCcptNOqyG720vC5hbxfmLvCf/uN/5rW3X6JwVGF7b58rr13h4P48ldUcbcXBn/CRTCYI9aaxPV7atap0lotNoojtLz5ZlrRxcdAfGhqUh+Yb128yNjEhKfWO/f8pCVscHeRktHt8fJK15RWyPYKd4dKVTUma/q6oUXRn5DDi+KTA1PQU68urEv6lChmHILC36iSiSWrNuoQBiqi/gL999u3PsrG5ysbGluz1Ts3MSLvAw3v3eP2tV+UwRtQPtre2OTzKc+rUBCMTQ8w/mCcQCJGMx4kn49z8+FPeevs17t1/gOs4lAtlmaiwHVNWL8QBTPz/i+Uys6enefz4CdOzp+jJCgvCPtFwlEqtRu44x/joKLdu3eT8c89RKRYoFPN8+a/9PLc+vsW9Ow+Ym5vj8HCbs7OzoPn40Qc/5tKLL6JS58cf3pKHzuPcCS+9eVUOqK2mSSwUIGebjI+NcffGJwxPT3BydIhR7ZDo7kK1VQ52dpmcmnxaB8hmuPHhDSaF3aFexTBcmRQQ6YKeni4Mo4OtKv8vS+8ZLtt5nufdq82a3mfP7r2c3gsOOgECBEmRFEWK6pZoSZEly9IVO3bsJHZsyZfiK1YSOYktKZelWIolRVRlAwmAIIh6Cg4OTt9n916m97ZmleT7jn/gH07bM7Pm+973ee6b4m6Raq3BpScvsnOwj9sSisIYhdwhtaYgyacI+8zH8L9GnWRqgEjA5M3X3uL0mTMMpJOsba0RT6Y5eWyB3b0D3nnnXZ597mmWH61hOa6E+E1PjUm2xdDgMJNTY/zx//0nzMwfkQOG99/9gPRAFpHUn5yak5WAdrvNjGBZWMJ60H/csc8XySTjhBNxAqYplXz+gEE4GuXBvQfSsiCgfBLY5jcIBqKSEdHrd6VKNxFPyeqJSKkIeLAYJAhLRTI5wOb2poziT4yPs721y0AmRc9yOdjb44mnLrK5tSt73WLYsCgi3GUR/R6XA6tMOkl2cJilpUfE42mWlh7y/PNPy8SDcMVHIn4mpyclhE4M+0SNQKQIBCBz4ci8vPQL9bBPN4lFIxSLZba3dzl+Yl5aPARM21FVfJrB8NAgpVJZxvNd22Z+/gibm1tsbW+TEJ9XnyktLK1GXfI4nn3hCRbvLVEqV6ShY2xsnBvXbzAyNip/L/FsOX/uDLv7O2xu7PKTP/GjMur/+mtvMjY1wszEFNdv3mBqap615WUisRBnz57l6gfXOHXyhPTdC7XomfOXePP114hnBsgkg+TLDeJ6iNzVOyQnh2W6JhQNYYmB1E6e0Sun2e9W6NRsObARKQsx8NtY25ZDz3AkwPbuLs88+yy7m1uysjA/vyC5SjPTk/LndPf+I5neOX3yBNs7W1SrTcnFWFlbZ2x8Sj5TfLrC1ta+5J2JpYzfEOYTjdxhXloRxO+r2J4Ekor35xe++Hnef+cqAwMZNEOV2sZjR4/QFc/wapVkXAwZ80SiEbrdDqtLq8zNz0iWiqhYFXNlWXEVwxzBSBDnppHhLI6usXZnkczkGNVqgWg0RjIe4Z3/9AMGQ35i0ylJtNdsjXq3zvkTI3z36jrb+w47239GOjFO6cM/xAgfw2tt4wSG0Xptes2H+Eeew+50UVt7EAqjBAfxOjnQEjildbz2Ab6JS1itkoTCeoGshA/SL8ruuVjsiDSoK+4zjT188TksI4S28ypKeBI9e4Ve464875mauASb+KMncGJTWNvv4tbuEMp+EkuoBYv3UMX9TPbtBV2tgWaJrVMLLzwjF69abxu0IdxICs22cOwyui+D3apKbpPqH4KwMJFVIJxBaddxfT587aKsmXd8AfyCJec66EYKp7mEpw3K5IpUJ7uGTEeagmnmVPH1NZx+i+Dwk3Tz12S8X49ncPL3YPCiXFZT+VjWEFrWLkb5ACN1QvD+QRXk/whOt43e3cCLTKO4TTzLwg0Pyb+vGEx4ShKtV8UVg+TKKoZt0TOiqPFRKC2iigqqGDIEp+jmb6EK+0Fyjr4axhQJz8ojlOrN/9XzCivofhGvV/HEobbXRRG5Ps2Rh0HHn0LtVbFbByiC3GhrjyF0gkLdzKGJGoDQ6glRXiiN4Xahvic3dk5ZbPuTMpbnaQm6vSpUVzHDE3hGVAKbxBvBi06jVu5iBwQdukYgHKXVEJCkBmZkHMuuycifJSJStoruT+LWV+QmTlFH8IQJIBCTaYG+phEIpujlF7GHrhC0DnBqfRRx4XBKeB0R+W9i1ZpowTi6iLR2G9Btgtzqh7Dbgta/iRccw1VFx2UdxVMIZU5jC2ptZRUvOIVl7aN36mjZ06iORr9wDT14BFPActotzGCE3s57aJ0c2sjTdBQfevuxfsJrtVBCCfAn0IMZefn3mSkJGnH3r6NnTz0+7JfWcIwAuphshTJYlRz+eBBHdEL6RdToAr3CI3rlNYKBGLaq4M9ekBUOUV6wum36tY/xidfLN4CqddHMFP6JMU7O/7CMtUQiKVqNAgsTMb53q8J/8xNn+fm/+wW+/p13ZUxlemZekuJ74gHQ82ScUSgCB1Ni2u5xUCjw+nsrVKp9IjGT+bEhOb19/dom/+pXn+K/+u3fZP3/+m0GnvwMXihKv3gotwqGApYRRg2laH/0HwmKbszRn6az+nVJAvUlBum3RI9wDc2Jo5u23CB70TNSW6OZCm5xi063SGjyOMFwAjcqIkA6h1c/5Hf/tz/jf//rJRqqw489O87xqXHevH6HRCJJxDCIZIKyI3lwUKJY6nDu7CyPlndkl20gmyAZDbJTKJBJR8jt11mYHWI4GeLrr99gfmaA9NAEO6uL9PUIu7sVLKsvORePVsrMDQWotTu4nsrgSIq97SKhkA9DsWQ1wbEdCda8u1RhMKZx9twor721RSJiMDQgSKkedqtGJBSWw4DB4Sher0etZjM6FkL3Bem1u8wujLOyti9BV0JzInpt1ebjasHceJbljV0Mn0Y2PUCl0qBvQLvSYnZ2WHYGk+mM7Lc6iko8YrC0dkDUr+J6OoPDCT5+tMto2MfdlQaTAwH+yT98mk9/5QtoI5+Bzlt0HuVRMagLn69sL0bQgy0CfQXPH6KvhdAqBZz6XTxfGD0wBeYopcKHROwayuA8KAnpcu37Y4Qyx7GaRTxHRKHi9PLvEBz+vFQDav1DnNBFaC9KjogA0QRDfqn5EomRcu4GkcxT9A0FrbWLEV6gXXgfNXoKL+BHERF2sRFp5XGdLlr8GD6RlugWJYwFJYLq01HkIbCA6yoyviei0qrapx8cx3TquPUKtl/EDkQU1MAUJ592DmvgGE6vjtmuyKi41aujiINvOI4pNH+tCp4WRgkn6dlt/ALc0t57bEXxZ1C6DWlCsPs6br+MLuiy7Ta4OZT0Fahv0izfJDP/S/SbW3RrjwGtlFbRMsfRBOTPbaFt38JIJrECSXzGGI61h9NpopsGPSOCTyhV6eBoOv2dd9DiR1BGruDuXEOND2NVd/AFIhiROdobNzEnpiQQi/oqSvI8tA4xuruQfY5+Zw+tLxyzDfl5DY6l+Cef/RXeuFPiK5+c4es/WGZuTCiFOrL+s7bZ4eobv4x/a438g9skv/jz9A4Pad26wcCzn6VX2KabKxKcGMU1FXzBLL3dLSofvkrq8isSLNbziTCERn/pAY5iM3j5OfK3PkQXlYqxIbpth1C7QHNrC0JRQmeu4OZKOGI4eriP9qmfJWRbNG5+l8DpU7g1ne7uMuGRYRrLK6hPPYm+cgd/dJKG5uIdrpI+9wka6yu01D6jTxzjn//873B/z2Bm2scfv1Nn86+/hD+oUtrsEg1GqeQf4oq6jN/EvPg0/bsf4zS20aZPEJk4R3P3IdbGBuHnn6X14VXM+CCRyWPUDh7SuvEe47/8b3jzP/wuL/2fd/jMmSCZoEm97bCVazI6FKHetOjrHt2GdBgQ9iewhIHHD/tLdSaeHqEWSWLVmzzx1Hm2d3Zo1rrohkLQDJI/yDEyOczSow2mpgV0VgyLS9LVPTkzwbXr14mGE8zNTLG7d4hPHIgCfkR1c21jm2gwhG6octNbq9bkYahYOOT555+nkK+xtblOuVrn/FmxFRT+ZE+665cfruIZqtSmHt5clNApTXHJDKTkJXjyygm28iVahaqE7F28fIHvfvdNksk4a6vrXH7iMosPHkgieu6wxDPPPkm1VpZqQWE0KFaKssa1tLIqLQRCkSdcbIsPF3FchexAipBgenQaTE5OkS8W5YFfXK4Eaf/kyeMc7udY29ySW2Sxud5Y25DgNXH5EurDcCwqAYRiO32wf4hpquhaQBpZkgNJ4okk5WKZ0dFxrl27xvHjRzjYLzAwmqZaKNFq9Njf2+ell5+lUmvSbNYEkkoC8YSvWVQuRIRV0MIFEFbYBMbGZtB8fXpdh0qpwt6BSGkkOXnyhBw2tDoW8XhUAmtXV1dliqHdLHL0xFl5Udne3OD0qWN4isaNGzflz7Pb7jF//DjhUJBy7oCD8iHDA0N4AtYs8Ke2Kv+sK1cu8t4719GCBiPDI1TEZWZihOmFOV779rfp1bssHJvmYDfH8MQUFfG9MhCjuF+ksL3Dj/z0l3j4YIWD7X0ZUxbid7H97jRbrIlN/ugYk/OjjA0N8ujRmoTWjU5OYIaDPLz7UILoRLvTHwxLQNzFs5d4/+pV5o7NSAq/qJyI7apgQJw7e5L19Q0mpqYlq+EvvvZ1gsEw42OjaIbC1va6hNqlh4dZebjMwtFZ2TcXxPrLTz3Bu2++g+n3ce7cWXa3t1F0VXb+V5dXSSUS+IMB2r0OpVJVfu7GRkc5KBRJZ1J4tifBfEL9e3iYkxT/zfVtZudn6XSaHDt+jEJOEN49CXkUg7VjR45I88/1ax8yNjaNIhkROWKpiEwoKGLg7ShMT47KTnkgHJSXKKG1yx0cyJSBgOhNz45hWa6Mzo+NDrGytsXmxhqXL1+Q71WRKhUK4rGxUVYePiKWTrH0aEnWDE+eOckH738gqyoirRBPxCWPodVoyYFIR7wvVeS/Q6Rvrl57hwtnLsoL9r3bixiGHzOooukBep0m+WKBCxfOsbi0ytBgmmAwgOdpGJrLmkjEOLaslwqGRkBE5JXHaaReW/AJJuTPf31tVZL7hX0qGAqzs7MnIZn7ewKu2GB8dopWuct+eY8nn36C1l6Vm9+/SkQsF4MqyVSc3H6RsZkR6uU685fP4SUCtIsV4vGkNJYcbO/J4Ucul2dwaEj+G8Xrq6s6W5vbMiU6NjYpLU1379yX6ZJEKMbu4aEEXophytr6lgRm+ozHCaa9nW0Z9a83WvgUD1U3HqcoGk1pYjfFWV689zstapUK2eGsTHS+9977HD92TBoPxBluIDtE7vAQz7MlHySdHOAwt8/4xLhkRmxsrcv3hdBGP/HMEzxaWsTpu6RSKakxVRRRkxLJYptUNoYeDsnXNljv8+j9h5w+IpLRqkx/OEpHPG6YmT/Gn333Q/7xs2n+xd/8Na3rf0K7F8MYeRLNq2DvfYSt6rhKj1DsJK6iyAWZUz7EVhRMQ1QRB2RN2XI9DLuEpw/gNDYkeV7UBcUcwDAdVKHHzT/ASBzHS02gl0t0cx+gpsZQB15AEQlHQegfuoB3eBsvPoS3/QAvnEGffIbW+/+awPgzuJljqM0immvRL22iDxyHcAJbGBoEz9lO0q99KCuUBAcxGkWZxvQ0DVcz8Hfy8lzi96dxQ3HcZhWnl0NzGjJuLwj6mu6XPB7qG2jho7g+wTsJo3f36NQ7EoqqRLI4fdHl78rUsk+kxpOTKFuv4o19ArXTxqtsomZGZcWGroXni+O5JQwlTM8TtasmQVcApj3o17B6OoYA3hsm/fx1lMELBANj9CsPsFo9lN46/dQZ/LFR9F6bvlishucxmhtyAKH5R7H7QsEomFkm7foivr6KOnQeu7aCUrz6u57GDmrXwdL6qOUtjMxT2HpZ9r80zcJWeuh2CC09SR9FgvSEg9vO38JnhLGCSQxbx65voURTILqrlkdA/DCtPD09hS0gX60NdFV4Hy1UcbkLRrF6HbkVdHSx7c7iOS728p/iDl0gFBSRdBuPFHbtYzCT6LFZXAE2sMp4VgMjNge9ElZ9ET19EUUJotQfgph05JbQsidRhCLKiEollio+FLFBHC+Gl3sDLf2kjLTb1i6qpqBEnqOz+zUCWpte4mVCRoDu5p/jxI8QCh+n7+zhtvZwjSiGcIbbTfkwU60qPhG5L23QD8XQhYrq4Cre8b+DWsvhaQ1UNYZaW8aNxLG8NCHTJ1UnQkcoHOPW+qv44mfRh6/Q2/8uhqhcZOfoNduyd+6Vl2Xioaf68LmWdOAKR6TQyfT1IAERbra60vMtDASeU8dJPYnps+VErLp/E1O8OYOTRFSH0KVzfPnTv8rt9TIvXJiieFAgEkxxc2mbiWSUf/XPvsJr33sLPRhibGiInU3RDU1Qb1QZSMQ5eeKI3C6JKOeZEye5cXeL//CnrzEc96HpDp/95LP8/h99n0wSfrDyEe7Nr3FQrZFOJOiHJulYKgErT2vt+4RP/hR2fQPHPkSPPYWmN+gU1/GZI7g+l/bex5iJEcKRDJ2uh6MF0Wvr9PQY4YEJatvfw69k8LwIXqBNOJFGD4Rx0z7s6DM8M3GKtmWRHYzLg7OYkFfzFufPJTnYFrqsAdaX9xgZSTKYCJGvlAn6osSCuty0C42LiLc2un3ZyxNRv4vnpykfHNBzDQ4rDTl5nRtP8eKzZ3n1tWto/hDr64ckYkF5SdF8ftnRC2g64bDOx3e3GU4nmFsYYH+3zEGhSSAZ4/TRAUwlxJ07K2QGw7R7HiuP1hkaTDA0McH6yhahsEkk6GNnT1CaLdKSuqxSq9jsHpZZmEwSiPqwOn25bRkeHaJUEH7ZQRqdHqV8kYXZAW7cOcAnuJ0exIwQnV6ZUyen8boGt5dXGBYKw1yL//rnzvH5X/pZFN8UOAbdw1t0Dqp0WmtYhX2SF38UpbJOs3afWPQSrj+Ka9Vp9usEVBUtMoDXqEhViXh+iPixfMZVbuNFzqOnU7jlbVSniRc/I2FR1tb3CAgFqNfA84uHZhjV3QMBxhSjhuIqnmbIXp4WHJaRV6f8UCo4HfGILdzEl3kCV/Hh9XIo9OUBTU+Mo9TLOHYB1Z+gI2AviommZ3B8Afn/2fmP0AZP4wmtnGOjiG9gv4mND6NdwhWaSSPxX/SogtavyAmwHpuR9QS30wHdxTlckhaAQPokWn0Xt9+g19hDTxxBNYegt4stqkNYqIkTOO19OUzVwxNY7QKqEUepL8sai6hV+ZWyjMSrXhxaq7KC5LktFD0sE1I01tB9cRwzIYcdulXCix+jXyuhhwTHJYnWKYA4RKpDEBlHa2/iqDGcXgO/AHFGFmgV7mI6bXrWDmrsJEH/ON3WQxS/jdcOYSpV3NQ56qtvEp08KxNWdn0Nrx8hNSRGC3FGT/19XjgWJRkN0Op0KVYckqNRbn9/n5c+c4R/9+8+Te27N/DSMbzsZfytA9rFbWzFJGwYWKZJt7CFVuuA2CRMnaFZLRCIBRCC2brVIjY0Tm1nE8N1CM0ep722iJcaQvf7oLSHmsnS2Re8FfUxB0G4x30RCWXzygX8k9PUH9wiEM7Qjyi4+YKkLYee+yLO+irt0gGqK6aULtG5aYqFAtGDFWIvfIKf+sl/jya0TqEuuxt9/uIbv05z/Q49JynrCuKwaDf72E5b1kk0V0dVuqjZCdqVKoIwI9I52pHzOEt3OHhwh/S5y3jFQ1zTx/gPfZGf+ZFf4/U1m88cSaIYBrm6guK1yeV7TM7GWN6okIgGZJKoVmuxcGQEq26zU6tw5JUL6EZApolGRgZk7LxUKcnL/f5ujs21bUYmsuTyRVLxBMKXd/vju5IWfuXKOb72tb+VIKyZ+XnJAsjtHaIbBolkBNtRpHlEGEcODg8YGR4ikUhJ1oiIP7/79nU63TYXL1xgRSjwVjaYnR7HjEZkv1aA2C6cPkHu9jpWq0rNthnPZiTgcPj8MZKDGRKGybWb93j+xSeluzwWi0k3uLiEq2iSPH7743s0Gw0MvyEJ5cIXLuoCQ0OD5PZyDAwNEAtH5AVG95lsiAHClfM8eLAiD7yi+y9i8sLKImBl6WxSAt1E/UEsJkRi4vTp09z44AbHThyTJoO79+4wMyMuajoLR2a4f2dJXsQ3dzaljk8Q4IslYWDoU6yWyGbS0kiwtbMlqegiji7sCSJWrXouPVuAg1U5rBDE/Eg4xOjoMO12h16rSaXRkE5xYVAQ1QPZfc6OS+6L2O56fVtyeUTvPxRO0WnXONjPMTUpFicCbLcnKxiCh7C5vsYLL3xCKscCPkEiX5ZOel84gM8MkEnFqNZasnagK5o0S3QaHYbGh6kWK/I9vbO2xtzRBemWFxFo8bMSl6aF2RnWd3dYWVoi6AtjBn0yLi8qBqVcgZ2tHS4/fZnFxQeMDY3KQYoAlonXTAyOxKWr2+/LTacgqQ9lh2m0agwODrKfyzGWHeAwX6JRa3H2nPg+7+LZfQn+/eRLz7G7sy/5CuJyKH7OH318D9fuydj2ubOnZZJhbW2N+/cXJThSdP4dYZaxIZWKSz6D6fMxMTEhHfbxRJTRsTE+/vBjuf0XpqDzF0/Ky+6DO4sEwqaEUQqauNDxigvqpQsXZAIh5De4ees+szOzxOJBcvmcrKf1bEsmQMRmf3J6jNt3H0r1tBiGNZpNwsEQewc7vPTSi9y4+jEjU2M0a3Xu3r/Ly594gWpDcDEeD4kEo+LJp5+UCZ3l5SUsS4AwR/nw2g1e+fTLMiLuKbaMazcbVSJhk4PDghyCiR7+yNCwhA6KzfDWzh7rK6tkMhkZ9RfqzjOnTrG1vyNfd8GfOHpklsXlNTm4GM4McOnJK1z78JqEIF8UlYedHQKBAPnDPIMjQxzkcrLycOzYUcktEWpGcaEfGczKn0M6k6Vdr9Fs23Ix0mm1ZaT93WsfcPHsGTlEW1xckjWZzeUNjp8+Lm0OtWaZydFJ1ta2ZR3g/NMXZYT+wavvE1IN7KDG+fPnuHf7Lv1qT0LvzKE4SkBnRCR5DgtMDg5w9/4DaYXJplNEk4KlsC8XP0LhuXT/IdnBDIVyg2Qmzd6aYFOp8v1cr1cZEABazabXtDBDYfZ2t+QwcWNzi9GREcbGB9nfz3G4W5ADjHK1SCo9yObOmkzuiMTBwWGOyYlxOSgU23FR5xBwTAGRrpYrZAeG2M/t8YkXnpMAUZHa2NzbkXYRsXybmZ1F9+tsrm1KJaRrO5KdIECHQov44idfpFSt8sHb73Hq7EmW7j5g6tQR5s4e5frvfwe3UCM+EmRkKk21LKB7OvlKlWDMY+mhy8HD35Bp6f7aCk5ApXWwQTAzQ6sjXq8oPauOow/ji0RRrDqeGkfpPAQvBKEBPKHrM1zc0BHIfQ8zekxqSZ1WBUX14bmWhD17vpDkHxk+V+pEdZ8qVE44PQtqm9jJSeiU0YKjOIV7EmSnDD312CJVXQUjg2o1UJ06/eAggdgCztbXcUnR9+roiTnwxVA8A09UT72G6MzhGX5pbsCuogn+U1KY5BTUXg8E28kp4/ab2NVtTGGYSszgCt26YDOgQ7eNa+oowRms+hqGOK/FxlC6LRzDlWnsdnkNTTPRzFF84TiebxTX3aJffAx/9XxJacoTqXA9NidNU4JJQz2HIgYIVg0tNY/dzgtTOp5P8KhcqbZXjDE5lO+1i/gEGNEXxhMsKyJyCWlX7qGFRt0QOR8AACAASURBVHG7gtJchdgcqlh6CQ6WEoFOEaX2/m94YjKv+odxxYbf7aGE/PKw4spIfZ92fQ+1+BBj4klUW8BlRHReqPJ26eeXUKafRDUW8A6+DemL4AvR330b3+AF+mKz1z/E549itYsyfqabAgoo/k5CZ9BGMdN4QuotuvetNfqVKubMC/Q6RQyxtRZR3MYWSiAlYy5eX3RjhS6uJesCml3DKy7jRcZw/T6MZgk7MIJOXUZPuuV1fEoQLTEkCZ66UG2JDoKZQhUphNYarpHCIIRTv4fhevQjx3C8EqZ4QfSk1Gy1203phNTMJM7GX6IOX5TbeM3vk29omzR+vQPGY1K5VX1IIHOant3BdFUsz8IVm0TTRXN9eGJwIHSJpfuowQnQunQaeYzUUbTmDp7Xl0oJMYtXtSiWpxGKz9Kt3JOqRn/muHzzK61DqXUS1QSvH4BejmbxfSKDl6Dbp9cqEZg4hlMXRMh9vIKPyKiN7/yP8Ws//BX++Jv7PHM+iamrdAV9XdN48PCAf//Pf4Ras4VuBiTIZ3V1mfRghuMnTnLnzn0211aJRjI8+dQFHtz7iL1SjT//1hI/+rnzbO2X8bwuus/HG68u82jrj9C7CpWHN4gmR2knUrQO1iVASRzM7cIBqtHEPPojOAc5er0V9NA4qjA32A0QkRpPXMR9EB6m39zFdCpSs+HoAZxGEX8gRa/fwdA6uPU8nfIqA5ef5/f+9R/wh99Y5as//2k+eOs6GiHK1TyVtsOjA0tO0ubmU5xfmOYH799kYWGYufEkq0s7DI9lqVQsHm1WUVWbbNovv6hHhwdpNjrs7eQYHUshWNoBxc/cwqCMPFbKZfaLbX7i809zf3GL+0vbMnLmVzVy7S4qLp97+bTsJd66uyZBk9lsiFgkzQ8+uE007HH8+DTXrm8Qj/sZHc2yt7PPxPgQrV6bB4s5pkZS8gEgev9H50YoVjryAJWKmYItKSOxQdGJp0enZzCQCbOyUiKXP8AXCktl4/x0ioNal6guprptgqEI0bBBpdHBpxgSkjMQ7vM//qOfY/jTv4DR/EiCJm3XpHrvDanQU6IxIslnUXpVmkuv40w+Q0CAuzbffvy5i6WlpcPn1rGNED7Tj9UsQKuNOnIFxzrArTxAF2q80jb+cBDSl/Cam7ixozjbV1GcHlo8iSv0oe0cbmuVwNCLdLbfxJcexPNPy0Gg2L57dhvTN0jPatLNvUsgcQQvdhzNbdJvbeGLzeH0Sqi2uFbXMIwxjGCGbnsPTcTv2yU0t4dlpFAjQ2j+KHb+LnpkGMwEVnkF8RxG/F0qW0hZreuhJUewWhUJu8KyZMyQ8Ay0tvBaefpyY5qRxFZDfAGKyb4exqdp2H2fJPZrmoLTzD+G8zl9Ga3DUelbVdR2HiU2gEJIRDhwgza6/hho6o5cQW+06FTvYoaz9L0Eht6SG2En/4iAPyHZG45/Fm3/AzzVhLiI4SnUl75GJH0BRxMsEUU4NtGsCp7VRVFE38yHJRSC5gCqL0Bn9wPU9CSqUJ2KqoAvi1XO4/NKdHsump0j8+n/jl986Tm+/VaBr75yhHy7Qa5YYXQ8g6kqvPrNHW6//mXcweN0vvcGVqNMUw+Q0oLUdJdwWscMjWHtrtBqHJB55Zdp1w5of/1PCM0/hV1ZxRbMmSs/Qv9wWSp5tEQE+2AXJzuCXilh7awSfuLLmD6L0t33we2iZhZwHn4AtTKRL/4U9q6otN3BDiRlgsjzB7BXbqKZGnZ8jJDi0Do8RHEi+CYS9CyHuKLjn1Y4/4k/49SowchClte/t8X1b/y49KzXDxrYbl5QGjDjafTUGPl3/4LEF3+B7k4Rs1+hv7mBm0mj5Hax3D7Zz/89Kh+9jSEGU9EYiZkhirslJn/xNZ5ZCBKOxtjYKxMNi3h6nK31CrMTQ1x/sMH87BgTI1Eeru6RMQNUu31a2RDpqVFMx6NYKInlsiRb723vMzUzgeIoPFpelV75lVXBt7AlvGp7Y5eJyVHpTBccCQEmW1pc5LM/9Ir0iz96tMhnPvuyvIzf/PAGpi9EJBjlweKiPMCOjo9QKgn3MYxNjbO9sk7X6csI+vvvXJPgvyc/eYX9zX3K9zcp7RUIBQz0YJhOpSr/vPFnz9Dqdanm85jBMMFoWA5fRaxebNKrtRrZ7AB3Pr7L4NCg3NDPzcxw7cZ1OaC4dPE8t289xGeKREKJuflZlpfWZKRfEOIvXj4nlZzrG9vyorGzs8tBPs/swiwHu/tkh4Rqa0MmITTVZGh0gEqpxN7uAeMTo4yPTVAQqYHtHQkAMwxTJsr6vRaxREZCysQQolKpi+ABiUSEg4O8JMuL+LCmK5L6Pzs1zZ1796Qq7Etf/ry8FP3NX31DRo3D0Tira+uonsfU9KRcMoj4uWAJic3o1OQU2ZEUpUKZfKEkhx8KGmmxdc+XKFeKfOqll7h68xa5/T3m5hbQRX98Z1sOdX2BILc/uis30qKDXS5XGR4YoNFpy+35iy88x/Lqhkw9Hjk6y/UPb8r4tYDKLS9vkEyn5YVeJCAct8PC0WPcv78iX0sBSxRR9263J7vbQwMD9PoOhVKJoWxSVgFEKkN05pfuP5AXqF6nRzKRkIOhfOGAaCzG009d4eatuxw7Ns/W1g7722IBESKdzkhYW6VW4dTpk+zt53ju2Styk7myukG92aTb6jI6lpXwP3F5tbodlhaXsOy+BLRlBoUdos3m9q5MM4otqV9odb2+7NkXymUZ2ReWhmPH5giJzrLrEYqEsWyHG+/d4BMvPkMwaHDnzgP5fhobHuNrf/W3nDx9lE889ww3bn7E/vYh07Pjkkkg+oJi4HTm3En5+RqfmCK/c8BhPkcmlZGDR9uzZVRc/FwFP0NTNcnS6IpaiTi/icuH68oB+Nz8At/85rd4/oVnee8HH/Dsc8+ws7sp0wGCqfbEMxdZXlqRkXuRFHz62Wdk9VYQwGv1IpFgXA5WxNChWi9z8eJF+Xmx7K7s7NdrLRr1mvw8FUSX3u0xODQmB3ClUo5Ktcnx40flr/FE9cdnUCpWpZXi9ImTlOsl2ekPRWMsP1rmySefkP+mUqFEXwy9UPnwxi1e/OTTskojdHc/9lNfotPusv5onbv3HzI+OcSlC+f5xjde44krl+XrIGCFmcwAe3u7bG8fcvm5y2xdu4tfwCqbPZqaxuhEhnalTWmzSPbsDEYkQGZ6hPxhgRvvXOeJK0/Qtnoc7O3IxEwhV6Rcq8hFiUiKOK6QKsO7737AV37iy3z4wQ0cwbJwXQayw5LTJIZ862vrRKJxzpw+JgcVghshnlOKrkibiqiQCMNIemBInjmPLcxRb3WkvcBvmFSrZXz+kFQhXjh/Tj7TxJ/xiZeflyrGb3zzm/J8IKIJR44exVZcykLvavfwGSaTE4LX8FgBKTWk587K53YsHqLX62J3BH1EkWyMbCYl9YwPl+4ylJpg59sfkh6PYfdrjE9N0sj3WD/cY3zQ5Lu3Lf7ZTx/lf/i936L+/mvowWkaiobZbUnjQL+7j9sTlrMI7a03CMx8ASMQxi4sYqmGVJC6vQ56KI1lhtBrDYy42MoLSHtUmpB6hw8ICAK/J4DrYmUTlJwLkYh223k8n4HpWPSNAKqSlncqjxp0KvK85ekGRmQAzRNWqyq9tng+HEVRPdoHH2HERiUXynYPZezfNudQrDUQoGd82GYKnx7EEtpBcb7yJ1AVA1d8eES1vF1HrW5gpIfp2xq20DdrYXmP1aJjaN0uXnMfIzkhl60CaOxTxFzgEDP9BO3iHfx6FNOM0VW60BfLWtAVm47gSYm7ltAN9vtQvIYbHEMRiYFuhV63RsA/hNNYxzCCkgmk6Gkc2igCtqhGUG0XSzAFzDhGZ0cCtEUaQyRjqe6ijZ+XzC2rs4MmliHRYfpaFB0BXqzjYqGU3/sNT3EaeMEBeTGyxcFn4xr+kZM40i/dQfFn8YUHJWzL0QISvKdoBubgGemmN3oOjYM3pOvQHDmNWhMHSaFzq8jOqphciM6mmKqQHpV0Qq8q+vnH0MSFWUwlgmNQW8GNZDGCkyh2TZLAbUPFEKqr0Ayq6D0UbmEJiqF/CMXpoHV3sNJz+G1xibyOG51BM0L0qw8wMpclmMp0FbzYlKRLClgRIv5fPkCfehmtu09f0FPVCnboDH2vSEBACuNHcZu7UHuAM/ETaIVb6NYuXX0Ys7uBMvzsY8Lk7hsoY8/Jf5MqIs8xMbVpoHdbqIOXcPev4iTGUM2jGO4mlqujaDZOS+j+FHyxCeytv8SXPI03+LTstgg1IIJkmVzAa+TQrBxO6giq1aEv+qJuXao4eoKgbwoU7Az9vVW67QOCQ6fl5hHXQEnM07z7dcyhUczYAq1WjoDccHbJrd9j9lM/zPf+9D/xhV/8Dr/+c2dxOxbVjsfHD9fxqyr/7+/9fRZXcmxsiz6TwuDAILlCgcVHDyW0RVCdj586zr2Pb/PKK89g6j5++Ff/gPnRmPSJh8MJXvn/ify/9Scf8dv/7RP8wr/8Dfbeuk5iQPiorxGLxjAGzuAKJWThPsHMWfpeC88wMIUGRNgi40OolqDDp/GZcezmtownKq4fx4jKnrRt7aEICrpvDINdEArEThcr2id29LN85eJTFKw4Tz95nPWtNR4ut/Bj8du/8wuoHZvXX3uflfUizW6XjT2berfH6HAM01DY3CqTSmqEg0G6XZdzp8bkNDfgD+Mzw5gOOLpLKhbg4cqu1PbFYn6GBkbotuq0bIeV1UPmjgxLVVIsYMr419LGLmOCB6AqXL22w5XTE1y+dIT/5y+/g4mfH/nSk6ytFTmsdlHoEPDr9JserV4H1eewV2yRiMUZThnEIoI+3ODW/Q0GhpMMJTRaNYfdfJdIwCU7nOHabbGdgqFUBAeLl5+7KDu7L1w8wrWHS3zu2VMoPj8/+w//nEDQIx0PMDOcZTvXwO/WpCP+S184Qmm3zOhQh6NHzjL/w5/HF30JvCK1t34fJzGP1srR9yJEx5+ju/FtOdkOT5yk0RDGCw3HaaALSqlp0K5XMAIir6eh2TZe6jxOYxG7soZVyuM3u5iTL9Fv7KLFFlCsHVxFPMCiOKV30YZfwaIrKz0B06CV/xDfwHO4ji0jZ2I763S1x9aRYBqn10HR+vJZYwsAijjsRaawq/dwwqP4tJB8f6n+CE74GGb+dfohMVTMoNeEei8uP/OPCYaeyEJJaBWmH0fUerQMamMRQ8BkYsdxuyKCPEK/L6wiwphgSs2f4fnkJrivu7jCDCKq/cJy4Ivh1DfwSqsYiWGRksURke7kCbxmUZiKZQrA1UKozTUQA6/SivxseokFCdHUxS8SQ7LQAK7lyu6h1+jInj7BMXSlQbOyj6knCMSjWG4QT+mhtvLSdy26s55gmShC2zOPazfod+v4hk/Tt1R87RqOU6bXb6AqPvzxCayDW7JKpYXHcWp79Lr7DDz5MuXFdeYu/GNePJ0llrZp77sYNNky/Xx8u8l//+VJ/tF//jcc/Nvfp19ZJfLKixiW2Cb06HXqNB7dIvXyz+BtL9IXFo1mi9YHr5K+cBlXj6OMz6EW1qnfvIkpNnG1Kp3tNdLPfIVWO4eWW6cfnZTaxEA6i9H1aBQ28S+cwCsX8YIprM1buHtV4mfP0BFfxvmCJJcrgym5vfdHI/RWV1CEwjE9IhM18ekx+gMRTr/4R5w8GiQbNBgORvgXvz5NpRyF6DC9w1V8VgOEFm93W253tdgI3b0lnJ6DGgtiDozIpJwvksKKpumtfkRvbwkzOUnm8gIPX1/k1G9e5ceOa+x3egwOZsjGwxSqFvcf7ZAcHKTTrlOttxgbiWGYIVp7NQqmwrFPXZQqx80HKwRCAT792Vf4/utvyYuB8E3nDnMyVTYxNsrm7hbNeptoJEok5KfXs7l58yOef/EZmo0WB/t5MoNJzp44IbfoX/uLvyV/WOSXfuWn+c633uTS5Uuygvf2m+9LeJmgjovLnYjTivpWz23Ly8qDu0v0+hbzp2fpNx0efPMDSaIORv0kB1Ps3d1i5NQkI08dYXc1x9qDRyycOIaoRTbrDfnvEaDc6ZlZScwXnf0nn73Exx+LrZPHk1ee4O233gFdJxoOPu7v3rkrKetr6xt87vOflwo/fyAg+9pra5tkUgkJ7BoaHJT9aeGQFl3sQqFAIpaQ9QBBixcbYLGRF4A0kfbRBII2EOLR0kPmxeBk55Beu8HkxBQf3buHX9OYOzJDr9mT1aJmsyP1auLif7i/RyoVY283R7FQIZaIyf55Mh3nxPFj/OB778ntY7XelIdZ0e+vVsqkh7ISGHzj+k2S6aRkoYyMjFEr12Qven52muXVVdLpLIGgXxLD52aniUXDbO/ukIyluXrtA9k5F7C/crUiORmhiI9gwGBQbM1v3ZEpydGRMfxmgFazIQfaE2Pj3H9wj+3dAz750ifY3dpha+uAf/Brf1d22W9cv8PO1jZf/erP0Gy3WVpZoVysyD60oLOLzXq/58r33blLF6RO9/U3vs8Xv/A5lldW5M9W85n0rA4zk7MEQoasHjx4uMTx47OEQ3F+8PZ7fPLFZ+V2WnBz5qZnee/qNWZnprl1+yNpYkgmUhLgF4nH6Xd6dLo9Wr0WtVKdTkskB848NjEEgxLsWKnXOXrkiIxO7+3v0O30JEDNZ/qIxIJoii5j3dnUgExqCLtDNBxmcGCAer0h9dSaIVTJBQmxE8kOQ1VYXBGJPXFeOuTUidPyUl2rNGQVpdPuYTsWnqsyNTtNq16TUfnTZ07L2qiAboqtvkix5PN5/AGVcCRB/iAvFcAinRBLBTkyNy9f6w+u3ZAVkpPiGahokk5//9Z9phamZaRenI3OP3VRDlBu3LjF6OSwPKuJqaAAUj7//DNsbYjL9CaTUxOyb27qJsFwGEP02bd3OXv6NHuH+4SDYfqWI9+PIqYv+FtiIXJkYZ479+4zNjTGwHBWDgkKeeFK10ml0tICEAr6+OijWzKReOrkSd577xqf/oxINdRpV0V90KNv9SmXC1y8dIE7t+/zuc9/hlarxbe/9R2GR0eoVWpyACS+q8YnB2nZLomwnxtfexNTXBjNILbnkNvPEwqZhM0A8cuznDl/lm/+1bdk/WEwOyjTCMJ+kNvZZ2puSm5+V1fXmZubYXlJaD6HGBwdZvmBSAIMSkWoqNrU64JtYckBnwCM6qYmLRMC6Lm9u0UynmJ5aVnyF4TK8HtvvCM5A0IXeOHCeQkbbLZaj6sk/oBkpgiDhOAhCK5JOBDn9p2bMgkkOFTiGSQGP/VWm1a7KuGRg+kx9nP7EuI4MJhheHiIgcwgpaJYuvXls0aoO8WiZW5hSrIjxGD05PHjvPndt/FFDV743Kd4+z/+De2dGmZIIRhTqdRgIB5iftDHq48qVHMuxcZfY+zuUVsRybooZruHExqgU9uT6WPd8NOnjS92kX7hPZR+E0VE+oVaXgA3jQSIZWb8NI5bx6suyruI1dpB7ZXx0pcwOpt0a3n8oSjoIXqBGZTdV9HUJMrky7hOCb20RNevY5iz6J4f2ymgVa7L9KiM89ttAqFRuu0NvEYeZ/QiqqhVaT5Z5XYq62jpBZSDd3DHviSBjM391wlkn3m86BALJt2HE5kUEDXc9jqoSVQ9hmJYEjxvOG35+7mGiuqF6DtFtE4ZNTyAVy+hDkyjMER35xsSButGjmPoAgzdwouksYWFoHADdfyHJHehu/ddtNGn0EID9NsdDPJ47T56IIPriiFcF9snFugumtqRXDy362DEJ+hufxM9Mihr+ebMT2N39lAO70FMQHy79Mur2NFxmVzV45Oosva6i2okcfst6BQkH0upfPg/e1pHQKli2OKQExhAM4ew3AaqVcMLDOF1dmQviWBK0vPp1qRaQM1ekV/8Qh1l5RZRAqOooQh2dVm6BruNCsHoMG50Cmq7NB/9GYHJ5/EFjtLd/RbG7KcQ7jans4lP9dNq1/A5TZzEBG6rTVBspHUfRqeEEkrjBLKyO6babZTmltzgO56NIhQJVgvbKmIExqTRQGsuYkdn5ATb7e4/JljXdlDEFig4j0oeu15GzRyhv/cO/dYBoezTYAgtXw0vNIrSV+mW7xLIHKW+9A3C08/L7b4rNHwCZSd05WYYx2qhCijEwCfRnLbsN6pWEa9WpqvUCQRO47p5rG4ZXziKEjmC2snhCphhIIXbaKB27qBEz2OrPUyhuGsdojlNepZGQJgRepbUlgjzgGMr+INxbFenL+LLho7XKWAkjkoonaRI+gKodgPF2kIJn6Nf2MEf1GkJeJcex+z2SJ45RWX5KhOX/xdeOJuQ8b+V7V38hsHWZpuf+uwcZ8/N8vrbtxjJpmXkaGJilK2tDfzBGFbfknHQ1bVtBmMJnv3EJf7OP/hNHq60eObiILfv7zEzFOa1+xaXx1y+e/MvUXJblHNlDJGGSB7HsNboNzsyidGPhtELOZz2uhw6ecLHHR5FjyZoF/MyZih4BEp4BKd5iGpVsLUwTn2VSPQoXa9Ib2+X+NxTtB2fjLaJg/ZXf/xX8PwR8ntN6XjtqhovnD/J3/vqRbY3yvIqJ74PC8UGjm1Rthxe+86HnL9wmtWNLdo9h6WVA2xbR/V5aIqfRkNsmTWmRk06VoCtvSJ9NHwRk+JBW26BZ8cD+Pw+OXXPbdR44YWj3Fpaw217NP7LZiiqesRTCdmXPXpkiFZTZ2M3x9Bwgh98lOPkhMF+wSYSMMhmxJebzt5OE5cux6YTLK5X5AE5EtQYTIneXlcaJUIhlWhUxe20eeL8aY6cnGB+Iku5UpaAJdUXJre3y817a7Q7CmOjJkMjU/zG//G3pJJRatUOg+kwxVyD0bE0y6tFRkeivHFjj/OzQ9xf2pUqp1/48Xl+5kd/lNnjcRg8T299kX5+hVbsJDEtSL+zgmomqNW2CYeT6K7zOOUSnZWfQYnq1QZwzMDjLwSnRN+LYvb3cfxjaIpJ362iJ0+gVvfp7b6GOftZnG6V7vr7GGOn5WecVkuqlBThp1V69Huilx7BEp0+LUS/ty8VgqoyINMR/U4e+/AqgdGX6Nc20EJJtPA0XcEcUXs4ws9qC+6jANiMYBVFSqONP31c6u+6lSWM4CB9t4Na20OLT+BFT6FbNXq9bXz+JH3HAhHDj8/i9tvYzQKKPyLhga5h4nZrj9Mq/qx8fgnDidM+wHa7+AbPyEGAUJUagQjd6j6aP46jNFBdQ/bD9J5FT3cwzCx2r4raq6H6RbwrjBoMY9cKKI1DlNkncIUKcPd9LGwCQ0+juH1awgkrfk1oTIJuiMygOn1soZfRVPqKLodFqpZBt+tyUOLFBlGVlPTTit6Z8Nb2BNshkJRsFruj4Rs/h9cqEDt1hn/6ymf52x/keenFAQmhrFZsbu7UsJsN9nJ+dn7wi7hOkEbpAN310SutERk5SrlTIFy3cKIq3fVNCRzMXn6F/v4SndIeSjSBNjpLf2uTzvZdghdfxKi0seuH2Ptb6MfPyiGNVathWBa650oOgzI2jFb3aG0vyQOsNjhIIDBMq5NDrTTpBzSM0Sm81fsorRZ1X5j06fO4S1dpEcOqHJC9dIW1G7f4/D97m5/81Djff3Obv/idT5E8cZruvQc0DnYwjyygj87jrN+T8FLf6Rdory1jCC6LmPhnx7E8H07uHgORJPliHcPvEAgM0qnkCJ2e4j//2+/xT9/c4uXToywdFgiJNJRry25lIByg17bxFAGT8pGIhSnslAgINszsAKlMmu37m4RSEZIDKbq9roSgzs/OkMvvcOL0KdZXtqnUSkzNzwr5JKsrK4yNjDE+NsbuwR4Dg2kO9g7lBWfx/iMCwZDkkYgt/tqjDS49dZ6dnX1y+wf80Bc/w833bxKORGTPWJDUCyJqOz4uNaoi+hsLh2VkdXVlg4imU7+7w8KFo+ztFbCdLlFfgH48hJL2Ew3HsJrCzjIqawaFUo6vfPlHeeut78tO8sbGFs89d0Vqs8QWPRZOE00EUD1V6k8r1Ro+8XOJxmg061L/Jy7uYiu/vb3F7PwcvW6fza0dvvjFz8hk4N3b95k9MsvDh4tMjU2QLxUkzX58fISlR2tEIjGSKbEBEtFq4bsvMTw8SKFUkxchYWZIJtMsPlpkYWaOQrkghxaizz89OcXDR8tUyhUZc5ZAYtWTcV5xGRRfGDs7W8zNzbO+tiGj2Mlkklsf3pIX3HKjTL3cYnA4w0svf5I//KM/JhGNymSFMC4c7OU5deYkW9ubZLNZeQlvVpr4Q6b0xjcEUFmMkrsWV564RKVW5tbHd2SfP2D6JeBN/BcOheUQ4+O7D7HtFq7t4QiIWrvJ7OwC1WJRXtQV1ZWXZYF5PnH8BMViVWoN9/f2ZABqVqgKP7zNyeNH5bxUQOMygwPsbh2QkVt58BkG2weHjI5kJd1dAA3lhsaGfLlMvVbj+IkTMk23ur7BwsIMgWCQQzFscbtSRfzeu9ek3jASjspIvEiExKMx+R64c+sOL770Ag8XFykU8rz00idpdprcv3uPsfGJx8OkiRne+N4bhGNxTp04LjfTohMuCOxivjs0OML21rZMS5w+f5KP79xjbmIC23UJBkLy8qqrKtmhLA8fPOCZp6+QHcxy684DlheX+MxnXuHGzZsStldvCmDmuBxQLy+vyESOgOSZQlnm2iTSGdZXljF80uEge/NDQ2O4Xo9qWRD5G3ILLeCEYpAhft8L5y9QKuXl++at77/N5KQYFpWoVCoyuv7Kyy/y2ndfpdZoEzLDEionEgjCivHg/qL8HBzs78lkk6i1FIVW1/BJ8nyl2pCvjfDJm6aP7ECWw8OiZHGJFMHoxJBMTqwtr3L0+FF5LhTJD3FpFaDOdq8hU0VieBeLJyWt3u83GRka4+HDe4yMjnLk2BE+vHadw1xBMheE434vd8j0zASuUN/VO7JOIfrltyZPWAAAIABJREFUokIhaOulalmao+TF0wyS8QXY+GBRnpEtw+X4/KxM6DiOhZGI0fD7pKFid32D5198no8/vMPu/jYvPP8cH1y9KZWMqYGkZDaIIYOoGWysbzE9O0UyIlghHayeR6/flIPP4aEROZgX6ch4LEmv02JRgGWzw/j9QsFoSeii6OCLiHs8FpVDriPzc9I60uvbMpEijj6PLSwGI9khHq0sSVDi/PwMO1t7NNsddrf3iMaiEngqznWuKyCvPvKlCnMzkzTqXXriXmB3SCYzdIUuNZFmf+9Q1jxEc1GcY2+8d5WJ2SkOt3bIjI5TtzqYzS533ljm6GQQMxPFZ/fEYh2fatJ1ytxe8fEHv/Uyn/+VX6N09VV0JYKuiCGpj47nYPrGsdU2qhbE63fQ9ai82OuqjWeMSiWg28rJSqQZGMZpb+L5grgk0ARg3Z9GEylJMyPh017fwgyLKudjxbxqC0BfH9sqo1o9SD+BVl3G1Wt4kaNga3TKjzAjOoo5gGKb9JsFvO4OWvqkTKcJ04TIwLYaZQJTZ+nmNzH1AJoRxCm/h6Imsc20rPVIXburYTsddNtGT52Qtcp+/n2M4CieGGT4x1AFgLxdEMQ78E081iN2FjF60PcpmKlL4PbwuhWhpsIWamLDxTf+DLYAQAoFszjL9YpEsgtUHr1BOHuSfjCO1yijacIf/zhloYWPoZoGareG7XaQzl1Nw8vfQx35NE75KopvEqWZkypjpS+MH4IuLfh9IfTmOq4Wph+fRq/solmH2NFZyRWwGtsotRv/k6f3hM5vEsfap9vax4wJnVZWXu4VM4KT+/94eu8g2dL0LvM5Jr3Pysos79313rfv8ZrRDAJGi5AQEjLDsmhFiNUSQEAEASGW2GARIFYSwQgJjQBpxEgzrXE907d7+nrv65b3VVlVWen9OSfP7vvdjf1jIqZ75nZXmjrnfO/7+z3PHK4/iGH2YPubdCo1fLFB2gezaALTCnXj732NZvYWgXg/dke6bBZmNYttlHFLOXyZS2iaRbvwHF/fG+qiJl1YvZjDcZv4+y6gawGa8/9ddf310bcx5YVI/GHp27i+JJ6+S6q30GnsY8iDqECpWmWatSy+2CSdoEQxWgqk4PGadNotdDmQm0E1NHCbctD04Ab7cYRr0MjjmCm0gmwTv0C78hxj/Radsb+iOsOu18YbOo6VWwCjhZGYVs5Jx+/DcDxo7jo4SfXPFw2d4Wmo7q8bG8FpNPDUXmIOfIpW9g56eRmje0Zt8KjlcCxhLZxHL2dpCD0yNAhhIdA+w+wE8KYOYzeL1LYeEslMQL2hKP1ucAjL2lFVBK1rWunyDCG420U6Yik4eEIgMIPrN7DtPNghOrqDvfsAw2oTGH+TjmZjl0pEMl2YcZ2LZ35FUdYNj0urVeG1S2f402/eZCwT4Q9+61f44ccP1c1+YXGTRDKq3MPDI708fvqCWr3JlQtvsrTwnHDcZGmjxPsf7nDiRJrSgVDwj/P49n2uLzWYu/0b+J06+xsuvlCRjt1WSj9DTAaZ01hb15TG0N99HKvVxIj0ont0rI6NVnxBp1FCF99maJBGbgWPtQUJASX208xdxSSAnr6M09ymtbtC98w49eI2py7/Ky68PUBlq8bhqTTXH23zs3/5dQYzXr539SHvvHmZ773/EW9dOkf/YArHrikIVHe6F92rKZL0h1dvks50qZtEveng000VNXy5lmVtdZU33r6IU6nx+NkmV16fVpPg//InHzLcHePE2SmufniXVCKJPxzg5s05fv5vfoatjTX+4nuzjI1Jh9LH3NwaJ44NY6ltucvgVC/TY+O899414t0Rgj5NPUQPDQ3g87tsrOXoikgSIYTucZia7FURzpXlDfp7ehnsH2Jta4snT2Y5emSKvt4Bvvr7f8z02AgLyxtMTgwTS8XY25JIWVNBAf/j793G6tQV9HF2foGWphHwdRjqTtF2dT5xpYuhwWP8+9/+Fm67wbXZKn1xGIqafOUrl/niV34Zoy2yizqV/QK16i5hGar5kyoRJNHM0MAx1ZGmuaUGPG5lCcPXjVVcxjIl8juIKXqzThSnIX9mHU/XpDr0d9pFOr4R/FoOI9xNyzuEuf2YcnmeoBGkE+tRKQFf+TpW9C28fjEPtKnmdwjFhpReBXcPw59SyhrZHLbb0sH3YHn9RPBQkQN9LKGGibZs/r3ihtewGkW0YBhHC6BJ9alrXMX+dLmZ+9M41UUMfwKrLhH+OL7ghBpO2c1dfIE0nYg81BRwSvN4QtM4zS0cM4IZG8UtPQLLxUxOqsi/MC5o76jrnWuEcAwDj91QVQrDm8TVatiFWTRPBE9gALuzg2lMYIS9NPY3Xzl6M6+9yilkr6Ol3sJtvsTRh/GF/LS3rireiKa6fHWM+hLeQD8t11BxcK8wE4IDKkUgqsX23jWcxEVC7RLNQEweT9Wg09OU7p+D1tJol+6jDX6ekFOkvD5P4vV3cMttLl/6m5yc7KXWbrC6UVJgq66kRlN6+bst/uMffIJAKcHWzY8Jnj+D3wmSX50l0ttNxx+n05A+fZy23aJRyuPdyWIMDOGp7dBwDFUp0yoNOlMn8caCVP/iTwhc+RRGq4FtNPGlpmhuzau+r6fWob23hLd/AreZQyu7qjLQ9rbxFw7QbI1WM48pfT+jhVeMAy0vB8v3SMX6cCImiaPj/N4/+0/84+/k+dsXe3nv+iq3rv4dyp0ItXs31AA2NHqZVnEfVww7tSKehkUn5Cd49BztLQGamtgBi3jdJdcoEvT00mjtqRReeX2BiZ/5Cf7Vv/4Gv/uDVb5w4QQPnj2nXIFDE73kqmLBqdOwW4oyLhF7idUaloneG2X8zZOkY3H+5GvvEU9FeO2NS6wvr/L8xSKTE+N4PDqFQkmRpveLBSzLUdCpSqmsqPjNRlt5uiWWm93c5PipEwT8PrXxrZXK9Az1sbmRVVH13oEMGxsb1CtlujO99KR72T3Iqvhqs1lnY3WTy2++xub6ioozb+3vEAklGe6Oc+ubHysbQTyTxuvT2Hi8gG+kh2hfkv6REeWkz+7naDdaCpImiqvevgy2ranD28nTJ/jo4x8xPizd+ILqxH/+C5/h44+vq8GhsGounD/PgwePqNQq9IiuzedXusLs9jaf/eyP8cEHP1T6tEgkyDvvvMns3EvVRR8eGWF3N4eLzUDPIGsbG5SrFWVNEI3syPAg8y/nVNLBY4oSuPMqhVSrqaHvpz/1Cf79b/4On/7sp2m2Wjx/8px2q6XMCNIH39+TbW5UbRU3t7fJH+zx9tvvcP/+fbXZ9wZ96iA193KBU2dOMPvihfrrZqutts9PXzzj2OFjRGJRdrY2yRcqauMm/1ssIQre93nt4kU0r8GND65x8sIZ9VAoQw+JuB4UckplJod+x4I//u/f4sLFU4SDfjY2t9WAQu71K8ubnDl7Uh0kshvbjIyPKBaQDH99AY86cMjruHPnITMzU+ozkH/exPgQ+wdF1XUW0KAsd7q7e9TAQP79Al08fFjsJS7NpqMORpneFIenp7h18w7b2/uKpVCplkgmuvF5IZ5K8/LlPF2xqLIoZHf2qciAz+tTdY9UKq1UbatLy5RKMlDzqUN0JOBn6vA0d28/VTVOSVwItK1ULhKLRPFJJ1bEwtWS0sIKvC0iCRbDYG11hd6BQZrVNv6wzszMEcqFgnou2Zcoe6tDvVpVNPYjx4/z8uVLZUxqVquq/ihDJ2EZ5A72CYaDHOwdMDUzxdOnz+nqThKLhFlcXlXdc4EYip5ysL9fDWpmZ+eplMsYpq6i9i+evaSnr1clgRYXV1QSsa+nR6Uxe3vS5AoFxT4Qi4BE5TP9fWS3N+lKpFTCYnRsSH13Wy2H+/dv05VM093dhd/nxRP0KyXc7u6u8tCLD94wDZWG6c5kmH++QNtqEY6H1SBJoIqS3tlTxqQRVWMIR8IKSrezs63uIcJcmJtfxGtoVGptulJx5bSPhgM8fvREzXryMsw4JbrMMttbm/QPDRHx+1haWqZcqjAwMsTW5jqpdA+1cpX0QJp6uUbAH2JpY5FT58+w8qOn1LfzjB8ZYXV+i+6+uEoTFHYLdL92lEperAZtZmYmuH7jNq6l0dPbTTyZUNUFAU72D/RwsF9QG3W5VsgAcmFhXgH1JCETj6QI+iO8/4MfqCGq3Is6mkGjWqG7O0UkGmPuxZziJwhDYHVthY31TXU9bTQtgn4/2zu7Ko2UTCRptWWY108yGePl3DyVYlXpAVfEENGVVLrQcCzE5soGE1PjqiJQq1mqTrO0uqQGXol4TKVvMuk+xQYRpWePshpsqsFoNruD3wxw8fJJVle3yO3tKUPH0+dzaGaHT37hXbZvzrN+b5aQbNeDXqJJL8trRVX1GR4b5fvffszOwr+kETmEJ7uong88Wpx29TmWlla2ICc6gN8vesI28gukV9dpm1EMUe55g2i2pRa1ui+DW91U50qBG7tN4eNUMVt7OIFRzPgozed/iGfwPG58CEr7tOpb+Lqm1D/LquXw08AKjOB2pA4cxQlGlBbP2rtLQDSZ0RnarW2s8hqWbmLGD+OrzdH2pfDGjqO1NmhVt5UpzogcVYwCt7ypAIMC/XOLu7iRXsx2WUGgNV8fXq1BU4vhVjbwS72yY2AakiYNK9CeHLg1bwS0Htyt79AJ9SqdnwBCZTBjOALGbuGGh6hvf4zpS+Ad/TRO7qVKoprNujIQaKEJtMYCHZVGiGC5LqZUNUWHjQfaFTqGpXh2vpo8o47S3rhKxxfF8iQwrSr+3otYpoEhKYa2pRZYrfws3t7LWOYrRbZHKup2DcNto+Wu/1PXdKATENVeGL9ElFpNdN2P3pEofxunuY8eGsews7hmP65bxy0uYVc3CY18WkWOVKe28hzXLz3ZETx6Fbd+gOP3YwjcT6LbviiuL6YekFyfgVXM4o2MqgtE0ymjuTE83lcqwXZBerhVfH1XaOkdPI01dF8P9Z0X6sHTn5zCbYg+sKn0Ppo/pGJ58rMISFCiKTLBtfKzeCJTuGaRjt6l9EtoIaVEcJwaZnkfVytihQ+rDZv4Uo3SEpZbwRcaU1YAOYh7Y2PYHQutsomtmZhd53GL97Dbtuq56AI8zM+h+6NAH8jDtlPFCo7jjQ5hNqrY9X2sQBhvcx9390fo6U/SahfwRUNogRkQH6VPFG012iEfXttD0PRQk17K7i3M6CHcUAqzvknLjWDtfYg3LLHMDsQnIbeAXX+GEZpQ/26t+w18hkVr94HiBTRqFfymSXnrHrrZTXT6GMbkcf7OWz/Ox0+rHJqOK9/9Xt1mbeOAeFjnT37715id3eS77/+QE6dOYzktHtx/TCzexec/9Q5b+7s0qhYLyyvMTPVzeHqEn/7VPyQYhHcujZLdPGB4PMZv/f5z/s0/eZ0v//pvULp/FUMI66FpNSRq1fbwjpxTxHersY9W3MVM9dEprP//8W8jGIVmk1Z1H29SHs470NzEFV1a6hzWxke02w3CfRewBcLR2iN29iSrd37EpXd/h6/8wus8eTTL1Ewfv/uHj/hf/6fjvPXOGf7LH36HC1dOYjfKWE6HSEJ63E3SXWEePH7J8GCGxw+e8bkvXGY3m2c/t6d6sycPH2ZRNjWZLgVgqrbKdJqvqMbxuFdF/u48fslnXr9Mu1VjZbeoNllvv/kaT2ZfEjINRqf6eO87dxgZ6uXiuVO8990PSMSiHJoaUxqmnpFBsrtbzD5b4uihcZ6+nOPwoWkarRq5bJ6DqkT8A0RT3ext7/DixTxXLp9jbX1LgYKk9zc6OsTqhnik/coXPdAzRKF8QP/oMB7NpVhpMDM9zMu5DdZXVnmwkGdtPYtXqNa6S2/PAKVSntcvj/Lf/vQZ71w5xOL8Eumhft6+0M+zZxuMjk/zb//gL9gt6wx1Rfjijx3iV//W66QmzqoL484P/gwt0k0wlaa1v0xA1Ce1ZXyiNpRLWyYNegJHuAN6gI7vFeHdbSyr3yfpE7tOhE5zD19atmdh7HpeTWf9tRWaVgFv6hJOaw2zsAKJszR2rxLMnFYRrlZ1kYbTIRBIYhgx0Bp0Oj484X70Zk5dGEXd1zEj6JIs8Tro/kmsnXt4ek6gdw5UlFT3DIKzrw6UYjfRPRbtUk5pV4xaDs3ZwQkclSEynnYJS/eitXKq1ynDBPQgptzA6psQO47XtGkU1hS0zxvuV1BVW8CB3jRa80BZHhwZatlruHoaXQCZ4Ul1TRYyre2JoQW68QhEtCKRrjyOKPOwcZpVVR2wpMNv1OjsCRXYwBg6h7vzVP0M3tRr4G/j5ndxzAyGVIfadTStSav4Em9wTBH07ews/swhxdtol1bQnBKYYqmA9n4eo3sSR+pY1TXM3vN46qvUilk80QzhU+/yq+ff5N6GaN4sQo6XIxNJ+hNBljf3+Tcf5Xj+1Z/i8IlpVq6+T3p6mmZDx87vq/haZOokhac/JJRM4vrS4FQxkl1osR4q976PX4aIxy7QWZzDTCZob+zAyAhGR8fYWMMd68WoOZSLOwQGhrBKFXy1Ohy6QGPpJh4BMAmFOplGr5cUQyDcfxJLHjRzOTybC1RL23R/4su0l5bZ2Z3l8Fuf5St///f4r7cO+OzRCG8Nx/ilX3qD1bvPCB0+TVDvqGh+s7pJ8vWfpfj+f1OE4sDYIZy2i+k0sKp15TC2u0dV3ar17BF2fZnY4AncqIdoJspf/ZU/ZW6njBnwEHe8VNpVBTTzBA1iIZONnSq27eINezEdk+31PAOvjePriRH3BxU4TkH7Ut3q2r+xts07777JjWs3qNVaDA71Uq01lcJKtk5+j04kkVBAupXVFaXsEiaAUNtFMyUAxL6+AcqVAo/uPePcpTMYusnm5gbdqQzraxvq4dkQvoVmkepKUcjl2djeYmpmmr5MhvXtLYIeL3HDh12qKa7JwUFVpc/0loUzkOTwhWPq7+uORqEsJP0BkokUi4sLREWJtbOjot77+RxvvHaB3EGR7a0NXrvyOh/96BobG+u8dukSs4vLjA72s723S8DnVVt1GRREYhGWFpdUZFhivDs7WdU5l37m0vwSmZ5eLLdNMhpTG2EBxr1KAgwqH7co0Y4dP0KhUmJ8eISHj+6T6RsgEQlRqtTU9mptbY1EPKq4CaIeFOaCJNi6EjFsV7Y0Nqsr61huh9Mnj1IpN1iYX1J8gN6BXlq1NtVahZlD02rr/fz5c9UhT/enOMjLvVlo9B6Wl9fw+f14RM2ApoCIAX+QYFhgUbb6s9vZfYaGB9lcXVeEcdHTFQp5YrEumvUaoURY/X9Pnz7D++//UMXMtzb3mJwe5uSJ49y++0BtqCVaLFHmUrXM2VOnlD4xGvJy7PQJ9vb2WV2W+k+bWDxMKpVk76DI8sIS4bCPSUlctNtKWSiHlP50hly5qDS/sy8XKBdL6rApW+tKpUJ/3wAtq0YoGGJlZVMNYnrTGWr1Ols7+/T3phV0V3gLEstPpVM8fzGvBlCr6ytKbTk4PMCLZ4tsbG7wyU+9ydryGuFwhFx+l0xvv9LziRnjx7/wOSrFkgJkBoIxRYTXXJdSqcTJk4do2G2W51fx+4Nq+1mu5Rns61NxdRlSCFyxXWvjD4XV6zBMCEZC+HQfL16+UDUTTVgrlRLJZEb1uUUFeOb8Ce7cfkRvbzfnz5zlW9/+HmOjIwQCPvW9E9q9vI/Sm5ftttWy2DvIc/TQFOubWwyNjKgqi7xf5YMSA4N9vHghxoReldCS4bSYIgRyKNUT27bVwEeGMlJbkeHN6samWugIn0gGA1Jrk0Px5vaOiu2bhpDJbcJy0HIdCqUykWiAd956m2/8+TfJHxQZHR58BbXb2VHph0AozMrqsjIhjI6Psbe7o/68VFIWFhbo6u4h1RVTPXivR1eVi/WNHcbHR0h1dVOrVFTdQlVx9vbUwFiUptubq8S7Y2R6BmlX67TF/hKL8vy7txXHQTTJsZhAk+scbBfoGesleHiEtWfz6ueSzz4cDeLzBFldX1PayR/7wud4+vwJjVqTcuXV9VU29nIgl4HH+YtnVTVgbWWLdCaFPxgkGPBz4/ZdhvsG0M0OsUhcDViEHzD7/KXSOUuV4OOPrhGOhIjGo3R3pVRtKbeXoyQVE0NXiSrRpR4+Ms2NG3d55923yG5uc/vuff7SX/4Sd2/eJRD0qQ1+LldSCaVUOkF3OqV0f7du3VPfLQGd+rwBiuUCuXyJoM+vbBeaC9PTYxwUd/HqYR4/nuXK5cs02xVlbekZTRNL9/O1//13uHR6kI29CnFRXMa8WA2LTK+Pr35rg+//23f55M/9DNsf5okNynV7Ey3Uo8B5ckD3dE1gC3tMNvyxKQW3a+ceKYiqAh17gmqYJrByO3sPTTTf0WFVj7ZCUQxZ7DSbaGICEN2gbxyvX1PLH5Uq10Qm70cvzWJ5etWwyrJ2X1UmNz7CGPwrUJvDEBWuLumkGJ6AF8frATeMp7FFtVpHC6XVucwbGMPRffhEf5zow3EtqJUJegdpm1IpLWAIoDeQVkBF6kWVvBWdvCV/7frR5BnSAtPexzKjaIFJTIFQW1Xc3Zuq1u/rOQvBkDK5WI0celtA4F4su6ES7WZllRYJvMkZattX8bo2ZmAES6uhaR7MyGEF+3PtMnplF8fjoLlJ9EiKjqjhXRO0puIotFwfxt7sK6NaowSpEQw56LuOggAauQfQexIj2E+rXqRTKyrzjlb8+B+5emIKKuu0xd2YOKw+WDnkCvBJpmWiiOiUFvFEj2J7FamETukJhncQPRinLQd0vY1eEod2idr+Gk6oh0jvNFa1pbzHspm3G6VXD8S2Tjicwi5k0ZO9OL4RyN9TNzHb16MGAG67BLm7NN0K/qGfAF8vzv6Hiiiup8/SkhdZXEaP9KApKJmjrACyJZdeuNASO66BN5SiI6NG0V75daxqmY5pYYqerbEKsWH00DDe6h71ygquTw73p1REmo0bkDqmdAly0NRG38TI3oOGgzNyVvW/bbdFJ7dA0y4TiBzDDJi0LA3dKOHWJMpi4vfU1M9ruE30+Awd/zSU7+IKx0Cu0uVN1b/uyCZL68fDFlb1gHbzAE/qBG59E0MgK12HaVYOsDd/RHDkU7RLs3RiI+jlDQwZePjj6ME+7Pw6dvEx3tAonuQkjdIsHvlyC3e6sIAV7ODrWHi6LhE+PMwP/sOv8xP/yw1+8rOD1Joa+wWHrdV9jh/p5stfOsfeZoFKs64cxKNDgyzOr7Jf2MWqtdQDj3QU51ZXOHnoMKdOZfjFX/9PNOtRIpEW2A69AyP8+fcfcfm4l6//6E/Zu/FdvL5hzGgPrtdBW7lGrZMn0H1GPTy1inOYYfkMquilbbTEKB15T00dt5EFb0o9sEglxePmaTQDGMlezPwaOHnqDV1tsOJX3ubjr32dv/Qz/4Fjh0I4TfGjJtnJ1vgHv/KXGBmM83J+i738PicOnVI0+K//j/eUdikYCbCzkVMRwP39NQ4fO8zNa4/Z3t/mnTff4NHdp2xmNxkeGuTddz/JtY+vky3u8D//wt/gT//4QxUj/bVf+2Vu3b3DzvYBwyP99PYm1TbowYMXXP/RHH/lJ16nfyzF/mpWqbAGR/toWS4bGyskuwfY2Mry8skcR4/OMDU9xO27j+jpSquN0dnTpxUYKZGKsL69QqtuEAp6mJ6eUBE02U50dSUVhGZycljddILSOdNcnjx8wMjIuHq4WpxfwR+JcHJmmLnldb72jdsMjo8ou8NQv8AvNdy6w5f/6in+3e9eJ9VvEdDj2JbG4Gha2SVi8Qh7hQoXjo3zO3/0IbcWGoRND2enHH7vD/8hA8cuQrZAYfsxhq2hp87Rzm+DdLsMHx2PWESqWP44HmuPdquEJ34a1+/FabexKgVC/oZSUJp6N5YmF8IirXyWUGYUaiX13fb3jNMoruLRhlR/qlO+pRSZmutTnljD9dBqlSEolo46llXDOZjDk5HDz4CKgrUkFu/u4jZtHM3EGx2huXIVPWjiSZ7D3rmBHhnBCCexbC801jA8ATRPFI0Eutl6pf8rbePYFiF/kLamYTiy+5IOWQzdl6RTnAOzC7ezj96o0Umfw3Qr2IU13NAwnvoL2jII6z+rkkESj3MdgVuuosvhPzCILzIInTqd9j5atYQjP0v6FYTVrpYUVMqjVdDsEHYwg1a8hRMYQg8P45Hp+f73sffX8YSSuANv0CrNodeEmnsE0xej3SrgqWzhZE7jtIvKxOKLXFBKQemCt3P7GNE0pmHREaqGUH3bDiG5UYWnKGSXSJ29qIj3n5j6Mj1TJj3+GE/3qoR9EeK+FqF0iIV7RW58729RW99WfblWbJBAtIvinTvED/UrxZiz+JBOV5rg4YvUJSYn3yOrpPSunv4u3GIRb8eglt9GP3YWv9Oi8eQGNXFRy8Zv9Aweq019fwN9+iw4FbSVTfSpKay1ZagcEHrnpyiuvkBbe44p/X0zhJvoU/Ah88QZ9HKTcGuR0uI60//oMWe7DHLNDr/1pRSnf/5nsdc2aFgall7D1BK4hW30cIT29hr0pQkcuYL9/tfVvcB/4g2q+zIIXiB+4ZOKBOxvOBSzbWIXJ/Asv+TwT32dQ+MZ2oGierjtCfaxIkVNq0ZvKszsWlndF6JdYZyqBSE/6QvTCmYmD7FCmZcedbyrm6ePHnP29Flcs8PV9z9idHScsfEhGu0W2Z1tIsEYPQNdamu7sriiDh1yKB4Z6Ce7m+Xl3IramvWnuynVmyRVzLeo4vUSAxaYXL5QoFQuMTk5QblQ4qBYYGpynBdzC+pBV7Z2Y2PDvPj4Ngcv9umb7iGRiFGu19hZ2eHI8QmG3zzHvUfPWH05z/joiNrSKW1hMMbC/II6rJw8fYq/+NZ7ikI/fWhaweBeu3yJ7E5WxfuHRkbxGV51nRTKs9dnqli8pBGC4ZAiagtl/d4e4U5EAAAgAElEQVS9h2qT2T/Yy+LiS3L7Zd55+031upZXVkl2dZHP5TB9piKfD/QNqr7w/IuXqqvdbDsKCPjo6WNGhgYJhgIKoDczfZjHjx/y1376J3n/e1cJh3yMj02oA6fA1SSyLsOUwYFBHj56xPDYCL2Zbq5fu6ki4j1DvTy+d4/hoXGy21k6uo7P++qeFg5FqDfrjAwNs7m1wcF+id6eDMl0glazRXZrl0BI+usJYqEATx4/V/HrerOB1XIUxb5caTIv/eFMlxqepBNJBXCcnZ1V0N8L587g6pqCmD6495ihgQEyPUnqDUsdeAaHx/jog4+pVqtqSCQMhUx3Wg2Hbt6+zS//4s/zZ3/2DVZWdhifGFafl3TRt3e2aDVsavU2lUKZWDJMViCN44P09g2wtbWt9Ga5XUlQedTr7c9kePjkMZFQiHi8SzF8wiEZCksCU7habV577SJPn8yyvbuDz+fn0NSMosdLBFvXTQUXHJsa4c6tu2pDnsvt0t83xPLyKmOTI+zv7Kq0x/kLZxVDYmpqismpMR4+eITh8ylTw+tvvMbVj25QKh+Q6hLvfIqnz54wOjrK1PQoT58+UUwg0ebJFr2vR2CYOY6cOKYOukonqGuMjo8zPz+PxzCo1pvMHBpnaW6e3sFevOJx0izWlraUds4f9BMKhtndyzIwMEgo7OfWrfsE5H6j9JZ9rMqALhFWG+BXdoSTZHpSbG1sqtqNDOFWN5Y5PHOE9bUtmlJX1TxKnbu8uML5S2fROhovXrxUKsjpw5Pc+NEN4skuNVSplCtMjI+yvLLG2to6h2am2dnNkk5nWFtbVVaveFwWdwZWSyLkmuqyy/e70WyodIiAKmv1ChOTU+r3/fHTx2pgKFXD/YMyzXqVI0cP0Wra6jPyRwI0aw1iiSRBwyDR083OxjYTkyMKGP3R1Q/Uvfmdz3+Sm1/7MyKun4NmTTGaLr95Sg1j5h+8oOfyYRLDfRTW9mk5tmJHHD48QzGfV8OTlaV1Zg5PcPPaDaYPH6VjtSlVq8RiUfVapKrz7OWsMgHJNWJ9dQ3T51PnCRmynTh1jPt37itVcKlSpK83o2CNwu7IpLvJ7u6RiMdVbbkjZiAXLl++zJNHjzA9PvX7lds9UJ+zDBdlATM3t8jMkaN0pSPq5yvkiyq1JQkJSQSsbaxz4cx5NZiRWsGapHH8fs6dP83sy5eUKxXOXThHdi2ruC1SJ9ra3uZv/Y2/zp9+87vsH+xx6fxpVSN58nyeL/3SX+OD/+tP0IstjpwboJQtEpZhuNuhWd8jGtR4uWbxdO1r5K7dwjQkpt9DRQB4ronfH1Xnro504fUWBAZANspuL0S70fO3QexcAZ1OcRfNzqF3iUrdj7b1Q7zpC9jyfS4vKlOP1n0Gq7yEnZtXViePxObzKxjtJp36Bp3kELrWh18W4u0mVnWDYCyFHZBnpD06xSUFCUcYbGZcLYjNQAi3KnBmAT4nqfuP4ZFIUWURW9LH/h5ahUX0xjb64Ovo5V0sZw9v5hNYzSI0s2i+BK6cLR0H19uLxJzkHKkLw0nMSZIoreeUktl0RaFt027X0es7mKFBlehqPP0DjKGL6IFBXEvH8njwN7M0bQePX5bSYLVrmOExOsEgneI6bruIPxSjLUwmr4FjChMgR2P3AWbiqFpaSfXV57TQTEOBZt3SQ1pmnEj8CG0x7xmuMqOY3j61vCfow9SDWNVtGQD8C5doRm1NvfVN7MiQesEeX5xWZRMtEMMITaoHWk8wiWato1umevBritBROq7UMcwEbvI4bvUZOhEcQ5zRZVyZeEjMwUziTfTL8ATLCmG4VeyCvEDZ4I7hajrt7Bxmalyp8UynRL0ivUcTuypx+eM44tx2agr+55oGuhzmQ9L9KKk4Bkj2uEanZWMK00A38Zq6ioSjR+m4ITx6Q3kqZWLi06t02nKwTGJrWbSqfGm8OIFhoIZn7y5W7ycwak9BvfE27dwzzPQkGnWadoygx8CtypfAS721hVtYwRh7k5CZol7bRrfFf17C7D+v4hyyQbcrO2ilF3gHTtNqdwgkRl49+GuizxMQTlv1wszkENb2Mh52sJLnaR48U9PEWs2W3DGB7lNo9RLF/ALB7mN06lu0N+4TnvhxdI+pDhA6ByqBYYvnvFOl2YDkwAhN2RjWo8ROTlPeWSc288v8vZ+8hFvcYeFAekUNNlZt/uEvX1YO+5q4h0t59RrkyyxT2kQ4QqnWZntniZnJYwr8c/rsBI9e7vD7//UhVy4OEhdo1cYWuVqND+5V2Lj2D0kdusDBi7toHgdLD+F1E3i9Qs8s45GIi2gs7DxOJIXpelWvSHO9+BNDdJRLfAuvaRKMjtIubOK0KwS6R7DbdeyGQyTlQ5u4wFd/9Ss8mKty+sw0//cffJ+JwSGSKTkJOni0IHa7yhvnxvAHYuqGrdk1GrZBPrdPvlJUPbRgKKH8uKVag1/4uZ/hh9/+AdkDoXEHlU4nGDaVU/Zb37zKJ99+i3AyTKGwz/buAWdPHWZubgHd8Ksu1/ikJCRmuHP/CeNjfXx0/T7xQIRzZw6RK+W5f/8ZR2ZmKJQLCmJkCxBpakpBnu7ceqg6eOFwgJUNAQad5PGDp7z71rvkSztsbuyrYYTcBIrVBn3Jbrw+V/XGwomI2jitb2VxLYtz50+iO14+unWduEQdPVGGezy8+7nL/NWf+032Sw5dYZdYIkhYC1JvyffB5sThSYr1A9pVm5X1LI5Ho8sb5s23DrE0t8/82ia2z8OhVITTn32df/4v/oiVfIe/9ukIv/Xbv0NipJdOKYc99xRLT1C3Swo01Wm0wMnhRqZVXFpvb2H4/Oiij2ku43TiaJ4QWmMD197BskNEh9+ivX+DZrmGf/QTuLs3MPw9r4ixEvHqmsQWN2xQulYVPNJnNbpUokciBo61gybGCE+ItnSl3Aau3UL3jeFoBxi2kEvFUCLGEi9uqAtqLayN76AP/4QafKDl0TwDOLVVtRGX65wn3q02l9b+Q/T4BG50GE029uVVXLlYd8qqjy7OV2+kB6PdxqhsUrF2FY/ANQNqw250/Ni6l45wALQSmgxdgwkc2Rx0dGxfH3runrp5EhhWdakWJXz+EUWyt9oltNw68oulByXeVlKOWtHlaMkBrLqLN6hT35nFN3BBDRK0rSdog+Pg9tCRLp+1Szs8g1fz0di9ppIGZnyG8vY9ol1HaNXzajhndHK4jh9Ps4Yn6lJvBfAGMuR2H5BM9uE7/WV+42c/zw+++ZwTZ7rJlmRmU+LN46McH9T5lX8zy3/+jde5/KXPUb//4FUfOVfE5y3QMgeIDgyq2kW7sIixtYXeO4Q21E/55SzhVBKtZ5z6ynMC2X0afX0qaVJ/PodnaBCzVEYT9d/4KfYfX8V++ZRgbx+d3kmC0Thau0l5aZ7O/gZmdxdGMI1b2MINh/EH07R9prI1BNBp5HdInRzkX/2zb/Of79q8cSLKk5t7XP/2L2GPDNN8/xaWu43HN4KvZ5Di3a8TSA6D6aEVCtGRDL8ks4JD6HpdDXY7TR3b40V3woTfuEBtYYlURvRGWQ7//AecOTxC3SlRLLVwNI2BdFjwsMzuVPF7dZLxKJ6gyYvna0xdPkzRryt9b7VeVSCqRq2K3eooKFGpUqVcLKpDwtZ2Fo8p3eVeFmcXFLXZ45Wh3jCbS9uKMSBPJPVGk55MN/sHBboSSVxbeCjzJLsSKm0nfW3T71HzWMtp0JuRjfoWp9WAclU9FO8eSG9U+vd56qU6/nIb+6BGQ+6hNZuhyUHWl9cZmx4j53eo1Fscm5ymJt5koFKt0ChXicaSaoue6U4oh3YoEmNp4RW4bGdnl3xhn2Eh9O/n1KBV2CA+v0n/4BD37j7A6/cxMz3B0vyC0mXJgHRne18d+E+cPk6xIFsRnbWVDUyfpAN6FVMgGA0pxdbeXlZt7w/NTGJbHRX5FZe4/JlwxEeX1B+299jLZblw7gJbO5voeFUcuK8vw852VvWnBcq3d3CggH/Pns2rXn+xUFAR+r29nIreGxiqb14rl5mcPsz4xJA6CIoJwLFc8sW8GvKK/UAOWrIRTsaTilyf3dtXKYV33nmD2dkXhIIxtdGq1mt0cCjmy8wcnlJb28XFJbozaQX5kwOF9H8nDo2qKoR4up26RVu2/xUZ9AZUxzuZ6mZ9dV2ZIKJRgSNabO/sKN6C7UAo5KHWsIjGIoyODHDj+m1lzJHv4Kkzp7h16yaJZBcjI0PMzS6q93l9fYdzZ0/y3e99n550hp4+IfiHmZ9dU4ycZrWiYJbiVNd1Q93/U90JCvmSOmzu7Oxz5bWLbG5tqwOeDEOmjkwp28rSyqJS78nnK/T/SrmqIHVHDh2hViuryoO8vmMnDylY58OHD9TAaGxkkps3b6o6iMAthVEwOjaghmUvZxdUPaFUrKrvjm23+OiHN/n8Fz9NYb/II+FSxKKkknH1YC7gN9mwC1H/5o3rTM9MSApZfWbFckVp2yLBsIqTy/Cl2RYrQlS9N/fuPaJZrzM8NMJ+vsjUxIhKPTx5+pweASwGZMtoKK6CgJmv377N22+8rg6YYueQ7bcMzl6+XGZmZpL5F3N4ZVjY3aV4HVsbWaXEVHBL6Xe3m7zx+kXu3rqrEibnL1wkm93GF/ATCUXUs4w/5Ffvv66AuIYyScQTcQ7yRVVTlM2p/P4HI2E1BM/u7dFoNnnzjSsqaSNViWAgorgAp86cVHC+P/i9P1bLiuHxEZW6KRUKarkgJgZJP8jrSGRi2DWLQCTA/naOrqbFwUGF3hFJ53VYWp0nHoiSzR5w5ud+jGcf3iUQDtPdm8bvM9la3SIYCNLT18OL2ZdKlSkpiXg0wUFBDrwx1tbXlD1iaGSQjfV1vF4/qa4EezK0GxpgeXGZ/swAS2tLqsbhMUx1bggHA3T3Znj26IWy+UgVxGq3iIdj5AoHPHz8hDMnT3H37n3OnDupoNCSqhHIZjQeJOSLszA3S1d3XFWLZAAi77VUPmSQKBYEsUPcuHmLnt4kZ85cYGCoj8WFZR4/eMRnPvcJHj2V85dJu1lneW2L/p4UQwNDfHD1++qaJBH9oC9KvlFk/fkSoycn6R0d5cFX/xwDH/VCldSwj8pem0TM4O3Xp/iN//iIjR/9UwJTZ3AWb2F5UrQPHipeWqj7KLbdQLcTuD4PrqjlrD30UD96uJvG7hMMf7dK7+qygPLGscuzBIK94O2iXZzFTE5jtx0FOxeblhEcx3Cy1Dfv4o9PYSRFm/sMt1pV3X4zJPWBgqo4O55+jNY8XjeGJfDmnbv4+y7TruWguoSriUWugGfiMp3153TErCEJyWAfPkkW1LIKgC8GJvI5PFJVjcpAfQ+PAO+bBUxvBNvTjWkdYAtvyi6hh1O4jiQ8azh6BzOcwZVKu3Qvqvs0jAAeAcLPfh134kuQOIm2+g2lnXflmdLpoGsFKK/jdMIYETl/WOpZUvNorxKWRlQtqQwjAK6oP03FnhFbnlHN4kia3B9D8/Zhbf0FTsePd/Rdpaantq6Wppat4alncXpPY/rD2HsL6E4Bb+Y47dIuWuH6P3bdVhWaRXRvDCM5QWvvLkg/IpHCmrtKKDFBOzmAsfcQ1wyhh7pULMMyAphuEL35ksLaQ4LiZmy8xJs4qjqw1YNlPIZfdRgEEOOY8hC0ghGfxDYjaMUFtOjwq749skGzcb0mRrumHrokomybQTWZk6uG6n8ToX3wkdpiycHFcVw6oS6MzTsK0uAb+jR2p067XSUQiGHVSq+ohx4P6BZG24sbjCNkNoFmaW7r1QSqLd20XfT4FRVZsXM3CEYO0yot0QnG8CKdsIKKkMpUuGPoKoqsBxIY7Sp2IIJxcE+EBuijn6f5/Hfw+tN4uk7gahUsu4VrBNHEFekLoUVGcDoOhp3H7QToiIuyVX3ljJa4u+1BTwyj79zGjYvuT7QPNaV9kGqG1ztBs1HE5+zScLy4xWW8gQB6tF/ZFuy9LfwZ2Z4V1b+vha166643TG1/Dk9tA8/YTxFONDB7MhxOf1apLi4fTzM81sPaap7v3lzn7/3CZcYG/FQLOumhQebmnqiYWHeyn4ZVprenj9xugXw1j2U7nD46jfX/PpD8/D/+cwaHE4wnvZiGgx4J80ffWeK3/7e3+MV/9uuUnj1V1Or2waYaEolXrVkpEuyaoXXwDKc6S6T/NdqtJp1Wi0D3hII2djRLxZtsec9abex2B9usE4x0q6mct7lB+Mov8Lu//iv8g//zKgE//N2//Tbv/+Cx+j7Fu1LkCllJ9fB0p8GJ8ZDy0Mp2Qza2nzg/xpmjA+zla1hOkwvHj0KzSkM3mBwb4MNrN1QsvisRZ3Frny7xgCe7+c+/9zXOXjpFpivK3n6Wqcmj7Gaz9HaHqdo6eqfD7PyKAvRIR/OdN99kaXGBerVOsZQnHI/Q092vtjC9vf0MDPSQzUrMR2BLdeKxBAcHB4yODHPvwR2OHj/FiyfP6O3rpt5q0axZahAhA6apySHV03yxtML4yAhBib4FPPz5e+9x6eIF+nr6mJubx7Jtjh8/QrHWZGtugb/+05/iq19/zL/76nc4d3yAZqtCf09SKQFlGBQMtJlfKxPyeDl+JE4kKU7cpnLUXzk2zOzSDsvrBQYzcfr74rQ7DbZWSrzYL7K5ZTGd9vPeH32F9JULuJVuWqvXKa4uEhjIENJ6cLwuTSNJIJBgf/Z7xMemcDop6uvv403N4A1FsHaeoPlimD2jWI0Udu0R3q7TdGpl2tVnhIJCUI3hcoAw5z34VI+cdomOLsM+r0owaa11bN8IpvTwXRMtIZyNDay2bMBn8FT2aVbWMGSKWhK13gCaxKlc4aJ04da2cfUAengQe+u76H2fQNfa6GIaMYLYVakencKRTZXcvEwfmN3oMqwMJujIg5PVVjpQLRiiIx7dsGgFn6vXZ/gztMprGG5dQV4M11KRR4EPmdUDdI8YRAaxqgU0gfgJELPVUjeplji4JR5X3UA34gpwadUO6IR78Rriit3EEq1YpEdZRVxDxyznaFll/NFeXGGJlJ6gtaqYiWl1sKNhK/aGN5WhPv/HuFoAI30Kr+ulo5uvAIGdCG4kit6U98DEE45SK70kOTCDp+8KM4mTfPKcWD1q5BydnnAQrWnjy8T57+/N84P/4zUyZ4/jrldww0HqpU28LZe2L4y/J0l7aQmn3cSJJPE6PrTcIk5mVGm+dKmVtSt4h47RXntBe/Y+3nOfRE/14j7+IXUjQOTYG5itBvn1WfzxIAF/ksrOEqFoF07vKNrmAk69BbEQvuFJ7EKT7TsfMv2lv0vp0Y9ItBfQPvPTvHXl13jWNDjTZ/L3//IhPvWl19i6N4+2t473whfQOvvUvv9twqeu4FgyKAoqsGDr2p/hee1z+PsO0XrxPeyWgSfWTV14Jo0mdcvFp6EirnWjSs9PfpezR32kwiFerOfoSceVBm59rUAy48XvC9NoVHHqHoykzvhnXkdrtJhfWSETiREI+GnUG2pgWyrW2NzY4PSZk+qwcO3jjxmaGEFzDZYWVvj5X/xZvvmNP8OyO4yPD6nfa4GwScw8ncrQEoOGqbO5vq36yKFwgBfPZ9VAWDbSmZ409WqNVHeae7fuM3V0nEbdVn/u+PHDPHnykuGJXpoVixt/dI1LFw+xd7DHbvaAI2eOcLC4SV5vMf2pi4S9AUKmh/WNTbWZlWitaZjqUNBx22poKL1micXLgVT+nsC4xIbQ39enYGyymZeY/qOHD9UWcm5+jq50WnVxRZslRPjF5UU1AJGodygYQcRfaytrDIz2kelKKSuMxMxFZ9cW+4ppqKGB6M7mZufp6e0lmRTwaoPVrW2++GOfVtHT77z3fWU+Wl/d5siJGeKRBDt7O2ysbPD2228RSya4ce06Hr9Hqbyk/724sIjtdhSAUcwphu5RMCiJ7u9s7XL46Aw//MFVdf2Ky1ZR08ik0iwuzytmQzqdVtcEqUvI5npmckIBzZ48esz4zJiy04jJ4NmTF2qD3t3bxfZOVvTsJJIxNViQGL/0j8VL//SZDA4CCuYnqlu5509MDrG3m1cVCznce70BIpGwGjxvbm+xu7Ovtplux6Gvr4/r1+9w7NA05XpVHRwNr6k21d3JJCdOneDWzds0qnXFFag326xvrDIyMkzQF+Dx46f0ZOR711SE9d7+Xj744VXOnzuvkoDPnz5Xm+Z4MkmlUlL/fXt7g729vHpWFPCcfO7yXZeYfCQWZn5uUX2G4mFXrAafqZIi569cUGDAtmzMk69gdQNix1jfJBoMqzTC+tIq49OTFA72VYJVouuqKrG1RSSe5Mqlc3zzm++p4drD+/c4ffqsgunduHET0+tnYnKcWq1ItdZmsL+Hhw8eoOk+5YsXeJukA9bXVtRA4dD0BOsb2wyNDTI6OMp73/4WA4MjSvUoP9trr19mbXlFbRnlO63pJrs7e5gel3g8rd6b0dE+Go2m0mrOHJnmxbM59bwpJieB9Y2Nj7G5vsmho4e49tENLly+wMbKsvocPvOZT/PRtauKjaAOG5rO8xfPGRkfZnhkmOJBgaGBQfX7KRt5gdAd5ApqyCJDQUlypFNJDvIlLl4+w/27j/jil36c9Y11njx6yrGTx3j57DnDoyMsL66TyojhIIfdsXnj9SvcvHlHmYu6kinGRse4+sFVRfQvFiqcPnWE3XyBlmOxdWeRrlRU6YS3Ng4IdUfxmx72tnPEhpKkD42yurBFIh4iLP/xRXn24oUycAhYLxwTPeEcoxMT6tolaapUOkOpWCYQ9GI7DrZtqQFXJh1T78eDR4/UkKSvJ610jHSkdiOANpetrT1Onz5G0Ofh+s07HD16mP2DPD2plNq8y1lFVJ/dXa9gzGLckQi/1why/fpNpmYmKJRyjI/PKC7BXnaPdDrO2OS4+r2Znpjh5cJLKpUWpVKOtmXz+uuX+OH7H9LTk1aQRMNnKttI8UCelTWVFBDeRa3WZGiwXwEdD/1/6s9jR09w99FdZk4dY+/+As3tPPG4j3y9pupG/lCAhL/B/YcHpHpDfDz7EdXv/jda4RaJ1FnMdp22J4C1u0zbLCsOm13eUwMe14yiu3V10DZbAnrPg4CPaztqcdeghVnfo1U+wHv0y7TXP1QAZT06STuQxNOpY7pV2i0bzfUgEBDdk1LKQjlvCZhUqjS6IQuTgoKVii0q2DVGW86SXgejVsaR57noOFZrH09Hw4kn0QubuHIe9XTjcWxcAZ2G4ng7JepSMfZ3KYCk3qi/4gvZFaUMlLS2YwrgXZ41pLc/iGt4cKpy9uqi7YnjF+NcK4fT2KLjyWB08pixcZxmm3buMT5fHEegnwKRF0akHNYTx7AOJF0pwPxDeJ0NGqUsthPC8Lt4jB4s4b9hYVqyCHBwWwUMSZNLZTUUV7weX7gfrSGmKBPdcTA7NZqWjcfNgSeDY0g9vaFAyX75M6ITLd38567j09C0KG4lixnvVjFMXAtTPIWi4ovI5rxPdc618Bi6P6beWImJaH6JsXqVqkwLdOHml2kYJgFPWEG77Nwcnmivmr63A2mwTUytrhRuWm1X0bG1aI+Cvzm1vVcKO7x4DNGVeenIlyLUh9tcVxN9226iNfJ4UxewtAM6+6t4Ah4cXTqpHjSJZASTIKCIrb/A9YQwohMqySAwKSf/GI9EcgIRbLP31XYnEMPtNLFEH+cUMErrtMND6B6f6o146mVatVn02EVcvYh9sIAnMIbus2g5Jk7hGf54D07wEu2V38cXn0APHsaxN1QX1997iXr2GqaoMbovYi3+MQhoQqZnDRvdFQK4QL9y6EYEN9yjNvY+8UWWJNLsx43E0T3daKFRrNKqmrKZAt5o6phanmZxTQEg5LOQca61eV0B7Hwj72LXy7j1HeX41hNH8GoVWpVnUIGw2cJ96xf5pTfO861rOqePubSl7+KG2MznGIh6+Se/9kVq7Q4rSztUqjUGe9LEMv0c7GR5OvuU/kwPZ06dZGFzS13gf+kXvsC/+Nd/ztWb23zx9WEOmjbdKS/7ezZPn6xx59FvEfIY5Fc31ZcePUSruoLHsfDE0tRrGzi2i8/M0DJcfLU8diilDAseq6Ki4jLkcKs1rMYmgbBQyXWkEpM4e5av/+Zv81O/9j/43OVRLsykuf1ojlCsi+xegacLeT75xiTdiQRf//YdXjvVQ77RpFrvUKpaxAyd4alu5me32D2A4UHpfPmYGkwyOCCxtQDnThwmX3z1fv7og9tMHprE5w/itDWyB1tK75NJJamUCgpwJQ9Xgka+deO+UvVIt0zpgKpVJqaPqofR57PP6R8YVmoO6fTproMhN7NcQfUNRY8UTaTpySS4d/cemlcnFUtQqTYUJKg308ud2zfJ9I+oIYTEMf/r1/8H6VSC/kya8fEJNnZ2WFpcp38gTTAQUJWbSr3K9sY+Q4N9DA1E+K0/vMbD2QJnjggcSMS2Io202dmp81OfP8oXv/AGs3P7Coq1sZHlG9+bp2FZ/PhnTlAvFZU7+NChSbWNe76Y5cqZCXADzC/u8M2bKyQCXj5zSuef/OY/YuTs27DzjL2tErVqnmTMQyh8RgH9mssfEJn868p24JZX8MqlyBsHUyo9dYztuwT6pnE8w7Sqj/FYTWx/Py41/D7pim7hw1bDACcYxGdE6JTnsPxJzOgAmvSgqpvo/iSOU1eQPa/WjebVVKJEaxRedbAaOUgGcUptNHsDAt04RhizsaeGgIZvADv/DLxp5TLvSO6+1kDT8xDsRSvN4eii5DytHrZ1p4jTbqnpst3JK22UVVlH7z6N3tpVSlU7kMJpVrBKN/H6Z9DF7uHkMdwGpsQsA33YTpGOITdKDd3bVrCZTn4JV28rlophBnCTGWzLxaiuYAYOUWvO4tXjGGIuqS7iBmeUS7bjtTFoQm6ZjicKyRFc59XQ1h9jRD0AACAASURBVLbLaHIPkJ/p4B5GI4g5clTsrjT2H2C3asRHvkijKnTd/4em9w6yLE/PMp9jrveZ96b33lVmVWW57mo/0z093mgkjRi0Qki7ErCECHaDZYMNBhChIFixkiAIkAECScwIMUhI9HT3tJ32VV1dNrNMeu/zen/PPedsfL+C/2ZiemYqK6853/e97/OY1KtFTLuklqgEBLB6QLZepueLf40//ee/yt/8v27wU0+liEU85E/rHB9mmZ7p5d+/ts4f/ePnePEXnmP5L6/h0fL0BEOcZsv4ZIHQmqK++AH+aCtWtEVpXL2RqILTNosVnJKFR9zEIxfwSux+d4WmEICropO11fslMDqtALW6nKtdk4bAXNMCWRQgUCuN/W08LS1YlQL2ozsErryIXs7RzB1RtYp0nnkKG4tLP/NvWav6+XanxX/48J9gL6yyf2OBaGsUZ/Q8nmqFwt0bhCZmoalTFWDPaRkt4MU8M4a98BnFvTS+mTki/RMUFm9heFowy1vkSy5DF3vZf7hH7699xosXQ6SicRZWjtA0m1LVZmSkVX1NFnNFIoEw6/tZeq5OU6SBt+rijwcoFUrqiijAUKtZY2/rgN7+AfVwePuzm3T3D+A3dELxCNVqRV2WpJ9ru5rSWokSTy6xN27c4Jlnr3J8mlZKOI/pVfCppdV1RsZGlHJNPktkIJR0wPLSGl29XRzsH6lrd6GUp6uzk6WVDQaGurGzZQoLu/g7Y5SqZQxT6NbgrRq0nx/CaYuyeuO+eridPndGVb2EyyMD0sHevqr6yWC78miNobF+psbGef+D97nwxCWqRdFfHSq4WyQW4/joEKepc/bctFpmCIxLerJx0ad2tSudmnTsFxYW2d/ZVYOYDE0jI4M8WllRMW0Z9pOpJCcnR0SDccoCL0W4AFU62lvIlYsEvV4igQT7mT0yKrL7P7zxzSaXL1zkR6+8otIX0VicWDyqEhKicJXvBalriXdeet/yTCtd4uXVDaXvOz3dZ/7ivOq2CxW+Xq0TSyQUqE4+uyXWH41GaWtPcXR4yocffMLXv/El5QTv7+/naP9IqenCkRjlUpaWlla2t3cYn5xiZ3sL1xGbvAw37SpqvnDzHvE24STpyv8+NzfHvbv3lHViXgav4yNu37nP+PgYw8ODvPXmuyr6LX3ib33rp7h58zO10JD4+sHuvuo/+4MR1VeWf6ZYq9LV2aVghFI7SXZ2kIxHVLpNAG0CFUy0Junu7GFpaUkNmNKBlqGyXbr9Gxtq6JarsPz89+4tqn/v2lAuVdSQH4mHOXNmjts3b2HbtkpwSBpEkhFiIVCQvrY2BTWUZUBLPIbdbLK7e6j6++KAN3weBStsCcZxDJcP3v+Eyxcv4roN1ja2ePrpqxwd7xH0PU7H7R+e8lNf+wr/+c//kuP9fcbHxolGI9Ii5jSTUyo8qXvIMqqnu4fFhwtq0TM9fYabt26yubbN9Jlx9ZqNhlpYXLylUisCkd8/2GfurPzdp9XSfnxkTA2lB4dHzJ+fYWN9Wy345bUulRWJ/y/cf6SWDzLEDA4OsLy0Tm9XN7liXoH3BPgpmkXxxXd0tCu+TTgQIRTxq0qgVZdnjYQ6vsjiRp4RRkaGlSHi1u2byrDx3AvP8957HzAxNMzBibAK2pibm1HLssXFB2TSWbo7OvAGPdy6tcDQYD8vvvw5vv/HP6Svp43e/lHefvsNhgeGGJ8Z5SdvvE93bztn5s7yxmtvEE1EVW9bDh4HB6dMjQwpBbUnEOD2ndvMTI2RvrPJSbVETypOreSwnztmoKVN1RbOfutzlOwqtWKdSr6EV2aEpks+myOekGHew/buPkP9/ewficLTYni0T1Uh/L6gGvZlQeTKL0GDo70TvvDyF9QVX2B6AwPd6vcqdQgZDMdGR1hdWaNULBES/oM/oCob6YyoMIOKtyKR9f39fZ5+6hlef/3H9HS205LqVImTYChEMtmqLCV9Pd2cnpwqdohE+JPtSUq5PPtHokc8p7r1YlmQVIdALYXtc3qcVtrJg6M9lb5wHZRR4N0336W7r0fBMSXlINrSi+cvs7q2RM2u0xIXeF8Trdxk9eP7TI51cSJpGzEq+QxCpqOWen/x4TEPX/tVJj7/JYof38QTC1ErVtF9OpYORkXA633U9Qxev8x2B1B3ccKt6ALwcw2VRLQP3kBLXcUw/dSLW5imgTfQRnXnE3zRFLa3EyfgYhCnkVnB2zanOFFGI63Ma4YTwTp6BT02hdfK0rQN9K4ZtEYUp3qAFkjiVtawJQWeHMAuVzEDwccHFoHqNW0sXxumncX1xXHtGlrlkHqphq+tH80bRatsq8Oi9PBtSYc29rAjMyoh8z/r2upwXNzEjM2opKikgc1mDcdM0XTqakmpVUrYEXnW3EaXGbOew7U96nOjuPcxbjhFsOMC9XoaX8PB1rxUxYiHH2/rCG5pn2a9qOxVpLfx9MxRdYN4zQQep44l9j7dVOpob+sAzVpRQe/lSCVQU683Sam0RyjkxTXiCnjt6lF008S2ctjlE7T8jf/XdaW70PoMzepdOZKrzULz5CZO7gF6zzN4dB8Nx1LgKdPswrZF11fF1eVNlQdPHLeZRUvOoRVOFLzFp7q9moIQuQef0fANY2gZdH+v+ktsBmJqM1qX9qjQFMtH6lJiai5WMKUeIh3Nqx6yTU8IGlUFEhTwgyuxVxn4Kw8fu611l1rmCCPQjm6foElMzNeHpZXQGx6lodCtIo7HjyE0SqeMi8QwihDrVfE+o1Kk3pDrfhDH4+JqcUjfR0+041YdRbMU/YPuxnBKq1i6XwF7vLpXxb9cjx+vJ4WTvUNTD+C2XcAoLaEZcZVQcBt1nOwqZiCO5Y1jajUMx8KqFvDK5V/yDzHR3MSxK2kciTHbRfTU87gN0Re6uE0h7DYwxTrgj2P4pdeep2mGCAZ6qBV3sXd/gNH78ypu42aW1WKhnrmH1xtG8/qw8RFqneaoekq7neWw0UHP1XP87t/9Vb73r5b42788wp++ssOlqRTHmQa3H+zzr/7xtxEhWNP14A94eO2ttxnq7mFmdp7V9XXiUR/JlhSnmQz3Fxb56Z/7HPcepvm17/2Qzz87TOa4SjzWYHRgiP/vD2/w4J1/wNDVb5K+9m/waXGsUBDD049Z3aZcKasFiutLYh++QaXpITH4BI3iMVolg2XWMewwWGm01Cwe6UXXXXQh1J4dY+P2HUaufo/Pzw3y4pUoxarOg5VdWjrbkZzPvcUNZqba2DvJU8nUmBzr5ubivkoHnJsfYHXjSJZzxBOi5jpS1YNQwOWwkGFrx0EYIImwAeUmv/RXnyGSCjOaiuE4DoWixaL4f9vb2NzeUe7WgYEB8qfiWgWxPX3rW1/jh//1zxR5d7B/iM9u3OTqc8/w4QfvI3bp+fk5djbXVc9QVC9j48OEYhG2N3e58fFnjE0MqShgzaoozdbU9Bn+5Ac/4Bvf+hYtsQg/fv0Nps/M8Gj5IYloirGJQQqFsloa9A/0qb6eeGeFhCxdy4P9U4YGBtg52OL8+Sn+5e+/xv2NHB2tHlVrCftc7q9mSCZ8/Ovf+AU21g8oV6rqgmRoXsq1Cn/65x/w8c19ojGTZDJESzDI6EQP26sHBCJBFpaP+PZX5/j0xl0gxsH2CWtHBZ6dbeEffu+XGHn+27ini2y//ymxdj+60cAIDGPZYbwtXppHBzjSq46IBrRD8UYKh++qJWVk4FmaZT9W4TbeRL8yNHhU2sejVKG2x8AQor6rAlSKjNrQg/hCCVyjRvP0ECOUUt00x9OKLTo4w8AMdtFoFqCwh6f3BSxZCtSkf91QHUrX70F3XayaLBwM7PS2greYsbnHMTYZTPP76qE+EO2jJp+TpSN1BbOVfKChBnHXE8NbF4aBjia9dNHlZLbQ42H8gSFq0pk6+Vh93tm+VkzjsS9ZAHlO+VBxNGyjFZcqjut9TI11PejVLZX2cetpjGAnDVtHry5j+IdAa1JLL+Brv/QYhKp7cESNU8pgeztoFq+ry4avZRhXi+HkNpXrtp5bwSOsldQkzfohetVGs8vofh9u08Ru1vCYBnXdpwi4bn6fSNcMtUaOQNyL2XOFttCLXL3UwlQswWYuzdhAB3cfrpKx4Djv5w9/ZYb550Y5vbeuNvym4SV7uEFL/yi5w0Oic5fVe72xuYLZPYRWc6jl9ohOz1M53MQuVQi0d+A8vIs7OEWjUSTYMap+J/W1BYxQCFts6pVTvEoXBqGJM9QePcCpZPG1ddDcl6h3A7NeoTFxhdjBbZY+PGD8pfM0xWv+3VdoQePRHz9F3PawVTWIHe+hdXdjWC6lWgZ/x7g8NaK1ilHHpbGzjnn+BRpbS2hbuxhnpjFrdWoH6+pL2T89jbt/D7uUIPnVp7n57/+Ab/3uLt3tPuWhl8+ck5OaiumHgx5ZbeHUNJUYKBkOPU+dY03emznpHU9jNxw2t9YZGx9XV/vB4QFFdl7f2FaXrWRrq4r9i6osItcxf5xUZ1INTpcuXVJgsxvXb6hrUSgoMe+yqqXJhVCI9QLUkmv4zs4ufqnreCAZS3J4cqyi+/09j33gt6/d5Dib5otffYl8rciDH3xAJBTA2xZSrnMxXkiIWPRe/S+cY2Njj1QgRNPjY2d9nc7uDkV0lxSC6fdxdLjP+PiE+tlMw1ADjkShpYsujnNZZJ6ZFXDddVrjSdX1fevHbzN3fkp9zwv0sCg+dkNTAFfbslW0PHOaUZ/Ha+urimAul31ZCEjPXTgK0rG9u3CfrbVNpmZmSLa18P5PPlIP7qGw8BJaVFJLAHvl2uMFr1wVxSggdYmxyXE59/DowSqra5sK/CZmg0hYru9+vH6daCRBIStpqQM1MB4c7aoh/P7CQ1V9EO92PJZUi51C4YRSocLU7AwbW1uKuL65vkk8HlFWh/Zu4QjcJBSOkVOmB0v9OWZmptWgsrm+TawlRn+fVAuOHneVNVd1gyMJgb951GVsc2ubmTPjHOweqmh6wOtX5oePPrrOyPAobW0J3nv3A555/mmOjk7YWN1UXW0xGUhqQFRnmRPR6nWooUTMQT09KQV13N3cxB+SYclDd1enSkHI39Pe7qECns1MT6gI/P7RsfrPnn32KcWw+eC99/j6N77JqhDm/V5K+YJKOAjjQLznqVSLqqysPBIf+xB7B3uUS2XOzEwr0r783WRPc+TyBVZXlujtGaDSKDMzNaWu8KKYS8TDFHMFFcOWhMXB8T4hn1857W/fX+Tc7Czz52d5/fW3VZR9cXGRyelRLl+6wMcffURLskWp+ySVOTIyxMbyOrVmFb+kW8JRxeqRtJ9YHDKnWZqWLKfynJ4WODs3rn7O0+Mse/sntLbGaZHfqw1jY32KyyCLM6mM7G3vqWFwaGxY8ScymVNefP7zVJ2a+vn7e3vJF6ocHx6qnvrgkKR+NPqH+rGqdTY3dxRY0XFt5s/PqQF0c3NbqS/v3LvH+bMX+PDDj5ieGactmVJcD3m9bm2u0N7Ww8HhwWPA5M7jaL3Ut/yBoPrdSZJl4d59zl2Y59NPrtHd26E0xbl8np7OHtK5NDNnptXvcXlphZdefomPP76uruKytMqkM49tGw9WsDSHYNCQmZJESxv11W0qJzlSg700hc8lSzR/gO1HG0RaIiSfnubk8JhUpIXV5RXGR0eVulDSDFIJGRkeV9T6SCSkzEmS9PEFfWRPC0qRmOxIqfe96THV55umuQoUKMc10ReWSjlq9Sbbq6IUHWZnf5crl6/w/jvv0NPfj89nqoTQ4sJ9xQAQTWS10iCTl6REG4ZpK0iz8CEE0louFujs6VB1h1DAr6CIvb2dCvApy7jLV6/w+utvkUq0qOqGKDzHJidxrJpaAOzvHjA+OcbO9g4Dw4MqLVqvVZUlpqO7nf2dLRbuLjExM8bwUD+3b91V5pCu7m5CvgDBjigf/cGrzE30c3R6glO3GJ0dwouFZsAf/vd1/taXe/ntVz6gcv1PVTI60ZIkX2rikUu0pLhr+zQIExRgulDoJW5fK6iKthsdxDSTuMUHCqrutIjJKUhNd/AX09RNB68cNorH6MJKahnBObyL5lbRXR9u8rzS7unVAk27gDc+phLQWlGOFoZaPruaieENYtazOGYYs3UKq7JNvZTF62nHU93FCbfgiDKwvImue9Vl3RPsws7tY5ng83Xh6i62rqnOP45Ao9MYEal9O5i5R9RcL56OizQ3f4SPANrAF6htv4YpxhM9+Ng0Y6aoBXw42WNMcrj+FJrtwwylpICAln2klI5OoENV8VzXg11cw+/voanrWI19dCOhFr+iFNR8cXRZ2No5VYFqnNxAE9NAsFulxaQmLR+wuoCSHUNpnR27iBHtVXWBuiTiaaqKlh4fxXZqGIU94UL9pqtVd9GtnIpSBVraMFovqrirqOyajSN8Vom6ITX4c0or5Ry/g20nCXZdVnqD2vEnmI6Da7Rglx7ha53AshpoRoRG6wThg08oVI/xt4xjx2fRT2+qToORukAzu6L635XsJv7UBUzDj+NWaFQL2LpO0J/ArRdoyNC78xGezidpel1MgV65JTSJykXO4nostJObyu/dMNoJydHVTGDJtUvIkDufYIaD6OFJGtU0bqwfM/0QR6K5/gjUs5hWjmZqHs/JAbq/hhsexzr4EL9AJrz9NMvipxdGwrFSKdX1JHothxkboHpyDV8ooKiVMqjrepiGY6M1petRQpcXls+LUznEqJs4WuMxdbyaVn0PwxugYeZxTraQxzvLTGJ6wri+CLouaYyEUn+5tSJaOEUtvYxdzRFon0GzSlRPdzACOqHkZRqeJO7OO9Dao9RLdm4TN/kkZnOTWqmO7uTRZeuUGOJoe4P+y09SyWXomv2H/L1fOs/rH20RC1pYTTgpwRefGeW5CwOkswJISbCxskdvf5Ld3V0atkGPXFPSciHKE4kmKKZPmbo4xx/90escZKAlarC1lefFJ0f5s/fucmEuxvffeoPc/TcxDvZwgi3YUbEgfIonMaHUY7X0dYKBEez6EZY8IAtYpPMyuhtRiyq33KSRW8PomyRiBMjWdNrnphlpfZYy8OWz/arneVSs49EdPlvYZrgnzuhgF/6IyY3bS8xNTqJZdR7uZvB7LJLJGAenNXKHadrawrS2p8gcFZSCb3/7CEvTGerrYG19G8fwsbGVUwuC9kSTv/bdF0h2RsEqMtE/RCbT4KRY4Hh/l1RrhyJhi4JJwCweXPp6Brm/vKI2wvLwFgyZ6oE8c5onmWhDExVbyKcItdL/++a3f4Z33/wJ9WZVxRJFreQLe+jt7SWdPiGV7GFvf5v+wSH2dncURbhVpR4O1ENLZ0eSxQePlEZqdGycN159k2eeuaKGrP/pvO1qT/H3/ukfcvWJKR48WGdrp0BPdwjHCNDfk+RnX7rEfqaogE6yRFvd3OPZK+d57vNP8OHHn/Dnb99j8d4xd5ZyeH0287PtGPUyIxOiNhSycFqBbFJJGSjqPFw/4fpyiX/wC3P8o3/+f6iLcXX7IzI7daLJGJ7YELXMCrXjfcKdIzSbAVw3r2wkzfZnMetN6vuvoHt6MDx5HKMH3ZvAbi5j6n2KMSFpAa0mNFoDNzSAnlmiZhXVBlqUMc1aBowmjh5QLIjGwadUmxX8iQk0Acl4gtStPF75QpDqQVPi7R6QhWV8GFPAgYoa68UuPsAIBCE4qiitdiULra1o5QamVcOJ96uqjlpiFrYeVxn8MazaIWbLGTSJ6SNd2Rj1RgbLDeAPdtJsPh4SZaNL/YSmxLojnVBdwfUN4go3o7yO7u1GMzTqstCN9KGdPMBxShjxs+gCkJEvXtkNh8dxm8cKbmQ6BayywPx6MCQlhE6zruGR1JUuq4ZTXElGVA/wdE7juq1U13+AT1Q30UtY1R08QkP1tNLML+FYHgLJCaxGCU7v4e18Ct04pH60S+T5X+ST7/82z/zV/8QvP9EqmQMicv01bcquy52bOVoNmx8t/WtyDzaob2QI+rMUdvfxtacIEaFczKK3xjCaci4t4KSPyK09Ij7/BE7/IO5pCS27gxMKEuuaoVQ8VHUzIxBCW7mlrjCRuas095ZonGYwQh7cgVmsh7eJJKJYse7H6sBgEmtrifCZL1HdvKb+fN0jHbz3F9f4ym98wtYfvkwkliK7sUizYhOdewKr6lB48y+Jf+UbOPk8jew+pi9MMxjDI9cBXxyaOUFzoydTGF0DFO5/ptSAwgYo/eRNtGQ73T//HX79O7/BH97OEE5GiHgcApEIWA7tqTg3F5fpao0pjoRTcxj6/DRZ0+Dg0bY8azJ7doKHD5YYHRpl7/AAjzwwNBrqCrfwYEkN7rKAdFxXDWpdfb1c++Ajkm1tKg0wd/aMco7fvn1b0ftl4JdEkVC8HzusK/T19pERRZ+Q5iMRdlc36RnoxusJUipmHz8M2TadQjEPhhWA93h/j8y1TYIJD5rfSz1bVPDa8mmRQNRL4OyAuiSuPFhSg710a1e2ttAth4uXL/PRR1IduMjOzt7/qDPMs7K6Snt7q+ppy+Dc09mlBod33v2AL375JW58epN6qao+d+fOnVODpXje5Up3vL/D6OQUhWxB9dND0Sj1aoW+wX6aDYv19XX1sCXDpRDRwwEvZy9e4JMPP6JSqShf+/PPPscbb7xJzWrw5S+9zBtvvMU5gd7V6zy8/1DFfCWFI9q49lSK1lSC48MTzl+6xBuv/lhF230eU9UBpIoRCQfVf3dwbJS3fvwObsPl3KU5Srms0rF9du0usUSEq09e4eHSshp6tna31CAjOkLpSUvCKJvLKSWZDHyfXr+tAKrq+nz/niKzCzhKQJFr65tUyo8XFR1dkiyqq2e83a0tBgeGVLzbL/8fW9uq5iGJgr2dbTo6uojHk+TzabxeLw8fLPPEE5fVwmB1aZnnnn+GdO5UDU2ihysV6ywsLnD58nkuP3GZhVv3WLj3gPGJCfLSyS9kVDJDrtYCJpSFVblQ5MzsGTUoS/JE/ixy6ZdufaUiEDKX/oEulRaReLiwHCRmHQmGVLpDgI/RaJCe3l4FxBQQpSQdlh+t0N3TzcHRgVLuyaVUll2XLl1QqrZiKUcpX1TvB7kUSzVA9IZSwxNugiyIBPDnCJgz1UajYeHzmqpGIlBCGThlUJTXr9RF67Ua1VKVF158nrfffFtBESvlAndu3qO9s42BwUE+u3mXgcE+tWybmJxQMfrbt+7x9LNPKaCfvGalqiF64mbdpn9kgIP9XWXc6OmV67Ikv3QCIb9S7EmyZGJ8WKkSRQP66mtvMjs7QyIWYnvvQCnvhCYvi0Ah+Z9k04wNj7C+uUp/T78aRmWhNtDbq5ZH+4fHVCtFRsfH2NncIhSJqIXJ5taWShC0yEEhnVHJjEKxoNI/YqAQ5aO8Jm9+dpNUso1UskXBRUu1Osv376vPDo+uKZhlW1eKznZJJFRYXHyo+vnhWAt76zu0JGOMTg5zXMgoveE7v/MneDSDjsEutaQT7XjIH6KaLpEP2cx+7hJLt5fIF4ok4wl8wYBaYg2NjuDzeZR+9ObNO6rfL8s4j8dLsVxSUMf33nmP9mSS3sEBDg53aU+2c5pJqxRLT1+PShGIycJ1DcVHkQTm9U9vMNgnCauAYpN8/MknnJudY21zVS3kxcpUKeWZmp7hJ+9/qK7/Amh88PAhM7Oz7O/vKaWjGCikGnF8fEypXKK1Jc7QwCA1q8r2xj6aprGzu6eSS5LIkhpORp7/OlI0a3X2xZDR20kmk6VaLzE6NMmdO7d5+smn2D3cVvDFO7c+4+qVK9QdeHh/mWqtzLMvPc3h2jYP//IawUSYti5RH/tolGoqpp6v+7m/kyW3+8e4DQ9H998n2T5KI5fBjfTQrGyiW01cW8fjqahnXU/bNLXMFr56E/qv0tz5c3RfP7pPKPZrWFJPEHuZpitukZvOYNfWMcODivemW0doUiUQKL03gWZv4tSaj+fQzIqqNje8QfxNSUCn0aO9eMTapptqZpJre337Jv6eebRAnOrSj/CPPoNVOFSpVG8whmv6lc7SI7p7qUbm1zDiUxjeKE69jF4/oZFewxROkg2Gk1fHJdvfhae2QeP0Ps2hn8ZTzEDhPnpsQpme6sVtnOgEZmkHxxPEMUNodgF/pJtmdg9b1KXBQUqbr6h6s7LryfE61o+T2VLPuZ7oILYTQPd7ca2a+nvSMsvoiQHq5Qo+OVLlVnBMLz7DjxuU47Q8V/Y8Zk1JakKL0ggm8JbTuOFO7Nouui5VQrDdIlrm2m+5ciGzy2vQFFJgFCJDNI7u4ERacQtpfNEOdHlg0CNoshHKbWLXttHbP69gF5X0Azz9X8W493vQMYIWnaBW2MO0KxihHrTiHo3KKp7en4HyHrZ+jF5v4knM0axt03ACeNBxHNG3FTB0DTMiW6QDtMoBrhnHCHXTzNyG1rM4h9fxhvuwJS5f3cb0J7FqB+iRKUXCNyU64Zyi+YexXAtvfR+tmqMZ6UWXmkJZ/nNDLQ+onRCKdKoesNQL8AuYYg3DquDvv6Tio5ZWw+vYOJlNXME8hGKgC3xLLtHglDYxnABuwIuhC6Snob4kZLutNnS6l/ruBxihTsyuqzQK69iZJfyJETVcyQs2EOmkcfQAK7OIr/9FbI+JYckCoaQSAI53Et1nYh28jhGcx0h045Rl+9WJIWyF+olSeFXdmuo5Osd3sAMdqh+sliq+MJ7sJtIQwJfENBOU5cVkJmltPYHxK0y2/DQnjsNsfwi36lKx6uQqOvNzKX79b32dz+6scpQpMjw4TL50it8bplQrsvrwIdNn5rj16R2++e2vs7GxQbwlxE8+fMQPXrnF5ZkOHNNgZqgDM5Dkn/zujzlZ+l3i3cNkFm9j1U7x+uWKW8BM9uDRdKpbb0F0nGBqGCu7jiPdZ3+cZqWJ3jjG7PkitrOJILEEegAAIABJREFU93CPSlMj+cLn+OS/vs5T3/03/No3xsjXmipK44tK0SbCWx/e5eSkSijgoa8rxnGpzEB3ikcPtom3+BjuEeXeCdGgwcy5Cfa2dyiX6oqoHQgE+O8/WeKLL4zR3x3k/Y+WGBzootYosbRZpS0RZWv9gHTe5uXnRxkaaCMe0DkzN8Dh7h5dPR2sr+4qVoNE8pcePeLyhfMsLz3izPx57ly/qWJahXyWzp5+Fu/dV5Tpl17+PJ9+dktRsDXH5Jlnn+BHr/6Ys+fOUCuVKZTLVItF2jv7WHq0TLGUZWRkjJpV48K5syzcva/cw0sr6yr29/KXX+SD968xd+aM6uO1JEV3UwDNh+5YFGpZfv8HCzx5aZZK/YiBzn4GhiL82Wv3qJzm+Wf/93fYz+Q53N9TKYPdo30qeUcNCGdnBxWpOBYLkq/VePu1m7z6kzsEQz30D1TY3JYoXASvrtPdZeI4cQoy9JwWeeWjIy6Oefi93/k1Rp77mqKw1h+8S0P3qi27FmpBD3ThdS2s3LqKRrmDT6FbNq5VUa51Qh14XAM34Fcke1F2eowYTtCPVpeNroNelF6W9MmSOMVdTK2u9Jla4RRXro71GqYnRaO+i5l+hHfwa2hOg2r+tiLK2oaG5u9CK1ew83cxIwMq1i3Dr9py5zMYEXkwsGikFxT/g0aN6t41Al1TuHoLmtel6YtB7gBffBKrtE3z6BMC/c9QzB8RkIWdfMa6HozWQZydd6HjScWQcPLLGIEUlhBpdR1DUjFmVD6AlLfbthw8Alet5PG2DqtFg+Y41DU/ejONKwmpplQJ3MfwwEIWPeDDPllRitGqW1ZfakaoDzMyTe3oQxU7d6XvV9nHzW9j+5OKvm1EI4pHYHi6lCEFj6kuEeit2IUVcMo0tVYCvhpeTw/F9Pv4WicJzVzhZy9+hUcPM3SkojhGhcHBNnW9s20P9x7s8us/NcrXfvEL5PY3qOaLhNun1MK0dnxAYeMRXc9+jcrabSp7O4R7h8AXpq778QSihOqH5CoOkYFz1E5WcbYe4B2fpp4p4zndoW6a+M9dpXGwT9DVFBjR2V3BnH+W6sot3KAHkwD+ZC+VozVyn14n9tQThHsu4qkv8fEfvE1weojL33iKw1c/JTDVSSNXwzM4gl4sUjo9IOgPUXp4l9DYBLXDA4x4j6qRmLkqVn4D49mvo+UzWNdv4AQdEp2DFBId1DdWSdSyRC4N89N/81Ve2Sgx3RPFcCoqGpzL52g0G/i9XkKekLoMOS0Rhl+YU1dFK1ek1rCU/jYQCrG2sk5rMqFiqbu7B8zMSGR4Q4GE5EFYqPgDfX3qWiTgOAGfjYwPqIjp9WufEfAGicSCavgVVZ4ka2amZlRHVwahSDSEVxydmsQ4vawsrSh43uz0FFuSgCpKEtBLLJUgGguyt/CI7Oop4YRfKbBEhVWrW9QKTVr7E2T80NPZx8K9BS5ePs/e7h6T0zMsPVxU37ui4Dt3boZl+Rlsl9mZKT788GOGR0aVgkz+foROnjk+Zu/glC999WXuL97jyuVLrK+tU2/YaoD0B8KMjstn5pIiaEtqpa9/gLdef4tIPMLc2Vmuf3xdqYTnL5xne2tTAfck5SXRetGidnZKrdHP4sKiUq2+9NIX+IPf/3cqLp9sEcWZrVR8EgWvFio4hqaI6YuLC/T2davvlN0dsRRoNKoVZuZm1eB/enKkFIcjY+M8WlmEhoYpjvtW+VyylDO8Ui1zZvoMp9lT9RqIRuNqoNExWF5bV8C/zi4ZAk554sqTHB4dcXCwoyKtblNnaHxAXYRbWzvIZNP4hXSPQa5QoFDKUSmKm/28WnIol3jQRygYpN60yeeySj8lRpnNzTVSyZRaQpycnqiIeCgWJBwIc3x0Sjgew7UbCoa2tr5BMhZHN314TI0fv/4+V5+cZ2Cwg0ePthRrYn7+AteuXVfKRNd0iUfibO9uqKSZVCe2t/cw5fI9Nq4W25VySVkLWmJxpejrH+zm6OCIZHsb7771Fi9/8UtsbWyqnrzErL2GkNeFSeUye2aCvYMj3KZopyGXK6l0o/jcfV6v6oG3t0sdsaZsP+fPz3JyfILXF1DxbPmuOzk5VImC4dFxxkeHeOW/v06hUKG3t4OBgR42tg5UB1tel6lkQtVgw4EoN+QzJR5ncKifSrnO3tEuumuoK7H8fLtbu+q1JnWGYDDI1vqOStKNDA2oAXFudpabt6V+5ah0wMHhMfl8kenJcWUwuLd4TwHm5H0pMNBELEYgKJfkgkoYTE6Nc/PmdSYmJohFYzxaXsWu26paIeyHto5WpmamWbq/QjDsU6pr4RbFI1G2dw/QXLlot7G3t01f/xD7e/I+neDo8EhpP4dHxtTr3HU1PFJVTKawG5aKcEvqUBgnjl1TKaOBwYHH7+1ajdW1NabGZCA01DDuqMEsQEeyRSVOWpJxCPgIuQbbP1mkuy9J1XA42c2QiEUoZEsKoNf37AypgT7uX7vNyPAYxUqF3e0NLMtlZnZcgZmlPilKQ18gQF0A6F4P+XKZ1kQbh/u7TE6Os7K0Sksijtcf5v7iImcvzJI+zRAOh9X3sbwfxEBiYJLJZelIpgjHo+zvHxAJB5Bv8rFJ+fx6SDgWVywCUTtOjE1RqpVUHUUWl5VilbSoKVNdCubZ29ulgJ9SE4zGfBRyNbWsOn/xnIqqy/v6qedf4JU/f4WJyUG1eDo4FsCojzXhO/T2MzY1xsrDVTY3VgmEJJE5rqojm2s7HB4eMTo+QjwaV4ur/eNDlXaYunSOh99/k5BX+D0+Bb6+eH6A5QeHTIy18f3XV/gb3x7lX/zg99h5/YdEEkkZJjBjCayTfXThcDk+nNx9XEPD13ZJ2Y4c14ew62q5jwm1PU+zlMWioOY5/9A3seUgI5azcBeV9BKmSqH3g72PGT9HLbOoqjyiUfY2T7EMGdzl9S018xpmKKpeK67WwBBgsxmjkVnCI89F0scPTxHqnsHOH6hlnaOVcawifn+7Sp85zUOc2Cy65eKWlzFCwziNjIrSeygoULwW6cFp1NDduqpTC51fS13AlqSg4aFaSBOIpnBdL5Wdt/CHwxhtV7Er+5i2B92PgmfL5K1LCkGq7WZYHYp8qSkqwobTbExNmArv4vG044Q60X1i/PBSE1W65qrDo+1tUdBqcQ2KctHWY1DP4FY20UJD6MFW7NIGuh6hXpT5vUV2B9jyuymvYnjbVBpN1yy0/Ge/6VLaxIkM49RFKZXGrUnUOYynYwSncEizfKK2Bx49RrO2C+oCVlPXrWbNIuIUsfBTMyp4DJ/SOVjBUdyTG5iJLhxacfN3MAOtGFaZph7E9oQxmlmM6DCNzAPcWg7NE0HkpUa4Eyu9BhTwCH85Esdtv4C+fxMr0IdZWseNJKm7fqU/cMubuAqA0a6i+JIGaFZqeCKDKvJfrWbxyi/NH1ZRV48ZVo5J6/QeZscTaBK5l0iuP4ghMLDCCtWDRxidT2M2d8H2Y3Zeppa5BukjzK5ZmtWS+sVIFF2i+oHEWSqNKppWUcwAeYFZgXZ8Vo6KHscT8FM/WsPf0o7HE6ecW8ITjKM5HnSPg1N30JyiIkg3Y23Y0qFplHAtG59hKFe5Fh/DOb2voBRaYhynsKouLa5bp+Zpf2w8OLmP6TTQQt3Yegten6Y2xo57hKfr8zQOPsAt5TF7n1BwDoGd1462aHnya/zbv//X+cf/bo8rwwZd/UlOT2ss76Q5PzvAX//6HOtbeUXrPXd+Qm1sN3d3HgPx4mH14Lezs8b65hGzU9M8eXWSV169zj/7vY/45e9O4+phfvT6p4pK+sH9HP/6b1/hF//Fb1BaWqB5cqQ84mZSlG0ObnmPxsk1PPGnob0TrWbiOhk1yNv5DQSiWas4ql9rWhUC4xP4BueZ6LyKB4Mz4x0sb54yOeAjYzl8evOUX/25K3z5K1fZXdvkNUXr9rN7UFT9+lsPlzk4rtDbllDpE7/fp2A9ddclFtWYHO0lc5hXnauTbE4tiy5O96kIfsUu4Q/HOT3MqQch1zEoNopkyzW6ogGemh/l/Nyoiox+cuMOJ/tHTMxMIQW/Ur7E8UmaQCDE/IV51Qe06k3FpZi/PM/yw0ecmZykWG3woz9/jbOXzrF4b1Gpg4TIfbC3p76Qr1y9zNHesVouyAAgDxQSfx2fHOXWzbt4fX61gRa1kcRgBSAkB9T2tjbWNlfoaO/n3PQwjqfG3/z7/1ld5/u7IwQ8fmIxk0dbR/T2pPj1v/u/8B//6PtcmL/IYN8E129+pB6AhFUwN3eGt96+Rk9nC309SSyrxuTkFH/22mt8/y8fUKzrTPVElVvWcnzcvbNJtW4p6vJf/+nzZI/r/NZfLnG+zeYH/+179F94AXv1DtXjGk2tgGb60I0o1ew63tZJTK2suBfh9svUi8sqIi8ckWZlFTPYiW5GaZYFmNnA9gknI4TmidG0CuohOOCzqGS2MWNDyi/vlBcxq2mE9262Tiu+SUMAfNlTNL2m/hl/sJdc9kOCNQ23+xxOOaOcsV77hLK/R2kGfc00eBOKM1BRVNgapgzsvjaqB7cIRdqwbUcNF3atgBnuoFrZxiSB6bVwqkWwDJruIfi75F8SD49RsdJYJ8sY4W7MQBSncoDtRNCcU7UYE7+rVT3AKmfw+WI4tqGurPLz6zSoOzV0PYRpdtAUbWg8LmpvsGqYbh7HL13alse+Xo+NrSWwDt59zCXovIjr6aWy+Sp6I4v/3K9AdoNaJUc4Okwpc0dZCOQzR8i/ld2f4A+k8LSfwxZYjeGjljsl2DmL0R6ksvUJZ87+Nl/+YhItl+HBbpOWiJ/uqMGu45B+kOMH35uia3Cao5UV/C2tGJ1jEtynUc5LBpT6wb7iunoFwto/Tmltgebdj9WgFXnyRUrLd/HpBlpLJ83VR3iSneizk9ibG1jZLIG2IZrlU4z2bgrvv4I5fB5fIIh9uKJqYfkP/xuJZ75J4cESnVef4HTltswNmB1hWlIDZA9PVM/2dOEW7dMXqQRc3P19HG/08XLW4+BzLdx6kdrOFqH5K9gnZSrbd4n0z1J4eA27q5N47xzl+x+on88/Mot5cJ3mcYnP/ZP3KJg+rp4b5uHiBtlSnZ7BBM0qqkaSPs3hrTaY+c5zfHpri8zxPt/8xovcf7jO3t4BL3/5eQW0E2hgW6qde3cXGBgZxGd6OU2fPu6qBsOsra8ogJ5ctKT6JA+HhVJRXQblobi9s0tdVhs1S10nBWwab2lTFO57t+9yfv784yGnkMfn9Sm6ejQcVvFqiUE3mpa68GYOjxmUNF/NZu/okHgyrsjjcqmMmmHSeokD2+KrX36R3fUdjo5PFEH7Oz/3M/yXH/5QVZcCPqlCbarv2bnZOWrifW7YypUumiyBvi0uLhGORJU2T/zhx6cn+MWIYztqWJVIbluyjb6BLgVwy+WLxBNSBajT1z+otHse/2OoWqo1TtO2aFg2AwODKlUhDnQhm9sNl431NQWtk89yiWRLBW54YIS33nyLixfneebZp3n11TfI5TJqmO7q6JVsH4l4gnJZIHUhdSGXqLBEsB8tLanvL+mCN9UAGCISiHAgdotiXhkZxiZGVT3h0YM1PAFdPcTLgrezo00B34r5PJ29PXhND9c+vkYiESUSCzE3c45XXn+Nns5OOjvb1WWzNSkqtw21rLh48bxiIUgc/tnnn+adt99kd+dYwe5kifTVb36Djz74hE+uXWd2ZlZdqEeGexX9Xz7/wwJK9ogCuYbP72Xp0RrxaFTFh+OtUaKRVqxagw8++pj5c1O0d3aQPkmrq3+uWGBweJC15S3WVleVKUDApSvLG1SKJWaFL7T8UC1f1FI+4KFUrqjhWNKCgqoSHeVAdx+f3PiU5595RhH679x+wOjYIMfHR9hNjdGJEbVs2dvd58qTT7K8sqSGVmFjSB1FqPWisJSKTD5bUNf81niLWi75vSHylTyzMzPcvb/I01efUCT+h/eX0BydWEJqdVGmZ6f5Lz/4CwYHu1X9VQZ813WYnBzj7p1F9bsIRWOMDY+xsHhH2RFkWBwfH2dlZY1sJk2sJYlhuAqQ19HZjus01HLF4/crq0dfvxgb1lR1ZaC3i42NHQV5k/i9LGbkjRUNSqrUUMudbDavLseydJLXaKVQZf7yLFsb2zx6sMz8E/NkDzNKdynchJ6ePk5UlUcMIk2mZ6a4des2vX1dKn0TC4tiLMza2jp9fQP09HTyF3/2GhcunVH6UEkA9Hb1srW9y5nZSQWvFKZFQnSki4ukZHDUXbq628hmsuq9PtDbr8BuEuc/Oc2qGoE/4Gd4aEipMnt6u1TPumnYlFb22L23S3tXhM7xPm6+d5dkNKpo+lrSx9gLlzhY3WXzwSrPvfgcaxtyACnzla99SdlAZDEZj8lnVFElfMZHH6eHHA1aY8n/oZP0sfJohXNnZ9WiTz4rZAlVq5ZV2kKAhV2dPTxcWqKro5PRsRHuLz7kJJOhadX47ne+w72FeyoZI8aQVEerMgmIcUIOMAI0leVBS0uMUCimPte6RYV5uKOqNTv7O0yMT1KvVtXz20/e+UA9y8tCo1Iv82hxRWlH21LCa0mrJa0wJYSb8Pprr3PmzJSqbRcyJZWmyeWFJdXDgSwnohGOT47weUKUSnkmJkdVbajpN0gvrhDNWNzd2KWnvwVTuuaOj3jIw+2FY3VpXkv/EOtwi+y9W5jhVoKpAQrbj/B7HbRIn/rOc/wtKIRUZpNmpB9PIKGi+5okEqPtaHYMO3cMzV2cSDuuVUUXlWDXV7FOXsdserECnZgBByezhxlJ0pQBXC7XHi+aG0XPr6AHXBzvKGbzBEesMZofxz5W8ErCPRhyDBXOHB4ajoHXE37Mcmroj4GC4RE1w0kawmeX8CTGFfvCyixjhvw43k5MN4dVyaM3TjEiZ5T9CU9SQRZ9VhXLiGOUDmgGwyqJ4lYK6uBiyGEo3ocrVdJ6RsHxG40sdjWt1INa/ZimHkbLLGGG4jQ8PgKSOm+UaZZ28caGcUprGKEWmrUKhlPHdgOKpdA8vYEWETChX9UEVJ3cDGFUj6g3AwSiYZoCoHYimEaFRn5VHb0lcWcG4+qwLx+yWubTf+maJYkOVmkm5/DofvzNHWqBcdzsDvgdtJr4qTfRWkZwq0WMeB9OM02zuIPfG6emiWP6EwItE0obpZ3eQpfevUQUyofoiU6MQgW7sokjysFyBT0ygsc+xbZEcdVQvyxvdFzFaF09jltLKxCaoxWopfcItc7SoILHHwNPSBH8HT0IjofG7rsY/Z9THUHn8AFuOIDrTeIt71MT+WZkGlMUVvk1ms2GitnKRU/z+7FLJ+pF6xTWMIRLYLSqoS5glxSoUAgXjcw1jPAwhjeJGY+pKLJeWQbZxuT3MIScbeVpaGILAM3jxzJbMCSMnj9Btw4whr6IVtikvPcxRmQOo7VXRfhNv59GZudx8iL8WGlo2yZe3cKqpWk2iwTaXqBy9LHqu/h6Po9lVTGwcBpVCEZwjhfQKaOlnsFr1am70suN4gm3Ybkaeu4R9ewp3o5ZjNq+enAXo4IAJsy6RIK9BGe+RH71FXqv/CYvzXcQcKFuu5zmsyzvWPyd717g53/2eV5/+zN6e7u5e3cRq+HS3t5BKGZiuiaZ0yNm5s7xox+9xYX5IaUA+vb//vu8eGmaiN/lnRsrzM+P8emdNdxcg7uHb+Ls3Ce3so6RSOALxVB8PF9QfelJt9cfGQRXoHjSkymimXFKJw/xBKQjnSK/u0zni9/g2n/9T3ztF7/P11/q5fi4Trt080dS/Ic/uclLV0f5W3/tZT786DOSyQixtihhI0qmnGWwuwNfLMbb733A/m6e1pYOfvSTe9xeOWFiMEn2sIAvrCmN3uhgu3roX1zZVkRur/YYnnmSOZHRhInhIR4sLTE50ofm07l+a5OtbYv+zgg/85VzjPSZTE6dY3Njhz/+41f44peeUQ+BAqERDZRs6ebPzrO9t6vinhsrj7884omEYkMIFKqlNYpVrpNqF59xhjuLd/iV/+2XWFpZZenBfRXjlL67EMD9gQAtAvdaXyGTrzA83MXmyjbpbFZRiiXCG2+NU8rlwDDVF/Gfvv6I1mSYeNglnXXpaI0qBsATFzv4X3/2ad56b5GWljCdHZ0KUCObV/FMZ3Ml0rk9Ls+f5TRXp3SYZmCqn46wl3S5wLvvbbOfPcKr+5k/O8jG/g7Nup/1nUPmzw2x/GgVX9DBycH1h1n+n+/9LD//d36JWq5CY20Xp1xCC4fxaWksvV3S0GhmAa8khwRy6WnBqu3iC41h2xkwg+j+5OPUjqjXmmm0+HnscBiOPsDVIniiszhGXcXWzNqxcr02Tm/j+sJ4wyM4Vh3Xp2EXD1W80tvzFNWF38GTOovr70fQp7bXxCmmlSrG1fLUnSh6oI3G4Tt4XBNv2xmoHNCsOHja+xUHwsneVdFITTfQ4xNouoslRhIbTJqqp2gr8OkOTnEfzdurNtWeYIR6YUmWt/il3+aaONVDdWlwo31CGKR+eBuvKAvNNlUvcjRJORXxJIexaqJLDSi4jyxaqe1jl4vo7c9h2vs0Mw+xVI+uDdMfolkWfWsYTYvQrB88jr2lF3G7LqM3HKqSArOKEErgL58+rjS1jGCJHrBewfbHsWpFdQEuHmwT9FYpO+20X32J//PJq7y94eXioK6AsU2zwfZagcGRVj5aLvCl4Sj/6NXfJv37v0W1ahFu70IzTMxaiXoypewOzXtvkD8skHjpKzjrdwkMXqJczlI/PaL1ia9TW/oYQh70RhXrpIDZP0Y9fYCnWsC1q9SPT/GdfwafcFfkIcGyyD64SfLs05R3NgiPTNI42qUhV9buXlVba9Q1mqaP7MotEtpjYKMZi6GLfq9Ww5HoY7yVcrFEsLWd5vYatUqGyKXnsdeX0Ns6sLNHwvPF296Plt1j8+O36DlzFp/mcHKUJZlM8jf+4z3eX84xOdBFpniigFoCMlu8vUysJ0lXZwtHu8ec/dmX2dw84Ghrn/a+NtXDlgW8L+gnHAuqmoeAP6W7ff7KOW5c+5RwNKKuxkJIl6qeXBXlar97sEsmm+fJq0+qaG9AunmGpqCkMjguL29SqhT43AvPc/feHQVrO02n+ezTT/nlX/kl7t5eVFHr4RHReIn5xiEQMNWA6TN03vtP7zE11U5DFganeVUHatQd6odZup+don18ELtqsfRwSenQ5LPx6PD4MfgOm53tfZ79/HNkj3OKoj42Manc3vF4FEPBCaPqz5rO5ikW5c8xhl2vq9REMBigYdVItXdw68ZtBS0UkN2tz+7R1pEkHk+o6146k+aF559VF0chyXf19iqH+fz5s4qgPXd+hny2xCcfXVNXeElFiM0glWpTiYbTXI7+7i4qjRIZsRY0HVWbCwVDFPI5Fafe3NhmauaMGhSkty2Vg73NLdo6O1WP+satRXq6kpw5c4Zr168xMjxCo1FXfeRqvaaWyHK2njkzy97uLtV6hY7ONnVdlH52qrWF3YMjdY0eGe4mkWhlaeURXV3dahi9dWOBc3MznMjnvusoR3yxXKBUzqtlia0ZSoU4OyODSo7tnS3FIrh+7VO15O7v76FcqXPh0jlFxd/aOOAkm8Gj4GR5ps9Monu8lMRAZHhp1Boq0iz1gkuXn8CxLNa3NtT1VwakfDHN/Nw5Pv7omnoonZucIpaMYzceL8OzhTyx6OP4/fsfX2Oop5t4skUBLSXNVKrXyJ6eSkKX7s5ubt28o8jnEuuWhEV7Mk5ndw83PrtDT1/HY7J7sUY+XyIUC9EajmPK0uLhA7p6erAaFnUxT7k2bakOdemXhcEnogPOF7h05Qpv//gtzpybIplqZ+H2AolUK9mcJCemKZWLLNxbZHJikmsf3+KZZx+nMAqnBZJdrRTzRfW/mc/XePrZqyRbY9y5dYdG3SWWijE5Ncq92/fwCJdFk6/zJtFojEqtid80WFpZYmx8As11qYl61eNTMfhELErDRj2fvfHjd9RrOhoLq+qEbruqG34kf45MTqUNJJEgdQ9db7K7dczQ8KBa4gi1P9WWwnIsZYwQxlVCtJ+1KvlSUb3us+lTZR/a3d1jdHCE5ZVVUu0taqEnEDrRMH5y7S5/5btfY2lpjf7eLlaWVxkZGSVbzKkU4ezcWe4tLJBsaVX/e63tnQoQKcUzU9fZ25UEhYblGJybm1KJGTFdnNxYwjA8eAxXJWU9rnBRAhwdZTj3rSdIdPby+p/8iGhrjPOXzvP6q29w5fIF9na3lV65q72LD95/n2g8QUdbJ1W7TNAbIp0R6n6HqkTWGhW+9vVv8iff/4FiT+Syp6yt7XH27IxaPL3x1tucv3BW6UnFpvHSSy8oyOi9Ow8Un6NN0lRjIyr50t3RhcfrY2HhnuILCFtJ+FBPXDzP8WmGpaVHfOFLX+DWpzfw+bxE43Hu3r5HMpUilYqTPs2TO83R3dutkhG9A31EQyEeLT1Sad9ELMFJJo2mOyr5ZQgNG4PWthgrS2uYXp3DowP6e/poNl1V+WhpCanPA4E2b2xuEAyFiSSCKk28/ONPGIgF0QIedXwUs4AA/7xhPwsLGX74u3+Fy1/9/1l6zyhJ0/M87/pC5dxVnXOY6emenGd2sLuzi13sgsACIECKhiwRomkdHVEWZZOWaEm2KUqWLVE8ShYpU+IRDghKNDJgYIHdxabZyTn0THfPdM6hunKu+oL1vMN/OGfnYHqqq7563+e57+t6nc3rj4h2yTa7SjWzSDh1jKY3hCcaw8muotPCbvrQRbcebkfPbqMlhpSxyK4V0eLDGIVptPA+aSRR3/iYcFTukL3qnmY6OWV6Q5hCWoRmbRHN14FeF3h8Bk9sXNmf5IqnBcOQW1awdNE9S9XS4w/S8sTRCk8gMoSVn8Mb24cm6UcjjpufRotY5gDCAAAgAElEQVROYGUuQbAPTW+im8M4uoNmtzDlvehPQk3ONpIsXcAO9IJ3AKO5iCPfa2HjuYrc24FVXMfbLknPOkYrjhPwYFUK6vV3d2agYwJH7tcUsGsN3NgwTi2DVriPE7uA4W5gIWaYDhpOg6BWU3dNp5XGDPUqZaF6r3a8QHPmm8qm5/hCGPIzUVUwVMcuYlQ2aNhNPP592HpN1btoVVXNU+63ovcVAKPWyKBlr/9zl0YZw6ejBdoUKd+Rw1zIi7M9gzcyiBkao7LxLfTBv46vdBVb92J2nMWWmLlrqQ2U9Apsdw2nLG/wIK6nhic+gqMZOJktjJCJ7Ynj5Lbx6GXsgPixxVe5QlS2MS2dRuYpusfC8fcp6J0cGhzZWJUfYek+5WWWL01dNiu6gauHFMmV3AaOrqO1H0XP3qJVkwt+AFv+4Y0CnlAK2zBxWx4Vk3E8LdX59XgiNLcfYnYdw2qU1ZvdbmZoaSE8Qq5srOPp+0Vaq++ozZu8uAIuFB1FUxRhZgQn0oO2ex3H7EEPRWjmN1RPxG0fw1fXaDRzqq/baunKca/pVSy9DZMGdrmIGQhTqxQxTOljCr3TQm8V0ANtuIE+rHoNzKrqvFqFebRIz3PXpMAAQzFcQ3yUu+CGaVbTaPVNvKE+Rblt1aoE4n7s4AEQkvXaO1hGkPjoi7RaVWwZ5ugxPJ4SbrOd4Kc+xRdPX2BlvsHRY+NEQ01W0mWuPEzzhQsD/PbffIP3371HQ3OY2D+qomECQnu6NEfAG1bqumDIz/ziGtFQlMl9vfzT//gOd26t89qrg8TDUYrywdc07lzb5JObv0+8b4LspQ8wUwHV2ZFomNUs4BfVZGSYZm0Db2mZpm9APWh8gSSOVwKLZRrlPIbZSfTcZ/i1C6/zzvU0v/KFSWxPnY0di0y2xrPFPf7FP/wFjk308rOPn6nIn1Wt0t0RIRiK8JMPL/M3/spXWVnboNGUS3IbhuUhX63R35vkj795hamFdbayNrm9Fi+e6cCq1djKNOnrCOAP+/F5fAoq6Pd6kKdRwOOwvFnk9LFhjh+d4E/+y3sMd3fS02Fy9tgkff1RHtx/RqpDNlo7JFPtKro6PzenCNtzzxaId6Q4OHFARbDv358mHHmu8jt64oQCYe3tpRUHIBZP8uTJY3WgFdCNkGulyiDUa5lU9/b2Ktfv1kaa8YkRgv6gomafO3OWhdV5FUuyMBkd6aFcK/Inf35V0apNp0pDXodCiZ1Ck+42D9/413+L9z64T7VYUQewhlVgeGg/d+7eVxee4eH9lIuisRlkeX1TfVZkqHDuyBAHDw9x+dYq//xff5dKy0tH0kdn0sNQbwf3p7bZP9iOpRvUKxlWswVuP6qRDMHU934N/6v/CGvtOq2tS9iBITymPG9snPKeAoYawU6ob2Ov38NIjeDIBdSwCA58mdraezi+NjRbniWiNRuguXpfPRs8XZPYy+9ihYfwRAbAb+IVVY/o8zQNR/Nj2RpeXxCruoA/dYFmYQvTa2E7JpZcvsPtmLpsZrdwWw01qZYJuLwP9FC30qba9Q3MWh7H30WrvIzmDeDzJbHsJpopP1sLWrs43gR6tANNJuieIG5mAYMqjr8byXVrHhO9XsdyDTSPi+PUITSKXltSmzDDk4DqMrYMK40mrfQdSJ2DihzOm+jebupuTT1XxUUvjlt78zq6L4rWfQrTqtHKL+GaAarVDaLeuPrCFUx7U6vhM6OKa6I3warOYuLHbeXwBPZTN0184RCupWEbLqaAXjWTpiURZpd6bo9YzEN2OU3767/K9qNv8fIrf8LgRIKOoEtH2KRRcimJy3mvwty2zYM/ep2uiX6s2w9pybCtc5jc3DJt7TpuaD/4LExRaNXyFKbuETl+Bm11m0J+idjYOaq7K7TEARzqxFepUA/reBoadKWg5NKq7uCU6wQHevG2j9HYfkarUScU9OMMTZC7eRPWZomdeIHaboZ8cZGUL4aW6lYJC2+zSV2m+5EBPHEZB2no8TaaT+dwChnMRAihfxYWH9F57vNUd7cxt5/RbBsmuH+Sykc/xHfwHF6vzs7TKfxmgN5zx1l5eJ03fucuXZMpYurzXKTRbNLT1aZUQNurVYIel0bIi39imCOHxrl34x7t7QnOvfQit2/e5P69KV668ILaKsoGaXt7V+n9ZGshdaFDhw+R3t1VoCnZ+ktaR6jqwkg4dvyUgpKOjoyyk96ld6CLfLbC+soSX/3LX1VQsGq5xv6DB8ju7Kgo9flzp1heXWV9cZ1Eu1xWGiTjCYq1Gqn2mIKmzr73iAufPs7j2TmlpOtoj3LjygI9nVF8k73q4BXz+uka7mZxfpmh/j6ezMwztn8f048FpmVz9sJZKqU6z549pbOznUa9qS692cyeihRLteAzb36aJ4+mePRghn0HRuho72BhYZ7e3j56uztZ39xSUEjbshUQtVgscer0SdVTbku0sbS8rHrkwUhUdb0FTCsKNjlryMBTBnTSLxdFocSrBYYlYcD1lTVK1QrhQFBtkeXyLH1ugazFIhHa25MUy1VWl1eUx75ab9Hd1YlHLjmWrS5NPf2dpNN50rtbnL9wXm3Me7p71aVUjAsSYZUOtWxO5dJuml4VP88IaPGzn+fn77+vgFiRRJzV1SXFgZienqNSLnPi+DFqjZq6qCYSMQXpqzZbBAxNDTz2jQ8xMXmIx4+fMNA9wLOleQ4dnlCDhWQixtTUUz51/jyZYo5r124px70k0aq1qoLxyYZe6n8yONjY3iW7t/uchq2jvod8po/33/tIQVCFC3DuhdPkc0WlwY1HY2qDvri0pHrtwrU5duKIiqVf+uCa+m+SWNnL7KrLTyb33EIlyUrhVkweOKCi8KFonHqpQKFU4sjxwyzNL9Le0UEmt6dI96IUFGK+bEHl5yqWqkRCQZaWVxgbHqJnsFfp14r5MoYh8xGNcCxCd28vt67eYP/kOHvpbXyegKq9VMo1KqWa4jIIJ0G4CrLdjseSnD93ko8+vqwqKJ9cvqaSBGLY6Ghvf84bqdfYyWQU6LBZb6gLciyeoHeglw/fe5/PfekLLD59poZ18VRCaRJT8XaVyJGLnEAd5bM7MjTG2uayItrfuHGb4TH5jvSrz7JcpEqFmmJMCGAyGA8qa5MM5dKZPaUBbe9sZ293h821LcYm9qkzh9hpJAXR293DyvomrUaZg4cOK8aDaCAPHjqomBAry6u0Wg6FXFaBA7PZIoPDAximwYM7D+kd7MLUfEpT9vTZHN1d7fzSr3yFa5evKnCi2BCyuYqi5AvMULgO8gw+c+4EU4/nKGYy9I0Msre1iycWoFWqsHt9jtGDI8SSYZZnNtBCAuPWKZVbNFJeOnq6yGym6eobxOtx1BBD6P6ba5u88bk3mJ56pIaJI2OjtHck1VBNvOxSRRClsXBM5LWTf8fm2g6bm+uMT04ocObu1ja//CtfUWcoubQO9PRjuzZzT5eoNSq8+vpFFR2X1yUSiZPb3VW6ZUnF9HZ3EY7GVRJEDAK1apmBoT5WVjZUDUsSBbbVVAM0ScdkclnaOzvY2xYjQIp4LMbP3n6X7v5u+joFjlpREM57Dx4yPjFOMpbg8pUrvPzSy+xm9p7DEXVDpWvkPS11VkkTyecmGA9TKeRJ7+XZd2BUDTsHRgYUv+D9P/0eo9EOdrJpxTQKBSUx6SPREeNH7z7hi8fH+ObVr9N4cJtmJU3N30sg3K5A6rXcFLrXjy85QsuKojXXoSUxdenTl3CDSRprswQCFnrfp2l5fJCeh4aw1Dok1Y4v1E5j57aC9JndJ2ltPlBVRT20D5s6Rj2jXmtvdABbap3+FD5JjwtfTVJmkUHqC+9iCDA8dRq7mVMDSX3rKnbqDG5kAFMWyNUCtPegrzzF9hrohg/NtFUSXdKBZmJIDQs1OWdpdayG3OHA9EXUQtyWOnl4GL04p2pKjlXFbBapOxqGmBBC0eeQdzOuUtq2tUsrv4wnPonHl8CS5Hmjgr/vCM1yGqNlqQu9XlxT8HsxnZnBFNVaDU8rrV5Hw2/gygO00cKRQYYoFoMxTGEMODqa16OSc15VZzfRqhVaAugPdmILT6GyhRZOqYFKq55Gy9/8Z67myoPCi4cKrl1FF5d2s4mt+cEUAmZGaSIsfzt+uUCXlsEjHYQ4diCqJpRufh0jkgJ/QhH7tVg/1sI7GIkB9NhBmnPfhbZDquPkWk1cicmyg+PrRhd1VrOGXs1SFe2bRN0ND3rDhvw0dqwPj6+HlkD+Cmv4Ekkso1MRDs3SHK1WRoGupA9bW/42/u5XsOwsgVA/ZfmSKLdAK+CxKliuwLwiastuGA31y9WNHpxAACu3ouKwBAbR9TxaGRohUSAa6OFh3NYW7t4Ojj/63Plt1xWB23TqNMNteCUSrFfQ4qep3P4D6DqCr+MFtNy0mnxhV3DX38NKvULTGydcmQevRElMnPqW2vb7k4fVIa1Z2MForqN7xEPbg274afo9+Bp5WqUMWvI4rl3BEeAgBrq/HapC79x73vkPdNCY+4mK/3qHX6WU3yAU76VVruGL+WnsPlXJB18rRy2YVAfi1NmXWHj7Bxz56v/Dy4eC6PKmRieX22Xgv5J/X39pPyNd/Wxm9vAF5fcoD0pRQxksrWwwMiwQMq86lHz32z9UkLmOZIx/+C9+xOhkL8fHktx7NEdnTy9/9pNn/If/83N87bd+C2tqiqxdIuLxUMysEgi0oXkSVEtLBPQg+dWfEz70VcLxYSr5FXSriWV41Xa0/fxXgS1isS8wEPVz8sIhAvY2lZrGjdltzo728CtfOEysrRsdAdTUKNbKtBS4JszDh9O8fPEV3n3vfRWRr1ktPG6dVtXhwOQw9YJoJU26u4f57o9+xr2Hu9x8WiAU9vDmS6OYtsa9+7Pq4FDKFmnpBrGQn+1sjqDXz9kDneSqLS7fWyEZC5P7r3CtL74xwcUzkzKk5d7NeRY3M+wfH+PFF48xNf0Ev2w6NYOp+Xni0YiKb509eVr5pkVZVK7kGewf44+//qe0RWN88QufZXt3W/3ZR49nCYa9HJ48woeXr3D8yDFeunCaH779Ns+eLvH5z77O/NIiPsPkxRdf4J/8i3/LaHcfo8NSqYE//MZ1egeibCznOHN2jKDp5eqtebpSUb7+x7/FJx9cZnZxDVOiqm0xKtWyAhd+5UtfZGN3jft3HzI+Mkqj2VAe2VA8wcPbd9lYT3P6xGFeeeMl/v03v83tG8tUKgI3C+I3apw+s4+pBwuk0w3272vnwLEj/Pt/9xMiQY3/9I//G479zd+lNnUJv7tNxRIoZhzX30t1Z4lAZ1wlXFqWQaSrRw3KnIaNERqC+jJG+xnVN3Pyacyh17DEZiKfyfAQhhakUlzEk5DomEyXC+iUsOVLwpugvvVYdUT1sB+nsgRmJ7pj443sw5LYu+hUEiME6nvkdmYIh4UL8JwnIv00AQs61gZuI4yeGsHQHWwnhFPP4vFpSjknB3+vX5ImkzTEB7I7q3piMjQ0VfdNx472PP+CKz//4vF5h2h6TaXbM1plmtvX8HS9gGlGqGdvP98CmDGMUBLLbanBgS4Jm/IeTmkJb2gUb7ibZnUNOzulAIV68CSmI3DATWyjC4IJ3L15lQ7RI924hQVsj4dwaJC6U0Gr7ULdgnCvAukIENbwhHFaRYxQFLvuYPvCSllnWAVajQw6UQJJE+/YBf7gN/8H/t1/vsNLgz51icq0Gsq5nM9aLNbEi+Iy9X99BmNyhOLcNs1ckWCjSikWJNLWi73zFFcYJzRxqiV87W1YxQZ67wjO4l3188vB1VvO48T6qD27Qvj4ZylvbxDoG8Hs76V5431am7sEDo7j7R+jfu8ajldDmziNOz+Dtb0FPT24m2sERiRWWcRdLhLuDlIRj7CnjH/4FNkffwM3HqLt5GeUdk/+/bWHNwhOnFWA1TAWtWyBysYi3lBAsVi8joa/d5/q99m7m3gnzhPvMHl29SbH/8F9Do9ElCapVmpgSBKl1eTwxCiXLs+y//gARnuCluAn/SZt3XE62rq5c/OW2lCFJRmGozZGqVSniqvLUKpvqA9T03j84DFjE9Kl3lXRbCFdx+JhDI+XxYUV1SmXgcL1a7d54YVz7KV31ZBd+ACiGPz0a6/wgx/+WGkIRX8ow+DhkX4VoReYniSawqEINdfCyuZJemM8vTtDPB6k+hfqwFDIQ6PpUKyX6T5zBK9m8PjBFGMH9uP3PNe3ydlALusC12pZLu2pJOmdLWxbUw76XE66+Rpev4fh0VE1KAgG/CoVcP3GXQ4fnlCU5KWFZWLJOEG/Rw1EpMLWshuMjYm+a559+4eYn19S6QuJHs/PzuENhgj5fdy6+ZA3P/eaupisrK/zl/7SV3jvnfdIppI8uPeQfftHOXTkoKpclKo1CpkcZ8+c4Or12xw7elhF5D+6dIlQIKgue93dvSq2e+3KLeVWl6GC1+NR7IFv//mPGRnrZXcnzfkLZymUpFPeqVIL2zt7fOmtzzC3sEQul1dwO9d5rl4cHBlSm1dRpPkNP0eOCx/hFpFwSGkCT586yve+92NFn5fY9s/ffZ9z5+X3uq0AtV946y12djb45JNrqrPf3S5KsTQBBYt01BBQd+T3EFTaWongCz8iWywpOJro0EYHh1jd2uDUqWOUCmUePHrCK6+8QH4vp4ZEQlqXKLcMZB5PzxCLhRWDoaMjxfT0M/V+nTw0ybPpGQYHBqnWRC32fJucy5VVhFrAZwLRu3v3nvo7pMssf67RtHjl9Ytc/+S6sh7EomI10BkfG+HmjXt0dKeYfjzD/on9zE7PcPToQXL5iorpy/Z45tksb37mVbY208wtzDM6PKgi9LeuP1Db93Rmh77eXgaHh1lbWVYDlGatpRYH4mmXTfXubpouMZBoDmurAuiTCYJFR1en0sF1tncq9aPfZ7K8vMTQ0IgCKdfrYtTSFHxP4I3rq2uMjI4pZWMoElbb8+WVNQYHB3j06Im6JJ46eZxas8HUw+m/oNKXVUe+VRd9sEulKDq6iHqPyHtLwIBSxTBNn3pvj+0fUZWAmdk5laLoHuxjaW6eA0KWty2VFJBFgFT0KvUyp0+d4un0U0qlKm0dCbVZ7u7qUb9DGfbJ3721tqU0xblsmVRHO4V8VgGIn80tqei2DFbFDCLnRVEiRmMJhoYPsDT/RCVoas0mpq6xvblHWyLK5vYG5195kfRmho/e+ZjzFy+w+Mk9DKm1mSE1WJaBWNwfoOY0SQ72kezr4M7DR5w6d1bEmTTrrrowPXw0zfDIgDobdXd0sbO5y9LGtlpapdd2yJQK6vk1um9Edeflcp1ICIBbNulJFuYWeOOzr/HBB5do1Zq8/PIFtnbTPHz0UDEvxg9OKmZAy2qwb2RIpSPWVjap16uqHikQ0MV5+e+OgkPKeS8Ra+OjS59wcGJCcT2qlao6O4v6UWoY9UaFXKZId4/UcfMcOTLJpY+uqKSG/O6kuy9sDjmfHD50iJ++/Y4auoo6UxzvkkjqGximu7ed//yNb3H23ClVW3U1ndGhPizHfc70sB2lg5yafcyBQ+NUdqpsXL9LpShtRoEKmyrR9cu/dIhG2eU/fu8Juak/JtCfIH/nE4JtE7QaRRq2gU/qhHJBTQzgyW9INhGjc5z65iw+I4/b/rJaGghPSd9bBU8Uu7GEGR1HC/Tj7v4QLfUmTrgPe+lHeNoOohlBmpJGDEaVkcgrQMBgG3VR+9Xy6HIBDg3g7jxAM1q0wvuUNtDKP32uQ/Z207LyeO0CvuQJyvUMRnUX0xdF98SoVTIYAWEIdaDV97CqTdW9b9RW8UZ70SLHsGvb+PWW4j4IwNmppvGIUcjbDR5HVeF9srTVTbSa8AjkPFRSgESpG7Sqm89huE4Tq7SO0fYSLXsWsxnCCcQgPasW1ZZXV9wos7WDbcQwAv1YYgBo5tQ926jmaDTyaFpI3c18kQ6Q+17hqfou0Ds+hVPdBKeA5ppqYdosbWH7PGD7VJ3FKu9ixPtx6ntopdv/xrVqK+jRcWimlTdR9yeV0sHjDSo9FbUKbsTA9IxilZ48h7T4erHyN/F0nFS+U2v5E7ypfUBQxY00v1yy9zD8PTTrRbxaFTcoETQTq7KOa+p4/MNoHp1mcQUzIKo/FyoZfMEuao11qG2qWJfu78DTfob6zg1CoQNY4rksTKEFOrGNAPj6MYpPMTUHO5LAtbyYrSx2MIm1fgWvqLIiR9SDU69to1lbINMlM4blhrGszPOOvvSZxTWJTxG/HemkyKbRSqO5EYxID04wglat0ayt4fWGsI1OzMaG+rdhtLCyC3h6fwEPaWqiqdDbsbc/wAgl0LpewliV+LGOFgrTzC+itZ1Cl4uERFucBs3WDrq3n2BIp7S7gZ67DYlxvLExdFcik+u4hTU8/adoZPcw6+vY0V5Vf9BaIsooQMMDchAPJzGkM1LO0qjPKkWZ0PTruXkMfxyP5qNeXcTyHVDgsvbeFBtzlzn4yr/n4LiB7g3RK521WBt3H81zcDjOr331FTY3KyytrdCT6lQXndHR/aojNjzSS6ZYplTI8tKLL1OtZdjc3OU//NlV/OEYPR0eZqd2mDzUy48+WuF/+fWT/L3f+8tsPXqMzzXxpybUw3pnZ5VU3yC1lRWCgwM0rTxhI0RT06lkZkl0nVCRSJ+Rw3vkN/iVC/t490aZX3x1gkx+m5GBdrI5jQ9vP+V//Y1XGB8c4J2PL3PhhVNc+/gG0faE8l57pEri2nT19qgvt0pNBkQtTh4/yfZuhql7Ek+L0tnfTyxscHhyQG1uVreyXLkxxw9+8pB8zaFvUDajDSJhL33JBBsbadpiMcyAl4YAyYICDjVZWS+wuZvhtDhs8w3OH2vnM585QlDUcJrBH/3fP6K7L65cr7KV+JOvf5vR0T5OnzzJ/Qd3ufDCBRXJ/dH3v8/xoyeUY3lvbw/LrjE5OcHGygYbm9ucOnOUVt1hN7vLk3tTfO5Ln2dpYYW1jXWl75ID6fbmFr19HSTb20mnC5w53M92xeF//kff5uCBJD3xThWnjiWjXLq3ytnxLt64OCEBddUFzucrtJp11Rvey+QYHRtWutKGbTG3sKi0XNndLOm9DGPjo3SkutSBQCitkxOjSh3059/5mRo4FBrwtV+6oDzf1YZwNGwmR4bZ3F7HCIb55vdn+d2/+zl++/d/C3crS3nqp5jJIRpmE73QolFZx+g5jsfW0D01rGIB22nHp2/S8LdhmCmsyiZOdR1/2wncek7F2xzpoAXb0AIdOOUCVkDDY3ZgOzZGcY3q6ocEhl/HG4jQskxVTXGyc7gCkmsbUf1dJ3cZjD4CQxex9x5ilbcgOY5RL6sLsdQKHCuLXtoEfwqvGaChm7h2DkNLobX2sFOTBLZv0jLjtDxtz9U34QFczYu19S7+8Ai26FP9Os7WIzyehEoW6eEgeDrQ7QqGJGdc8AROYBU+wTKSGI15XF8nRiCBR/fQkD8gNHpPALf4UP1sAvFxGnk8Muzz9oJAbgpLKhWgp3pwqxZ2cwMzPqF4JBgNmoUsZvsE3nqFyurbahJvREax/VEMgQbmFhWgtRXyEBBtbHEW7Cre1BiO20V+7R59xw6pZ87Fya/R7G0jYVZJr4q72I9um4x1abxzZ4+Bnig/+befJb1awNczSvnxlDpMeUwHO7uHb/QwjalP0IaP4gn3UhXq78QLUM6imQZGpJ360mPM1IBKd3m6xzGE4G2VsCs2tmkR3neC3OxlzPUMtcya+n0Ti+NJ9eGEfej5DM16Wc28/W98UY40VC/9gOjJ1ymtzGLLtt/nQwuE0MUC4ejomlx8M5Snb5P69Feo7KYxo0H0SJj6nctEJ89SqpQwNZPq/fsE+8N49QCx84f5o3/5Hn/r28tcGHTYrUBPXxyapoIu1usOud0Kw0f70AYSlHLPt8LlQoHRiWGaKvKuKdr209lFEm0R5f+Vy6HAQz/68BO1dZYtcq1aJxSNkN7ZpZAvMXnogLq4C/3+wMSkcqTL9lfSRXKpsmxHdYp3dneVBWB65ikjo30KMBjw+tTGTGCjYhlY39xmZztNe383et1m9+Yzmm5TbYqlOlW2HJJR6cBXOfzGCXyDvfzsW29zaN8hyq2qumTKdkx3NRYWF9k3uo+PL1/m8MGDBAI+FaOfmJxQ2rpmq6Go/XJZrDfrlCSm/cJ5Svmc2qp6Al4mJw5x6YMPGDuwj2K+xN5ejv37h5l/tsKxE4dV9F/uuQJrm326oC4rR48cVlHuw8eOUmtWuXn9Fqn2FH7Ty6OHM7x48UVFc8+VBBRloxsW9YajLslHDk1w/eZNIuEEhlenUigpk8L07Iy6nApnxmPoHDpylMufXCHeFlPDgu9853uMjYypPrQkA3VJMeou6WyO115+lWdzc0o//MqrF7lx7brivPzkpx/QmUwSa4sqJZ707XOFjPKJi6M+FA6yt7tHvV6kq6uPxZVlxbNp1moKRif8gr7eAUUal39Psk2YEY/oH+zFthxVxVhcXqZSrKKbGj09/eyl03/BEthRv0MZ9sQTIeW97+3sI53ZYt+4gOG2VOIi4A0o2rpcDOX9JN154UPIRVWqah7dVEq8cCSoOtvRSFQNez746DLHjhxSCZhINEx2L6NMNq5ccDwBkilxoddo2Q6tep2FpRU62zuItyVUjD2rvh8tpc4VfoUMumTQIKqvVKKN2Zl5mk0547VUx72ju53r1+7QP9BF/+AAm6ubeHwmkxMTPHo4zdzCAmdPn1IDmPX1TTUwakvGVaNqa2OLek2YDp0sra4x2NuPL2jQ2dnD4wdPWN/aYP++ETweQ/298nmT25tsxeX/YGF+mUDAIJutqAtZqVZRSTSpbQjc77aQ5odF8bZHNBFXQL16rcGxY0cV5FKSGINDw6R3dyiUxODTp5IvslWXXrnoOdO6ZCQAACAASURBVD2GR9kQBPZ3+vTx51v+nk7FkejvG2Ti4Bgff/SR6usHfV5ajq2MClKT6OxL0hDG0Haacj7LkSNSQdmiYVlcOPsC7/zsJ5x64ZQCCz+ZmWN0tJ8H92c4fvSwUmf+7N23iUdi6mfw+LwUy2X1jEm0Rbl65RaBcJD9IyMKUCyqtE+/cpH7dx6q988XvvxZ9tY2cLZK5LezFGtVytL5BqLeEPlGlaEXJnn1tZd55ycfqpplOOylVrdVp/viqxfpbG9janoay3WoFWRIkVQR+Ga9Tqq7Rw0JA16D/uFeVlfWye7lOTA5zoMHD0kmk/TINr6YJ+gJcvvuXX71r/0VNte22UlvYDWbaqAhKmf59wjrYGRwWPGUmq0anqBsiKUK5VMVrKJUxEJe0lu7qrd/6Ohhrl+/zeDQIJm9HLrucPDgQdY31llfXSfZluDY8SMKhFkuZDl85Lj6rBVKWVVhdERpmIiQiCUp1/JKAf3xxx8ryGMg7FMpErkfVRoWa0trCna5f3wQ3da482SagM+kt6OXqUfP6NzfQbdusPrzBQaPxdXmOSPwvFqF/rYAf351j0/+01/hxV/9O2RvXsGwZVs+qlTdFBZxBCoaP4PrbKr0oTco55cw1u4DfL429PgIdnkda28aQ5TfhoXXn8KqF7GKS6p26MaHcHdv4cQOEAi3UcutYAjp3q3i1HZwguN4g224mUX1vUtQp55ZweP41XnHdWrqTCI2JbOxh5E4TF2ASqVbz21KotsrTUG4C91JoNe2FJCdcDdGaR7LdrEbe3gsB6vnDFpxUQ1BDd8YVm0evSUVhsOYdpBW7gotT4SAT2CXOZpOTdmbaOVxpNqpu5iiaTcjeORLppLBkvuapFDl32rVaAowPzKALYaCjavosRGM6BC1eolApB27OIMWH4OGrkCIjeioWsI7lRJ+S9gYflr5BXx+A80XomU10ZoN3NQERmlLmfQk3dIKDypGHLaFrgfQ8vf/nes2GmgB+YFiqhfazFxDpws9dQazvobtj+CIwxCH1vb76L2fVgdUe+MqWrwPzRVXYg7ddmh4E/i2L+G4NZyBL6voul56gK1HaQiXPdwGdkaBHTRRLSQP4Ctt0tibwu0+ofR5TmEGT+QQdrMATgufK1CJJE6rghYbUUMBrbKrKP7e5iYl16v+Hq2VxQn2KFe1FU6p/r5MN53asuo9+L0aDbNHTSAtx68UcxLcrBRW8ckjOHYUx5RfmqN6UZr6habRi2kV5RVGAHJ4bxVxNK/qXjny4ZMPgBXGcrOYRoCW9DDckAJrYYZwxZkd6EX36dh2HKp7aCGp7OpQ3sZurOFGJtGsLM7eAqQOqYO2Ef4UWukeLaMNfCae3DRNTwS9KnyEKpYvqSoabnUbp5JRFQg7/xQt2I1dE0J4WGlZzNgojbn/gqZ14KYOYRWf4JcPWPQQTrmCx1ummVmhkJ9j4K2/zt/56m/w/e8ucvxkj6RI2NjNkas6BFyT3/ntzyhDQiTexZOpWWy3xeTEpNqiDI+MsbmxSqVSVFTlVCqpLtCX7z7kx+/NUM2WqRvw5vleFldcPrn7lGfLX8efXaG566fmCeB3C5Qq6wr4p+iesQ6MRpV6epOQGAEErmGmqO/eoePoK1i6w+TgrzJxqpOe9h71cJOfaWOnxrnDPXzxrRPoRoAbN6fobpf4XJHh/cOKoCtfmOP7hnnnnZ+pn3dzM8346AhdfR0KxpLZyXLhwis8ePCAdHaPZLKT27fu8NbnL3Lo4CAPHi2xvZvlyq1pFpaLOArWE6Tm+BjslAcuLK6lSXXE8ZkapVqGVstHw2qoKXBptyYSCX7zv7vA+fOTPHy0TL1qU8yVOH16krnFZUbG9hP2mnxy+SrFRo1oKIwsFoT8Kp2+fCZHqVBheWWOF8+/hOVa3Hv0CKfRIByP05vsoO46lPMZXnz5ItMz02xurtHd069o3l/8/FvcvHWdE8fHefvqM65cnae/14fbcNVh6fTpA/zBH37MG6+08+U3zjL9dFNd7n1emH+2JKFn+nu7SfV0cvP6dU6fOq02StLbDQV83Lh3l6/+0le4fuMaqXgH61u7CsL0ysUTpLdKRNpjXL36mJv3VpXu8MDkAPGwwcZWTl1OXNtiZnWPcrqmlG337v4pvq4w1btLUFmG+Ig6/Ds+Db1cUF3zQPsouihP5IkT0mluPoNgJ36JmzVXqWtRfG37sIpztDbv4B/+HLa8qM0CRlnG3nUccwyCtuqYqa2214tZl4SUHE1MlWSyxE9rF/FZAmDR0AXeIjEr00XLzqLFJnGMIG5TNk3CKthTxPqWdOWbRQVZs8Pt2DUULVf6xG7yGJpE0/euorWfVhN0nyQUDSHa5mg1vXgGX8NNv61YKR4ZgqansDrPY2RvYXmSmL52ReLFMaFzn+K6NBt5nNIigciEMgnYjV0FPnMk0i5RYtdGC/lxLVN9RsO6TtOVWP4Khmz0I0OqT25YDWyPVBQEsJrHU8nT9Ds0m7LNe67IEnKhJnyAxCC25eKWVyAwoKi3HjeHo4UoZVboeekXWfnwh+x/69/w1sl2vnRulGdLGd69v0Z/PEKyK8x/uLrE//vlLr78G7/I3s+vEOgMoUXHqJkenJWH4A+gJbvxBw0o1Kinl/CFOrHbukH0PYE2qrqGV7YSGBjdAyDe4aWH6AIw6hynphsY2VmsjSytvj7aJ45SeHAd3QkSOHyUuiQNdvcwDp7Hym6o7wErs4W3ewB7+h5uwIN3/1Eay8vYpqGAR/bmAubBM1Tn7+FtllRtLnjyIo3ZB5jCZ+nspDEv2sgwtt9DJZclnggSG0jwO3//2/zneZPjUQs9JnqtIvl6C7/uEvSEFAjL8fuIH+ykJ9nNwuoWPtNQl3zhQwjYb3xyPyF/5PmFuFTC6/Mo2rTH51GqQDmky8bLEt94eo+BgQE2V9bwBcI8nZ1h5MAohWyetngbVqPF9p5sNzvUxklI9wXpnGoCeItz9NAxLn1yhWw2o7zduUxBvZdHxscoWTV2ZpcoPlwi1BVXXXWJhac3hV0h4NgMJ754En+qndn7T3jx7Cne/uAjXjh7lutXbqoLu1z45cLS29WtLo3Sue3p6lRRRzmoSaUsnogpLs1n3/iMUm/lC2UuXvwUy/PLTE/PcO6Fc2xubRCPJBRNv1QtEQ6GVPxXIpZ+0RHWSuqydWB8P4VCQVV/ctks58+d49vf/Q7j4wcI+f1cunyNF1/8lNrIiIddoG0eE8LKvLBMJBZWtQIZtkoXeHnpKcFgREX5ZatrWRbDYwO06i0ymay6PJcqOYqFMmfPnabREOe5n1t3bnPy6BHe/ukHHJjcT1dHBz/+yTucP38K13F5cP8xZ84eY2srQ3dvp9Kzrq2vMSmGgN00sTbhEOlspXeUOk+GEPG2qCJRa5g8efyEYycOMtjTxx//yX/h1Kkj7JsYYfrxU2KJGA2BpQlkLLuH3xdk7ukzTp6V4bvwGFbpSApk2K9+lo6uDmZmZ+nsaFfd/2AwTq5YolrKc/rsGaWUGx4c5OrVq6oO4GIpNoIMgtfW1zENIdaXVAdd+si3btzjF958U9Xyrl65zcjoAMlUG8uLGwq09dprF7l/964aHliWplJxAnl0bJd4IqpYGEvLq2prXyjmsFoWPQODpLc2aG9vV/H5m9dv09PXTSwSI5Zs4/qVa/T3D3Dq5DGuXbuturtDA32USxWlFxSavwxjevsGuH/3PkeOHyS9labebKqI+9jIKLMzj5XCUV6H2zfuqIFXOBzEo/toSyUUd+LJzKy69EkVZOLQhBraG5qr4LDra6ucOHlMVUxS8U6mph5SKlUU7Fm0cKdOH1Nsie31beLJGIP9/WrzLPaKRqPO3l6ZkJhpBPrn96jPRz6b46hcHpc3yRfSiltgajrdfT1qgz0+to9qvabes82GpZ4Xhw8LjKylYHdopoIJDwx0055Msbaxq+wDXq/Blcu3ePHlF7BqTS5dvc7rb7yshnZyz5GKm4D55HOWyRfUkLCrq12dFbu6ulRCsC48MI+Hcr6s4KOHjx5UujVh5Cwuraiakug7s+UMT356m1MH9zGztK6MQKFEhHAwTDFbQouF2XfxJNc/ucTJI6dUQuTMuTMKMBnzRXj89DHhSEglMHVD4/Dhg2Sl1pXPq1RlR3cnfn+I5YUFBRXt7Ojk9r0HfPbNN/n+D3/AsWPH2FhbZmhsFKflMjM9w5nzJ7h1/Tpf+7Wv8ZMfv6+qEa+99io3rl2jLZVioLePfLXEzJNp3nzzdZYW1wiFw+xsbbK+tqWMBfL+TO/mFd9DBsJdHW0q9i92k67uHmUhEMBjR3uC9975kDNnz6lB3pPpOY4fP6aG6HfuPOKlC2eVZcEQ8GStxtVL8ns5rxTd169dV2kOAStK5UEGWk+nn9HV1aE+Z6IULZUzBANR7lx/yFf+xheYvjLF/LtPGBgVHlIUw20qh7zXrTK366ffV+CDW9+h8ewx2dIikd43cIVEb9Tx04Yt1cWCdNp1tZXXYhNQ36Ml6cO2/VDL4zZFaS7V6iY0pSLZrtJsVrmqTG2SVGs5XjSfg9l2CLdWxtUcXLFW+aUOuUertodl9BCUtKLpV8l1SXU3Got4vX043gDU1vEFB2g0izjFTQxvJ81AFJ+cS8QEZ5Wx2g9gpu/RDIyrM4MmDDqh9LvCamqiZWaVmt7sOo3TzD9fHHmiaqHs6l50PUmjOIPu5jEbLdzkIC5JDNPGys+ru4EeOoDXyalUohbuQUgNjfouhmihc5I0DkFUrBhlNNsHorbPLNIw6ngjEzgyqMh+gOPtVANMqXEapSVVwzD7zmC0aljZabTUSyoBIK+vK+lN04dh+tDqVZqbtzHk9Q9EcOtFtMK1f+VqTpVWaQrD24WbOIhRXsK2hQvQheuNY7llDKsCmRXsSD9adBJz/VvoiWGsyAjuzmMciS1HRtBCKZrSc2hk8PgT1HQHCfE5WhK3uoovOkgz3ImT30N3dnCbdQxvO02rilZcwt91iqZmKACEHj5OvTSLp7KJHerFkKhnOYeupicGltaOOCNMsw1PZes5cTIURxP1l7cPSo/QovueJwWK81i5JXSv+MUH0VoBWrVZcINo7fvxlJ/Q0CPKLap+Ya4Ps+80eq1EU3Y+mnyVGji1XQXW8kVT6oFt5zbRQxLD0am5XvyhrudxjNouumgKTRfDsrF9fTjb7+DtPIBdC2PGB2naafRaASPaTtPswG9VQfzfrYZyoFs7V6hvfkLowt/FKgTRyvcx2o4qzUWr9AxPdhZHfOVOjZbEMy0D085TLucIx5+rwurFIv7YEM1KE1/Eg2umcBoZnNwj9LZJ1fd1tTBhr0NhZZ7ky7/M2if/klNvfYNDk2HKGZfuXp0DB0f51jce8L/9/bf40pvn+MH3P8If1llZ3FZk2+HhPn7+zvtcfPXTipp8++5tOlL9Sily5swBvva3/yP9w20cGOphJ12k5bX5waVt/vSfvsVf/Qd/n7m3v0GivRuj0cQf7gJ/CC2gUXm6TqSnm2ptTfkwNbOfVnGTUNiPOfYpfv9/+tv84ddvc/BImIH2IMlEnG/9dIahnjjf/8bf5ecf3uTZ1AJn5QC4vkqxUqK7p48HDx4p+MzK+prSt3z64qdYXF2mu7uPd37yNvvHx9WhShy8mUKB3Z2comVXahl6+wcpFmp4vS0unDyMoftxTIfVtV2yNY1/9Yc/whfyqe14VzJMvpLHZ3sZHRtkY22N3v6U6nM/m10nFutgdnGFWNDD7/ztX+DIxBB/9t33GRseIBgNkN3OKOVVtdkkGDDo7+tRk3pxQN+7O8UXv/wW3/j6n5NoS3D65BGyuZya6MtWXnp8+UJBbd79vpAi8Uq9ZHdnR10COlJJmrZ0u0Xr5Oe3f+87Kkp74nQ3s7MZ8oUKR8dSXJ7a5S+/Mcav/7df5ns/+5jVlXlOnz5NJOins6uXlZUVGo0WY/tGefzwMfMLs9TrNmdOn1JbQbEVSKxU4IGXPr6miMwdfd1K/ekTsu1wN/Z/tXj8k3/5I+4+XORrv3Sce/dW1OAm1R1lN71NW1uKhYU0hd08f/bDf8zBV79CY/s2zsYmTTuIT6tRrDTwJbvw2qKzK1HO7uCVpIBctiNtCkzXrBbxSvzJSWBXnyqQpj/Qhi0viLeG4+vFo4dpVdfUtFl4H1q9Qsvw47NyOIF2nIpE35dwooPoblI9b/R6jmYlhxkflcQ+bn0H15R4lotpldEc0dwZinNg+ILKAtDyhtDWr+PUc7iDLxBwXJq5aYicx63cxhsYxHG9WP4Adm4BD5Ls8WOQVYkmbf1dFTHTXRO97SC2nVM1AV2MA8U5PInDCoYjm34tEEWrZdFC3TQqi5jBfjUJF6uIJKo8vjZB9uA2pIq1hE0SM5WAQgHXI3GzBggboeOC6prZVgnD2lVJMImeeRsFWpKWaokxIYxWSmOIntUoqg6oNziOW5+mvLJIYugIbr2Aazj4Tv1Vfvern+O733vK+YsStazSlzTJNXTOD8f53u0VBmIRfvi9v0P9/n3SZYNgX5faRNZ2dggK6X+wF9fyYFQcmjuz6IEorZ5eAqtblFduEXrhSyr+Xp/+CLsshpQwkc4Baoku3JlbWI4oRhMYvQM4jbp6vnplYLc9TZgg2vAhijfex9shOlwbt1DH2J6nEe3AHDmAUW+gBQOUn83gk3RC3yj23iZ60E+j6SVgVambNoHu/WQ//CHxA+doFFYJTJyh4uTxZOvYrk54YJDIYBu/+df+gO88tXhhoo1Kq0VT6AJNXemq5L1Zy2do+9xZwt4AzxbX2T/Sh+4VcNsSvT397Bsd5eqVq2pjv7O1xeTBSTLZrNoeCT1/bv4ZgyP99PX1KPJ6tVUlvZ3h0OTzBFY2n+eFF8+pzX4ulyWV6FTPc9lQr6+tqS62bHGlVx6OxdjZ3ULXPXz+zTf58JOP2d7aURUjXyRERKLSuwWqC5toHg/tAylWF9fxaYa6hK1u7BE/0IUTCmO2WiSiMYLRENcu31BDDIGYSp9buCiy6ZThqSjOfP4gtm2Ry2TxB3wqaixb6d7+AeaePiWV6mBnd1NtPweGhylkss/jwvGEusRJpUEue/lsnsXFFbp6Ojl+6hjv/+x9FcuXvvTGzi77941SLJXwGPIsrTDQ3Uuqq00lIhaXlomEwopULp1b3TCVBk0Gp3JJXV5ap7u/nWK2yOTkpOphy2ZxsF8+M3DvwV32Tx6knCuSzYvnvU3VDMplgfOZ6hKYTCR4PDXNZ3/hTVbXV9TwYGx0nEuXLzG+f59SL4aCUQU6lH5qNNamjALzq8ukYkkajYrysCeicZqWw/r6Kn39fYry3pHsULDYldVVNN1Pq16hVKkwNDSgYIWlfJ5jJ48xMz2r/m3CR5ALWVt7goAvqECRg3391O066d2MAiYW8xk1aN3c3mF8/6iqU4ii7+nstAK3Sfd5L51RF39hNywvLdM3OECpmGdhYUVFzUVFmC/UyGfS9PfJFt3L5uo6Hd29Kv0ghoFI2K82+KVqmWAwTLUhaYKC6qFHY1F2NreZm1vm0PFJNFtSDGG202n1HmiLJ9QF02k5BCMRrl27xl//G7/OB+99oCj2XR0pHj56TL1R5/z5CwqgKM88OQ8IVHBpaZ1IOKgSEDu7O6oKMb+0pixMQo2/eeMuXT1dFAtZdrYzauBhSapMvhiwWVxeZN/YOJvrG2o44AuElFpOttaDQ/3q4i5nkWy6xNhYP5FwDNtqqfehMAdE/Sh/vqd/gLv376iBlahH5TVPJuXZ5VPsHqym6uILL8vnMdnY3qa/twd/MMTqyirdnUl0eYbMzKjaUDAUoq+nh1xxT2kcpTpTKlbUuUUo8cJMEBCpQFmldnLs2EEF65Re+cLiAp09nYz09fP4yRMmJg+q95joQEVfKNYSn9/k7PmzvPPTD5Vasq+3i431HbXdlqWN3xtUPIfllWVCgSiZ4h6/+KW3uHPnIbtrGwwHJPWQJl8tM7ZviO2NbVpNRzEVagHw9ibI7RTUIrKzt0NdtquFmrI2xEJxPvX6WXLpLCuLq+T28rR1dihYeaPaVJ+NYNCrdKrbG5tKO+v1CSfKw7EjR3n8ZEYlXeT9I5WNV1/7NLdv3VKDgYWFZ6QzRQ6MDyv95oO79xUYeXFlHUl0Dw0N4fF6lJ752fQcFz51XiU3JR0gg5p8Zk8ZU8LhBIsL8roe4fH0Y8WViIVjbG1uKk3oRx98TL+A/EQU3Giyuijvlz61bJFEjzzXbVsnFAxQr5U5MHlAsUUE1NrdmaKju4cf/38/4guf+xwPHj5mc22dl1/9FIvzK2ogefnj25w9dYiq3qC0WWb5ymNifpNi3aJhtxgfGyIZ87CXLvDu/T0Wvvc1Rk4OsrvYRIu2qYtvMNVPuZHF2byDSxBfMKwWku7aLWUDMPUGRPoxYt1QzdBslPAKT0kXm1lLVdAwe9GLj2j4/fjqJo14ErOaQ5PNeUxUg2E8stQNdoC3SwHw7I2PcOOjaImDOJlp3EYeX/cxdEenujej0qnUVtH7fhFvc5VK9hFG11sglqP8FM3o0ecJ7OxtzO5XQRLk27cw+j+HXtlQFioZWnqsOnXbxaMWN1Wor6CFBzADHbSKS4oZ4gbb0O2aOucpUHND7qwhwfth7Uzj+CIYyQO42SdowR5cMfdqJcjdxxMdxfHtx/Q2adk2Zr2qlPZo7coIZQoHr5x9vhQvr6ElJ2iVJDHiR48PoFeWsXU/pl1RidNWaQ3N14UVTOCtLGFtPSI48ss09Ap2bgUtc+OfuVo9i97YQ5epgBHDsk208qrIhJVSS7NaioQo0wnNH6Uum/OdeVptg6pv5mBj+0OYjQaWa+PqNaVooxVG87lqUu/z1JRfuWbVVQ9Jdz20In1o2Wms2gbG0FfRMw8UmbClBdBb2xAfQxfHtFOC4JjafFotIXq76I0sLZl01hrPoXChAfTMM9xgCE2LodU2wBNDCw/TSt9W/zsQ7sD2hFS9odnI4YuMUJfpU3kFP53YkbiqJAhV3zB0rNQx/LkpGqJqCCShXns+DRKAgkdT/W890E2z9IyQbtA0DFxX4k1RGo2qulRJBEnX0uhe6QzvKCiD5fFiaBpGaYOGEcTfc0pNplq5J5jBLpD4SuoFXGuZ8vIMAV8ZLTaGEZ5QB3u/VUQLtFPLzamOse0X97joEEv4+k7h5jexfS52tYRVXCWS7MPSuzBqOarlOYzuV9AKWxiVadzeU1SX7qoPejl6iCArBIYOMbD/b9EV1mnrMJVOSYYLj2bSxFMO//tvfo6ph2vsH+tHczV+9t7HvPLpc+rB06xbzD6dp29omHv376kD18TYEP/Hv/ohg6Od9CX97JZcFVURP/K9mTxzT7+PqWXJr64RDTzXuVQkIlSOYJMh7mvh+rqprd8lMjpBLb1GYPQC3p6X+ezpT5Orl4iEdNIFl/Onx/j2jx/zJ7/3ZQLYzK9vU2s1FaRKoq4Li8sExfXr8/DaqxeZmX3Gxx9dUtuaF6Xrmsnz4MEdGo6uYEper1dNjodHuunrlY1mk0ePZ4iGEypK8+HVe/zeP/57XPv5z9nNZNl3YBi70aJsefj9P/oRkWicUr3B5HhKbYHtmsQ5K6prePDwGImgxvRKhtH+MS5dm+LXvzrBl954iWezaWbmlgnFDNJrq+zbt5+ddIGxfQeYe/qAQqnAiUNn8AQ9PHnyRD3khew8PfuM9vY2FfmTg3hvTwd3p6YY6Bf38wZrq9v82n//13jvnXcRio0/5MesNXj54jn+5j/6MyIBL4lUGI/u0teb5PadGZ5u1vmDv/cV1R9f2C1w7sRR1YmTw5fAspTyqyOuVEmZvV1efOklpdsSxfKBiT6++Wff58D4OAGPh3q9DqbO6ZPHVSz02fIqC/NLvHz2EP6QwQ/evs03f/SI8dE4v/vbX+SbP7yunN4CJBzqjnDr8QZTyzX+4Ddf5n/8/X+Cs5cm9+Qm/mAAXyxKy/VQF03eziJudQO32iQ8eATLkIt8UV2SPbUtrMQZNJ+N5/9n6c2D5EjP+8wnqyrrvqu6q+/7RgNoAINrBsecJEUOKVMmqRUpWV5bsiXLK++u17HeDYfXtkL2WmHL67XW4ZXtsNeiJYqySIoUjznBweAYYHCjG92Nvu+jquu+szJz/b3wPwxGkAGgj8r8vvf9/Z5HiykcJ1pmDsvhxh1KYajuqaLgNwpyURXNilGBxAC1ShrdUcPpHaSlom47t7HCY7gUeK84L9Pkhu3B3T4kAyBHMy8PbCsYA+Ucz9XBadIo76Op560Gbk8SAmGo5qlufIA3dQGnP0DL0y7kV4ezhlV3YDdreGLjlLJL+KIdWPsP0Wur1Po+g1ZXgNEGbkcUw1HFWdjBEenDzC9B6CWpJ2nNLLbLTcuo4vHGBBLpcqi+mkoqmWilHIZdFfCM6qwpraqmgKsqFpd5jqZUNcE+nDsf0/CNEUh1Y1lemukbckH1dpyj1cqKMYH6Ec1mBX9yisbRBg4tD8pN7e2kjkW4bYTC+n1iIyflM9F77Be4eqqN6lGe0dFuVg9LRI0GZjTMn93a5Q9/bYYv/42XaexobDx4X6B+kVd/CXP1kTxPvaqHXkS4DBR28By7iLF4T1IlweOXadz5IY5gFO/wKzQ3H2B7HbhaPiqZHULjE7Tio9Q2bxOsB6lu38GaukrU5eNw+R7dn/kyR5/eRs8fYXQPEhsZJb+7gq4ue30jVBsl9NQIzuw2re11rFi7vLfMSpNgVyf5pXl0vwff4HHq+S2CQ9PkH8ziS8Vo7qTJL93DEW+jc7AH3+nz/KW//q/44WKBcyMR1BkxU6jhVZcHRc8/rDI61kV1LIVTxT7DUeYfP+K119+UetC9W3dxuLx0dHdylM2In/38+fP09nSIZk5tEz1+H5Pjk3z04Qey1VHxdJ23jQAAIABJREFUUHU+UpePx48ei0ZPbaUVpFQd9p4+nWdoqIe+/n6JGiv6uIqHK2eFgo0q3/3ezqFEsZX32+3xCJlZJRI6u9rILW1RXs9Q1W2q+QrJZJRkW5xn95/jHo5x5e3XOUoX2VxfoZjJc/nqFW5+9DEuj0/qQwr8WyxWXmwz89kX9Op8QcBXygIQCAZka6wO6HNPnhGNR8kVSly4cEZ6vDtbiglTkw2p2v6r91kuXyAU8BKPJwgEI9y8fYvj01MCNzzKpiU+X2o0SEZjlEsFyo2aKBitVo2hoUGJ4hcrNS5cuMjW1jpZpQAcHmFhdkEYCOGwH5/XzeF+mmRnkr6eQd7/4AM6UkmJsqufQ0eqk+xRVhzpyY4E7alOHj9+wvlzZyVdVyjlOTjKcfbUSSHhq3dmLBRnd/dALtpqQKAi5/FEO1NTY9y5+0D67KofbKrY+HAf77x3jdHhETK5Q/LFBm7NorOrm/X1bTn07+/uigs9GU0QCIXFrqAUYqrGsHOwx+zDObp7uwSed+LkcWH7eLw6w8PDMvhtb2/HtgzSR3kmx0clkr27s0U0ptzTLqq1Imsbm0xPTjE6NEyxWuHJozkxBrR1pSTC3miUqJWa8v2fW1qQbnxFAGeKDbAgvCGROfmCpHMZDvezvPr6JVaW1kSTFgxHxFSg2APqY/J8cVFAg9PTM9y+fYdJpb91OKT2ptKKKvnW3tnB1MQgwXCMxcV5KpWqMBrqRotyoUR7KimHeZfLFjJ7udIQjkYsHKNvsI/1rXVhGVQrZVkEqbSD1VKb7xYOp1MGoSdPnWZr60XHv9VoCpj5pXNnWF/flESC0vb19fdIZSUcDclgXG3LS+UcpWqdaChKPpenWK5IUlEu+PGYXJLVYKtcrMqwZ2J8gu9+/0ece2mGWDwiAwZVD2wo3pPXw9bW1osEzO42e7sHHJ86xtO5WTpSKTyBALZpiXteDZpq9ToXzp5ldWNV/m1KBVnMKV1dXHgEjx49YHRsXGDF9VqVfLZIw2jJIGNnZ1sAhkoJqQY+iu8Qjock6SMDpXJJvn9qkKD+Q6Udjk+fYHN7ReL2V1+9JPWP/d0so6PD+PxK1bzL4U6atmAUT75EvlwXKKfL6yDsi+PSW2SOKvjG2vGGAqSSKrVryLCzsyvF+uqGLCHUvy9byGI2NOnBq2RRKO7D73Rz59MH+HQ/8WRErCMur87J4ydEH6l+Nup8EwwHhadwuHuA2+Njb29bqjMjY8MsPVuQIZYa6j2de8rFCy/zbPYZ0URM0gTqDPzOu+/Q19Mvw3Kxonh0NM1Bol1xSQKidVR1HJUOiCcTDA8NyPNaRfTdQQUv90sCJBT2Ew3FyeSynDkzwwfv/lSejx1d3ZJsUAmj7o4ehsd6eOcn1ySNEYrFGB8fFqaOGqao7fG502dkiLa5fUC1nOPk6Rne/f57WCr9Fwly8eULHCxvsPXhA1KDKQ6ydTwBk43NMhdPJvnzuwf88qs9/O6f/hHNO39CI5fFjE/hjyTQzQa53Qd4B87gKBwoChl6ZR0tcQ5T1HMPMIoF9PZJSSuadgWtUcRlFGkE+qSvr/r2miNBM7+MFh7HYeYVHQmfv1NAehSfYakIPkUcwWGqavlCDU3xd7SQ3BWVbUbbfoim0oGdr2Er6n2timVlcPr60GLKOhGA7DJOn/YCNL51DXf3G9haHXP53+Ie/VXM2i6W6uB7B8S+1myBz6tRS68IdNDtCtLU3HJXsG1TlkVq8OCs78lFvOrQ0aMzmOmbmIXn6INvY6p0uqMl/X2jXsSrKhLNMlojT0vZPxQ0sFFFj5wCClS3vo9bj6JHjtMwMrhxY2gmetdFjM0b6J4ozugU9Z33BCbo8IcxAwNolJQ3EYd5iBE6jSP7GLORJpgYp6LOjPmbv2U7wm04DDeN9G2Jebr7TqMZdYxyAYfWkA1W0d2FL+BHazpxVddpBntxqH5rZUsFK1V+HtPOoKvogqb0fSYOs0FLwa4Gfpbm2g/RQt04vCma5SW86jLvHcLc+1iUbkTG0eppWroib1v4HUFK9ZxMP5u2jVYrYrTKEu+03AGBkIkGMDeHbit6Yje2uvRaHkkS4Avj0tsleqG6vIGeaemN2GYQTc9hbXyIHRsX+ndDaR7ST3GpEXrsLI16Bm9sCq3wRA4NCpKoB9pB6aPcbomAqs6ws1mgGZ3AKq0QCHRRL6+AOyFbfL3tAs2DZ6DbQilXlQKrUsAOxnConGaxhFFZRcOP3jeFs9bA2H+EMzmDHYjRUhTM3s/iCMSw5r8ntQln95s0nUWcqnPoiqGrvZw7gkeBqTLLtEJJtFAHdl2TSXnz4BF6sAs9PkZl9Y/w9X8VU/VSVIUg1Ecrs47eNk7zYBFPrCmxePVLl3zlK/zHf/zb/C//8H0+c7ULy/STy2+iByOsLeb5+3/rCifOnOIP/sOfcnLmNPuHa3jcYU7OjElcb3holGPHJ/jOd9/F7Wpg5Iu8+fnP8PW//XuMdncwM9bNj+88JhkN8vFagbGIzaP1G7D+hI3Z+yT6JmBvESI+Ase/RnX9Du7+q+LB1NQDxNgFf5K6PsTnJ0ek8+fyGszNZ+lpj9AwK/zvv/FFPvz4CSdOjOF3x7h775pMWE/MnOP+g/uEAx6q5YqAo9TWXLmc0/tZotEoPf1d0qV1Kop50xC10amZSebmlpidX5BY7ImZE7jcGg7Lxbe/8x0ctpOXL5x/sXEa7qQ94WV2fp1P7i3x0a1NilUXfb26bBDseovRYQU0Mtk5LLK7U+fCJfU74ueD28ucGvDzv/7PP8+JkSF+/P5HHGZr+P0RyuUDgQu9/Mpb7Gxu09ef5DCb4/TJE9x7+JiZ48dZW13E41cDqAod7R10JNp48HBOOmnHTkwTDgdZmJvF7QkQDqmDTYVXLp3m9/7dn3Pj0SFDvTGMihrSuZiY7uH58z2KR2X+9T//DdbWlogl2+Xw/PTRrALTs761zS/94tdYXd/kKJ2W75/q5t66eZOnswt84YtvEfTG2NhcIZXqFLpuPNHB0uKCxHC9qlel65KEsJoqyjrM4FA73/vzW/z+Hz5g8liCZMhPqVKgXrHpGIqxs5rh/cdHvDqh88Hd70HIQ+bRfTwNB4WjHfxBHU/qHC53kOzuR3gcZdzePhyeHnkp1HbvEHJHwN+Gae7i9oxiqJ6+evC6vFT3b4Byy3qVRq2Bpg5JlS1w+nA62miZeemXORtljOo+uL3YOQX0jGDpLpzBuNRtjMwDdGXqqKqYWBB3/IQ8D217i5Yjiie3hd11VuwXdm1XzAtW7AyO/EPZsOMOCOjQ7bAwqqboahyRKTxd52hkFnA541gq9t3YhcK6mEj05Ait4hbO8gKEXwJfBJ0Spf2H+PxJiXPKc9vYpZHN4op3YB89w9lxAafibFg6Dm8UpxrAKoWO0aBpl2T4qSJmdquA5dJw+7ox6lW8IaXubGGq25E3gcOqiLpSDW193qjAWtV22q4+pba2QvT0N6Tb3Np7hFspVcsVoq/9Au/+/t/jL//6nzPe66EjpFN0eKnmqwwk/DzcLZHLaSzf/xXMXIjGJz990c2fPk3hxk109Xel+qjadfw9J8UKU9lbw9M9jKaAnztraO39uCMpUO81xUHY38QVSODtHqa28pjA8DDVjXVcgZCAfNQzEnXQ7p3CVcmR3VwicfYtWosPaKlelDI4JPqgXsWRV5vFJnpPP8bBEb7JaayddVoKDNs1ipV5/iJhUi/g83dRWV0hNDEJgSBmdkv6gNRsigtzDFyaYfjn/6N0CvuDVYKxuBz69jJ5AgEva48PuPSN1wie6OfuOzfpH+7Fp/u4c/Mhl187z+rSOrWiQd9QjxxghyeG2V7bFGvIhQuvsLa+SntHB3NPnkjkVXXRFcU6rlRS+QO62jo5PDpieXmDZCJO02iKoSQaCQk87fJrr8pm9Np7H8jWXdGqz108KxtTBZtTh2B1sT4xc4rF1QU2F7bQ0wXq5QaFVh2fqdHZ34WyUz5/sM6Zv/SqbIKfPZ5noK9XLrq6SyMWTYijXV2ujp2Y4sb1T0SLFYv6yR6VJOHUMCqcPnFc0jTvvvsBX/zS5+ju7pWL8Pb2Fl/4wmeZm30mZHo1NFAxc0U+V+eTgDdCMORDc7mIhcLcvqMUdzoXX77E+voqtWpDBr/bmzscPzkhUL6rr7/Jk0dPJJ77lZ/7klgAVLJiZ3eTq5evks7s4XSoilcNy9TEALC9vs7uwSFoThLxiIBcFSehf2CAqjIuqeVJs0Wqu5Pr1z6mt7eDsZFJZudn6enpZXdnm46OTnZ3duX7rqj5r1y5wLP5WfyesJDy7917QE9nt6jlbNtBKBhicWVJouyxRJyDnTTrm6sS3545dYqj/CErCysYpi1JBdUr39vakXpFR6dykW8TUs80p0sulKpD3ahZkjKIR8MyeHg2N8+582f55JNPGJuYIBIMc+vuba5efIXZhUUZKEVCfuEdqajxpvLHRyN8cvsTAdN6/V52d/fwetzS71eR9OlTJ7lx/TqJaBulaoGZk6eZfzbL9PHjbGxtsjT/XMCICkimhjgqtq7sJ+o90qjW6ezpoVoq49QdLCw+l7NjNpNlbGKU5cVlLr92mY3NdRnoKmiX5nZIAkQxAiYnj8nf5fYECYf8hKNBPLqbze0dOQuoGkoy0c7G5oakbJRhYXBwWJIFK8srCiLPzOlp1p6rOH6Y/f0jevt7WV9ZlY3uUT5DIV+Uzf38vIIjviEb/fknz6QfruqkKsre3tXG/oEyZTl5662rPF/aFEbEG2+8hsvt4sG9hySTMc5dPM/SwsJ/+z40WV5c4tjUMW7fvSMxb2UEunHjtgw8Mkf7dHf3yUDmvfeu8df/+i9RLlS4fvMGtuXEF3Bz5ZXLXL9xQ/gEilNTKBdQUJkTM1Msr6xQLTek0lnKl2RbrwYl6t+sUhfBYICTZ2a4c+9Twh4F53PLpv3Sa5dl0PP++z/F4/MIp+jpo8c4XLoMQhRAs7u7XcCC/oAft8uLy2lTKJWFyaBSNS9dPCsayb0Hc9j5OroCwIZClPIFYV4cbWdJN6tc/qUvsLuxLZrjwZ5uqWVkj47k4q50kcqCEolEBbDo9gWYmhxle2cNrx4gpupHC3PMTM9wVDhgYX6dCZVe8Xqk+qT4KhdfuSyfW2UIURBUNd1/5eJFHj19QlS9x0yTerNFQA+SLWWhZTE0MsDW9g71Wo3+ni5x0qvvmRq6KXCpaTVxuRxEY1Gy2RzloqoYajJcVc9R0zLEVNKyDOFMpNo7ZCCmKjY7e2m++rW/yPWPPhJOhxomqs/X8uqyJDsV/NWtqwRRVAYu7737ISPjQ4RCYQJBn7Cs3N4gz+49Q3MZNM0WU1PDAh9UFYa+4+OsL+6w/qNnvPXFE2wv76CHTHIHGuPjbXx8Z4l608FB6Yc0VxbYf3yX9oSq481QOniOTy2Bw4Pg7xJmj3F4T+weVvIlqNZplp/i9yqYe0AYaE49IMM8QkFZjJp+xaTLCwBQt3dpWl40hw+nswJNHbNVxaFAw8U0Ru4psZ5LWM4o5VYBlx4WkHeroKDJy5ix01KZE6ZbZVvuj25nF4ZRRI91UC/to8fG0Y7uisrYpfvQYqdppp/K89wZTNJQ6XRfl2j8bMcRDstD1TTxesNQK9AoHeCMtuGsl2jVdoX0r6wtti+B1tjA6e7FUVMWgG307vO0lM65qdKg6ihxKPVzu7SB7XTjDCYkrg9eGvUN9EAHjrqB7Q1he+I4FVi3ZWK5lOJ4T5KdRvo5duoKLldTalBadQfN0tDDPeCJYVae4Uq9TD2zibP4HFJnxJCnZW//jm3pgLsdXWtip+/i8AzR8HWi1/exG4rUH8Tl8OIO+ihndoQuqOLjjtI61v5PabqSBDtfoVVZFnq/Fj0hBy0rO4szMISlXgQHj/GEuoS+rv48pxYQxVUjv4Kr/wvi8qzvX5PohCN1TsCBzvRT0ewpu4CjtIehHsSJCel01Cs5tOgwrmAbqA1ZpfVCBZh5jMPXBnocR32RZtMlPfmm0jZpRVqaUm8FoVpBc7dhZZ7gaO8G3xiWcYAzvYHt0TEjY3LZ1/Uonv0b1HJpzEgbTtuN6QvhUf2UehFHq4xr8AqtWgPtaFY2BGZoELdmUtm8hic5jh7upZLNoOvgdqWolx/g8g5gmVXstuM4138sui4rGMcu7KHpQbTyqnAUNDW9CSlFSRjLo34Rsjj96rKUFeiXT++k6VCaCh2tvCOkZK9mQbRTtBRGaVs0jrrq5LQUEMcr/x1vN83SCqb3JP6AQSNXJtgVIJ+rEgu4cU30EPN/neEOne6ETldHG4e5MrPzO/z61y9z7vxJlp49F+DbsWMj7B0WOMpkOHfpJYL+MM8e3ZHp40jHOOXmEW/9hbf573/9n/L0+T6feX2C2SerNHBw5eIAv/Of5vhnf+sKf/v/+l1ohKkYOwSCLiiuQKlCI71FJpfm7mKNT299SuWwSCxs8crrV/iffutP8ak+fGeEVy9O8rv/7n3OjQX4nd/6m9y7s0S+osBHnfgDPp4+W2R6bJh8sUo8GeLWjdtkCxVGxkfRNZtcoUgyEhWV1L179zlx5iSbqytSp/ALuMaDLxxgc3mT/e0MF988T6PW5OG9WSaPTRCNurn/8Blmq8HIUA9uPUQg6CAc9POv//37FBtNtg9KdCRDvH7lJD/54adcfGWMpY1d9jfLtCe9JBQ8L3PIg9kjfu2XLvHlz53jnfevyUW+bJj0949xlN3j4Sef8JWvf1V6ZQfbW7z1mdd5NLfM8vMlTsxMc7C7x8raGj5/ULSRKtaqmS2K5ZpsgJ49mWNkqI/pmSF+9N4sv/1vfsrFmTAnjw1SLDWZfbpJJOrjyWqWz57q5+/8j1/h5icP5AA6Oj6I5nCzvLwkjImrr1yRw5+yy3sDIXb29jg2Ps27H/yEL3/pS9z59D7JeJCpqWneefc9rly5xP52juX1BQYGx2g2qxI3DYWTQlj+7JsX0P6rEvP/+J1vcahczQkXQZeXEyfHBL7kQSeRCvPv/+guI8ko3/r2L9N17EvUDjdxlA5p1F2UDh7KptPXfpyGimOHOqiVlH6sF28sIrGuuqMLI/8pmjuKp20Sq5IXNZNVWUdPDOAwLHH22uFe7HoJwywLrMpSfOG9D8DyEOg8h2HUhPys4lt2KS90YqtZp17fwBc/JcAbNcgzSwo+6kPDgyukhpMRGnvXCcQiVNTovTSHf+gXMUsHWEdPaMUmcLQyOLUX1Fu7cohxcB0tcRpK+9g+F1pgGJemPPR+Ggfv4YmPYNNFs7qLZmxJRN+yNTxaHd3XR7Oi6LJqGHmELzpOvXaEO34Sq7CMnXkfO/YSujsqSSOXbclL1R8fFmK64lXoioNiNAUGyd5tnBH1oi7i8LvQHElaKgJX20Xzqgl3H1pjE9vhwx2OSXTd5Y1j7F6n3swRmfklqqsLEHSRPPd5rgxeIJvX+PnPDfJ4aZtHOyZnew0G+4/xL//LY279/dc58Y3Pcvi97+Hs78bvCFENhTEffoDmTeF/6wvU7nwkMFmzlcXrVyDDAVTGzplKYTz5FAcNKnhwhyIEXF7qG4+oOFwEp6/SvPs+1kA/vuOXMDaXaD1/hu/4FaqFdfT0JnatRqXlJqyqEQouGVVf0z7afo5auUzo6hs49pdobG4QGJrA8AZwFHI0igey7TH3NiDVg7l/gMPvk2SSLxTH19lOS0vg9pbwhx1c/Msf8Cyd5i++1M56tkHQ9wK6qQbUblMj69XI5Sqcfe0M/s4k60+e03I6qVZKEik9fXqG6z/9mM6ebombr62tC/jTsmzmns3z2uuX2d3el+309Mkp0YkqmFnDqMoFtbuzhzv37kjKKRwJgK0G/LbEx1Vc9srrl5h9+IRUZxebO7s4HBpXL73MzsG+xF8npo5xsL1LqV7GPCoSKLWItCfwRnxCQ9edbtmCFY+KDH/uZWYf3sGrKw2cl2RnN/vbBwwo13y5QLFYo1SuCjldEfQP04eMjo+xtrIpl5Vqo05He0Igd36fn1qjIaBClQja2dmVi7yKGtuahtv54vmktvXJeJuoy1bW1xhR+lSXjlN3kkjE5IK5uLAgRG712Ql6Pcy8dIZv/9G35D0yODiC26+o+MjXPzrST2eqm83tTYkKv/2Ft/nk1g0ePtrkytVjBHxBdvYOSUQjcjlVrnTlPVcu9t6+Hn7w/Xc5eeoYrUZLaPCqyqBgg2995i1++IMfEfB5qdeaxNpisq1Vm8WNlXWmjk+yt7/HzuYebakOcpkDjvJ5hgYHGBkZ4tN7D6mXqvI7oSLESnP8yf27hIMRgc+pqLxi9KiUR61Zk4uVrZlUy3XKpSIDg4OEQwHRjBnVlkDkXn31snTx1Z/d3t4mUXLVKbYMg0g0STIVo5grsLu7S3//AOmjF5WAZqslFgvVP98+2ODyxVe4/cmnUucYHxvn8OhQgJNq2NQwmsSCUfm9jScSRBMheSd2d3XTnmpnd/uQe48f0Z6MC0RzbHJYuuuKlF8q5qQGcPbcWfZ3D1hcXqW9LS5pgb6Bfhbn5wVOqGGRy+SYOjEhdQFvMEh6PyMXfVUtUQOK7Z09Ll08z+0798Uj/+jxU1qGKZyftlRCajO+UEDOpSolUKxWyR4ccenSy8w9e4zb5WZucZWxkWE6utpl4KGSKypdqj5j27u7hIMBxo6Nsri4RKVUxOP3Yhq2fKYU0T2jEgCFikS6z58/S75YkO12T2+nQDaVY35hYQGH7mRseFSGCm3tMdqS7dy/91hSmcFIQC6iUxOTArJsT8UlIdBs1TFqBj293YTDYa5//DGDwwMcmzrO8/lFDvczMkT8hW/8PO+99z4u3c3E5LhURD6+fkueDZFgkJ10hs2VVX72yz/L3NyigGbDbQk21raFPzA6OiK/9yoZ9mzuGcNj/ZLyePRgllRnB8WcItNrQry37CadXV1ycV3f3Ka3p5N8uUb6wTwexXpwtWgWDPkcJlMRtld26To1TsfxPtbnlqg1LeLhkNQClpfWmJ45xtLSMl63h0AgRKGQlSSVsiUoKOTQ0AA+n5tCvixDrc98/k2ePJ6Vyof6Ot1+nexRTp4Foj+cnJL05eb6urAL4pGEsD9cbjfLqwtMjk1z595dvvq1r/Duj94lkUrQrDXo6u7E6dbJ/7eKTFt7krm555KmUvXN2dl54Vpsb+2wd3Ao0NnX3niTj356Q3gSKj2q6g6qhuLRdfm8VAo1jp+clkHp8tI6pXKRY8em8LjdwjzTnR4WlxcZGBwg7AuJsj2v2CQBRbg3XlReVX2iWac92UYqFadRt8SkMv3KjCwSn/34Q3wOhyRj3c4Qp060s3qQYXezztJBmf/y2+f54m/8Dge3foA7PIY/7qC4u4HbG6HRVKq+BPj70A8eUDu6iSv5Ck4Vc6+vYaswZCSBmd/GNMrY3hSeaDtmfhmHUjJmF7B7VX2viJlRAwRwBiYwIwNY5VXQvDjV3Se/h6HU87EOXHjk7oS3XxhuKMuR2427VUKzlUSwC+wiDk+cVvMAtxoExgK0SOHc/QjbpyweTVzBXmyl9Ms8wRfpQwv2YxTX0aw8mt4hQzC3JyyMA6da6inAvN18AWTUw6CSkLQgfEp4BiY1AVpTKGI2s2LqsFqWLGyVAU/xmjRqWFLxDOK0a5IKVUkuRymD7UuKJr6pYo5Or7zPm4pFUMzgTh1HL2WoN/alWuCq54UHoe7OtlJi23U8pZL8PEx3C10ZFupVnG6/0gD+ru2orIlywOMNUi5s41Heps6LQtpXCkR3ZBRTue6Dkzj9UVpWGnv9GprehXvoHK2GclIbOBsK6pBCEXHq6z/BExlH7zhHc+7foqUuia5CxWxd9TT18g6ejvMy6WgYO7i83bQ2b8ifr/e8JtF1l7Wlzpqi8zJKK6Bcj742NKMkAAZF8VcKQKVN0PwJtNYhVrmBs+MMltuPWXwKrjahR7ryT+QXxlZdDZwvCIxKILV1D2dHP7Y3gllWU7MWTm8n+flvEuy+DLExWoqanxjCrhzgqhex9QSWNwhqG+3y0DxYxbQPCHW9Tn37GrZnCN2tOsUONBXddetoLdXlMEUXo16GnlAPVr2MrYOjlqem+fCWttGcpvR8FdhIOb4NK4ddM3CqDoduY+QPMH3t+Dwalf0FXF4fzkAPtlHGrBXRHAFsO/1iCuTtxKhlJb5nOnTq+0u4HA50pUGMn8arHZJbvonXH8Of6KCmJUFv4VO9kSt/m9/99V/lH/2b93jjpQSJYEQNNZldOyTqtfjvPjtN38igwESUQujx0znufvKEYNDH4HA7g6NjDPd3c5TepWG5SafXpUf5t/7xj4l7XKKY6u+N8dJkjB+8c59PZwuMjoX4u7/5Zf78T97nR7eP2M4qbCSUbQcGtrKOM9wTFPBcs6wctcoAoQBadc5NT2C7Ld6/Ps+XP/8SV8+P8ZMPb/DLX/8F7t67x2Fmn472LvK5NAODo9y6c4tXLr3C/Oy8xM2GB4aFCxAIv5iOKtqtAmd5dD8PHj9kZHCQRHtMwEKq9+nz+tjfyXD/ySNevXyVXFZ5jzOMTk3ittRWooxD98pBs67Uko06dcvLR3fnuXZ9ARM/DbNJf9zJl9++yP5RhQf35+nubxOf6/PNbR48OkLZjP7Sz5zi5798QWB5B4U87e1xOlK9Asm5fesRoyPtDI2O8e6Pb3Dp8gwDA10MDo3xzf/0x0xOjXPz1qfSrexMxvjxBx9KV63wX+OyX/3ia3zvhzf4D9+6w4WL08zNP6ctEiQS82OZOk+ebZGvGfzJv/zL0lc7qpiUS3nRPim3cj5bwOvT2N/L0JbokMieevEodY66qCsauNL7rO5ssza3zImXZrh1+2NCvgB/5a/9Cn/8zf/MsVOnZFqezu+R3i/T3RYk0tYhHd2TJ/sk3vkAUBSqAAAgAElEQVT3/+kfKt0pk/3t/OT6U0an+xlJBZgaHeOf/LvvMr+vs3j9HzB2+RJmOoMzNA7lVez8miQ4nJqFpvtFfemKDVI1Y7TKGwT9ccqH6zhUdF7p++pFLFUTahzhjU5Qa5WF0WGrQ1kxjUcNDusHaG3DNKsaRv6xDIVc4WMYrSKO2hG4e7BrS2iRYTT10C4fUd3/mHD369RViiAwiO7x0WoWhQvgrC5jhPpwejqx9pbks6spuGhhDzt1HI/TTau0ScsTxukI4mhWZZhhmgE8+ia1YhqX7Rftp15JYziaWI0meuo0dkW9WI9we7vFbNByqgGkeqlo2M0GDj2AmXuGHmpXAj9cmXlaHeeky9eq3Je6QTO3jhUdRdu/izd1DqOqXtRO0fc4C5uYnjB4QzgMB0Z5XrrfzuRVqUjZ6Sc4zCrFkkYwrAl92ROcwLLS8iLUfF349V0qFS+Rl7/CT//wH/Azv/zH/NqbXWzv5zn3yigPP3mOT1209ATtlX3+9d95A+dOGk6+TOFwkejMZQrX/gSj3iLcM0qzWcOsZgkkUtQLeRwd/Th1jdZ2llqrSLx/DKPZxNM3SHn2U1wdQ7TKGdxOHcssQ75CM5/HisaJdHZDJU3OHSXWe4z60zsyoDZbSnPYjrNriOKH3yd05gwuxQHo6JGotefZUxz9o2geH9W5T4leehvzcJXm4S6+oRM0lGq0mKHVcuFUWry1RQEjhpMewj1RRr7xIS5PjZnjUWxHmM3FbUZODLK/c4hZNwklwhztFNitNjj9s+doVBuytajlKjStCk6vm3K2jsPjEtCQOgx0dXRJ57jWaHLm/ClaNYM7n9yVeLdyiitlVTzh59zZ8/zonXcF5tfX18PO5i5bO7tMTKvvWwuXppNVw3ALidf39g+xsb6B1+eS+LzatF154xVWFjbRVdw8HOGdb79LKBygS1HE6yZ1y6aVL+GOhRl6+RShqIdGQ2N7fY1EPMrjB0+JJGKy2VLbzFwuR7XapLunWy4rT58+wm5pHDs2wZ7Sy9Ua4pJXl0X13nz+fJmxiXFSqRS3b9xgfHySYDjA1tYGfp+qCtQk2qsSjQMDveSLFdnoqW276murS7RpGAwqIrf6u2s1SZkp+J1p1vAFAmTSeVJdbVLlK+RyHBy+8MyrLZzmtCmXSqKyCytw3Zo6OCJKwabVore3WwB8m+v7Ugno6OwQnarPE5B6hGE1+eC96/T09ZGIx4X6riLwibaYDD2y6ax0ZZV/XbMb+AJRSSj09rbj0txySbh1U9GuvTI46ezuoFqti6Kxd6CHna092W4ODfXz+Om8RPqnp48JIFYR2tX3+9i0ikDvSl1BXYZUhDsYDPPo4WP299O8+brqxq/K16u2t81Gk/RRFo/bKZviYqnI22+/zZ2bt3iovOcuje5UJ7H2OHu7+xybnqJSKAsTwB/yc3Cwz+62AheGxP6g7Ay1eo30YZqLF89LqkQN7hcXluntapfuvgLsZTNpkokkDx8/Y3RkAMNQqYY6sUiA2WdLjI6MEAor68A8ukunf6hHNvtryumePqCrs59EW0gu1amOTox6me2dNIO9fZSNMn09vRgtg53tHdHdKsWbGmypoYrSyb33/k956exped8pdkE8GFWFMqmNqH625nQJ1V2xAdT2Xelxv/6NrwonYHV5jVgizNT0pEDwNje3GTs2QjQY496jh6ICnpwYpdE0WV56jkNZkOp1Tp04Sble5unjOUlvKO2bW/fwfHGJvoE+SeId5TJMjk1KJeMoc0SH2opXStSrBp19Xcw9nsPpchCMBuntUgT8VZKpTtra4wIWVkOKo3ROKpJvvfEqS+trVApVGfaoOH0mU5Cfk7qwxuNhXE5dhg0PHj/hwrkzeAI+bnxwm/MvvyRfV7IjJslJZZRQFodrH37IqVNnBMj48Uc3sDVbflb1usH29hovX7nK2vNFMR0MD46yfXsWs1HD1xXHrbnYXt2VeuOTtU1OvHkKQ9eJuTwkkjHu3nki2tSuzk7K5Tq1aomuVIq9vUOOMmnOXjjL8vKqDCHb40kZ2PuDYbY3NhkYHmJh7qnorF97/RKPHs9Rr9SFhaAMES6nA4dTF4OAx+0RgKXP4+MgfYhHXd5cGuVyiUAgSKNel5j+/cfzJGIhVpdWBE46NTnO0dEhV66+ys1bN4WtoeoRY+OjbG1v0tbeQSwY5jt/8j3auzs4NjXJwcGhDAn6+js4cWyabLEsxg/FC1P/5oO9A/Z3DhibGmdxflGGxQpqGgpEmJqakOfy4rMFRiYGpfakaihqgNeZTPHo8WM5tynmytN7c3T2dROLBfnkxgNOTPew8Gez9Iy3c5ApCv+jWSnw6ulB3r+fxWvk+HjhW+RvfhfLewzLaOEPeqhZNi6rgnG0idb9Gj6vk8bOQ9zBPlo+J3Zuk0ZhBe/AZzBKu3hVuldd7AvbAlo3fapHX5f/n5YYk+GFVVjD6WvH5VBMOQe260XNCEcNR8OP021iFA8wNRNvpIu6SjaqOqJih9lhGqabgN9Bs775AlwfaaO88wB38RDX0GVsfxj2t9C8TlyajeXvxVnbol4+wtn1Klp+BcvlxWnqGIUnBJJD1A0Dh68fo7aNu+XEtHM4wyMYlbSkKNVd0aHA0T4v7pbaoPhpFJZlietQgwTjSH6nmrWM3Jcto4FtF7A9fWCURBFrK9W7y4utLu2WiR0Oo8D9Hpcfs7JPzR0WNaJtNnApSH2sg+bCn+NUtYCu0zjMMna9TnXnAS6zBD2X0ZUJqnSgUg//wnZZDSwVs1e7QiuPbSawzDRkZ3H1v43l82FtvYPmT0FoCJfqZyvQleFC86vJ+QC2XRYwH/kVbF8Uo7iN3xOi5eqRDnzd3YErswSRISy3gV0uCZxEd/sw6iV0zQX+IHazhVlSE5wEerAdo5rGbbZkA6YOroaRx2G6cYUSEqGxyllsq4jT2YbmsnFFeiVu6cg8pNEwcasNqL8XiwqtZgWrVnrhfAyeQa0EWtV1XKExmtkVnMYRth6HoHJuH2Bkl1RiFqerDUfbGPbOXSyfioRMoBs7GLaGFhyitX8d2wrh7b2CkbkntQnDdMq/X3km69kH6P4erFadVmkX3RnB1J3okS5a2ee4goNYvgS6lcV2tFHf+xStuodz9EtoimppKsK8RQsbt7MqnQ7Ugd4w1KsGreUV/oACcLQq6nuyiSvSQ3lvQTytWmKaWqGEx1OVv6us6Jc1pSLsxV17SLHgQg+GcTsNgj4/RysLJE/NkN7ZYuoz/ycDPo32Nj8o0rrL4ManOf7hr1/gF75yif/n977D5z//Ks9X1jg9M8nK6hojE0M8mtvlWz+8xfxqhs+eO86PPp6l4TAZ7ErSFXeROVRdY516sUQoEiIaSvLJg+cYOIhE3XgdLSI+L3nDwG9o9AxGGOiNki7VWVzKkfT78XpsNLdOm2xEdskX6/IydOkml05PygU+5G/hC0ao1gx8itGAi2AsxLUPPmB4cozOWJvoZFSP/sz5l/C6dIEenTg1Q6lYpJQrCCxwc2+b+fnnfOGzn8fSGvz0w1voPg8Tw8Mk2tvJ5dKcOnWKH//wB/T19rO+lZZNRKtlsPp8lZnpSQrlQ/oHh/nRtbsYDYu1vZLE4fyqf1RrEQmHeL6+JWCaRDwhfbnVrQzbO/ucO9PO3/v1X+APvv0DpkYG6BvvZ/bhsjiyY/EEu+l9utvaOHfmFB9/cpPlpS0unJ2R399nzzeZGBmQPrRlOcR7+vaXX+fBp6t89Te/SU9c5/LFEfla23o72NvbY3/H4LBc4jOnI/y1X/0a1z54iOloMdA/yMbGJqdnjnPj+i16BnqpV1sSH1XeWo/DzcTUqEBubt26w8mTJ8W2sLayxt/8H/4G1z6+htv2Spz57v0HYkjI7BcYGh0UWFMkFZVqAVWD4eM97O42+O7332VuJ01vMspBpkyl6UK3bKIBm+mpHt6/scBB3ikT3p4YfONz4/zib3ydYPsE/s5OGoU1PMrIERgEfKB22aUC9WpadKFHB1XctaYMMKpak1pjn2R4QhFXqKio1tFzWppbtj2N3D7urpdxeAdo5J/iNNT2IiVU/UDnadAU5ySNo5LHzq7QUjC0jou0Cs/QvX3Q3MOs7aDFZ6CexnbHcXkC8nOs59bwO+No0TZa63+GGZ3BVvT99BPcqVEchX1aSiGq2AOaE7PlV00w0c7YLh2XI4BpldEUQNMZhVoWy+OmVcnKRdB2enBpfmWkh9waLm8CHHVMzwvndauex+GOY5sVNEW3DU3I+4BmFUsZEtTwVCWKfFE0LYzuCdCqHtBymTh8QziVDtVo0nAG8dkaTW8Me/e69IATx9/EPHTgjbtolPPUjCKhVpVmoo3azh6BwfMER84wER5juQS/8jM9uLJKWxWnYu3yrYd1zke9vPf7n2dnbh091I2nrx3CKWrvfBvT78Wo5mk7/TKWP0Z9dw9nmx9jdxun6cA5MI6dy2HmtnHZLZqBJFKwb4/iOjjCrGXQx87I/1ZbX8GomHjbo9iBCGQPpBrl7R8R/ZjKVDYMAzu3g7djjFbpEFtBOkdmaKkhzOozag0Nl9tJs1bA038Wl7uFs5zHSLTTKlRwN7PU0kXCA/14HX5291dJTvZJnL/tS9/kzGCC9qQJjgBb+0d43T7RD5qtMpmjBvFQgHKzTKCrjYE3z7I2v0FmaZO2wW7K+QKpVIJSvcnwQD/zs4s4dE26odv72/KMGxwd4sH9R8QjcbY29ugaaBNV5+OHT+nu78Tvcwv5XV0qUl0dAv5Tz0UFylOaTpfTzeyTeelaqgvn4MAg9z+9x+Felo6+dlKJNpL9naxfv8+ze2sMjKewqiaesAezZshgrhFUNUBFpo7RlerlyaMHDE9MoJm2+ORjUTX0avH6G5/h9u1PKOTzBCNhStkc3nCYVqMhwDO1tbx+/YZ0shu1BgMDPeRLJdbX1kQFZ7Vs8dAfPzmJz+vnYE/15z1sbWwyOTZGJpuVwUOl1uDxkydcuXqVZCzGtZ9+JNH2vpE+scc8+vQx586/JIDB6zc/FgK7YiCkupIU8jV2djYZHRnFF1KD33bx2a+trvPSuZdkO60Ud6VyHaNRkQ1OPJags6udlaUNMpkjId0rYbrq9a+tbdKWUJ8zF7FkiGQsSS5XQFMXEFuTrnY4FiIUCLG2rgw+eQaHhoUA/+ldZZpwiup26ti48AQU4V3VzxRTwas2iPtpgby1rCZbW7ucPn1aQMwq/aCUZ41anb3tPbw+Nz5fiHTuiGPHRolHE9y+eYfR0UF2VITf56Vl2HLxUcwHtQiq11qsrSxz7OQxxsZGpA6xvLLE0WGWkclRATcWcgWBsB0ozZ5XFyVl70CHRLtT3d1k00WCfi+WZYouTjEestm0DIKGBnppNltyiVNgzKnj00J3V8yA3e1toaa7PA4ZVinwntNpS0++0mzy5PFTqbMoSN3zhQUajRqhcFzUgAqwWMjmZLjd2dnO3Nwz2tTzqVEmpPzqLlVXeEHGDyj1mGbLEGJ1dUsSECdPniBfykkKxO30SspwcGiA50+XqTarjIyMSkdbpRgyh0eMjg1wlM9KqqbeqMpAZ7C3n+3dbVy6R6oW5WpRIuhvvvGmwPGOcgW5ZKkk3uQxtY3v5c4nn1IolunoVJWcrAyuVPrvxMmTHOwdSqpndW2V4aFB+ocH2FxZJ5cvydlQJQri8RjFfJV6s0IinhSDhPq9LJQrYh1SwM9iuUr6KE1/z4BANnE6JR2i/oyhoRHZQqvPgtLbxaIxcoUcI8P9Eu//9N4jMUwoTWL/oFKbVWWjfHxinEdzc4SDIXq7e+V3QJkWNne3GervlRSZ3+Vnd3aZzPIOQ2ODwhALeH1srW/QPdxFKNZGKxnE4/JwsLcvsEJF9VfPpUgkQsto8uzZChdfVnwag+fzz5manmJ9c5O+vl7mHs3K5zdzlOGv/pVf5bvf+Z6o/NxuB16/m2K+ImabRFtSEjK5oxyG2SIWj/J8cZlytcrrr16VasHCwhITk6P09HRz88YNAqGYJHFUFUGlbVaWVqV//8rFC/zxH/4p0zPT+AI+9rYPJIWgUh6+cJiuVFKGVNlSSVSCyyurAjxUdipVa1GmksODQ4F5fnztOoMjg6L729/fY2hwUNgBqp7isGzS+TRH2TydnV30dLUz+3RB0j9T0+MCs1Q/65HREeFdKUbE0Nio1Aca1RqhRJTx8VG+8zt/gFVtMXF+lFTEzfzDFZTi6uWXR/m/v/mUjRv/hL6pIfJ3r0EogiN5knp6GY/ThyuUFKubabmxdD808jgDHbS8QbzVLLaepKbi6ZaJpbbgVh13rA/TN46juIhRWReVr1UxsNXmW3HfWtDy+HFadSzNh7O0isOjFs8+WrW8AEsdLZN6aRtP3wnq2Rx+t5taeR9fpBdL86LVN7CU8n7oVSxl59qcxzlySpT3rvI6ljMkrCZcQTR12TVrLyDyvTPYtZIw85yJY1hqQOEKYFXvYcZeQW8ZtIoPsWkXCJ9deIwVP4fPH8Xav4mWHAE9hVbcFs6YGtYrTbt6pzbNAFrIj9epUzdr6EYTy+nF9ETQmzVRF6tntqkqCs0ytkOx9Gq0tKDUo1vFZRzRQRweD053D2ZzF1E6qeS7YtNZL+6Symjn8kRpVstopdu/bauNk1IT2N4oHl+CZnFepgs1Ry/oJq7sAg6rjBU4gVl/LhdwPTaD0ViRSHrLLONQu1p/m8T7NUXWty3sw0c0GxvosZdxhMJYmaeyUVebc3ejTOXgCXp8CuIT6I0yTYeB3iwImbRq2QRc7Riajrl3DTxquhbEER2WiAj+HpxaHcuso5l+3HaZhqLhqx7R4RotS/ECpqgWnxLoOk/LUBT/quj4jKMHMslXAwOnrxeHS4FJNGwjjbOhghsVtPggDkcb1Pf/G9OgjqkOjOp/swM4/BEcTj9GLf0CoBi/QL06h6tUwKF84Q4nrvgQ1v4SVnMJOziJhonXnaCSn8PlDqGlzuE2LOq1FRxaEFdijNb6j8QZbo58AcoZHPVDWu4gTm+KRjGLXyvTCCQlcuKPj9HIbWBUM4RDcWp2GK2+LbpFf0IRxDWC5CmVKxJr9nd+jobXT3Puu/h6OtDqHrCbmGroo+YKPhstfJIQDVzj58GT4v4P/xGX3/4DfvGtYZ4s75Ho9rG+rGBifv74P/xV/uyb3+bU9Dnau1Msrq0xv57n/feesrJZor3bi8tucubYIAtraSo1g6nRpMSvtjaP6B/uxFK0HguJ3rWqJbL5Olcun+CwkCGlKMUenfffvcvQYJvQLR8/3RFX/Oh4N7V8Dlvzs32wQ0+qg45knLuzz3jpeB//2699jfXtTX70zk2++nNfEmrz3PKS6rrQ1dlOvVgFt8H0+Cn20wdCdFZ9wXY12XW62NrdFnLz8uoGYTVs8LvlIq60Tm3JqJq/MDoxRu4gw4c3rtOWiEusTx2s1KFKUfEnjk/x8PFjOpMJEtEkBgZBTwjLWWZ0oJullR3+1e9/zOpBmZfPD8qUVlUKujoT0gXb20vj97k4dWaCf/mf7/Gbv3iRX/n66zy691gqLVa9Sq78wu2r+x0CrHrw4LHQsp+v7NCs1PiZn7nKn/3wB4wfm2ZisE8ObYM9KR5tbPLPfvcn2G6NMxP9lMoFWjUnR+WaTMTzFZuTI238/j//Df7t//v/0WiFGRnrIVNU3WiL3cNd8QAr4OC3//g7vHzxAuFwiKXVZWKRpByglDva7XAJ1fsok6WYV8CgBhfOn6VUKrK1uUd7T5J6uUVXKkGhYQo87eypEf7wB7f4z3/6ALfHlIPzxPAQjWqGRKyNO/dX8QRc9La3k4z62VMEbi+kj+r4/yuN/N7SPpmyRUcEQi5wm9BoQTTso3c8xmvnppg51sPk8VNEe1RPLYF9+IDG1jxExqgVChAO4VHk+FYbWsSJGx/G3nUcTS+O9n5aOtilgkT/bLVRr+/gMH1S/9BCKWzbjyP3DpZ3GGfHWeyjOVqNMsSGcRX3cbgDEB3Ezm68GGAGejGL69DapJF6Az0/j+XrwqO2fM1t6o4ILreO7QhhVffEM4/uxvakcLoC0CxjaR40pxetmcE0SujugAxXUdRZXWlKbTTp1Zk49W5x1qqOrkuPYrYy8qxTyQ9HeEjgf85GASvQgdHM43R3CxW5lnmIQ0FIcWC1qQGBH721T62cI+CNYvh6aJWf4cjM4e6+QHVvG4ffxhe7hGWtY9czZDfLBHva8ccb8vx3xV4SAq6ZnObHv/d3+dpv/pjzE36seoHjXW3sNVq8dy/Hg3/xMv1f/Dmaj+9jmyVqpk7l8ae0XfgczcQQ7t2HFBcX0HuP4zByWIYJynOe6MLeW6Ferciz2RMO08zs4FaQ1pKJf+YMHO3TTB9iCjvGiadRwkx0gVGgtrRC6NR5akvPKa/Nkjh/FSPQRmP2Nr5etZ2wMXfXVekZcycjbAPf6Vewl59hNOtCba6vLpCYPElr8iXYXKC+/BArOUr96QNCkyNYvacJBfz4XBvEPv9N2toS9ITrFPK20KPbEiFaVYumq44/2MbRQYZQxMvheh5vX5zJV0/I4barp1+i0dlCjmQ8yeLsomhvFfRMsQSOskXp8itavrpg1eoV2ZR73D7ZjD9bWBATiLq4vTACFIU3EovGhRivIGxnXlLk61VymYL0uxVATUFG1zZXJVWnuTWxA1QLBRpLe1KbUryVcrWBz+Wkki+jx8KMvXmaRrHJ/t4uR4c5Uj1JuRw9ePiU4cEhWq2GbKrVBlVF+tW/p15VUfgXw/+N1TWOnzgucKyuzi7u33uKx+eWjdm1a9e4cvWKaBENuyUKOxXdHp+Y4MP3P6Srr0e6y92pDtY210gfZkUbeP3jW/T3DVIo50jv7kml5dKlC1JvU6rBXLYgfXwFdFNR+7t3HnL56oUXHAy7SblUlxTC9va6XMCKxTKba5tC+E91t0mUX/nXVa9bAWkvnD/D8vMVGoYt28L3FVsh2cbP/cW/wPd/8D0xvihdqBpW+FRtpNqgZdlsba7x5mffYm97R4buCvRXLtdkG6u22So5oS7Ne7t79PSmqFcMDjNpGRQok0zTVIOGKidOTgtoTkW9R0aGRWMYiYVlaJveSTM6NSyb4LKquARDtGgJTG94bISzp05z8/Yn8txXz5bFZ4vCHFCb4ZSKYC8uUq41JJ2gqO2RcJD1lW36Bnplo64GLpFAkP7hYe7euS+1QmWZUIsNp9NDqVLkc599iw/eu8bBUZazL81QqVTk4p3N5gUsu7y4QiwRZWFxhf7+brKZIyaPHcdo1SgUKpKU3NvPyM9aJRsi0QR9PT18fOMjSQ5MTo7zbGFJYtqK4K7Skof7h6xsrEl6bqi/X3gCLodOra4u2Z2ijJyfnycQDsolq9o0xIhTbzbke6GSEkoXqWwRO7sHpDOH/z9L7xklV56e9/1uqpyrQ3XOEY2MwWKAybPkLjdwSa0lWaJIJcufJPvIXyyL1OHxkSVbMk2Lxwq2lUiKpEgtuVxtmNnAmZ08yA2gERqdc3V3daWufOvWvdb7h7/NmQM0qqtu3ft/n/d5fg/pVLdycx0cHqhWBBkipVLz8ChLuVAhEgsxPj7B3u6e2iDPytY3Kw6RzAunQz6n7NuD/YNsrG6oM9DE5Ci6aSoBT6I+8vnKkCrmUeFiHGb31T3v5Zev8/TZE/WexhMyxBaUqPLVr/88D+/dUmLZabFBX1833b0pHMdmWzb7CanD61E/TyIdYlWX1767s8/CuTM8W3qizhOj42M0GjV1v5X3uac/w9LSEmfPnqVwLMONptw28rtvbe0z1N+rXme5XGRwoB9ZPWodnWanrcj30gixv3NEJBkjnUxRerKqoni1Zl25WEJmkIDfoGsgTSsaoew2VDuHxICktfDMwgxPniyp71oiJZA2k6HRYbbWt1TccHB4jM8++pRUTw/VeoOvfuktdd472D0klAgRssQB6an7kohTwt6IhKKqSvH+nTtEBSIdDLGzs8X05LSK7Jy7eJ6NVWlPc8nmDkiGZaYwFCxSRGMBe0rDRijkV8wAcQCJq+Dy5Yusb21x/tw8S4+Eq+QjENSpNpsUckXi8ahisRznCsxMT/JA4jhth7HRcRKJKMvPnhOKBIiFU4SiQdXM0hYhq1xSDiARxYSR0Z3uFYkLn2EqjkAwFmF6fJwH94TJoPPVr/zcCzC0bjAyMsyj+4+Zf2malgipD3eJtGxVb2y4fmrNGn1DvQxLDPM/PeTrVwf51ue/T/kn71JpFNX7Y+tV1cBm+IbRK/fxCOLEJ/DX1yCYwTT8eMf3aPh7MeXM4rTAF1JLWqO+ixbLoLk+OvFxvNN9aO1hRgeww5PolT0M2aa39vA8aQ3wo/vlu2hTt0v4/dJsJj2UuoqaI69n74l67ldLR6otRbXKabpaQAvgT+rctU4L19DxxcZomWnM6gqYcTSthV3excLBDfVhhMfQWpt4totd2cYMDOOFuvE6dUKpSZrFFToiTqeHsLO3CQSSOLIMqZUwgxk69p6KqxtWl7TcY7klmqapHNKG41P1mXZtA1/6JVX3rpWXcfQoCKegvE5HsxXoUNVcB7uVM1viAYbZFEo+bdsCQ5bJPWiWhta20TVbVVq7YqXtPoPRkRaBAtrJx//A8wX9eO0gRFLK8lp++m+IDX9DdbBrlRU6ZkxZy12xFAiEoQGd6o66+Xipl7Byn9IMTYFWxQp2QfkQN5wCPYGuFdHsEJrPxZVh2jWxElO4x59h+xMgkAc5YPp1HN9ZOgKvCgyh2S1ae7+Nr/uLaEETQ+/Fll9YPtzGKbqh07GbytpqRiIqd+EWJVsRhc4mmhZUFQtK7WmXsNunBEwZvjQ8fw9Gfpt66QEBp0kt2k08OYfdykFiDq22R7u2RzA5R/N4FWvwAnZuFTMmlpACreYuvtgfr0UAACAASURBVPCssuG1qGOYPXj1LJ3iIkZyDtohBajQAincxiFap43bLGCfbhCe/mXs4qKCJuLWpf8Bzy6gN6RBoYzefUZRLZv5bSLePp7rx7ai+CVPKl+iTl4NalbIVNsg6fLW/RKLqGOlpcLQVZYX93CXVlDHCnSjtWoEIybtU6nL2SAkUYmuL+LZW4TT03ji3E4NYoZydE4Tcs2z8aM/4LNbT8kfm/z679zl+plumo6H3SgwM9TDd27tc312hO/94a/yT/7R/8tnjw54tnlAOhnk8pk5to6P8NPGDMboillKoc6X2gqSF4740Ds2xWpT3QyPc2V8HsxOD7G6fUTTq5AKJlQuae3pJunhbuJ+k1K1TjQdZCwTY+lJVtF2BS7liwcVc6LW9quDwVAmxbVL45w/34/n6Owf5XiwuMGVS7NqUyGAFRnpzpyZ4Z13f6AgP4MDQwTDEZafPubGK69TKJ4oQJ4cXKUGRsjYm9urFPJVtve2CFhBgpEw0VBQgVVkc7N45x5f/frP8fjpsgKvDGb6VNXT0NCg2lzsb+/TbNb5S7/0Te7cukUkkmHrcJdyTeOTO8+p1BzGp4ZU/VEiHFaE/jPDCXJHOY7qIe4vrTPaF1Z5+FevjvCzPzNPIjnE7Zs3GZmekZgurVqDYu2UmMqNFrl2402erW7y0Y8/4dLFc/yr3/8jii0fT9eqZPqjnB/v4bQucEWdVqGCREZDIY1ET4qz4z38lT/3Rf7Jb/3ffPVLr3Pz7gP6BocIW1FicR8ffXSHyxfPUT49ZTDTQ7Pp8J3vfI+zVy4yOz2u7LTvfO+7vPLaq/R0Z7hz56ay54pyne5Os/5snUuXzmOELf7oD37A17/0FmemB/mdb32HP/3okN6eGBcm06xvl+gZSZAKR3nvg4cM90bUYbzadshmq4wNRzjaO6bZdomJohqP0qo0CXsu93dL/Pb/9SvcvvucP/rWbUy/n9xJk7inUTF03p5M8mv/6n9keGEGOgbVxfucNttYfldtF9x6nYbnEPRnaDfWcMwBAskuqidPCPj7MKw47dIzzOgwzdoqNCr4IgPKtmbn7hDwz+J2yrjBUXzVZ9jxPrSOD6+xiyf1c1qYTuMIL5DGlKi1mcS2BtBFTBR4i8CATAfdcdG1gPpZhmvgSBesAG/CXcom5rYL0DpBE6iORAK8smpbceQ1Is+Fmmp26TTz+EPjuMkpnJPP0U2fqutTg79MS9QU3E8L96rvqNE4wm2X6BjidhpDdw2aNAmH0zjtAK3corqvkhYx4wleyMAMX1IPMFPyW+FufLZYvAucnu6THhokdG6BDsMYLY/W+u+xvpjnX/6L77BfL+G6EfRYAl9byPcaW8UKG7st/u7bZ/kffuvL7Pz2exDR1KEsFh3Aqe1h9Exh9XehP35MZ3gCxAm2v8pp3SF65StYXoP64sd0RKMemKFh20TaLRpOm8r2OqkrbyqlSKqJ2pvLuKdH+E0RVE9xjveVtVO/9Bruo4cE0lEayV7cpdsEUt14QgI/LqHbDSyjhT44CgVbAPk4u4s0fT1EfDqdWIJ22yLQ04tTKWKWj5GCXNPTcfUitWqQ7qvzrN+5y8V/sMSlHgst2KBWbpPoSnOYK5CQSrWQTzVpVBtNegczajOyf1Jh+tIU8blh8vs5XGnakGYcfAp8F4gEeP70mYLK5fMlNaSEY2FFsZYhQyw3Quw+PjikTz6fWIhirsili+c5lHvnnft09XWr+tTdvS1lC/frfjVsW6afnc1dbK3DW2+8ykkhr2o/o8kEix/dJVpzyQynVHe49JsXT47Ze7pHPQxf/Tt/lZvvf8rW0w1+4Zs/rxgCckCWDb0MYcODGSVsivX1jTfeVoNkPp9TtW8iUNy5fZd4Ika71VY2b5/fx87uHnKDl9pQgWVVag3mzyyoirvDo7yqDKw3xaHXJBlJYrcb6Ji4mqdYKaflUyXoDYz0EwoEOc4eqk75RFdCAdVW19eUJdiQZ0+tycT0qOpEv//gCSMDwzx68ohkMkkiHmZ0WvgYHRYXH6hYlC9gqHy9ahFYWWHhzBznL5zju997l9zxCZXTKr/4577G5tauaqzp7+/l4CSnqswGhrpJd/eyu72pNpTyaouFohouxifH1Gf6wU8/Zm5hCkMTy6uuiNR5iUYImdvSVQRTrNpVEXs9F8OzcCVjqkuZkgyA/bRaNsvPVqTugIWFs2xsb6s4iNj2ddNgeLCPVsvh+cpzJsdGcDWTer2uQG3CBhAxIZGKK/vzabnC+MSo2vzeEO5L9ph3vv8D3v6ZnyGXO1AOCFm8HOVybK9v841vfoOPPviQREzOjhqPHz9RA7owATLdvTxdfqpq0ArFvKohfPX1V/jkUwEnjrK+skk4FFD2dFfvKDu0WKujyZiqfOsb6OPDDz7i9TdfUXGIlSdP+dLXvqys7ysrm0xPjat/U4br66/eYP9gT8EChUsgkEJx5DXqNfXebu9tqxrDMSH4n9YJR8PkCwIGk/ZGXQ2ics6IhhNqcPeFQ7z1xpvcvPkZlfKL2kJxJezuHDA2MUKqO0Wz1uK0WqYrnVZDZLlUUQ6P3NGRsupnujOqZehUojOWyfnLC6qq7+Zn95iZmVQDuFy3MqyfVk9V1EU4H/PzUypisrW1jahWIqTomqbcA5VKlVgkyPDIGJ998hmXrlzih+/+iEgsphod5JR0eLivhv7Tcom+/iFOCjkVQRke7iN7mKcv002pWFQivzw+xBFykN0jkUwSj8ZZeviYydkJBUmNx4UPcaqGfNlgC2Qz4Avw+PFzdQ4MBAy+/vWf5wc/fJfBvl6seJjNR6uUFlfp7s8o/kK6O6LOgfK71otVLv3SV9jf3lUOw7NnFiifllQzgkRnDg72VZNCJBUnu3vIabnIxNS4ci7JRl7cHLJgUtWQXWklSI2NDSk4oWT2ZckjEZ9EOs7dm4tKDJCK1a3dbQVZFAeoOGXktTx7sqxE0ng8TC53olwV4bg4E0zl7tnLHrEwN6s+m4NsloUzC2xsbKj6RbnxzM3NUiqVyR0dKjfV4dGJYpSIAFkuFZmYHlPMinDkRV3jyrNVxQCTphNpdhDx9/ylebrSGcWEEDfO8+crahHT291LqVwkFAyr58fE+AQ/+ME7imsgsG5pk2g0WqqK9MKFObUku/Xp57zxxVdY3diiJ5rgyU/uMD3Sw/b+kVp6iKvKNXVGEwHef3hM4ej3cfdL1Jo2ndIB7YY865Lqs+jYh5jxKTRZLe7/RDnAQmNvUi8ICDCMF5xTywh/2MHtpHE6LTrlh/i0XvTUmGBSce0TzGoRNzaInX0f3Yhh9pxHa3VoNbbRfQlMfx+eV0ETnpJw5pyKAvlp3efRNEvVSrtie++UcIMhjMQ07P0EvWVhD13Cqh9iF6Qq2cUXmaOd34S4tHdlcJ09Op2g4s9ZiX6celNxLRzi6EFbrGw4W+9iDV3Dq5ziReXZUsUMdGMICNA2aZ0+VTXzMhPV2jZ+M4omlvz6JkZ0iraZAqmPF+iya+GlZ9GqWfD78QpLaP5xiCRxBcjsiBs0ghbux+cUcaRqmiROp6Zi5o40G0gV4eBl2kcraMEMWnzsBTi+toohrAMB3Bdu/obnNbfxSOAL6DhGHNdxsFpZNF+ajhlFT2XoHG0AFVy9B8/J4fM8dF8Uz5OHUEjFA9rVdSxrBMc+QQsl0cSm2hAnbVMpnj5/P53KKpo/jWM3MOThY/ppdyr4bLCdIlogQqd4G//AN9CaTRxLQ9c9RcOWyjmztoNtmlA5VtYcXygFplCrizT3PsU/9Ys4AmE4XVMPdcOXoFPfwjKTOFY/nc6uUnhc249h79MWmn7nFK15gCeZDAHstZro9i4Exa55rEQHrbFDOzaG3qqiVXdxjS5IjeOrHeI0jqBnBCOyQPt0A1N6xCu7GF4NN5jBK+XQ4uP4oy3ctoFd2cNz2hhmWrUD6JziWAJ58KEHhmnbJxitDdqNjuq79qLn8Al9u7FMx03IhKZsdX5/DPt0E8s8Ba2Hjm3TCXajtxpolrR6p1SNjVYrUSmskOztI5TIwMAVCA+CsQY1i0apytHyI5Y+f59/+4cfc3+lQ6Ft8ee/mOHx0yzDI0HKFZNqs6GsX2FLbOtB7jw54htvzZIvVTnJ1ZieTlLKNYnETWotT9VgpQXUcnCsLFPH2SKa1SFgRZSam4rGKNYbNB2b/p4uVQ1yeFKhb6gLiaWUqi1qlRqRrj7sWgvTcIn6TCp2B9M0CIY0FcOg0aGtof6u2B7Lp00iAR/Pnp/w1rU0f+kXXqOnJ8J7H97Fp/vp6R8ln9tRN17TtPD7QyQTUXUAEMrz+ctX6E6k+J3f/Q/MTE3yxltv8ODhoqqL+vzmLW68dBl/KMzS0iP60j1q29WQ7FPAotaq4thttZV/+dXrqmdb8qCyUenrS2MZJivP93C9Nm23xfWrZ5mZHuHf/967vHdzhaNcm6GhbnL5Is36KSPjfWR3ipyZG2Rvv0jNsfFMg+xuicGeKPPzIzitGpVqm950TPWsHuZb5IsVHMclX6hj+qUL2Hpxo7dN+jJBGq0K8/1pBsb7+PzzFUIBUR5drl+a4snavgJm/eO/900ePV2n0fRh6W1VvSOzhQgNF66c51//zp9w7fI8me5+9g92abSaapMo+eLj/CEtr8nk2DStep14Uip7LDqux+qzZUbGxtRhUVwVk3Ozakgbnxjg48+f8x+/e5f+4S66Qx6+SIL9nTwbW0cMDqbx4eKPJ8jlCvj9AhZqq5zlyVGJ11+ew8Hkk8+fMzYepytscVwUMEuTL145x0/vL/Lm1QWWl494+/V59g6qvHtriY8XmwzEOvzar3+Fv/Lf/n1arXXsnKPAOdXTJWpbW0SHzoEuVTqPqeWP8censOvrtE+fEM68rfpoNU1IFWHanQJoTXwksKWxovIctISqDNV9abzKptq8u0YEvz+MW3yO1wGv+zW08md0qtIecIl2YgYk5lTPYwV7VX1N5zSLGZtBC3p4pSKu3lb3DaTM0DHRhTvgF2ePlP4IL6OAdvocIzCOVz+hY9pYoTHqzTx6y8bsmXsRGTKjtDwd3Wkqaq+IlkKkbReXMRPn0RxpCTnEyCzgHa+pIVs35V6/pWxoWmxW2d9NJ0cnMInVqdBqCC8kRD0YxbLzBEeu02yd8r3/9Ee8/8kS73yaY/+4juyA4n06ubZGX9TPVLdUhEqBgctRwYdeavDX/kKMv/znv0FzrYkxMUDx2TrhdBQjDLVnz7Bmz+JIrjseA1+C+uIHaGEDa+ZVnOefqrYBf2aU2sEaQdfD6BvDmJhCX32EE05Quvc+0fgARqafTjiCLQfveJhAZJj68vvokX6M3gyt4jGhmXM097Lw7AGONNVce4t2JIS3soLh9+EfGlNDaa1QID46RW35NlbQh5M/xEp0YYfihNL9VFaf4DQ1MucmOPlslYGfm+bf//ET/sY/f8jf/rlR1g6q1KVW1/E4PqkoJ1I4aWI5PmrtOm3XoV53FEn9YLfCL//Pv8SD5+ss31ni6mvX2Hq6zvDUGOXiKYfH+5w/c46bt+9w+colZfWWXPEbb75GtVpj8cEiY6OTSgxtubayywb9Pna39tVgqAZtx6G3r4fbN28zPjpMT2+G/f0sEyNj3Hx4V5okSaZiFEoVIokgMT3O4o9uMzM/RCQWVCA2mUMll2pmQhx5unLsBHWDgbF+Tk4KVARi1tWtrMhieZbX4UkFXCRC9bSiniPS2iK0e9nSDQ73qHjX/s6usqtLrlUEjUKhzNDIKM+ePaa3O0MsnlBtB4uL9xkdkqG9m8PjQwq5QyLRCPNnzrIjNv1IWD3jsjt7TM1MMDM7zY9+9B6xUESBt6amplT1mYggQqGfnp1k+dkybbuthumR4T4KhYoa4LJHOZWl7u1JcfXqNba3dtTmT+z4L9+4xrOVZ6RjKdUvLdA2ta20DJ4/W+P45Jivf+NrfPTTj1St4szsjGIYzMxMq+y3nJuq1RJ+sYjiMDU3yZOHT8n09yl7uuTxhdXyta/8LN/61p8wOz+vfman3WRu9gxbuzvoukUkEGI/u6uGAcd2FA8gHIwq+nlvVw9NW8CnFj19Pcrivb6xzeDAgNpSh0JBNbRY6jwQUjyD58sbKl4RCAaVM2RibIy9bBa72aDRcqhKfviVV7h7f1EBy54tr5GIREl0RZQwf/v2XS5duoxf5ftL3L23yFe+8rMqUtZotpQrpHRSZGR0hEdLT5mYGFPbWGHTnBbKCqj6xuuv8c677zI6NESuUFC1bwMyQNodwoko1XKJrkyv2paurW7z0pWLSgCxLB+7OzsMDvTR1dOlBrlCvqwaAcRNI0PyzOwcmf5eTmtV3I6trplYNKGGcjW4l4v09vYrK7xU/YmV3DRM9vb21TU3OT3MwwdPmZiUWr99Lpy9xP379+jrzxBLxFmUWE4qrcQd3QddiS6Wlp5y7uw8I+NDKoYo5/MzC2c4ODhULQYz09PsyOdpWErkEaeMXGPCYjB0k1zuSDm2pA5PXKHi9hARQv4NOftouvz5UwKhEKFggP29PfoHhjg4zCqpScQWuabWNtbpHxpEdztY0tEe8tOT7FLOh83NDZLJNP0DvYolIS7AWCzIo0fLXLp6QcU/pH723IULfPjBZyRiMSamRnjw4DGjw4NIskqqMWWQN8N+vvylt1jd3CP/aAWf1Awmk4qx1D/cx5MHT1VFYyIZYfarb7Dx/DmlYoXevj5MXaNRr/OVr32Rjz/+XC2Jjg+OKZVKXL32BVafr5FIxjh76TyP7jxka2eL6zde5vnaKvFggnAsxOrqUyam5jjaz6pqN/nuPV9ZUdd7KhVn9fmmEvRqrQqhQJxwzCS7e6RiAoV8iS9/+Yv82Y/fw9E8vvjWa9SrVVZWpSMe1XAgm15hYKyurakZyRcwKebyapn50hcuc//OA7p7uxkZG6SQr1Grn6poyHvvfcD1G1dZXn7KoAjNirWUIxpJsLO9haEbSmSRPy/RA4kJiYCVSnYxOj7Jj370Q9yOw1//67/M48dLiuskjhO5FgWAKU6ir3z1y7haW7HCfvrBZ1y5col0f4Lv/rM/psvVaAcN0v1duOKG9pv0xiy+89M9/uO/+HN882/8Kkd/9k8Jj30Rr2ua5pN3MFsH+DKv0nTqmG4Tp55Ha69jdl9Ttn1pRdKa+7hEVFzaLT6C2ARGtA/vdB27eYiZuojX7qA1TzCkYtaug2TlZYHsD6NVjhSUVzc8OR2iizPSrqHZbTqdCoYbxkim6Ngyh53BOX2CzxqgbRfpHN1E7/tZDH8LR+qf9RDO/ie0Awl88TH84R7s3HNsr4GZuo6v9CEd/wQdqxvNtfGKn6HFxjF9Awr0h1vDtU10o0SztEO46zKtyg6WANiHvoTVKOFWTyCWxGo7NErP0XxRzNgg9dMsQcfGTJzBaQgIEWyJ3AvUzy6qpjHZ3suwo9efYbsaAX8Uu13GcKRee4BOSwRDFyM0jtc8hsYhbmIeVxqqdn6CGcig+X24iVm00g5a8eave+7xY/Te6wp2Z1Z3YewGeuQMTv4umiiLhgzSKTznlI4vorKPvkASNzYC9TXVcd/22ZiVXdV/6PmTaMEYVmUd2y3htsNqU6Ynx2gefIwuygZ+KG6hZ2bwyid4vpCCJrixK2jZ9xTUw+p9G1fUEX8CryVqWAOzfIBjhQkkJ2nV9hVUwq7ugyhMUuPQzOLveQ1X1tjlDXStQSuUgdM8VrgbTZgDB7fRPBu9dwrPTeF4BQW+whQV8xCdmIoSWL4ImtC0NZ8SFUTvIRzGtcPotVvgX8Az2tAuoofmcU9u4wkIMTWH5daxhfhdz6F3ygpC1oydISDHEzeP54vhClxCuAZGAiOagPIuTn0N10ypPk27LPU4JVrhaYJam+bhHbUV1FKjarNgWVXKJ2UiloHWPUf99IiAP0gtdw/P6CXRP4Hff4Q+cpGmlyHQeUSnEmP92S2evn+Ljc0dfnAzz4O9Kmkf7BVDjGVcZgc07q60+ft/8yrf/fwBqWCUJ1sVBruD2G0PRzL5mT4ePF5muxXk5WGL41KTC3MjrG8JiKyp+uGDfo+eTA+b60cYlsnaToEbX5ijXivx+HGWnr4gpXwdy2ewMDFGKhbm1qNVglGLaNTg6LjBhQsjbK2dcvveFt/88iTRVJL3PnhMf38cQyZRI8Lmzh4z432srG9j6kHGJ3tpNBpkDyrslFyCHZt/8mu/wMW5CW7fu029YRKOpxgaTPF06THp7gx+S1eqdKXa4ugwy8zcrAIbJcTuFfbz8N4DpufnFO17aHhIPXzFHnvjxkuUcgXu3X9ALBmit6tP5c+i0YTKi8lDVKxjsr0SOrWAgqSbt7urj8XFe1haUG005hemOXd+nH/4j3+HO8tlRof7VD1LLd9kZCRJNp/HcFwSIRPPH+TgpM5WtqZgJVG/S77mqrxcpdkgHjM5f3aIjz/aphN4kde1Oh7zZ/rIZYXKbDPa38vuYZVi2WF2MkVNrKsBQz3Md3abvHKuh8vnRxke6+XCxDDP1pcJBdM8ebytNhKH2T1mLpwjGgwqwJIcsCyfpeBPW9uyNTW58fp1NMPi23/8baYmJzgzP83ezjG7BztcuniZnf1t7t5bIx0O8it/8y/yv/wf/4EffrBB/0iU+ckU1ZMypbyAMl1lW93fr2BEDKolKBYKTE70sbV7qNwSvb0JKuUaFadNT9rANGPkjxtMT3azvLnLxak+dLeuYFLLywfUnSDjE/1qkJI8YF9CroVj/uu/MMGv/fN/DVqK1R//n3T3L6BbfqG34NJAt0zaUl8Y7McuPMfxJQhqLh1fECmflu2T5TiKrtzpHOMLRnC0KJoeVR3pklGT+lIjEMdwCuq+ZTeaWKVPcCPTqvbGcULozrFqwdD8SbBszHYHW4ROub9aGqZRp0O3qgoyw2FarSBBS1gSm9A2VAWi3PucTp1mcZ1g11U6VhS9uk5H78LSauKNxrNEiIy/gAB2asqNZPgH6Zh+ZbPWfcNo8jOpKZqtkb6mHpTt3E8Idi+gRaZoVnL49Q4Ek4po63VKdPyDGPVtjNY2/tTLmAvnWH7vh3zlF/8RmzWdSxmLtM+gHNBJxeL8xS8v8JMfL3Jcr3BpbpKP7z1nvLeLlYMKI3qN3/jVl+nun6G4uodvdJxIyON0ZU1tncyhYZobz7FkM1/exqcHsfETXzhL9dFdJAkQGRhAF8KwLwrby9h2GS09AIfPsfrmsQ/3VQ+6DNycHmMFYriD0vur0bh/C3NgAFtWQsUS4cwAWjBIZfU5gcsvYf/g+xgXL+AfOUdt8UcEuoYx2m0a+2v4p+fRo3GMxAj2ziOa649pN2wiZ7+AUdrHHx7DcfZp6xrRG29w/cavslrxMTfmp98v03KS9f8S14mEIgT8AY5yJdIJ2ezHsM2WIvR7HYejjRJGl8k3/ru/zNLdxyqbKjXDh7kTEomYGuJdASm5nurtlr75n/vyFxVkbW/vkKvXL7O3savsuM+Wn7NwdgFdqnw1g/xpkZGhMXY2twj6fCrXfHfxgTpk7m3vK6dUNBUjEYoQT6cIJIJsLa9TuyftFxDvSfDg3hrnzk5SOSmxf1Ti6jevs1es0Srl+cLla/zkw/cYGBhUtW71RoWLl85x6+59elIpNew2arKlqv3/OXObufl59bpXZRM9PsXQSIb79xeZX1ggFo3z8NEDBgb61cZR8t2Hx8cszJylWD0lEgjw8NEib/7s27RO6xweFVQd2eL9R8STCVXp5di2IrH7AwES0ReOCfk52f1jNSxNTIxTr1eVKDAxOsXWxqaKs0n1meS7hf/w9MkyM5OTCkp15859tZHuzfQoKFswECB7mFMxjOmpaVJd0kf/nJXlFUZGxtUm+M7de/hMg9GZcUWPPzo4Yv7sWVbWV5gYGWZoZFhtiNfW1pmYmuTp8gr9mV6qpYqKWkWlQtiT59kRMzPz7GX3eeW1l6nVqty/t6R678VJ1W7XeeX663zy8SeqyeDc+bOMjA7zo3d+ytz8pHImnBydEE5G2NvJ8tJLl2g1WzRqVSWW5I7zavA7OSkik5xsWbe2NknEkxwfF9TnJnVn8holXiNRO2mj8Vk++evU6g3sep2ZmRll1W40Knz4waecmTmjeuVv3rqpBsTRiSHseoN4KqnYFX/24w8U68AydQaHhhkZHGR1bZPPPrvJyy9fUyJ7SGI+TekwD6uqy4O9XfWcsvwWpfypinQkuuKc5AvMz0ypz/7ps2UVh5G2jOVna0rsSaVTNKt1FRsSC/TezoHKju/tCYQwQSQSp1YtKkuxNElIHrtaq/PyS5d5+HBJtXjIksEzNTptVw2Uf/Ov/xWyB3t89Mk9BbSUSkiJksg5QV5302mr5oNiqUA+d6yaDlrNBhPTMxQLJY6OjkikY5RPSsoOLnwJaTCSkHRfXx/be7uKIK9pnrpPPnywxPTMtOq6n5gZVeLA5598zvj0uAINtmo2587PcVoqqbONigsUSpQKBfV7p5JJejK95E5OVJzm6bMVIqEg129c5zt/+qckEj0KJnfj5etsbW/Sm0mpGMp7P/5IVS1KG4fdaquoozgfxKIuixGpCjzK5/jCS5fUcB1PJHj87BGv3niV+3/yAX1DKZq2y87mPiPj/YqHFfZ0tOEUvq4UsVCA7N4Btu3heG0Vu0il48rRJ9WeAlmU92B7Z59Kuaxy9PJ9f1HjmSccDDIwNKgiJ5prUm/V8fnCFI6OlfNJzhr1Sl2JffVaS1WV9qbTZI+PGBmRutUTJVAKpyVXyivxam9zT0Vq5PMSQOnA8BhLDx8xOTWuGgSOi2XioQhzs5PYHY9W06YkEd9QhMP9LPNnZ7F8ft75zz/mr/61P8/RyRH37j5SVXqXLl9ie2uTeCSMLguxUoVgPIju6QwNDSuelfy8oYE+BRwX8ezMSQF+XgAAIABJREFU3BxrG5vq/0eiUfX5SATGHzQJS2S53WZ8bobt9U32Dg+Yn5pkZz+rlj2iKtVLVSL5Cobpo6E5JILBF3Bxp8WDxyfMjAX48dItNr79u1j+U4ZmX8E5LdG2j/ESF+nkb+FInXpgHMP00zq6B7EBLGk265zQ0vwEfCFa+5+jdS+obX+zmsXfNY7uvThfCedIa5bRw5Nq5tLap2jhAQXcUwR9yYGKjd4z6dQ28NwwVteUajxyxaEX76XdzqLZfvRoLx2Z2+Rb1/CjBTQMr47XyGEmXqZ9+FMCXWdpauLwvIvZOiaUOk/x5EMC5gC+wVdolY/plB7g7zqL1yjRaRUhEEMzu7CcU+WO6nTq6nVJ/aARP4vr1dDMII7U/Z3uYGgVnPTb+CQouP9dNKuHpsDxN7+PKTV+wxcUuNMMxdEk/qUKHgx8hi1lGzhuRQnIZngG08lSP10T3x92chJfZITG9rcxYi8TCAdpP/8jzOQ8Rs8Cju2CiA+Vj/8nry05h8QYZnMXo5KjYcTRZaBu7NBxy+jFbXxdL6m8vYIhiH0snKGj21CtYXgeXmoQt7COpzvqxbYPdyQxgdmzoPL9nZPbtMNJTLE2COmx73VMXxjNLSt1ol0/UgqW6wndv4ouWXx5gUYMLTOPVlyn7Q9gCRSrWcZri1X1ADN9FmPvQzqxIazYReq5h/h7RhS4oZP9HM+fxpeaoXVyG0MqA329dDoGFJ6ixacw5Q0M92G1S7QcgQbGsGWDjij6clF0aDXzCogkiq/UR+iRUSguUzleItRzAzORwC5nkXCJZG0FQNFCrLpxDKOOa6XwCs/xQoNqmBBwn11rozc3sFJnqR8vEYiNYcv71T7BkrpE6YiUajGfRaV6SCCWUXRgvwwXJRs9qNM2QuheESvYh53fJd0zhj3yMoYpFQ9Cqo1QXL/F59//gLuLW7z76WPuZ19YnoKebHJ1+mKuArL1jw3T312nVXTpH0mwuVbh8doxMxPDOE6BVks6OCAatPAZPpXXOjopqgfzudl+ijUby7EpNzwKYr0VK7Djcn/tBJkNJHO9sVVmLy9CgqViAM2qTao7wPTkOM9Xt+lL+zk6bbC50+Ta+SGyeydUnSbXzw4RS6fY3zlWG5XN/WMsrBfVWp5NvlwVjAA9yUFy5QP6+3tIR2LsHmVV1/PBYZXmaYOvvTLLN79+hXDEz2/+sz/kl37ll9SQdFKukt3eoXdgUOXjBJxkO56C5t25dYfJ6UkwPKXCin1QmgDEalcoVjg4EJjMAJNCYj3OK4ufHP4OdqWSscOlC+fYP9wn1SUCkk/1Bos1e2VtlYDhJ9WbUlVFA11dijDs+y/q8Lfe/YBPl16QyfuH4mq7FBZlu20TjwaVgly1hScR4vD4gEQ8oeqwupMRFs6M80d/eot41Ic/GGSkS/KcTQrFEr2JIHfX8syND2GZNkvbx1ybG6Za73DaalA8tqk7DmP9JtnDKttl6PZ7DHT5+cK1CQYyXdy4fJ7V9U0+vfWI2YkpBQb0+SIsP18i0zPAyMgQdqvOhx9+oh5G584u8L13f0IkEFSK/9m5M/zuH/6xAitOTg4TMnVee+sy/9v//p/47mcrnJ/I0GlIf6qfpL+tKoR2c0c0awY3F7cJh+DaubEXmSbLATeClNLlCnk+/PSEwe4wZ2bSKtN72DA53wPZikPFbvLmmSTnB/rZqpxid3T8mlThNPAFOrQ7Oo6Z5HufrpI24Nb93yQ5OEdrZYWG7qFXxUnQAcnHU6Wj1bHwY7freGJ312Vz7Mdr1NENyaQF6eQfY6UuqGyk5xdPeEtBPR3vFJ+4i6SPRB5MQT9tLQXVPdzaKlp4Fk36lB2bjtjCOie0Oy6aUG+lalX67LUe1dfcbuWw2kUpDcaRClZ52Jgmri12+g4EMui23C8raMlJqG+gSZyq5RA0T7BFVXZ96L4YmgIkVmkVn2JEhpWbwCtu4vl1rE4Er/GUjp5CS53B9Gu0czsYRgsjOo3XbtJ2Swq46tWPlcBWOsoq1T518efJ7Tzh3Gt/m+tzvQoUmEiH8VGj3DR5dtjEaNZ45eI4B0clNrMNpqb7SZkV3vnkkLdnI/y7P/5NWo9+RL3covh4B9c5VgO7OTCE3jMEK49xrBCdYBJ34zahqQUYOYdp12ku31Vui0jfEE7coF1q0DnaUcRcyT+2uwbo7G2hVatoI5MEIglafg3rtIJeO6DesIhn4tQPc5j9U7R1l8b6E4JtBz2RoZNOYZT20PxiXdbR61XcTC/u5kPaTQ2ru0/RmvWajd6dIZhJUN/MobXy+K78DO2779I9nuGn94/50j+8xy++1U1+p4zXCZIeFehdnVLlFHTZ8GnUKlW641HcoNh9OzSqbRbOT7P6eBW3N8qZl84q0JdkfiVGFIuF2dzcVhDdRDyiaov6hoa5/flNLl25zOOlR+hoqp0iKWT+iTF1WBQSflR4CXZb1Yqm0t1qePOHhHvhcmZ+gdsf3ySWjqtstFgP97Z2CPencIoV6nd3KettXn7jImtLm7SkXq2lUzY7ZC6Oc+HqZZ4vPWVne4+enn4FyZV89ZUvXObf/pvfZnJmRtXSGRhYuqYiV5YCsTXUENI/OKQOqFLPNSwH8aO8ytkKTFU2ftIiEI9GVVd6LpdXb59c95Jl9geCnBaK6s939/RSzB+rjPXlS5dUjCCWCKuohdMQ5qPLo8fP+OpX31Yi4+7eIT5LEBwhcofHDI0MKj6C3bYpliVPn6MvM0h3V1xl3et2kzNzsxwfF2m35G7l4PdbvHrjBu//6H3iyTg7BzucP39RbdllqyvbTKlQk2FCBkaJJKyubHCYzaqsuIBMRdQRwnq5UsEyNDV4VioNNUBJG4b8zi9dvkipUuP+/fuqiWFhZoHNbckqd168D1aQYrmgrgnZ2KeTScqnwg/RCQQjinQu/ARpYJCNr7gKetLdPH72RNnMZSstfdPSICN/V5ojcrlD/L6Aou5nj46YOzPP46UndJy22q6LoLOzs0N/JoMVNIn4w+TzZQ6ODsj0dhMJ+Vlbf5FfHxgeVFva7lSXckJInEXiDnIdCthLNp4PHj1QVcDiTKjVxH1RUgJN6fSUvc1tUt09tB1X/Y7iNhzqH1CVlsKTCEdDjE1OcLh3oOIDAies12wFfizmcwp+mT3OEQ76qVbqRKIBiuWKqo0U4FvusETTblBvVEnG05ROS+q6kYFK4Jnb6ztqwE6lEgSDET58/0MuXLmouBoCDfzs5mdKsJqYlOeKy+qqgA1tRieHVStFf2YYsdZUhJvhM7giLR3f/4Fy0gUDfkaHh7l37xEjw4McZA+Ynpum3WqqDbkAMPf299Q1ODo6puzmhXxBtStIjlz+XRFgxqfG1Xllc2NbVQZOTEyqBYcIEVK9KdfO+OSIcjDc+vwOYyMj6pqV7bJsjUUcER5Bo2qzL7l5XVcAQblHDPb1q8rEelNYRQH13RLWgNjYm/WGElrEzWk7LZLpNM8ePiWWTJLq78ZstNn86AF9Q2kK5QYCdLd8PlVPGA36SJwdoyvTR7MtZ5eScgpNCuRwZ1u5QkaHR3j33Xe4cPG8YhF0NI/RiVHu333AmYVZ5VbaeL5BrW4r1ka1XlaxCbmmGiJqxqKEInLGOsRv6KoGMxKRe4dF7uSQ2el5YokkNz//RLlL3nz7DR49WFLv9+WrMqTvqu95Mt2tnKniuJBn/tXLl7n9+R3F37h9+x65XI758/MUcifMzi/w7MljHi0t89qNL1CVNilPI9mVoFZvqs/t9ddf5bf/3R8QCEp/O+reOzwg4MFPVZ3l+bOzZA9yCoJYEtfO1ibDg+IsllaCKzx+skSpWGZmdoKgL8rG+obioQkk8s9+9J6CcvcP9qsIjwhnEs9YWXyEdVBTMNlUd4JivYq/7dE3FCETTvGvvv+U3Zt/j8zFX6T13j+k0unFP3CRTquMEQrjyXwXHKFVP8UXjtGu5AiKQzotDW+naM4JHSes4uGGJWy3Ep6tgx6BVg6tcYIXncDQSnhGD207h9uqvqjgs3zoto5mhdXyzW3Js7OhqnEtaVpyytixcwRah1SrefypS+jONk55DbPnAkYwiFOWxItDs3yIL9WtopT1g2cE43Hc6DDWyVNarUOsnq/TLtzF1zjCCcax0hegU6ZT3ERTCxyDdvUJiNBhWWgSk6+X0DznRaTTkyV6D141i+VV8MTxvXcTY+wtVQtvSgWgVPwd3kYPDdBpHyq3qaM7OAf3MJJTeJofmmUlMMhixu+XeX2Eau4xkfAELQFCt8UlV8X1jcLRfVxZ5gxfwdD8uMUD9EAAT9wYpcXf8pqViiKqm6F+GvUCPjGV5R/jWX6M4V/Azj1Ga6xhybAtnsv6nlKYTV8cz65iajW02EXs+h6GP4XpGbQqW7j+EJbYMgL9qotQMqGSxTP9AZDhv7mNU5NSviC6VG35HDrZY7XlcwL9eIYcEjvYYv3QO+iEVDZNOre12KgCR5j1vKqEEBuEJRmsYArN18EVAaH6HKPnVXXw9km+XzOoSd2eTw7IRQUcc90KbmQezSnjyeFNi9M5fYhPiN0B2fYXXnQ9RobxmjaBUItK4QBdrImtNmZyEE2EEfsEPf0FjMYJrUYOIzaI5xbBmlS2DBOpE+vF2X+Iv2uKRqeCXlhBT89BaQszMYeroYCC+CcwwgGc6j6uLttDg9ONTwkMnccgRFs7wWo6aMkeksPnIWrh1gvqMFTN77D62S1uP3rGt77/nM+WCqq33O/3yCQD0LBZGA4QSoSpawbxsJ+GXeFwr81MJs7ToyMKRYMbV3uU6pctuaTiJh27xWrW5dxUjNW1Aum0j8FMP9u5Q87Nn+HJw+eMTHSxs1elY8tg5gejzWh/nIjPpafHx9zsODPj4+QVDK5Kp2nz/qc7/P67D7A7LtM93WTLRQWhs6sdpiYHaTVPWVmvkOwNcWG8G5+vw+pOhWQyheG1mJ8a5O6TFb706iWeru7y8e0VepIRJkb7laU9f1JWEC7pYl5ePyQdsfhff/2X6Y4afPDJQ56urHPu4jkigTAdzaVWLhEXmN6DRyycmeH25/dUV60cbI6Pjqg3bOy2QzIe4sarr3LzsztqMyRZMbHxdXel2djZ4SSbI5KMcPnSS6w8f64OdkErwmE+qw6BQj585eUb3Ft6wEsXL9BonHLv0TO6Exnm5vqoNzv8P7/9E3768IS50Qh/6y9c5b2Pttg+yjI1JINGm3K1w/ZaHX/aRGtLBKLMxfkk9abGwWGNUNhhMBOhdNIm1Z3muFTGrjYYm8qQ3cyTHohyfNyi5TSJxmME9Ao+PaIGybWNA6aGMhQadR4s22R6IyStKkFfh7/1V7/EK1fPKIih5GQ//uwWzWaL8eFJ1UG+tbHDzcU7vHztKs1qldWtLH6frlwj8l5JfruQPyESi3Dh/AL//N/9KTdv7dLb36MALUHLpFyrMjHWSzAY49s/foxTb/Hltyd4/eVxRgbibG1JXjhANJhg/sI0+Z0snz5Z5g+/8xgsjZBX56XLcxSPjnm2aXPqaLTkQDkaY6tgMxeL0JNuE0tpnJ2+yO9/71N6pUqot5dnz56jtVx+993fYnhugux772J1DaneeKnTrJeP8AsJXzgk9QpWNE6bGJ6XRzcC6I6HJxGbutR/+XB1G63Vwm2dYA6/grN7G7e1jy/zBdonWXSkieQ8mq9LwTodr4XbqIKVxIz6MIQZYMZxLVMJiULcJ2DS2fg2nulDD19CD0sljqceuHIxeHovekhaB7bwqksQmkLz/Hj1J3ixC/jdKrXyJsHULJ12TR2udNePJ06GhtSMdSuR0T68hZG+jBfop1W5j3m6jxaaxoj1q7YA6aRtC0zG3sdzXAXq8Yw4plfDClvo6WFqhTW6p/57Xr8Y4nx/jM+eFskWbS6MxjhseEQiAXp9OgdleWjJ3Va2XxqDSYuby2W+8/ff4tJXr3Dwww8Jjw/hxf2cPNoiYjTRukYx3TZBqdts1CWEinaSw2nJdiCJ13LQ5PVduEbj5vuYoTCaL4neymImMqp3XbKB7XoRI5JWLBI3Gsc+OKBx/33cvkni49PUa0Wc/W1SFy7RbpnqIORsPaVdqRA7e0117DpWhNaDj3FDCbpu3KBV1fA2l2R1SXXpE7lz0xqaIyTv0ckWwWSc44/vMfJffYPW+VnO9vw3mD1JxvoC1GpFUiE/y9sthifSmB2d5Qd79F8b43TzhHTMT8mu0WpKZzgkIxGa1SbFdoOv/Z1f4bM/+5B6Uzq1BRLUVrnIru5uqsLrGOxXYvfnn9xibHKU2dkZnj19RjyRomHXVCPPg8VH9GZ61QAg20xx/SgQXjyttlMhv58PPvqEuZkZfAG/grNJfEDufT/zjS/x5OP7bP3ZQ8y4xeBQN9GEULC30doGU9fnKDsmkVRIVSDJEC2E+9mpCXWA1ixDQcYatSa1WkMN87JdP3t+XpG341FxfW3zyrXr1FpNBbWSwVEyrouLD7l4+QJ+06JYKrO7s0ssllDZ4Yy41hafEIkFeOnyS/zn//wDErGw2h6LTT3oD3Dj1et89MEnqgteDpdvvv0m3/n2t+jtG2BoeICHi0+ZmZPmgBP29o45NzdDoVRkd3eXMwtzFE9OiadialAWO7ZsWi5ePseGbNZ2DxRYTjb9U5Nj1FsttfG/ePYSufIJJ8cFzl6Y5dG9JZp2k4VzFzANiUytqfo+GZ5kOFk4O68qwl559WUlMgvpvlIoEJHKwFwef9Cip7tLtSA9XnrM/MKEcrmJVf+n772vOEzBaJBYJKKGBOkil3te/2Cfqp4TAWBqZpzs4QHhkAwIInh7jIyMqCG42awwPTVDoVAkEouys71DIpFiZXWNweF+FSUQM66p+7As+a4Ij8BVTgJLg6GRMZ4sP8PQPJWJnp2aZW19k6GBfhXjEJ21rIjyNWWRnpkaUzGN9fV1UukuldvfWNtjemGSeDhKV3eKltPi4UOxRvdy5fJFsgcH7O+e0NWTZG97T0UpHddV14jfZ6ozlWyiI2FL1d9VyhUlqMgypFwSt6lUOdYZ6OtRA7+wJ4aGxjg+yTI7PaciM8I3uHnzFucWzhMI+WnVaug+nxpSxVkT9JlUG201nN1dXFQNH0LUHxjsVVb7Tz+9pwbf3r4usodHvPnKq3x++w4zU9OKozE4Mszu3q5qtujq6uLw+IjeXhF+hU5fVmJIb3cf+3sSQ4gyMTnF2vYq6ytbTE2MKXHLlNdQqZJKpaiWxYJ/lt39PfL5vBqKp6bHOTjI0tXTTVdXiidLT1UUR/6ccAOGh/rJneRV+4PECuS6tnymyvp3SYvFYI+qR5SB8cMPP0TTXAYHx/D7NOXo+elPPyQcipHp61G8kWR3isODA3XPefeH7zMxNsLw6Bibm2sKdicxmMOjQ7r7+lj57C5eoakELXGM9PclFXfr+cNVzr5+iXbM4sHdJd7+mTc5Pj7G7/cTk6iS3VaZfLnXidU+GAqx9EhqIscIJ4Jk93MKECgshHbHVgPuwZ7Ee8bY2t5R7KJatcbaxhpfuHZV1eoOjo+wv3vA+sYq3akXLgTJgO/s7XLp0jkKJ8dk90+4fv0GGxuSz/fo7x/i+DCrNujiVBL3j4J07h6pxgnPdbhy9Sr37i7Sm0krh8XK8iqhUJSLlxYolU9p1psUSmXy+SLXr11S/y0D+9DAgFo4jYsLK7urfqcrFxdU/eLm+o6q497a3lYxntm5OTa2NlUUU0QS+X4LdNs0xYV0TE9/F57dUYWx588u4HgdstmC4r84tSYLF6fJ9PXz4e9/n/FMnIA/zNOdLVKRuIqFJ7Qgf3r3mH/zdy/z1/7pv+Tge79BtP+KctD6o9LEoElpAJ3mAbo0brRj0Cm9GI41DTe3iNklseQM7sknL6rcu+dwGnlMLQjpDB0R2OsNtHiajqiy5SxWJKEW0hKt1LSA4iV4zQ00LULHP4QWEvD8ouJxmP2v0dp5Vy2PrfA0CN8nOIQpEEFxgEf7scUNGJX75im+ZlHdgwMZabiz0OIX6Oy/A40cVvcNWpJtb1Wwkudp1R5iicvA50cPDin2iixkPIk3GFHc6iJucIxQ+gKtVp3O8ceYsR688BRmu6aGfCT+rQnnLUDbOwYrpSr/JFJAcAiMJFrlMZ647PtfodMQwn8FzzFx3apyyavZ2AqramHdS2ILs0Te5+P7uPFpDF8Gr7ZMO7+FMXj1Razi9O5veLpr0pLMedOP5fehtUqYkW71ELR0H22nCtIzKCCG0Ci6rtM+fB+t7+dw7RqdyiZmPIamJcEMqsyqEZCAdUp1cROWv1NTNUCOI7mjJI2OrcB2kmcSyINmC8CkhW4G8bwmHV0OoyH172vF57Q8yWtH1SbADkTwBbppl3eVvd4TtcUvuc3P0WvHeMEBzPQkXu4ORt85VXsmBygBUeiWh33yRDyh6O0WndoBemQSV+uom1brNK/qKwTA4Aig4eAuWqwPw5+hUXxA0LXo+JI4mqEGpo5pUs/niaSGVYYHrwS+AVxbbLvHeJF+OkdLdAwXf/qqskQ28rv40pdU1YfdrOM5Aq7o4BSkPsJAD00oyKHj86O1C7i1EsFgmtDQNXCXIBaG6CW8w4fcfuc/cvv+Cq4e4/f+ZIPdQ7HpQNmGuVEYFCJ1wsfBVoW5qSgVx2F7vcqV8xkq9SbbO7a4TLl6fpQ/fPcxL18ZpyfW4p33cvR0yedUxbADnAo0KRFQNuf9/VNevTbJ2uYeZiBBXzrM6v/H0ntHSZam9ZnPveG9z4xIn5WVlVmV5X21766e7h4/9AwjZgQIEAJkFrTScnCClY4ECO2RONLCIlaL08AIMzAjekz3tKvqLu9dVqX3kS68d/fGXd6v9OdMT9dUZETG/b73/f2eZ2mNnrE+rn68Qn9cuA02UokIP/dTbxANCYG3wsLchgI15YtV9o3uweOzyGQ3ydUN7txZ4Cd/8DzxVB/FYh4bXXoHAjhsOvMbTX7lN/6UfL7Oa89Msr6TJVvu0q6X1VRaVGbxSJDFpSxt3cZAwovfBRsSGZc+Z7bC/r1JvKEEX//eLWX/+oW/f4ZPvyE+7BqbWxVu3bmjovKf/uwnuH7lBsmBQYYEerW+QrKvj1q9SDaTI5FIUSnnye0WmTgwQSazq16rbPRDwQijY4Ncu3qTN3/gTebnZ5QvOhz3kctUVaIDU8cXDDLU18fC2gK1cpn+gQEVMb907QanzxzH79JIhr1E+4L8/h+8y4VraQIBB3VDIxV20cQk7IuzuLGDz23D57Iwu03sTpk029W0UYYfMiCut+3kKyWWtluqK/vq8X7Wd4pk6ib1mqbIpedP9fHOxXWScQ/PnRvi5oMNJsci7G7UGRnysbi0xehIH3cfFcSBQadZ5uxkH8eOjrFv7xDF0i6T4wd4srCo+owvv/Aiu7vrBEVn1+zg8rhot2UrIsdCg2KxQTa7wk/8+E/w129d4l/93x/w+WcTKmVSNNoyDiSRCJErtJiZT/Pic6P8g88+R9DnQdMdzG1tszSzzdHD41y/fRufJ8rkgX4GBzysLlf5wX/5F0zucxFxBxXYcPxgH65WkSe5NhMxN+cG7fzPezUuZS3YqXPiaIzDwz4ODUZwaC62WyZ/+s49HN0YH3z4b/E4+qku/hWEjtOSPn59C8JTasrs6NZoCxm2C/bqFobHi1WrKU0qZhW3f5iOZUNr5ZWiz5Y4ga2xRW3nDt7ec3RxYNYWsLuku2xgti1cwSRtm45Wr0J9DS0kw8QONgVgaGP6+rCKa6rnb0sMYhNoTrOtYH6GfAcJFrY9g2HasTmSChDjFM2O24tWKSiCLT3PY4kOsd2gLZe+UAq7aWI2ltF9+xVcz9Kr2PU4RnlRwWc0LY7dqNBtyvR7GBt1ur4hnPUNpIzfKmeVxcAVOIxl09D9/fgOHuel/Wd4uNHkF988xNfffkLfWBSzaWDVO5i6nZC/i9H1UMnKutVkfMzFVqnFzEqHHt3FR197nfryJtlMU9yzuA4dIdA3gfHoDvmFB0TivZj9ezHL23Q2V/GNDNHtujCaVayuiZnN4z96ks76Ep16B2IRfEMHaJWy6A5RAlWV2UHSGPX8BmazhqdSoSED2UAce26HVqeEKzVKa2UdKxLAE0mopIpvZJxOdZdmWxoQLpxNO52gl/KF72NKNaJ3D+7nP41ne5niVhpHKEJr+TF6rF8B1zCyDH3lJ/g/f/b3+a1vzvLG0R42tjIEe+KEenxsrRZJCviqXOTedIUv/uxLrF5eptmqUGm1iHo9+L1OFtdzTE6OsraVwTUWVzqnJ1fu4U2ESfTGaQnoU9cVydzlcpPfzbJ//yFu3LqmNKJ9/UlKuQLVZouA36dUdN1Ol2IhTyAcVoC3ZDLJzm5G/XdC6paDbU9S1G1lAlEf1UpL9bS9PhdP3n/EAeGq9ISVGcVtt6n4c6cJgdEY3miU9O4Gg32DisVSzBXV8FSSZZFQRG07V5ZWiPcm1EWyXC4wNDxMZmuXnp4QDl+Yd779XXWhEwjryNgAM49nCEeiajAnTnKBHHbabQXdk0NvenWDtmXSaQrEMqCqEYVsTmkd5WckHV0BdAnU1O/3qwu/aNUESDixfz/Do32K1K3ZHQT98rxZVZWiVrPOq6+c5/vffxe/L8iJ00e48P7HhKNSmzQpN6scPXaUpYUl1fd1aLr6uwmwdmRggM2dbbU5Wl/Zoa8vrmLodmGySGc94GFlcVnF5c+ff4mFlTU219bV5TArVP9SgfHx/WQzWbX9lmGHDNFkICtfBX6fR21gH91/gl02xiMDOBwazbalEmQfX/yIZ589p0wDq9IjttnVplggtp22oZJuMgiSba8AE4cH9jAz+4RYXFziq0zun1RVt0gkRFu6Npqmnt9C8o/GwxSzAmzWOCbJirXVpzA6bCRTCTUwGh3boywPAhKUmsCKfyXSAAAgAElEQVTo8AiXr1wlEo0zOCxk94xKGWZ3dwiFQ0oDKUyd44eOce/+A1pGW12cHC5dgeZSyR4eP5qnWC0JYlP1sa9fv0kimVCaWakpSNw7nd7E5bQpUJ2yyHRheXWVPXtG2DM6zMWPrtGXSuD3+QkFwzx4IAmKGMPDT1kVwgzo708qz7wkI50yOClV1es4fPSwSqnMiBUh3kO7JqkwC4fDrZYE6fSGuhwJuyPR20MkFlF2hGDYo6CaAoSUz+HY3jGajQZds0tPKsVH719k34Ex9e/IZ102tp1OW20aHzx8oqwUHredrc0sHaOplJdOh4tYIqGAcg8ePSIajhAM+Tlw8BAXPrzIQF8Ku92OzelQOsJkIqoumXavC7/HTbVcU0A/j9+pdKIjYirYWFE2hccPphW7wubUFSti78g4Pr9PcTy2d7MYrTY9KaGjd9Xn3eV0sLG+pdJIL7x0jmSyj/SGqPta1KsNBdd77Y2XMDWdjfQmRq6Ar9GlVG6oZGbvcC/59C4euwvPxAC2qI/KRoFEX4JCNsOJM6e4dPkKvbEovX0DLCwskN/KEZWh6h5RbKJUfPKGDQ0OKZ2x1bUol4uUy3W+9KXPc+XKVZV4EuClLEWGB4ZU514YGaJKl2e0zx/mwb1p9k+Nq3i61J5Ghof4kz/6Hxw4IKklSw0Y5PUK3Ed+7wSeee3ydX7wqz/Awwdz6t//xOsvqj93dnZeJX0EEF2riFFlSAFOe/t6GRke4c6Ne4xOjCiuTMfoYLZMGp2GYk6I7UOYI8JoOX70IH/7rW+rBdbI6BC7mSz1SoXB0UHFYBiVoVCpoIbGA8O9yoogLCJhTzy6N834njFOnDmkvkfeeecjBTM9duQA771/kViqh/ZGnt35DYIBL9GID28owO0HS+yfSLI1X6fWqLGafQtje4vV+zcJJiZwO1qqvi2LgM7upjqbOlJHMY00NsODWdl9aozzhHG4JUk9j9MdFAs0Wvmp7c0V7MVolNDqO+jxUdrFKrSXcadO0jEc6j20zAJ2zVSWJHFfWx1ZurrRtADd5iKmfxxdFiOtKh0ZSHh0dFMWBgkFbjYcHmQDa8s9UBd+SW3bo1IblaV1lo4nhrucpdvcxeqZwKq1VLJBbzQwuiXFNGiV5rALv80zQLe6hOUN45ALX2AEo57FyD/EGRugmdnG5hp6qsQtP4Loa5iNh2ppY2/nMKubCtyuxYQZtYeWWJXKG2jDX8ReX6RlajgkhdpxYffaMSQh53ALyhetkqEjVYR2DpvdQ6NTIzRwAsO7D3Ppf0CnjJl6DV3utjVJANz6D5ZN82C26xhWA6c3paBOXVcQahVamzfQ4+PYAqKNWsMqdHH423QFNtX20iWrpvqG3YvT40VrtekadUxHF5c9TseooRk+jM6ycj3aEqdpZpZwB32YrRqdRgGCPWilbRxOCz06RSfzEIw63fAUus2HJeTr+gKmYwKbV3r5aVrdLk57ELOeQXOA6ezFqWtoLgdmaRvN6VcqBuk8at0suuVRIKd2fhqn6AAjp+i6AphmHqvZUhR5zRfHLlOcWoFGcQmnaUByAL1SpCE0ZXuMTnkV3TToxgZxefbTrG+ji8YrOkhp9QZhfxBL92DVS9hdDrqh4zjtFsX1+3gCTvRwkFYzRDe3hDccUR5b8WQH45M4ak0azau4R5/HHRxAdxpKS2YSx8YmRmmF3ZUF3v+L97h2d4kL19Z4XBRyNxxKafSFAnSsBs8Lsb/b5cHjjAIGirM6HvRT63bplju0dYt8ocrEcIympVHrtnh+PE7LaHDrsURnnKxtVtlt+gmEHdSqm5xKwpH9fdyZqdL8u+10KuKh0bZoeV14Gg0Wcw2yeZN/9vcOc+bIfmqtBrV2i/5UkvWlNIGwm9WVbQVWuv9oWk1o/8EPf1kdKEuFDM+8+CJby5v44wE+eP+CoqxKB/PGnTucPDjJwOBe/t3vvEXdLBPzeEFYFHqbnXSZRNTJ4maNcqVJ2O2mYLQJu1yMjkSI+tyquze7miHRGyQVDSkIxq1bS5TLBv/1N97kyOFJFpaX+eiju6qf7/FH1Ba3a5OHq4t2s4WGXbnaa5WycukKvbTRqKuJt3Rn3X4fP/ojP8R/+8M/VB1M2WBJpE66tB9c/Eg9KAf6EorKura6Q7sjHfEOXp+btfQOg8Mpcts7YHcz3JPk/uw9pg4foFVt8cffustSukDErfOVzx7nT751i56gj2RviGxpG4/Hh1NsF1aXmkDBnBo+r6XiZ81sjrl8l4jXR6bUYnjEz82ZPF9+fQ/5xRIX5nPsPzhKJr2LS7RE5SYt3cnBiIdKYYNob4KXDw3wZHWHYq1NoWEx0hPixpNtPDaLL795klefmSIaT5LbLPL9Dy8xsHcQp+bi3p1bnJButMfL1Ws3GB8dFZsnsWgKwyiTzZf5zd+/QMznVDpBu9bCLXq7iJfZmTLRsMU//eon2DMywP3Hc2pgtp7OoWOqh81Lzz3Dk/kFHtyf4/TpY3QaVfbt7afSsfjBf/w/SPbbiPjcRFwtXjk6yvt3syytZvnWzyWJ90DDKX1+jR//3V3cYT/9YR/PHIxw8V6ORNJLLdNUr/P+8kWslVtsLz3B5e7FmeyntjtLon+KSmGXVn0HV2AI3eHFsmp0WppKPLRrZSHUocdO4+hqGOYahh7D7hiG9io4YnTbm9g8KbWJtnfbtCvb4AyhW20slw8zO48zkMDQ3Dglri+9u46NbvUxRquDK3mcrjxgC7cx3MNK4WdTKsBNWpl1NEcQW88UXSOrkkq6o4/22rdUUqG75zNo1VUFe7U1CuqA45Cuv82BIbDCVgObWcdolHGknoHCNKbuQVCH8p5S26JruTHDPdhNeUjP4fG0aBebWH43kWNf5nd+5Rf4337jW/zqj57g/swG3U6T/sE+ltIZOpUG0ViEQrFAuWEyEvOTb7bwaAYHJ2J8/d0t/vOXBnnzZ95g5uvfYegTn1aAop1LH2NaLfomD9IePg2b83TWH6sakGw17PvPYD68hNFq4jl4CqsipN0i1uA48vEqz98mEElCKEZt9jqOpNTfanQcQTyDw+Tf+kOir3wJS4jibQfNRx9gi/ZSz24SPfNJzO0V2o06TqsDNg/1zAa+iYN0Mts0tncJDI/isllsraUJn34O192r5DotQqP9WHqMyuoc3kQEbWeG0Bde49Jfz/Dar17i9ZNRdvPVp1vTdoOBI5PqM3/lwgOVWht6flLFdx27HXY3dwhGfCwu7nLs9D4qhSKGpMLcGnmPk4H+IZL9vaqnLrWk+fl5+pIpoj0JpdxbWVzg2ImTuLwObt64wenTp9WfLRuhcDCgtmMC1pJLiGy9RoZHyeYyamgvQ0u5nA2M9LO5ss6lqzd47fwnmJudJ5oMUys32L7+ELNhkdrXp+K5wql0d4W94mX89bN8fOGqgvP19Ea4dvkWn//yF7h98wYDff2srK5Tq1YYHhlVnfFWTYCHFnUVGS4TicQxLEOB506eOsp3vv0uA6kU1UYNj8ej/PDyGgaHhplfmFcXKDkgS3rL63So6LEoN1IDSeYeL9DTG2bP+D7u3rhFT98ALodDAdrCgYhiKYTDYbWJW99IqzqFbPw++PAip0+cVBtJARpv7mbUcybeG2N5cUVZCsRAsLiwzPDQkLIcmd0uqViKublZtUEVromhycyry+PpJxw8NMW2xOcdXrXBy+VLKtotqjjZigvg7+7NGzzz7LOKvJ7NF/B43QquKAMNuXBL/H1kZJhDB+Tg/jG+sIPRwTG1AcxliqqzXKqW1XNZLpprS+uM7RfGQFFdzvoH+nB4HZRzRdxeH6dOnOCd776NLxhmcv8+Mts7ytWu41CXXInQ9/Qk2d7ZVbWD/mSKXL6gNs5CTxeHufSnRS0owxT5MxKJOIsLK4oQHgwEefxkVqkou1abRLSX+aVF5ZB//HiWAwemKOZyqs8+dWBCKf0kqSCJO6Goe7x+Bvr6yBVydI2u2jTLtlRggRKXjkYTZHM5UqmkovPnC3m15Xw0/ZiN9TT79o2rZ4ll6kzuHWKnXKJZrirApbzfcjGTi1dvv2iGk2xsriqCfNeQZKrYJCzFDhJA5tBgCrfLz4WLHzE8PKKGBK9/8jzvfff72F1e9k2Msry0htfj4sixQ3x04QqBcIBata7i+pZp0aiVVBVHttdC3xeQpNSUYpGQGu7um9irNr9Wp6NMC9lckanDB6mUS+pCKL/rwYBfDUvkNTo1nfH9+9TvlPx8RoeffuYC3iDzczMMjI5A11Lxc1n+yVBGfueGhoZVx7/ZbDA5Mc7GWlrVBZqtNrFYnEgoSnp7Q23XV1ZWOHX6tNrCS2XylfMv0dvTyzvff/+pDcETwO1zqcG0WBkm9o2rJIFE5Sv1Gm6Hi0g89lS7+ZS0g5XJ0y3WMdsafUNJqoUylt4hEY2yK1rQkRRdu6VUhTdu3uZTr7+qakE+r0/Nv69dvcGbX/wMd27fxelyM/tkRl2EZaCV2czw6uuvcfHDCxw9dYxkT5Irl67TN9CjXkNUUjG6Xf0d7Q47hUJesRUkxi+MI0m4SDT/5LGTpHfSyjoiTAyB6vX2xBT3aGFuTn3/9PQmuHbpKmP791KvNBRzQxIcAm0UNeuD+9OcPHGI7e1NTEPj6InDKo1jtrsKmryT2VFKTbH1SIJCqij7JsbotLuq/y+2C/luNJqS+PQpEPPo0BC5Ql5BLQWI6A14FeVfkjAyDBU8sEBK+4eHlPVEWBkuu1MprueezJCTmk8iqn5nI7EA6ysZghG/StmUL80QS8bYzOZp11uEE07aVYu218v0/V3mPvzXpM68Run9/4ovNUGjuKMU8s6el7H0GkYth94x6boc2D1hurLF1m1YlSx2R4PazjS+kc/QlUpibpaO2/u09l3fQbP5MTUHWvEO+IcV7NfKPQFvUlUYu50cmmsEq7OOmZ/GJVBl8d0XH6AbGXTnGJa/B2v7Arr3MKatjF13qcu+3tjA9I7TbW3gMoq03f3YBLK+9DauUIyuPoLuNxS4vbp0TUGYPcnzdHMfY3VDdMMxdC0IYk2qZ7EJH89oYEpFQe/BZm+hdQsqZWCTM1ls8mnyoOtGd8ZVGqxj1rA15nEEJ3CEBmhuT6sBktNlx7AnEVK+GkJ1atikBi9LodAU9k6OpnANtAy6fxCrLYOqGrruw7Tb0Ivb1DtbON0j2M1tupYN0wrIbQYtf+M/W1otjc0bUV0Lyy0dzSaWuOc7BmgtOlYL3XKjx49C+Qn11Ut4Rr9Itz6NTU9ic2m02vLL4lGRUInGy/ZLIqwST7QoY7XE8xjE8vRiiS3A2UO3Mg0SUw1NYmvu0BZoHy41QROIn6O1o2j1uj9It1HHLC0q6rXNKT/cHXR3HMvs0GlUFE271dlFs42guwwVdzC7ObTCOmZ8AqflpJt/jGkY2MODGJ286ocQOkC7uYPHatDSIqrfqzt70UqztFtVXKMv0tq4jR6YRIsfp7P2NWwOL3YG0JwWta0nePsHcbnitJpFBfmSfmG1oeMODapJlVF34PQLVdtLM7uNwx+lOX+LSsBO3B0jMjyC4XSghfegeUxoj6FZq0y/8zusrDm5dukudx6ss7BtsVMT3jf0BmEkrjMadTEY8ZGzw0quRtzpw+Vu4/REWVjfwW7aSIS9+B0uNnJVDo+5MWsG93bb6gtfYr6Xb9eUCvC5v4vZf2spBzWTX/lEkOf36iwWdN58zkm2bPFjv12mG3ZxvNck03Gga3a8NheeQJALV6b5Zz92lp/9mR/lG3/1HSr1lop4yzRRnNXiXO2JxagbLXKZCk6Xjj8UwOpobKzOcVw2BFtb6hBrYpHe3cHvCOJym/REn8aIPryzzKWH24zFbOSbbTVs8dgkYpfiwdw2P/bmcdwejT/+q3usbLdplQoI8+vo4T4FZVtPV6h3dI7uidDsatxdylGtWYS9XX7+h1/iy196lSv37/Pw/hxGG46eOMpH73+oFC1er5P/+dZFfvqnfpibN29h67Zx+2IsLi1y4tgBbt2+ozZG7bbJuVOnFHhpK7vNiy+/xlvf/Bt1IJAvZFHd3H/0QG13PvXJz3Dzxk0WFhf48Z/+cSr5Ch999BHxZILz50/zb3/969ya3cSydRnsSeC0DCrNFsVKi2MHhmi0qlSKplJnzSxtkOpPsJmpkwzaFDxLOmufOtfD507qtNKbChYihxY8YWJRB+trdbYKVb57t6EgV8N+D1vNFn92p8lOy8tgr5NzARcun8Wlxxuc3n+I6Y0NPC5TDS/aHVhZbXBgJEwi4eD4vjHe+ORRHj1eJJ2pMTKQ4M6tR6qXdWD/EfVwmn7ymPMvP49pWnzjb97m48dFJkfiKnppNovULQ/3pnPsTcHv/Po/xui0uH7zHjNzq4piLPAeiS2Kukm4BrVyUx3kxS8u3fcHd+/zS7/wo/ziv/kTPniww9FhL/dnSzw/1UvXUebrF9p8/asGn3i1n5mNEvuibZrOET77i7Ncrtn5J2cDpHdb3Jsv8LnnR7l1d5VXzyb4V9/8iOb8t3Ftl6j5hFabU+8/HudTRWozgymbfocDm022KTvi9FOboa5QaV1JrIZE5TtoWhGjuolNYDZC3XcHFVeFwpzk5CA2ie70qfpUs7iFTQwokpbSKlCcw+Y/rB76oujDG8Gue+kUnqgES8fuAa2OPXQce+EhZqcBwb1SYsIQsKBPLC5+zK0P8Uonzd+PJbH5wpKKB1oCOWyauOKTGFYdu7BXQv3YHXFaWXFJ60qHarW2aBV2cIhKpy0P3hQNQ4CkXrreAHpuEf/JTzOeeg1fSCPR62NmLsuLB3po2nTuLpdUDWdoJMnGqhzYO3i1Dg7Ny6r0E/ucZCt2/uCfHuPA556j8WiV3MoafpeJtu8FrPwctVuPCb3yCp18Fl3UZl0TXb5Hk2PUZ25gkxTG0ASORkV13ox0AWN9Hku38B49g1YrYxS3MOoatmQCEv1Iq7Ly+AbuSA+d9QWce/qobRZJvPbDVGduY25s4H7uJZqX36ItD+9QTDmVTbcLa2cTXyTOxsNbxI+cAs2NCxdGI03DpmGvaIT9XZbm14kMOuh5/assvvshe3/mHXxxBz90vJ9Gy82TzXUGk0naWpN6rkG6XMdp1/mhn/8Z/uaPvkZrqcjYRIqlrS0CDq8ari6vFYk5HLStDsd+9NNkN3bY3djg7PPPKgvA/XsPVMRVto7lWk3pOB12j3K2J3sSzCwsKChcLp9XlPxcMcv83CJnz51m9sk0wUBUpTqE+u4XroA/qHzsQ4OD3H80q7YrHmeQ+ZUZxkf2YN+QLnuOaksjtSeO1jGZub/J5JkRtGRMJQIMwyQaFEWwm/TWNo1KXR1wRElYKhfYMzam/r6y5ZaOipD9946PsbS8rAjjEq/ePzZOJpch2durQKyy4Ywl4+QFjre4oja4x08dVd8VmrgyWm06Amis1jhx5oSqcEkcWz77o2MjLMwv0jE7JHt6FQNGSN7VUoNTxw+rQ73EVoUZ0Gq31GVSqOIHDx9iYWZBmU06Rotqqao2n7ndnEoB2B2aitFL/Fec8KLh8gdC7Gxvq6j3kRNH6LYNVS0TqY103cXjvbayoS79iXiEXLZIJBpleXFeJcZkgCx/B6mTCZitvy9FoZxXz67zr7zId9/+DolYgmKpgtf11I7QaltMHtjLtSvXVLRf9HOz0zP4wn4m9u5XMez9U/tVjSCfz6iYsjwHdZedREygaWkFcRP1oCQLJqb2sbWRUReIoZE95DMZZUYoFqsUClmVIDl0/LBiGcig5bmXnqXVaqpqxKMHD1U3Wmolx44fUX19gdBJQrNRb/HsM2dVLUV86Pv27qVcrvHowT2V9gjFAth1B7F4XCVDpLe9md7hU2+c58HjJyq5IBd+2WxLTUH+vqL5+/jyVZ5/4ZxKwzSabdW37xvsxevyKnNQTyJIs9VSGkSPz8Wzzz3L0sKaYic061UM4+lQvV6t4/La1et0uW0cnJwiU8ozK1rbw1PcvfdIRdiH+pLkSwXmZxY4cmQ/breH2fkVBUo0uoaqYEj6VQYA8WhUfXbcHh+G2WF9ZZOzz55mfW2DTC6nuBwCeF5bW1KpGwF/yjBOfualUkOdAWSIE08mVWLFrkOsJ6GGRFsbG8oUIGBHAd5OP3pCLBQhEg8qs9Gj+485cfKwqpjIEPDAgf0q4i5U/qBPGAjb+H0hcrld9TOVz+fy8gpHD0+pM9zu9g7pzYyqatjsNjWMkMGAXIClHrCyukhEqOfy/WR2FCNBQHCiBJUP/Olzx8hk5PMdxOh0WdveZjTWw4Wvv8PkkT3KxiDKwUgwxKGpvXx85RZTL57E0xvFrdtVcvKll55RQ6VwJMzGygY76R0+9/k32Mnt0G4bFORnk4gzmBrg8uXrbGe2+MJnP0l6e5fMTla544VHIL36erOpBlJSleiVPrjDIuAPUG/U1OWpUa4QEoCey8H87KxiIty8dZef+Sf/iEfT0zx+NMPg4DC722l1zo0n+8jtPoVAS/rq0aPHHD16iLWtHQ7t34/N5WBtZY1YMEKhUmR9Y4OXX3peDai20js0zRbPnhWw4oriJVRLJWXw8EgVanGeeCyhqgBiiJCkpQw8lNVKcbESRBMRPrzwMadPnuajix+y//BBqqWy+rnKkOOUADNbLcWqkvdPvjPj8QRrayuEXAKsszEwMsjS0iKu3TaP784yPJSk3igxPpZi+nGaT79xmP/25w+Y6Hdw5fafUJt9BK4ewVpitsQY51dmNt3ppV3NY5ezjHMQ09OLW4a8Ro1us4PdLzB4SynfzWYGh92rwMjCqNE9PjpdF93tBRxyT7IlMEVL35IalKbi7/LdIuklrbaJKdt/PYTdLCuWDB4/ljDmzG0su4+uI4VR3cBhyd3UR7spGvkoLk8PbWOHTnETj5mh40xg73kerbWkFjTSwze3nkB8CDthurVlVcm02fxYWhDdYcNol3BWVmnYnHjdYVqWHZtokT29mPk7dD09uCKHaa2/pS7+HgEGdpo4J38aKjOUVt7FFUhg6z2LVV/D0gK4vFPQWKLTWkF3pmhLXbO0obg5hj361Mak2ZXqXqpTliwFdY+6B+vtMrqkNnUHze1raAKElp9q/uqvWma7qcBzGCaW3YOu1aHro7l7HafbAb6zkLuKETsBpUUJrapNu6G51ITBLiqGegu7Xsfsyhsll2MnHctUIEHLHlc9NYnDCdjPJqCqxEm01g6mTDIsO117GK02g+kL4Iw9C7VNaKxjlDaxRYdxOFN06xksh01FHyy/E7+oqzpZrHodM3oQR/4WlhzoAnEs3YsjmMSSro3UDKRb38phC++la3nRjC2sdoVuu4JNPjHeQXS9gNmwq8OszVGGShY9+SLtyjxkL+KIvkh98wau6FFs/UNK59Aq51UXyzAcKi5Sr+Twevrw9A1QX7yFw6crFY3DGyEkTnBtFT3gxz88BqGnMB+oU/nor2hY/dybWeO//Jc/4N4C5Aw37W6TlBOSERuOkI7f7HL2+RG2FstslOokIl5F0LU8HhwdFExHd3ZUl/vYcJjJJFxfrvO9RxUO9fuxfHZmdgzSu210m8kPv9DHtRs7TAx0ibvtvHbEw2Ssw+Begc8ZdBtZHN44U79WIBWL4KhXVITGG3ZyfLyHd26sUslV+Paf/+/Uyibf+Nu3Ffl434FDdKoFnoh2JRqjXiqyd3KSmzeukcuV1VZEaLoSSxf36NVLVzhx5jTlfJlWq8HY+D7lLpXJcLdZZygV4bf+n7/mw5s5Dk2G0EwLu89BTyjE9RtzrBVb/Pf/9A+IekV4Y/CX377C4+U62wKz8UbYyFcJezTiPWF8LofqPNkDDjZX8zxYrBIL2xjp9fHDb57l6NQQA7E4X//W3+J2xXG47SqauLi8gCH+2UqH9MYip8+cVgAmOUDKlqBULPPqG6+qA5YczIQdIA9lic/KA0iIrM1qg3379qgHs/TN+voG2DPczzffepdoyMNrrz3H7MI6f/ytqyytVjk4JsR2nUBQo1AxaVbaTE71kMnWSe82sbvsDCWc7Aqtt9JmKNGPpjfJl0qUSl36QxYvH0vwlWc0vE5493qZbqNDb8RHgTqfPTtEejZLXXy3/S4odshXMnx/zc2fX0zyYGeV0VSCl4/INrTF/BMB1aTIVbvMzG0wNRwh22hxZ7YKdgdf+fwhXji2lz6pfdQLXLk5z9TeMZY21hlKxQhGenn08D7R3n5+70/fY2pyH7mM0GYdDAzFeHB3U/W6/v1v/gjpuSVcvqBSLAqR+YOLV5l9OMPrb7zM5Y+vKh92z0AKs9VQB/Wx4RE6QpQWk0F6g//4pzcVxVy65B6/h0jA4nvzBt/5qSD7QhbZRodcxuLghB9PT5xzv7isYIpvHOsjXy2qCOBkr4Pf/qNZZpe/gUP0i/dvEklO0Gos4HYP0aKC1q7T1Rx4fH00czPY5bLuCkGrgGW2Mc2WSvS0LRdabVt1bnG66LbkIegCRxyHTGXtG1jtpOqnaQLb0/PY3OO0ig+xKeiNUGAD+OLPY9TE85rB1CJ0Iyn0umyxLAWO7NRWwJOgU3zK0+jaDPT4EbqFNFajhLNnn4rgKzaJ1IzcvVBfxWhVwT+Gbkgs2ofWytBRNmwNrVVHDyWhk0Vr63RleNFaR/O60fIraM4B3IEwtWaTVnWF2MQZbn3wLT7xE9/kV/7hBG+9v0it42LPkJ8n09sE4x6OnD/Lvfeu4um26R1IKd9xo1gnFLNR6XjpFjp8+OdfVQTtzm6dkK3K4vQ2Ay+8hDsYpF7Zwba+Q3X5Ae7jz2LvaNQzaaz8Oq7UONJE9mga2fl5el76NJZXp3T3Ou7JcTqPH+GaOoatZYP0HK19R3CUt8jfvkZ0cj+dWoNOs46vf4h2045l5mjPzaoYdPyNH6H4x/8v+p4e4qdeoin3rY4AACAASURBVLG6Sq1rYQ8FoGUQ7O/HqDfQ8ztkymVSh8YpPMri3jeGs76joLHuUT9z33yXA7+8wJ6UnYl+J5lyDZezh3wuh8vvJBUNsJQW/VmHfaf34x5PoW0XWLs+h8NtKa2awO/KhRLZQhXBy+peB6Ovn6SeLalOu3RUvb4QZqtDV9dURFm2pwcPT2C0ujyZnVf60p7ePrUpbTaqlCp1ZT/x+Dz4fT5FqpcLU6NeJSke+FqLdDqNNxBSACthAAgJXXzrJ146QXZ6lTvf+ZiRyT3Uax18CSfFdFld8Kc+dRYj5Gb60g21/ejqBsN7h5RmLLtbYHF1hU+8+hI2h5sPP3iPo4cPsZneVhC3weFh5mafqF7zqWOnuPDRRZ57/hk+vvgxid5e9T0rWitxdQuUrV6pkd7JKUaNaOeGBvuJxCMcmpri3fc+UEpWuUTZ7JbSaIkuS1gHEps+NLWfO3fvq06tsHX6Bvu5fe0Gh48dUzWnfXvHVH9eTAVf+cqX+f7331NVhfT6BoePH8SuaYpBIJdU0f912iYHjxxQQ+sr12/Q15tkY3uNL/3gF7l8+TKbq9uYhkUwJpvynILCrcmwyemkWqmpwYVsBKOREBvpLY4fl4FqXT1XHE43Xpeb/oEkly5eZ3ioj6E9Izx68IBDhw6yvbWjtsrTjx/TmwgSCSdV93l2Zo43Xj/P3Nwi27sZ9fORCuLDB/c4e/aMIuRnM3kSyTiV/zWQER6DDO1FFSkUciGpy1BQtHf1eo39kxMEI2GWFheVdnbvxF5S8ZiCnSX6UuSzOTXsSyR68PlEPYuyBMj2VLb3oiOTVIFm09hZ28Gy2xVoNRQKK45PsyV2n00FnpOEy9bqJpMHDyhDQseQf5Znz9iwes3S4ZWKqUui9j1x1tObynX/8YWPVb3xzTc/z4NH8yyvLLG2vs6RQ4fIZjIqUWd3QLNpKA7Anr1DSncpzvjenh7WNzZV9H7ywJQCaZ44dUJd4N/+3nukelNqy21pBqvL62xu7vLKKy8oloYAAAdHh6jWyoqX0pcaUNYFw2hTFRq+zatYV5/57Gf4m298k6PHD6nP3pO5RSLhOE+ePObA5LiK62eyOxhyUeq0aTTajI+N0Gq1FItD6PGy0S1W8pw+dZb7Dx7i93jRNZ1Gq4YvEFBDkd2dbfV7Jp+dZH+CJ0/mla2n0a7TqDRV91/+8/zCnNJPynsk8fhoLKy21KdPnuTWnVscmNjPxvYOud2sip7L86LerqN3LQYGBsjlsizMrylQ4PbOpqoASqpP2BBuu5dqs6KSoH6nD7vXqSCIhdk1+Lsz3Z7DgxTyVSzLUnTzrr1Lw7KYePYUt29eY2zPOG6vm4WlJVX5OHh4PzOPn3Du2dOU8hUy+SyFQhW/x4lus+P2e0ivrPHq66+SXl/j+s0H6r3pdg31OyrWD4GA9/TGVG1IFLvxeORpfcfpVhrU3a1dxa7oS/Uq3oOkX0I+nzJeiTnj3HOnKSrOVZPxPcPEeuK8/+4FwiH5TvWrlNLJM8e4fPESHr9fDVMKmSpj+4aV6UXOm/K9+srLL/C9v30Pt8+m4vvlUk2la6YOjJPe2uHx9Kz6Djp66DA72W1mH8/w2c99nsyuAE0LtJtNVUUoVUqqhvPiCy/y/bc/4MixgzQaTTUgn5tZ4uiJKZwONw+mpzlz8qRKOb317bfVe5dMxpidXyTg8+ML+KlsZynNi/XAw+BYgtnr01iuEMeP93Ph4xnyBZP8xh+rxHjh6jfRI8PYfHuULlnOH/boOJrbqwZM3VYO3e5H94iCO6jq05ZspgszCnBnF6W5qo4FobpFyxCDlV8p4c3ODlarjSM+ipWdp9toYtormFoMZ6BfVdbpVLDqq+jtIh3fqLDx0RpFOt4+BeCVxLnl30938ybdYAScI+iFy3SFidRo4EycxIocgqIsqoMYtSJSwG3YLWx14X6BFgyAGVD1SiO/jIOmqlW0mzUcNhNbZD+mMP7Lc9iCQ9isMFZ7g26jjC08QLdWxuGOqSpkO3sFZ/yQ2u7Le6cHe9XQ2pDLu6ah2Z3q7yXHR0dkFEPMdnqdtoCzRNgpTDzh5DnBlD+XCviG6QrYSFSgYlLwBdBMXaUHuo1NtMKVX7NspoSbbej+OKbEWEXCnJnDsHZw9Jyj2zbRWrI5CeEIT9Ax7TjaC3S9Q1i5OYzQPpwuD53iAnZ3ALvHRTPfwHI5sTc30dyispKOaxOjIlHUKnp0BL26g2mP0S3dV/+e7uqnbQtilx13eYWORFbdMSxROwRGlJJPLloOidlrDrpVOWAbaGYOq+nEHo7SsXQc3tTTjokc7hyi2XOid2p4fP2UBQLRLqLH9ysbQdcoY9N9OHz9NAoP1IO7Gz+AvWVhbN5F80oM/zzN9NsK/KX3TGKaBbTNOdzjb6LVshjVJ3SbLixvlyY+HFYBUwvTbi7R7MQZe+bLGPY6dq9IAPPqFyGzssHFty7z3//yJh9OZwkI2FEAHW041uciEZWvUScjvRH2xpxcWc0r4ubtu7s4tS7PHh7hvdsrHBzxUco11ZYh6tfw2exUNa/aBN1eM2hqbWqFBrmmxVh/nOZumfEhB5874KTfXuPEYS+xuI5NhjiWm3ymRNPm5oPL23gCBp97doqHpS5n/8UynznuYDTiYXq9xm6pTL7soPp378ev/4uXObZ3jG+/d4Xnnz1GpVrHQGNhZk5BqDY2dujtiSvg1ObGjnqQRsJhNRG+dUsI3RapxCDDoxL7e8z21iY7mSyvf/IVBTcplwo8d/osNk+Xf/6v/xK3qMP8LYLBYeaX0/i9OumtOr/7W1+lXtdZerLKnmMJsitC/bQxO7/FH3w0y5m9MQ6PRhVgaG4lq+L4Dq2rvvzy9Rqrm1WaLUtRgP/rv/shwjEv0WCUb37rLSYnjmJpbR4+ecRrr55ncXaNle059g7KEMfBxmZa1RZW19fV1rpRb6ppXDweVlsrobFKA15YCLFYVMXAHj58xNTUQW5fv4HudPHJV89RqWv82m/9GRY6x6aSRFIB0mubBD1BNIede/ObLK8K1V0gLrJNlia3k0DQxvhAlIMTcd56+xEDwxGabQ/LWxsU6n4O9nX5mec7fPJMiunZbYaEwu6GdMbLTn6bkDx83R228m2GfT4GkibJqQRfe1/nn//ePFNDMUpeOyGnn7iYJxw2um4Lvak93RrsH1YXkQ9vbOCxixkiRbg3xWdemSAR7eHBk2nGhka58tE05185xG9//Xtcub3DSCpEt1bj+Lkprl+fplI3+PVf+kHiYT/vX7zCQN8AqyubSjkTjweIRyKsp9M8erLA+Refo1CpMjYywP/3R39J2Bvi0599kUfzs5w5eoiHC5v8x9//Hq+eSHJjpkDM48IWDCi6+299oUmlYhAaGyPzeIsjn9rDn//FIv/6opNBV5Wzp1J4NJ21hR3u7TT5uR85wz/+9/+G3YsX0GJD2Op12kaOgDA+vFHM3C1MM4TL7cdsbKBHjtJtbePUfbQtgdMUcIQTkJmn7RlQG2mb1aFtOXBpOlb+IdbgeWjsYittooVGqDfm0W1RdO2pPcBhj2H64lh2sZjMYHldaFoYs2tDq20hFhwI0xa9THQQXaj+VgUKa3Q8+7BbO1i1DXRXHzaXgAtNbJ6Qor1r5U3EFWWPjtGuS7Rf1DNj2JwBtNqyirxaHoGnhnDpDeqW6DUztBsdmoVVPCOv45Z/XssKhhfvqdf5wulP8f7tHJ8556fjC2GVNKqtioJR9R5IYdvTR/32BsXtPF29gW53s6cnjDfk5e2rq3z5UIBf+kQ/DdPENTiFIdF7s0n8yJRSANZNJ/5IDHskSFuIuOknKuHl0v14EkEaDdFfFdSAw3J7oVzE4bCw7H7a09dxnztPuyCQVCdWbQt2dnFPHadWlx68G6NiYT94HHPxHs3lW3gnjtLeLWF6wCeHkr4xWrVt2N7C7nJBKQf+XpqlHQL7JimnF4m6ByibW1hrBTkWE3vuFPr+MX7zF/+MX/7jGVxhDz//yVFWtk1uPppnZCBIQA6c83kCUbciP8sWObx/mO1GnhMTB/joa9/FMprEe/rZ3k0TjQRpdrqUt/IEUxG8B2WIA5n0phrUDw70Kwqw/Nylp+3yuglF/GqjdvnKdVLxHvpHB6hJVQKN5cVV5TofHhzi6uXrDO8ZptmuK5d4/1CK29fvMTAoqTen6ve2rSYTe/eRrRSpliuUn6RpSA/cMPH4QzisDtmNgoJYHv/CK3z/wkXOHDnIvqlJtW2VzZqYTbw+iQq7WV9eVeAviR/L5cbu0tXf2e/2U85XSA4nVaz8aTy3qCLM0mGXAazD7WBnM0MsEeHUqZPcuyeE9CH1miq1EkF/gI3NLU6dPsL65g7zjxc4cFASXh6lCTswOcHymhzIC0pbt5NOM3loP7Mz89IawKY5aZkdFdkWoJ2AhSWhMDE5SUOgSzYbDx9OE4/3UCxllT1IPOoFYW/oXew2l9qIP//Ci+xsp9X/r0T4BaxVrpWIx4RA3iLZ30M+n+Po0eNqE7m4OM+e0T1EIzGlurp39y7xaFipBfOFkuIWSE8/1ZdioLeX3VxGPWMfz8yri610hd+/eFFZaYQdUJcBV8vi7LMn2Nra4uaN+5w7d1JtnCXy/Mxzz6mutsTBRUX37vffY9/EHnriSUXwl0vMyvIakWhYWW8kGRAO+9Wz9Onlp8WXvvgFLl25rCLMi8trimQ/Mio8hqyK54umUaBzAn5L9PSwkU6r91O4P1ITGBoeUgo2OQfVq0UyhaLiUEj3XowP2YyAYP0KxiZ1EFENy2dcTBazs4sEQx5aLYMjRw4qyKAoLAOBkGIk3H/4iH3jI2pgIJ3pWCKkfs6x8NNBw24+pzbV8hZ7HE4y+QLPPXuO27fvKRWlX1KVXr86j6Y30+p/Jzq4Z86d5dKVqxycmmJnO0Oqv0fBC8VwJdrMVq1KTQw+HjdLc4vqNQphXxIwTpuPciWrkhcbq9uM7htSQGW7w4nZ7lBv1Th8+CjvvPOuMh6k+noUuFO4FPsPTPJkdpahZD/b29vqXCBU/acDFQ/VSlk9N0aGRrh7+xZHjwuQTMBvXVW3uPdwmv6+PlUDcbls6ns0KCYXsVIU8qpfLp+zjfS2UhSKxk966mfOnmNxbpFEKk67YXDv3l36+vvVBjydXmczvamAgmKckM+dWBVERyjPcQECYhpquLL3f4EPK+0WsWCQ4sMVepMh2l2LdrNDKBYmu5lVcL5Qf5yEgH+F15Ep8eaXf4D33n1XWVL8Hr/iXOSLOW5eu8fo3n7FF6jXDAU73n9gTFlHXn75Zb797W+r389TZ8+oAZKqtmh28tkd3vjUJ3n06KFSCopRYn5xgd54Qi0XHC4XA329Kl0iv+ei1ZRqgEARpXcvCSMBg+4dGyOXyyvg3t2/swP8o5/8cb7xF39NIhljcmI/V69eVXUdqdrIRV0u5GI06In38eTJtAJiymB0YGiQ7333bV568Xl1Lt47NsT8/IqCu8YjUbZ2dtWCqlQpk8vuMiznLGEIxOIqySC/n2JokeWT8KfkfC3qVunOn3/tPN/4q79m6uAhVbldX1klFIqq1zE2McTG6jp7hkcwNdgs7DCcTLL2zgPcwkEZDGGJncZnY2uhRH+/j/fuZ3n3j77K6b/34xS/+9c4oyEsVw+aLlBwJ2Y1jWX34nDFaecf4RSDXCCGYflVqtBmD6qlrNPno9N+qjs2DEl3Cum/jlktYhuYwjR9qpLSNVrKCGc4dZyNsnpNSJLK58TeFZaJFBZ9GDYThyV6Vzn12LE7OhjZVWwJqRqLlSCN1slh88XQnYNYRoe6WcHZFeqVhkM6/O5etEAKTUA2NrnLNsDYBG8frnabjkPuol3QRXkfUzpngZ/ati5gCGB+4Dx6dV7VWnQ5VxkZ7L4ozcza05q95lCpB+xiwovQKS5jd8mQtKrOYmY7Tbu8hU8S8aZbvRYxAjgEfJnfwOVL0RWYeWMTS2x7Zh1bIImgDjRJzIf6lB2kKwkct47NNNFKl3/ZMtriE3bicHuwggmMwio2oQ0OvqxiXJqAEXr3o9V2MC0H9naermahJQ5jbkxj1+p0e6ewuWQy08Esz6iYeyMr2w4fLj2q4BmGxBMMUV9VQcAKNPH0PwuZO7QdA0p9ZWttYpp25aC2iyIwdAB7YRXD41faOrM6S9eRxBVI0qrlITaBlrmNWZnG1fMqpkA3Whls3n7azQK62QZ3hE5hGmdwHNMVw26I8k/HUV5GG35RwfvkkKtZ4pqU70RxSbbQAgGMeodOtY4/4aWyu4nDF1VeR3f5CU3/KGZtF6cvoMwHmkeo3RGcehNCfrANgjOLWcxx5723+ejyHT66WeLyrR1yUlgF3A6dkwcDGDVwGQ0OH5hAc9XJFBp061U6XS/9fV6u3F9lJBlnNO7k25dynD8XI+wwWSp2yOSe9r5yFTu7pTq5kkm522AwFSFYb/CTr/UQ7+Y4MekjMRjCKJQUEEo8s9dvZvC5nXhl42M32ax26E/6sXcsysUm/aN2Pv0f62pAJCqxo0fHaJaKCnKYGBnlzGSSz37qRf6v//R7xGL9fObTL/CX33gLp8R6Wh2+8ve/zMcXLtAxNdVRlzhdrdZSMByJUAmIZUjoujvbzMzMKkquUGQH+mJs7wh8y0LXLDZWdjn/6j5+92sfc/fBLscPpsgVSmpC63GH2MqscezwHn7qRz7FzOM0u6UsL5+cUETkxcU13r40y59+ZxqXw8bEYJjR/gCFeo0Hj3KcPjpMw2gyOBima9pZmsty6d4WX/2Bg4z3yoP7IPVOBdOwEXWbBGP9rK7uqj83FHdz+thJPvz4Y9XXEZpQNNzDyOgwW+lNlpZWlS9YCMqbW2nGxsaYfvCI9Y0tDh+cIhwK8mRujldefYb0eppf+s3/qf4ee8fG2d3KUi5tK8DSdq5OtaSxVcjz4vPjxEMdvvDiMSLhXv7b19/jm++v4vZr9Pd4KOVqnD4+rCoq2dUiVacdu2Ew7Lbx8hGTN070c3V6Ha1j0Z8K0xHwnNOinhdmQ5DrM5usZA2OhExeOL+Hm4+zPCyYfO2dJte2oC/u5lCfk1IHQp0GkaSfbNFGyAnxhIsrd9coNWwcmAjzqXPHuHH7Mf/wx76kaMOPb37Iy6+/zP/xG+/gdRs06m0ioSBDgyHm01UODHs5e2QIhx4mEPErz7lMsyU21983oLYPDt1Op9uhJxrn3vQDjh85jmY3mZtdxm6zqXTFnpEkn3jlFX7gx36Rgd4eNEk42GrcWS5zb7nD5u+MUmp2uHC7yP4hP7qtQm/Myxd+t0w45idOi+FwhEAyztbWKn/7cZmlzfex5a6SybRx+hLY6tu0Sps4gxPIUdFlq6I7QlhmWfXzu0IS98XQmmUVH3VHJzHSH9IJ9eJwjIO9iW5rYVQ2MCtZ3OHDiiCPXMjNFXQziNHeQg+PYxoONKsBu9eUoqYbP4zm8GCWtrD7Y3RFL9OqY7fCdN1O9MoypiOOJzpAK7+G5tCVFUBMBGJTMToCM9ylY4Hh6cXeEc2SkM/92GlgdEzs4WH1XdytzuKIT2GUC9BJq7RUV0AzdHC4U9Qy9/GnjqtLaCN9keS5n6VuPGDv6L/k9VdGFcDp5oNdnpuKUxQdTVtAcCnWM3l8fj/FxyukfH56x2Jk8kVapTZNnOhGll/64ile/2efof7RderNAbrOIu1yjYBuo7q7gdtrw9EvpF4Ns9ZCc9kU/VaiksLTsFoF7L0DTwGKxRq5zU3svW58oREa6SVcoyOqa2qLhjDXV3Cfew2bHCzXp3HYPDiDQZq5LEZul9jZ56kWWhi5WTxTp7AaLdqP71CqFek/cYrq7Cq+Y4epPrqOlu0QOnKAysqGOrT2nE7gHT9BeeYxr/zDv2W2ACef30fKaHFjcZ1UMsrJs6PsLOfY3SrgtDw8mNtk/BMThONhFpbWmTo0weLKOsaDXfr7gqys7zA0LhC5PGL/TvXE2SoUiZ7ax9r8Fi67zviBceZn5tWBSnS9R48cZnpmjsWFOTUYGBwZoVavUcrlOXLkONV6Wf2uyUVOovDilRcvtihINaOLTy7h1f+fpfeOsyu96zSfc87NOdetnHOppFJoSd0tde52xAmMbdYweBdmmWHZZRb2wzKzwGBYzI53MEsGM2B7YLCNs922Wx3VLXW3QkmqUqlyTjfnfO85d3lfjf+xP7ZbqrrxfX+/7/d5ioTCPuksF4q640RCQmyD0QjZRBIO8jxybpaFlRUO9lNEuwIEMPPgOMPFTzwpoVdPXrzI0toKhwfHnDt9hmQqKYemA6MD8qJYLBSldrPVbHHx0kWuv32ddDyHxWGmp7tLfraarQ7RQpDsBwFwm5udld9rJgtyYPjGy1cZnxzFpJnkQEGQ+h0OJ1ubO1JFFumIyIuZoG3Pnphia2uP3b095s6clJ/RIpIvOtriLxCVm7GhQRxOof6LyW67qDEJAr0YXBzHDogdxuTGVVDMvYL23tuLy+XkykuvcOmxC5RqJRLHaUw2lXazja6I+tsuHeEuIp1B1pfX+dBHP8R/++rXGOzrxiK2i8cJCfxzOd08WL5H/8CwjOqbVBtOp10qXsXv2hEOsbW9xdzpM5IDsL6+Jm0Fm5sH0o4hhixPXLosCeLFUomnn36c27fmSaazEhwoHseB4X4JJRauc5GgEIdXkVoVSkCxTXfbXTj+hXUjKhjDI4OoqkkOX7p7OmkKOPDuodxAiw36/u62HOivrK3jsrux2gRc0ElbMTjcjzE2OUy5WJPvjfMXzrGweJ9yMcfQyASxowMJxrPZLDICvbN3JCsMwj0vNvViA5pKZ+UQQtDu37k5T39vj0waii3oxPQEd27fkZf//oFeouEQu0cH1KstqXc7d+GMpHTnSiWSibg849odVtptFZNZ8GeWGRsflUMKAVNsNkrYnR4Z9X73nXcYHR9DU00s3FuQv7uoWogNtqx9pAQks8iouOw3mnT3RDjYj1FvNqjXRGzfLOsIYhMbiYSwO+ySOn9/+QHVQplgyC+HdMPD/bKmI+LckUinHDKVSgWZThFDHnFJtdicJJJJ+edMjo/yystvSHD31OQkaanBbMnnWjAr4rE0B4f7dHZ0ybpArlQmFovjsjvxuJ2sbKxy+bHHufbmNc6cE/UlWFxcYHJ88iEN3WGV39WCX/DSj97kJz7ygoT3iXSL4DgIZZ7oxlfE5tRqle+jwUEBeDyiUdHxhnzs7+1y8bFH5XMOJpbu35OKyHK+gC8cpJ4v4e2McLC1hRavYDcpMlmgKSZ6R7plRURoGmvWNv6hQfn6393YxmSxMDw6iFmz8MqVV3jkkdPE42lKpZxkzHjcIXp7O2UCRGiYjw6OCXdG5PIwnUpLzocAm4uL3kd+4oP82Z//OT29wnhRYHJqRg7fRP1CPHciAdCsNSTvpKO3h+31Nfq6+2RtQAyvuro6pHFJmBtcHi8mk0IhkydTzEhtqkguhoKi8milXKlSrlWIhsPyYi/qVG9dvc7jlx/WGTSLQkBsmFUz0a5u8umk1C729gvSPNhtdmKHB8ycnJGMhuNEWj7XgpdQKBYlW2d6ZlomfcRQZ2hsgru37koOAW0kJ8LtcbGw8ICOSFgancRSKhJ9yKoSMXIBjxSLOjFEcLhcUmn64Mo8WqqJLajRERKD9hpWzUT/YISvX9njA31NvrwyT+36NyW0UHG6EKA2UQNvo6Nao+il+5g0P6qoQ2d2MTQVu39QwjgbVcEYERdpDUUoIgsHqMkNFKeC0vkCqslDO7MkzWsCfm0LztE2mWki7pomKoVdGql7WEIjtEsJVM8YqieMtRBHD02j1/ZRTWHaxT15pzE8vZiqaVrZJGqwB8PwoKgpGqkVTFoYpXcSc6NBbf3vMWyDOMZ+mqYw2BUTOP2zNKsJWtkNlNAQVs1FrZKXSU/NKKA7/VDcQx34GUyNAxrxG6j2CVkdtLWq1EWqXQFTo0mxVsLs7kbz9tFI3MJmqLR9g7TFn1OtYGpk0QInMPQqzcwDzNET1Da+gb3nY7S1Foj0Z3YLpZrG3HNBJkJVkZSwCNBukbbWIZfleuEYXF3yM1Apvvu5dkts021BtPIGivg/uSKoeppqRUWtraJYI9AyY4n00BSO4/gyilD/BYRzPkNl5UU5+TZ8kzh8XvREAi3cLdVVNSH+Sm3KmKBVbF6sglJbQC0lUDpnHxIXqwLyl6DVEF+OUQx3l1T8qaIvVl6npTjQfdOYxYSopaC7O6GWgMIqqmcaXdElOVR4udtaXRKyFXsPusWHSU/QtnViJFekF9HccVrCraAh0wum8En0Rha9uY/ivwzZOG19F11zYbZ70YTZwNiWznmh9NNahzTSKaqVBBavB9/s8/KBVT0mdKxojTRbN7/P1s13uber8sqbC1y9W6RsCG5AjQ+eMLObb0rN1WeemQKlwdJagpRSBd1DIvOQaTAz5mFpTUFv1XjijIdGSyd+WKZ7UGU7LTrfWcLDQeZvZKmrJgJ2g15znedPwJMTYelddVvqPH3ZTy6rYbZZJZxraS1Ju6FxVNcZGopgEUMsr4D3auxtpjh9JoiiW9jZSjF4bgQO97j42QyXToVwC+iVy0siUebWaprNt/6Qu/PXOU41CXeIL/tV4kcxJiZP0WgW2Fzb5dKTj7K+tobebskPZXGpf/TRC/KQVymXZYTx4z/1Ub7zve8T9gZ54X3P89Wv/jOdvVFq9SYnJsYoVwvED5O894OX+G9fv87/+1c/Ymw4RF/ELamiq1t5/CEvb97a5z2PDvB//R8v8Ndf+iFPPXKZrYNV3CY3j1yY4PN//iI3NnYZ7ArQblsk5TceO5bTUJvZTFH4f8NuOgIhFg5ilItlOkIhQnaDNjU+/TNPM9wzwf/9hS/KGsH0zDBWu53kUZzJE1MyUnp0cES+1KBabTpnqQAAIABJREFUznHi1Am6Ovr4+jf+ScJXxIe0INE+duFx9vZ3cXkc1Cu6hBOKw8avfvYb5EttHj3tpMPv4fr8EWPjXaxulGWq4NFTHfz8Jy7yyKnTvHb9Lu++s86zz5yiVq+wsnzMX37rLWqFBh94bpo7D3YxORTCaJTrDTbTdc52uvG6svzs4x6Gh9384NuHWL1Ourss9EeDLGw9pHULSKa/K8jSRp74doUXHgtKMvvq3SRHhpff/HaW3azKyQEro1EL3R1ufnR9X4KF4oUWZsXMxHiUZDzJ1XnhhLdjN1c5M9LB7//mJ9k7LPHp/+1vef6xKBuxGsGok8xRmoNEi//06+/DardwmCixv7PG4OAorXoZs9kuI3cLgjwc7WR8rJ+7d5dkkuLt+Zucm5ujXG7SEQ5g93h4/coP+be/9Iv84m/8MUjmlypBK72jPjJpJ8+FdviVn5lkM12jUCqR2qzzEz/Vx2d+b4090wRPTercvLnEqalp8sUMX/lhjJvXfoOhzmHy+1vyA1xUXMRE2yziYxUFqz9CXRUfskVa9RhqNfvfp64m9PIiWsfztCoFeaEWKR5T5Cy6INsKCJ9hR8+9TMMclV+QqlKiVTVk/cbUhJopIzdEemKFtrcLq2OYaukAi9kjE1LlwiGu8ACG5BEcoGfj2OxeWpodpSFI0jqaJ0gzv4fJG6atiS/hY1rVfRzhOTlkE6eKWrOIKZeSQFSjcYDFFKbpiaLWxJec0Pj0YhR2MdxRzOKLt7iGWfCdsiYMS5Hi7jw9H/oNPvfL/zO/81c3eM95QaAWFQgnHSEniwv7svfqG+5iaG6Skx+6xDf//V9irMfxTYdwWM2ElRalcpMfzucY7vFx/Zv/hvh3vk7NP0Sw10JrL4feNYOnx03h6Aj98AB/9wC5ZgmXsMQIsnwsQzt5QEt4lKN9NGslLJ6IPFiYKnmKh1u4eiZQ/EHqRw/QvIPUc/vYWxr5zB7m3gm0UITW0RKukSfQayWy86/Kz3AzLuxjYzREFaIcx1IzqJWy0oCDt0NuTavFJL5IAMTFqU+4jOt868VDPvUXdwl5bPR0KejFMiM9XSyuHuMOe+WlMJ0r49CETUbDPd7J8LlZlm4tMDQxgj/gJV/Mce9b13EZKi2HOMepdHcHKVSq7K8mGJjtJ2NrMtA3RiWXFbNsgr6AvLAsLS8REUApVWz4mgyNjXDvzj1JYRebXPEvEe0XW71sJi23XZ1dXWTTaSzism2CbCqDzWbFbLbK/q8AtIlDv+j76qpOamOP5MIBWBVqhs6p6WFWV/bxu134+0JovWHKwqYitr+3VxidGEJXWjL+X8qVCHX45Wb5sccfZWtjXZL2T546KXWAYostLkwL8yKa78DpckiK+cI9MRzsZGRi6KFGUFFlYiUU9mOzO9je2pZJAkGvHhkfk9tq0e9fXl6hp7eHUDjI4f6xNB+Ic4wAuL7x+isSpvmTn/goq8trkkYvutqCJXDi5AzVUkV2nU/MTpNMZ3jzrbf54Hs/IGF7ektHb9dkRezaW6KqpFIqlHD73ThsVroE+X9/n1BIPG8F3C6f3Mgn0gn534n45/TMSeZvzssNuNgAHsdiaCj09vfILaXH5+L4MCEHzkL5dxRLyH9ObLMX7izwzAtPSY+32ML6Aj50sXGP9nBzfl7GucUWMBgISHVaIp6UlyAxzKiUK9IeEO2KyEpOUwyJu7vZ29ki2tNDKpbGE/CSSyfxeDzs7R1IjZo4n4jtvABGio+S6clpzHZxaSwRP0jJuP7O7gFn5mZZ31onGAizurIiVWNPPfU4LreH+dvzMklxuL8vKydHh7v09Y0wPjki7QHC7CDNBCYzqXSCM3NneXB/gc5olHtLywQDflnTSqSScvva1A2qxQJOAbUUbnoJyHNK0Fs+k2NiZoZgwMubV99iZnpGVhNS2TRel0f+Z/EzWC0WyQMw2gY+0dHO5SS/xx8U9Zc0qVgcXygkkxxCcStqLsOjQzJGfngYl515k6rK4YBIAvT3DspUxum5E/ICepxIsrGxKSstJrvG9uYGj12+xM13bmKz2+XvtLWxi8vnJhTyUsiVpIZPDJ8MQ5fpADHsFOcOu93C2XNnURW4ffueTAGIAZEAGhoNyKaT8j3q9wVIZkSn3iNrPxMTY+SzJcqC09XSpSkklcwzMSmGPJpkG11/5wYOm4NzZx/h+9//HjPiPZkvIT6BwmI7nymSzsQZHhrAYrJy+848Z06fpm9wkC/+5Vc4f35WpqSEHlHUWTw+t6w2in761uoWJ8+e4qUfvUKkO8rUYD/X/+k12qowQUWkdUEMEAZ7u2RtEq8bd2eYQNBLMZ+XxoGujg75PS5AdqJmIt7HAX+YjY1VYrEUzz71OO++cwNfUDxXNslPGhwalMDNG7fmOTk7Iy/MAhsjYv2GoUgrytnzZ3jttdcpFktMTI5LeOZb12+gtxqcnZsjXynJDnaxWpJw1Xq1JkGX4nN6aWmVi+fPsnD/AX39vfR0RZm/dQebYOSY2nR191Arlh5qmN1u9vdj8j0lDCQiQi6MCvl8USqoU+kM8eM4nd2dspYjUi6ZVE6eq6dPPFQ2ZjMi9ROgWhWGAPG8BFi4vyTTNGOTo+xu7Uv94/T0FPcXF5k7NUsymyUajkgIqc1m4vFLl1l5sMZBbJ+RwSGWH2yg6w26ewWLJMq9rXVGOgKk3tpGV5vYnQr1ukJvp4+VnSOZ4muXm9z74b+imk5Rs07RDk6j7b2M5h+h7YhgGMeYMjF0r4C8eqgdXMPq7qft7aNeOMZuN9NqGRIKKpIDZqMqu/yGUOJpykM1uiKwMBqayYveKtMqbmFSXSiChq+ZsSgmGoaKuZWgVcpgic7STC+gK3Y0ZwRFF71/L21DlXfPps2OZu1Er8ZoF+9jskRRzGIxJLggCayeCKXdRRwCHmxuo1lFPN9CK78kwfWiGtmqqyhtHdUm+Asm6vuvYO6/KOsCwkogUOJKW1QexFBgG8Xdj+EQWk+Vdjkjz1WmSDeNaglN1ApMNVqZW1h8Z+V9SinEMIXGhUhMan0twphX2KOOBcUifFLIu67aKtGoFyRPD62FUhVnoFO0S0mM3A5ah0gzV9HyKZTM9f+n3Syu4QqcoGmyold2BeMZrW1Bcfkwkkuo9hBtscnSRXy+QEXQMU1+WjYzVu+wfHLU7DvoegrFexajkEAT23tHQMIF6+uvYfH50O3dUn/X3Pln2s5BbI4+ytU9rPZB1Jr44iyheM+hWQQNVRw0ArTi89LLrKjC/5hCc0RQYzdpth3SpdhM3sHS/1401UMj9ipaaIZWvQXZedTAKAbuh2mCRgnVO4FauEWzUMHc/yT1RhKLksXIFVH8Q3J70D6+SksMNrxdKOkNSull3D2Xpe7DaOxRqxzh6P8YLl8CHS+l+DGvXnkJp9vKf/nLl7ixnCVbVaiKPp9X5eKgjUq2TdXhYSRcZnK4l629MpV6Do/HT7FWZm27wUCnA7QG7UJDUkyD3WaWD3ISCtNhc5HI6yRLZRbjTVyGi1M9DWx1hWcuWPiJOR9dnSouo0yxZFCs6RTTNeLJCt6wjzfezdDfY2LkTJeMUJrtFroibiqFJma9QcEw8ApSqCacmG2Mitiq63T1hvnR65v8wpdrvG+oxeRIgNeWhIalzfJGhb/5vZ9j8/CQUrFGMOSWH6537z6gWM5x6eKjctMjeqSFYo7+gSEeOXOO1fUVNle2ZPdyamaMt9++hqppzJ48yd7urjy81Zs6DkG+FOfgliHhS4PDI5w6Pcp3fnydt+a3Zdz74DhFJNRBo5HG1xFCaxnkMkk+8eGnePrSKb74Z98k0OnCEwzS0+Vg97jKP//z67RdVqyaRvKwSlOpMznWx+5RhrpuMNllwmRo6GYrmWyb43ye7cMaHT4rz14cJp/PcPpkPx95+iy3729yfJyVz5E8hKXiUpvTaFXp7+onlU3hsHsoV0pyG7K7syM9zvFYArvd4OLFy6yvbtIyKnz+z19iZHwAh1njeDfJ7OkI6VyLq7czFCsF/pdPneHZZ6YoZJqsLR8Q7Y3KCOTdxSP2D3b5zKef4/LFC/z2H32TN15fwCr8xi4b7qCdhpi6tgy293Q8IY1uI8vvfnyAK4sZop6G7M4dHJaZOSkio1lG+iOSoN4T8qIGVGKHWcpNlf5uhe5/iSyXBYU832SxFOYLP8rRM+AgfZyjx28h6rfjcVq4v5Gi3W5gd4fAEPUHD7vxFNGon85IgK3VbaZm+lnZSBPymtk/KlGplfjsv3sfmRIynjs5OiQZJCsLSxIylUrGKVQLDPUPo6iK/KKUmjfFIOwNcXSckIql+btLnD09x8RYFzfevsPffH+ZuQk/IZvYdBxh6+7isueIn33Owtq6QdDnR3EKdViD1UONX/92k6FuCwGlAc06HqfGD27l+NxvPs0nfuXfk3rnKrZQmGYqiRKdlJWfyu5tLOEBFOcotbSIibpRPCekxlOhTjOXw2ROoOKmJqj/S3+FferTNBShNhRueh1Ts0lz+0WU6AVUdz/K8VV0kwPV0S3GOLRaJqnWa5pCkLspq1Qmd6+MtKvZTfRmBnzjKOYIWlNs9+0oIjHVKmM1e6jrdbTIafRiDkVYAaxeTJqXloiZlQ8w1cuoVj/l1D3MHU+g2HxoG9+lLS7Omo2qiNdHZlGKcZTGDrV8AXNwArPDJLdBqtolDwWBk/1cHn0ftboDZ0CXale/z8nqWhyLZkGzt7AHfPTPnqRp02lW2tz7hytMjvlINltkkxVmh8PE4k0ebGb44q9P8+GPvwBr90ikW6j5JEVHBLtXsAsSNAXp2KGBt1NGslXdQLS/BMNFfBGL7qj4dqzlszjGZsm99jKmUADzYD9tUZ8oZeQBWUAkbWE/hVgeR3FbDgkFldreNYTdF6VcK6A3Cpj8Q1RX30VtljBcUWxdYdqCbWZUqReTctMeigRQHnsE9vdZWtrj6V97lUTFQo9D49JMgNWdFDavl1Q8zdRgL56Iyo23j3EGTJg9Gum9GiPPCup/A0XX0NU2qVSazt4O0os7VPYz9Ez2yG2v2L5oLiuVwwKdMwMMXJymUmryxhtvcXJuVtauxEXI5nTj91vp7OilUC7KWGUukWRkdFQOQa9fe5uLF86xvXcgo8Ed4uJgGHLrajGZ5eYxnkzIg7vX76VSb8jL9WB3N5OnZ0gkkixeeYdBqWaFjd0Ywz0h9g+y8mJRsDe48P5nKBxnJYSru7dP9igFoX9xcZnBoQF5YRVBqnCog2wuIzeLtWZTbvOmxsfY2zniYE/EiqcpVatSFfjUM5ckzGpxYZX+gR6ZGtjf25PRcvF66OvrpNE0WL6/RI8gZKdSBIN+7DanJLrvHRyi6zpel01GvRPHcS4/8SRb25tyKGK32WQvXxzYhZ3AFwrIC/3h8THTU8MyYiwgdBMzk2ysrjIyMUytIn7msgQwPvPsJV588WW6u3vlBfny5UfldlFE5SdnJvn+d35MtCNER1eUzc0tHHY7Ho+be3dW6O4JS9OB4AlsrG3JmLY49B8dHhIOhSnXm9Klvr6xJS8K4jGIdoiUokJ3Zw8H+1ucOX2G+w+WZRJAPM+DQ8PcvX2HixcvsrWzKaOkAmQo4sqHB0cS8Od0OqT2VkCcZ6ZnJUNhanqcH/3gCuPTk9JhLoYo4udZW98kEBL8BIXOzi5ajYZMPwn4WiabktH4yelpyeMRg+zRyVEGevq4cesW4+OjPHiwLJMk4vEVKUBhxumIRukIBzmOxTn/yGn5nMWOU6xsrHPqxCkWl+4yMjzGnVuLnL84h9sd4O7du5y/eIZcRgDO4hJEF4un5e80MzMuL7tejxtDJElbTalfnB4bk0BGYR4SvW+f14/VLioybuZv3sXrc3D+/EXW19Y5PNylv2+Y7t5u3rr2FpFwBxarGZfNjqHC8WFMsgYODh5e5Ay9Tke0m1qzRfxwX168dg6OKGYzdIqNbi4rgbG1eg2P1yuBhi6Xh8nJca786MecPHeSar4mie6ihlEq5aVq+PD4iMuXLvH9F3+A3x+UVoyFhTuS1i8ukiJVOTU9w+7OLj6/W5oCRMzeorQ5d+GCJNinUxkuXXqM1155g2argcvtlhWaUFBoADN88P3v47U33qKQyzI1PSkhooJSL9gMg/19ONx2Fu8t0tndJc8zIgkyOjbKzt4+YoI0MjbK9vomVpcTTWlzYnZGxuTFgshsc7CzuY7L5ZXAQzGc+9hPfpC3rl2ja7CPwl6C2O11eoY75YBDfH7FYklcLivh4UEsQTdmu01yO07OzNLUW9y4cVOmT0TNor+nXzISKlUBVbThdnnkokd8F3REAtQaDQltbNcN6oJ/pmn4fUEOY0dy6TM2PkYmk6JUrjAimAaqKhkaIs2TyaapFCpyAy94IWJAc3AgeCgi5WImdhyTmsZ0MoXd4pDvyevv3CTo98ht/PbOtuRkiMdfLIEefewS16+/I7f5olbZ09/J0ZG47O8zNTUlTQnlYkmmCkQqyu33cbh3KNkPk5OTbK5tSIW5y+WnUi5w8dFH2NzakcaHcDjM6toa7/vA8+zvHPPylVf4n37xZ1m8tySZCeJ1lkhmUYRhpVojEHTTbBoc7Oxx+enL8vEUn8F+T5CkUJWK7GDESzTq4/Cl++RiMVpi8z/QicVhsL0Vk4mhpZ0SX/7fR/jJ3/hfKdxcpxXswywYbNLMVpF2I6ujh1qzjMmoQjVF2yk+PwLUj29gsnVgBAdoV8Ww3Yyi6eg2J6phR6sfQ+lI1h7FMEvoJUVNsVVNS1CyLipjNpHkzYPJhxocorZ3DYsrStsepr3/Bkr4LGhZ9GIG1dmPRc895KjpVQzNjKaGUUX1QPOhOC0oGwvolgT2vp+inVuV/A+TUEzr4v5UQ/UKkLINahUaJQHl82CILf7mS1j7PkK7lYT0XQzfGCZnFOPoNrpgBXjHMZt8tEsLGLUyhM9KpbNROsRwWWkVc6jlIpqnE5M1gN7KowgoYlsFe4hmfgmb5qLaiGNyDdMqH2LBih4YkgtypVlHM7uoKnWsSoQ2IuVwiFVUDewdGMICkH7nj9qmxiFtZ5+cqoj+kWbkoFpH9Q+i5PZpJN/CMvwhSsl1uYVy+jqoCVdtPUVFTEn9vbKTr5rdoklASwCjxDa+JqB9gtAYxsisYe99lFr+GOo5FHcfWnkNXWy+7CEU1YbZ6UKPz6Pikm73druJ4eyV2gqlmqQtLui2EUz1ZalXMNrDmOor1FU3TmyUBZTK5MLsFBeYsiQ/WmxCG7hLs6JjdrqpiZhH55SMv2omBxXFiVYRLx4VWlbMlpr8mRRzi1atgqhH2IIzaO0c5A6whMcw9c3x3S/9Hr/1uZfYSzbI1VVOuzSKWhPDAS+c6Sazm6CvP4zd0eDuXotEzGCo38nbKwUGnMjY/1urBfoiOsPBTr7/9iHnT/nJVFvc360Q8Fg5OtaJlduY9SqzAwIQ0+CDJ5zMdTU5M+zD1M7IN1U5UWUvVmI/b0ZzODDbzUT9Bh0RH7GCwcBEN7VMDrVhopRMsF+sMjY7RDGV4u7NXWZODdDbG+X1N24y2OsE1UUxV+bU+Ul+7fPLrJStBMlKPV6h3WBtM8dMR4TPf+F/5NVX5ilWKngcVkIdnVhMJo7jcakl0dp2NLsmY4UizrN3cMR73/M8sYNDvvvjK8xMjNHV0UOpXEUIJKrlEj29AxTzZSwapAp5Hizc5z0vvJ9EJim1JLdu3uMfX1zm9KkwXpsFXbGwtRXHbHNiN9Xpigb4zo83+cJvf4jpyU5++PItHFY7Qa+dzv4e/uPnv0rY52EgrNKy23j9xgHRgE92z8X20e104DfDymFCwjPqxTqnJnvR9Ro3F4skpJrG4LP/7jnGRwI4nQE213Y4iB8RCUYYHhmTfuF3br5DvtCgUsozd3JaArN2d/YZGR1gcemB7OGIgUk23+T2whKpopVzkyGWd4/I1lVMdQPFZpa/02/96ifwOS3cXFgjESsRjHgxmroEEh0eHXPyzBz5dJz1rQ0ePTPDazdW+O5L98kkS4TCKgOdAeJFg1ouRzTg55vvJnnzsxHOfSDI6qtFluePsdhVGSXN6G0uXRhi6fYG3m4//T1BYgcpVpd2JS3apTTo6HDRFXWhmczcmG/yhy/uslT24LaZ8Nt1ujsDbO0d0x8N0+GzsXecxu9ycHX+GL/PQcgj/MsetnczNGlycqqbuwtZZqe8/Nav/xRvvH6HSHdIAi3T8YycaouD49TMNKVKg+9/9+ucOvUIPZ0R3rj6hqSFi1VntpDlQx94ju+9+DKttpmgF2LxOt++sk5fr0KH200qm+X+QZ2fuOjhPz6rsJMxyYvC8naMQrbChz80wb/+sz3urBl0ulR28jU++sQkV165h9/t5Vur79K4+49Ukm38PV1kyyl5ITKbBihXlzGLC2DnCWrZDErzWMIAnapKyxKlpdqhsIXJLyA0TdnZF/fUaraGas9hlHQ0m0smekw2FybFgZJfRrd1SloylQ1a5hAW3wSqSEbpJmgUJYhPb2hQT6D5x6RdoHH4Q2l90Bw9qI6ATJiomTU0RwdNRUVtt7AaDWpaRYJx1MAchmbHplhpUaddSaHaAtQrh1g9XdQyZcxKDDFnVkLDaNhopFax+rtpZBOYmi3qwQDhwTNkVl5l4Nzv8MxjHvaPqvSEnNRUlXQyi8cVZO8wwdwzp7hxSwwnqlz6hU+SefM25lgRzd4mlcxK3VNVU0nsHTF/bOHTswZ/+wc/B4NPEfvCvyH4xLPUGqKFkEdvWKjsLOE9fY56uYyezuD0+9HdLlpdA6jxGBysURZbvMkLcotv8XbRLBaopdfIvPk2gZmTNOxmmvE0voER6vl9GroVlyfAwdotAp1d4iqIxebHsKkSZNRcXqS4H8N3dg7/6Dnyazdwj3ZgGThN6841/uS/3uNzV/ZJGDX8FfjI+zspllrsrqdJtTRmB3082E7gifiJehwc7aWIF6qMTvXSe+k0eytb2N1W1hY2sLocnJ2bwR1w8e5Xf0Soo4v0UYxgf4TscZpctYq12kaJeug5N05iP8nM9DjpXJZ780sMD/Rhdtkp5/Nk0kne9/738/Irr2OzWOns7CSdz+B3e2TEO5svEAqLAUwMo96SNpGRYbENWiHaFZV957WNDSbGx+WF0qg3KbQq9EV7uffSNaxNhanTo/LQqItt7UaKYIebmQ9dxtHZyTf+9CvSQz0wOszuYQyP3SFrCHa7ibHxSQkru7+4JLf9gpottu3bB3voLYOTp07I7wdBJJ+enCAY9HLtnVvEjpNSWdXX1yuBSbub+4SiAjRnJR5PyvePqJ0tLz3gsUuXSMSOWVpa5vn3vIfF+4tYNJOsIDz9wjPcuHkTE4rsQOvtBrtb26iaiscTkFvow9gep0+dlR3eSKRDRp+FQSCeiEmAmfiZU4mEtCoEwyFuz88zMjIqfw9x6RdcmFqzJi+Jot7l9QdZXV6WEflQJESj3JRcnNXldfm/i02gSFwIJd3G+hpDg4MSPCaeNwFdXr6/QKQritFsSdDsc89c5srLb8r4sdfrkumMpfsP8Lld+IJBDg4PyGUq1GristOPpllk/Hlne5uBwRHKlYpkIVmdFhrVOrWKsApZ5WXNYjczOzbD0voqieMYH/jwB/jW179DMBgkXxJu6iaBgE/Gm8Vw1u3xMntyhoW7d2i3NRk7lmrGFlJpJ4j11UZNGoIKxTzBSIfsh2/t7Eggmni8H9YWygwND0kauIidT06P8dwLz/Olv/+KZE2cPTvH/YUHMtFx796CjKGLeHkumaVYKeLzORnoH+bKlSt0dUXp7e6l0arLIcHG6pZMgQyP9rO6so2mmWg0KrIC0987wLU335GGkYmxURnzLpaL8vJ8++Ytmbjo6u5ifWNVAn3F8kkkIcdGJkikDijmKjz13FMsrTwgIy5biorP45EGBwHwLOWLMvFidlhxWK1SFdnU65jaNoJRvwRZCnVnPJ6Q1bCR8VF5qbOb7fJ9XBU1g65uXG6HfPybAgRYLMuOb1dHr0yF5EX6xOsmGU/I2ovX72P+5i0Z85Zb6HpNpmJEjUEkUARIc3pqTL5Ww6Egqxs78nzocHkkB2N9eZtcIUV3dx+xRIyRoSFpZRDqvc7uDqlSFkBOYfTICPq9zSZBfavLW0xOjTw8txzGpLJQpBQEWT+Rj3Hx4iNMTY3zJ7/1xwRtDgaGoxxuJ3A47fT0Cn3mNg27FW+vn/7xUdq1huzzi2FeIBhkfWMTvaHLM5wYkgiPvajsWMwW0uk4hi586Rr9gwNsb+9JrWhHR1iCMoUSsDPaKTkW1Vpd2hKef/4FFu/dkQOsE7Oz3L97T35hi9e0gJI+uL/I2fNnyWUycogkllUiiSy2wAI+GRRLKaPN4VGKVC7JQO8gbaVGV1cfa2vrkm1wcm5SMrJy2Rw+n4e+/n4W798nEUvJ50BUl+7eWWCgvxfNYiefSzMxOsLG9q6M1/sDQqm5ToeAarrtFPNF6q2GvKwPjQ7w8o9f59M/9ym+8uV/JBru5OJjZ7l69W2cdjMnT59iZ3OfUlWAt1vMTI2LKDB729uIHpUwXySPE8zMnZZgQXGGS9ZL2Cwa6z9aZKQ/SEuwC5wuEsJU0RWmlDpm68jML31mgt/8w98ne/VL1Kx92O2dmNUG9dwKBOZkJZOKAOH1yRi/jPw3WjQrq2gtC5rXidH2SYCyWRD8a0e0hQrP7KBVS6G6olidISrpbRwmmxxiYXJgclipFcuo9X1MYhksNMrWJrp9Uj4nJv1Q1ilF7Vt1B1ANBb2WxiTAPu0KLVsAbA5M5RS6Ln6+EWrZfWw2F4bLj57YRQtMoprEUrmALlgGuV00QeISCYJWjmpyDzxd2PyjcoMvznKGYUat1DAGZmhtzmN3aNTtEUxqS6bTddc0VqebRnYVTdQXn1MWAAAgAElEQVRLxV263cBoWFEciuTh2I08LSUofE4YxR2wBjAis6jxexgZkYYfoKko8rPb5BmiJZLtQi1o8qA0xR3MjGEPYopdox2ekQMWpTD/54KagFItSic8FLEIjKD4BzxjtJUyxvES5q4TKGJbJHyMDhUM4eItYq4Vqds6MRc25MZE0ZrobStt4SEp7mKxR9ADY5BexmRy0WzmoLQvtyg4RqVxoNUqoxeLsv+q5u7RruQwdz1JU1WxWj20BOQvc4jidAAuLP5xms087eN3afinMFczGLVjNNcI9YbwmUdRGob0TpqE7qGcom3UwdmNqplRxCQqu0lbKLBaVUyKhTYiJmugtopYvI/SLN9Cx4YaiFArFtA3X6LzkY/RGjjBT889yQ/utpgMQjigU0cj6HHQG7WzF6tzZqaTeyvHrB02qDR1Aj6NTredXLrMqWk/R9kqlZzQyNkpZfI8ejLKN2+luZeGmYDKRsxMxNbg6dEWc0MmTnQbPP5YCK3RJBsv0tK9JI5KpKt16iYzx7sNhmcjjIyFaTsgtpuhkM0x0BvBYnWiWixsLq3icDiI9oiIoSEHNxubMbo7g3SOjFHY2SeVP2bsxCS33ryPops480SAP/56jj/5dpPP/GQHi/f3cbh9MmJ0fFDnn//hU3znv14lllb4+X/9SVZW7pFJ1QmHQvLLNZWOY1LMlEsFegYHyeWS6NWH02GxVTpz4RH+4ctf4eyFOXyeqJywC/iGUFF1h7sJRgPsbB/g9vk5Ojrkve95lM/9f9/kxoM4E91u6QQVrQQBBqvWFM6c6iGXTfLmYgybauVv/+ATlBoam/fWmD07Iv2bf/13X2M3LhQjGR47Ocwrd3f5oEhQdGj80TfK9E+FpZJGqxtEHW3MbRWL28J6rE7Aa+HsZJjNnTxv3jxEc9r4pU8+gtUMp0+MkCzW+eGPXmWkq4dYIc1odwcD/SPcXrjLyPQEzVaJ1YVdpqZHZZSpkU9zZyfO13+8xbmJLqrVIqVilZ7uMItLcRyOBn/9B79CMh1nP5EhHUugtXVGxieo1sWrDm7fucOTTz3N7XuLMkIrOodPP3Wa3e0Eb75zmx+/eYTL1cZk0rG1FToGImwfNLEWi7z8p11kKwpLC0UGhKrLrnG0vcfQ4AD7BxnsZlUC0RKHaS5cPkMsdYDb5ed4P8PRdozh8TADAStHm4eEuwJ86arKF6/mMYVdKEqdkMchh31BvxNHrUlR1wgFXSysJYh4zHiDQWrVMm6rg6+/ts1v/dvH+NRHX+BPv/gVvN4e/AET+1sH8mCVzWeluuv03FkcbhPf+voPOP/oORKpNH3CA51Lyy8w0bPcOtiVFPPdnU3q1TZf/94iY+MhbEYNk83O/WOFM74Ef/Gv/Ly42MTntOGyGGxmqjw5GuK3X06xsmVjIlrlsKzSFQ6zd1xifTvF/eSP0QoJDt+9hacnjJ7Yw3CKzTc4BWukuCfj2yLWbLW4aZjDtPObUg+oOrtATLwbZjC1JdylXTiUEX5H5IQ8CCliI5K9g5F+gPPUL2CUmnKCLA7WmtUOuSPwd2OYOzALmKriolVPoAqzRUWnVT9CC86gN2MP60yOCFpwGFWkovLb6E4PjcIaVsWBxdGDLq77jQyauUNO0pulfbDZpedbMxR5GBXtJ6Gi1GsGVj1Lw2zBYvFKzateLz90EAf8NDI7+M89xZf/4A/5hd+9wU8+H8Lu9rNyb0NC+cy6wf5qEsdgiJHLJygIb7JfxJeT2ES0+3tX6bRa0C2KrJM0SmVUi8bJ4U5ev7PFykGN9Eu/in0ImndiJNYOUS1l1J4Z9Hwdf8jB0f278iCteHzY2yZ0h5d6IIKWWqN5sIwjFKUV7KK+tSaTF56Llzj65pfwzpzEOzAph6JWU/shNya5RiOVwPnYe1EzeXZfu0L3+cfJZ9J4A06yq5vSl9wQiamLvdiDZohn+OXPXucHN3bINa0YlTJToyEMI4/V4ZadyXisQqVUkJd60d0z1w3KBWgHzYTnxuSGd3xqjI2FVSx2GzOT49y4dRerx4rVUFh/4x493SEOD1M0ay16hzuJH6axlFuMfeAsdYeFV771KucunZHA02efeYJctsDmhlDVDXH73XnJYrHaHVRKZTLZLOcvnmNvR2z6Lezu7ZLJ5+ju7pHVGbvVIqPiHZ2dbG7vMDk2zGuvvC7VrpPTEyw/WGNlc5tRZ4io301dnAnKioy0T89NcbQmYooGRtTB0+97mnwsz4PVVS5depSXfvw6Y6NC5ZeQlxhBLxcEd6ECFsBUu9VOKOKVaqrdw8P/vgmtUC2JRIOd2EGc2ZMnqNTKUhXWGY6QK+YZHOqVznIBPUonk9Lokcs+jLQLtaDTYSMez+LzC5jdjrTOiEOu1W7F4/Iyf+sujzx2lv2dPZS2RljUOVRFktmvvnJNHshL9Zr8+00mUS+qSqe0iGHnC3msJpPciov+rIiGi38v5guy4z0zNSEvS8VyjXQmzeBQv2QubKxvS0q7UHcVa1UunD/N7t4RaytrdHV3yFi5ZnXQ393D9vYaPb19Mj2Xz5Xwh73y87EjEuXGu+9iMluZnh2XerbEfhyrwyq3iMJ7v7O9KS+dc6dPMTjQx7u3bhEJRKVSzOP3Sh7P1OQMN+Zvc2JyQlqS9oWmsVwmGO5A09rSZ9/b1yWHjFaLU1443D4nhVxRQgQjkS6p5y1Wy2RTaeqNhnxsRO88Gu1i9+AQp80htblWq4rT5aZRq2I2PdyICx2f2KQODfbz1tW3yOSKRDvC9PYOsLe3K883IyPDcqkgXivC/66obXq6e+TF3W4xkc6KN5UA5Zrp6enlwYMl+eeKy75IbVhsFmolsX138mB1TS4nxHChURepJaRuT0Tr6/UKuUyO84+dI5cuEjs6ltW/kbFB3nztHTn8qZVFyq+XhcUHMmUghgIba5u0dJ1KtcLgQL8ckoj3mtcjTA678nWWLRRlnePsmTm+9k/fkdDkJ554nO9/7yWa9RqhaAe5bIqTJ09weBCT6mYxWBGAQrfTS0ukN71ujmJHcoAnTACCvSS238NjfSRTWWl8EbWW69evM9g/SDaTlUOqiqhHaSo7AvQ2PCyTLkI5ef3tm9LIkM/k5Wt8qL9H2h7Ozc2ytLaKx+lne2eTj3/q47z77g25QRaaP4FbE9tyzWgRiARk2rRQLsitsrAkCP7D5saWTFoJW09HT5RqtUkhm8UXCVIWF+mOIOk7m5hKbUIjIVLxrDQhuJ0edtd38E/3MnVhjtjBPooiEqtQrpawmARE1EkgGGL1wZpMP/z0Jz7G4eER5XJFDttiiWMyyTQD/YOsb+zIVIhIF8WPErKSYLR1WYcZGBqUXIPNzTXJcxLDwlgiQbSzg4sXz7F4/4GsfHRFu8gLVaLXTTGflcMh8TMI4J60ULTqTI9PsHsgeCxWCa0rVcpySCQ0guVCjuPjOD39XUT8YqjQQlc1VpaWmDlxSvIdujuiHB4dUK7WcNqckgNTLIjHtMXe3hHTs1OsPFiScMjV5VWSqZSsKmSzWRwmK7lKGYfbJmta7X9ZXAljh81klTYEMfDp6euSMFBRfxDnSaGcfFSkCDY2yWQKTEyOSpNV09Al2PLtd+eJem28/eoCJ/w+HAE3qVgSzWnF51Y4PG7S3e1gZT3O1Sv/J9HuQTZv3CYYnZB1NauiUWsVHm7aS8cPleveIVrJB2gCcGzkUQSrqFpAj82juAWUz4EqFH1ykeKSCTuR4BHxeVPLoGX1SJh3O3eAbhWg5yEox1CVFq3MKg3HiHx9WKrHNOz90IjRrqRRPVOoxhF1xYLFHMJweNHySVpqDZMaolm5hWqdxtzOUDcHMTWOqSdWMYcvYFbSNCol2lYfVpGaDkzQTN1EresY4Qna4rymN1AEr8DejdYUSQ0V1R6llkvIClsjeySHZeL3r1fz2JK3aFojtM0qrew+imsQ6nk0Vy9mb4h2I41hFnVCBTV7E93ixrB2YnJ1QGEfxSiAWwzovejlXeqlJKZqBjU8jebvh8wuuqKhRIZRju8//GzMzv9VWxNNfcOEamQkdVT+xcKVWM5i2MISnldPXsfULoMSli8GR/cwemYTVXgN6wrNwjKq1YHWNtFy92BRG1TrTkzpN9C8vagijlEvUbdaUc1O2jWF5sF3UO19WIeepRZbxKbotLUgLVc31MQXq4GqOWiITkszickcRBEKhfQCpt4P0xJu5VqKVjWLptoxzA6E0tASnsDIvotJ66VmMUFTRbE6MDfrYGSpt0qY7R20xaTM7sJsCtOoFVBFj8PqQc+topaq2AcuU9dSlO69jWdgHOejH+GXn36Br71W4vLjEQJ6UaoVSjULsWSWaECl3jDJuoBNa+EKmuXks1l5+GVk9jhlp39xD/YLLawIbkCDgYiVQqrJJ095+PhzKsVcngunIlL54bdaOd4tsXqoMzU3wDsv72DzK1j8LhwdLqaGA9QzCflCzGbKhPwhsKnSK76/vkGt3MYmdEd2C66In9jBEa1qk96JEVwWBYs7zM3X3iDaGaRroJdbt+8zPtqHQxP9tBwuR5Onf7fKyQkrQUHsFD1kW4X9HZVoKMTf/MUv8eqb73DrnUWmpyepFWscxA+IdHWKKwSRSIC9wz0JoYlEIjjsLpq1sgQsiennD168wrnzpzEMC8f7uxK+MjE1wFuvvE0gEpRAEhFfymaTnJmd4Ksvv8VLL+/idKn4gj70cpmuqI9kScfSNoh4LXLjefPuXSplC3/wmx/FJ529Gbo6e3mwtcq7NzZJFnXKrQJ6pobyL9ud//zpKC7jiFfvmvm1bytUO+ycGdWYdGrYGrp8vixmE9vHWZwOE0NdbpS6xpvrh7zw6CmKhSS//PMflVCZV956l9OnTtMR9tLb08vbb13j+DhJT6+IUkO53OL1N+/ymf/hBb7w96+we1RgajBEPF3E4XZJh2/TMPjQpUlOz03wxtVrNBoag/3dmG2i82eiUW1QLBUJBnzcml9gYLCL4aEx/svf/SOPX7rAQHeYhaU7LO5UuXJth0dO9qLU8mBps5PR2Ek3+btf8PHByyG+9bU9RoZV3MEAPkeQd28s4fdqOHwBqfDp6PRTyJRQDHER1BkcHcThsvG9f3qbimHi4ulurFqbMDEsrgC/+PkYV4sqAYsTm9fKiaCFnXQej9VKOOjioFhic7PA1EgHdrNBulzl4Fjl+UvdfOQDp9hazrCy/oDxyXHqzZaEm7Vaitzk7Oxs894XnuPmzRtYzG4uPnqGe/cX2d/c59mnn2dxZYnY0REXH3sMq2qws7PJ7//tS/SFApg0g5EuE195q8IvPqrzO5/0852Xc9AwmJqNsrWX5lzYyY92i/yH75v5k1+a5LtX7xOv2OhyNJhfLvKf/vPP8tTHPkHl7R9T9/RAtSkhWW2TLuP9JRG7aqRQzOLdraGYuzApWRo4MYl+XDWG4QxBVVxyLBIaqFdSmN1+OTQTSSerqx9VsVOtZ1CK25hCc7QaORRbBKUivNstecjQjDItezdGI46qiJqUQruYoN5uoVoD2Bw+mtk1FLsHvVFGqSto/l4wmrRqdSztOIprkraepV6ryc6uHPxqQQyliVLcxUDF4vBhCPWq6JNZfDRaBkojg0mktBwRysllbFo/Zo8Z19wlnjt5mbdXGrx3zsdWrkE5XyfUHZKX6GyhytATj3D6fWc4XNnl5pu38UW8jJyfY2dphfb9Y8q5Mt4eDxannePUAdOhTt5zYYhf+eO3pBLvq786wfs+9SQtMfw4rBL/4YtYL16UUWavVac98xjtVI7cta/g6p+lId67HWFKu7t42g0s599LO7GDkRB9uD4qRhUlU4dG9iG5vqsTxexk5+rreHpDuEPjaIFOsje+weDoOEVfB1quiONEAOwOOEqytx/jP/z1MlfePqbmFORwG09Od+Pp9rG7vE7IGyJTKrOfKOIOuRkd6pQwuvR2AUNV8fb4cc120zsyRHY/Li84Ylgtetzn5ma49vYtHEEPbpON+tYxHoedTLFIs9HE4XOj1HS2lo9xT/gZvjhL+ShFqVljYGBQRkfn7yxKMJno0e/vH+DxeGWX9OSpGa5duy470yJmLvzwvb0d+MNhXvrhFQYG+uShUcChzp87z4PlB3JLGOwIkyvkqWaLPPnsE1SUOne++iqHy/uExzppFGvS6y0OmU67h4rRYPyZR6QWLb1/jMNtlYAnQW/XxToYhUgwim7USaezUgVns9jkFlEcpsWAQqi4hGP7hfc8Jw+7qkVYVgKyy37j5h36xUUllpZb8iefeUpe+ESkeX1tB5/PLd3b+3uHJBMppmYnqNUa2C02EsmEPJh3hIKSVZTJZJgen5SavZvzC7znuWdkNF90uIVCTVyuJsdHJHlfDBozmaTU/QlieEp8zg/0SH2iiNQLKLWA17lcDulVL1eKchsrXPQCXlbIFYh2dlKvlejvHyQnYp8CvpXLy4ujSD3Ii0YhLS8gotJw8+Y8ly9dZmHhnoyti02qw+7EUAxazYZMZu2Kbr7XJ9Vjjbow0higWLh18zbv/eALKBisrW5QrVTl5e7EyVlRlJG09vUNARnUJIhPqAgr+RJdvT1S8ZbLpgl3REkl0nIoK1ZGYqsvPo/KpZqEFS4sLtIZDVMXYMhgCIumyYuYiEOLy/O582clO2Bx8QGT4+PouiF/13K5KAcBCEVYu43LaaO/t1+q5wTET7ALXnv1NXnB9nsj7O7ucPnZxylmirxz4ybT4+MSeDY6MSqVhKK/IPrtIs79YGmNVr1B/8AgjXpdbqrv3L0nB17nHjnLweGR7H/HUyk8Xj9GqyGj3TMz05w5e4avf+0buLxOwsEg8Vhc0uxNVjNqqy3p66rZRCadkc+DANWKz6Kt7Q1OzZ0mGAlKeN3muoBPRuR3u7jEH+4dSGWYSHiInrawAc0KOn+tKqspPb3dElz46quvcu6R0/LSKaB+bV1lfX2dgcEB+biLIbhgWPzyr/wCyw9WWbh3n9HxUWkbun37jrQaCEij0azTahjEEnHGJ8blQGZrY09aCASg2NDbMpYvOBpi4CBAmQJO2NPVTyDgkfym3YN9Ir4AM6dm+PY3X5SDrfPnz7C1vYPLZZePi6E32Nw6kLpbAWYUkEKxwBkYGOBg90BqPAMhv3ydi278wp279Az0s7K8TKirg8bqIcW8IJWbmJwZZHNlR+pEreYWlp5u2hYTVTHkGxlmZXUTl91OtdGgXCrx4Z/6MMsPljGLQYTaplSoyZ9b1Eqee+4prr39rtyS+4JhaTgIB73Uy03JhbC6rJLjFAqFWVhYlABUXYcTJ6dlFF+8J3t7e/5/kt4zSpLrPNN8MiIjvXeV5X2X7a72aAPfIAASIEQSoihRfqWVZrizKzcajTQyO2fOGY3EXZGUKMoOOSuNDEWBnoQ33WigvS3f5V1WVVZVeh+RETv39g+ew0MSILoqMvLe73vf56FmNCSvQrN7SSRCEtS4ndqhoyMuRiA0dYtoXNCXLCqNKh6HR6oj3V4PbW0J3n3rbUYPH5GVqoX5efm7MHSdQr5EoZRndHiUqzdvyM+ueD8U8zkeffwxLr//gbwEB0IBWTsVNRtR6xF/3dDYITlYEM+Oy+Xm8OExPrx2FdOwMTjWh2ohTQPCTJHa2Sbo80uwX1tbG6urGxLMKIZnouI1PjYibQLVWpOh0T4ezC+xu70vFdrVfJ1oXytKqcbO5WlOnu7hw9srtCd8JMJ+lpb3OT7ewZ9/Z4lvfOlHePn/+hL7l/8Wr72BXipjF+cPAQlxtmCUbmNrRFC8bpnY1Oo7goqO6e3AqtQx6ptYzl5Udxib4LopDZruAZxGltrBNZlCVCLdortHs1bDMnPy2XM44lj2EHpxCVvoEA5/EF2v0NycxBFMomitGNVlbIEE1JtCfoTSzKJqXirlVZyOkITtVRe/h9p+FqW0QaOWwdX5Eub6t2javDhiY5iNCobdJpc2ilGRm3YrEELiBXTx7hfDCQ9US5DfBD0nUPg4o8NYNi+WVqWBG82yYeSWUVUnSuIwFDM0zSzexNGHKsfdK2jifuuIoHq7sKNTL22hOsMy6dB0hqEpluMWllJANRR0XxxHXcem79JwhXCU8nIJVReAwlAbSm4Tyx3Clrv23yylsv9QfXewgFFdR/d047AHsdQczbKO5Qvg1LoopT/EHRuQNHeb3qBWTONwqSAOpq4YimqiC+ekcBB5xCFJRBv60NztlFPXUOtFNF+YhjjgWnXseoNGfkFGJaxgAiu/I+N0Il6BsAU4o3I7ZXe70PDLjrpSOaBZXpF/TwI9aMUFytkt3G1nwKaDzYVN16jn7qJ6WrF7Q+gUUYyHbm6ROKhvXMOpqJiWHXvyMGYphV5Jo3l7sDsDVDMz0hlpjxyRsTpDaIoe/Sjvf/lX+OyvXqRz2ElEd9IV1zgo5gh6ggRjCs3/deF0ulVuLG+Q8IUYG4izsJbjzloFb0CVldTtbJ3Tw36S7hy/8vEIFGyYTouTh30o1RI10+DGtQJet5v5lRKJfh8urwe/ENPaVULtbtxqg0LWokW4AzUPO8V9itsVmnbxAvfI2NXw4THsHjcP7t0jEgzKCOuN92/S3d0myZ+TkwscGulC8WrY6wrLK5t43DZKOYOhE/1sLmZwaHDiZCd/8BfX+atLdn7xY3FevbZP0q/S0hPnO2+tc3Y8zH/5P19kP2+wspGhUMtKmF9XeyfYm8xOz8lY5mBfP/MPltA8mqTB72zt0tvdiS8ck9PTjq4kd2/P8to7V/ncL/yo7IRGY1GaeoPUfl4eNI4f7uIbP5zmwfo+XUlBqXazupGmuyVMupiTpNrx/m5209v0d8Z58+omfZ02/vOv/Czff/UdFJuTZ188yx/+t3/i3bslhtrtjPZaVJoRabb4vU8IdWMDtVHl63cs/vG+h51CibjPxomeAEqjITeSoou9sJ2jr8NDueakUK4yt50n6bTxyz//OKdPjuDUROd0jyu3ruMR/k2zwROPnZfwnC988U/p7Bri3LkjfOwnvshzj3ei2WFzO0eh3MTUbDwx0c1P/MgRNrYVdg52ZXQ3FokJ0CetbR289vobctslYpFrG9s0a0W8QT/be2nCgTgnj4kobZO27gg/9UtfYS+nM9LmZrlQp6tdVDxcjHfW+PWnTdRYEqfmZGFymYHRUaam7xPzxWkfamVnc5vu/i6pYxQbZhPhK3ZhKU0iLS3k8zmyqTRVQvT0RYiFnOwuLWBpAb72nTU+3FBZSZmU3ZCIKMQadhp2RfbqnVjUTYt4R4jUZoGoy8bv/s6P88Nvf8jI0XGpMVHUh33Yd999hyNjE2REl161Mzw0wI1bdySBlqZO78AQy0vz7GZyTIyNU9XrPHF6iPmZDT79+9/jxSNBmnY7frvC9dUCLx9x8Qc/FWByuszeXp0j42HurjY43KLi9sGT/3WbaFeEF48luX5zhSOjA/zzD6b4qY/38Ltfe4+9ye/gKe5i+FoxGnsolRLuxGEaVhan1km9WUWpb0qojCK4KPoeNBoSVGOqGTEao2nVMcVGp5LHLiJfdnEBL2BpCem01ipr2ENHsaw9mtk5lOhZrL2rD8E1/jas2j6WL45ZMTAqK7haTkFtD8OoSVq0SMjIoY3YyOZmcbU+gu5sw8reweltwahnseTE2InSFIRe5aHixuulfrCLpqekR1ZQfG11O2p9ET2TQgn1YzrDWGZGfrlZquCx9OH31qFrlIHuZ3G5m5waHmYns8/SahabQ+VwNMCyUaXvzDEiLSGmby/IjuqxI4e5eOUqXf2dbFyZobRwQCig0na4g6krs+i4OTLaQr1a4N5CkZWsRmfU4vM/3ctn/uNnMWfnaISGKF57l/rUA+y94/jOnGP73e8R7WjHVqlRqe8T7hmhlN6R31GOfAHH2DgbD9bo7hihlpsiEElSsWns5epE/cI5nsZ+0ERzZAicPiMJ207xcAyMwNYDVr91l2/OpfjSa2usF5sEPU4OdQV4eizMpTs7hJMecgdCF6ljKioxr1+SwX0hpwT+rS1lZW3s1NOPkBhp453XLhEPxzl+fIx8qcjC7BIPFlcZGumTcDZfLEzC7WT3+iKZfF7q4EI+P86gE5vR5GAzx8RnnuDB+joxf0weBkWHfmNtA1NE4FuTcrBzsF+Ww8T0bkrqewW87f7kfdyak6qhS+e63+1ibXUTj08wKmxSV7W9uS1BgIJyrjpU2X8tFosyYn/hY08x94NL5PdqBGN+Stkc3UN9bK+nMGpNMlaZ8cfPUCjk0Rya1KcdGuwlly/JbVZqN02zXiPkC5Noi8mNm9AShsIxstkDASymo6OVDz64wXPPX2BhfhFfwCcv74IAL+BsIglw6b3L9Hb1Egz5mZ6ekTaWZFubHAqWixVOnj7Nm2++JiPq7clWtna2aEm2Sbe3oGMLGNjUzIwk8AvFlC8Upl4s4/GJbvUaNsUuIWtDw4e4d+8up06ekgevYrkiOQHi+1ck5ERPXIDxlhdW2d9Ny4FHKBShaVqE/AGpbBs+1E9Le6vc/B9k9mlvbSV7sI/b7+Pxc4/y1nsXicfD5PdL7Gd3+cxP/ATb65vcuHWLZDIhKePi4mU1daymKrefm2ur9A/1EQuG5AVqZW1LxpDdQR/RUFBeXjXNIQcF4pkQHIhqJSvfqbF4gu3dbRriAiN0g+KNIM7qLre8+KW3U/z6r/8Kf/8P/ygvqC2JFnnRmplfoNnUicYSrC2vSX2ioOoLpW9bvAXNJdSAWapiuKZqknWzvpxCN+qIeJFqh4A/RDjok9XSarkqu+dHTxzl9dfeJCRsLF7xHKoEgh7pfr9+7aa8QAkjwe7OPiOjhyR1fmllkZmpWc6df4RGrS61drHWFrqECtMwZLrF4XLLC3nA6yEn1JeWJWGXu+m0BBOHQ0F5URa/00QiykEmR9Dvk5EcQPIAACAASURBVEnGs4+e5eqH13H5vHidTqnxu3bztrRJhLwB8sUsA4cG2E/vPwT0aeD2+qWmUvS1xeZyc2tXKh1HRod4MDvHkRPj3L41JS/Doi9/b3JG1jvExU8sStxCza1aclsfCrofAsbqutRw5rM5Oro7JLBzdXmNxcUVBof66e/u5sHiMo1mnYG+IVLbG/T1DUhukBgM7O1l5XMqjASigimgmRWhHA36SXZ2kNrckh3/C88+Jf+8mUJWDp3EQE3wCeLJduFgk4rSYiEn1YiNRkOmbNqTnXKbLn4W4pkXarv9vRyGMIrR5NixE6RSm2yurxOOhuQ7NbW2xvEzxyTs98N/+J6sHtiDbvZ39xB8bN2ySMQC5Pya/H06VRe7eyKd0eDsqeNYqp10Os/87JR03h8/flwO7YL+oDSDrSwt88iZk2zv7sjEisNhl5pLv98jhzrlWp3sQVb+eUSUX1zUxO88VziQ75lYOM71q7dk2mJwZFh+ZpNiYOh0sLy6SCgUlYkcYb+6e+eeBGkKS4FQJAtDV7FUlVT/gNcrmRz3JqflZ721vV1etrP5oqx7PPbkeclVEckGp+ZAN5oS3Ko5nBxkBAchQKVc4iCbkxUfMTBrT7Zx/dYN2pKtjI4e5l9f+YZ8p0XD4p21wdMXHuO1197GZtlkMkUkf7Z2dliYfiA/eyLdNXZ4TH5exZD04nuX8Xh9ctEkDEpzD5YZnxjl+pXb6E34yAuPkl7fYOGteRIuE93rluaVZDjIzFKKF8708Obb64w/nuCrX/8ObL1GdSmNw+eSFb1yYRNf9Dhms0ZNq+KsZXD0fILG1m3qVHCFD2Fll2QtWJy1VZdgmjho5kWlzI7mc0LDKc+YNA5oljZQFAu7d1Sql5t6CXu4S/KbTFcX7v1blBwOvN4RauVJbBUdNdCGrgRxKALCWMJp1GmqLhrlHPbICGozJ4c/NnGXVSJYuduyxml3eHCIS3VgHEVoA12dQu4tlYZqw4kWHUOvFrA5qvJc1dyfpaHn8Qr2XcPA1EoSLC+GA06hZmzsSKiwKgY6uo+m/O99cqlt00sojiCqN0T9YA4tMorVyFE/mMKV6MdQOzG3LqF1PoG1cxMl0IbljEFxFsMTxUOEhupBseuY+5MQOg6Cp7c1A7YCliuELXP9Dy2lXsUW6qOpp7HVdKz6HnYR8YwOY5YzNLeu4G7plRuvZm4Xj4AsNTawKUmsyBGU+hJGXWy9BtEcBmZhBcvdIqSWWJomJIQozQqWw4fD3U1t5zI2JYCz71n0zH3spkJdTIWyDzCD/TisCpYWo6k4ZDVBEfH8+ipNw4/N3wmeGGpmEnEasTRBVnTTFB7sUA8obmz71zGjgyhqArOwCd4gaqMoSYyKo18enJti2+WJY286aGy/hyM0QFNYCjQfTn8ravE+akUjvTNPfOwYzq5+frTnBXY1Lx0dAfRqg7aIiiPg5fbyBtW6RjZfo+56SJbc2qljNeskPDYm2mxM9Lv42OEAXckSrX4H5kGRrE1jf7tGzRLbXB+K08DuidA50EZ7yEXeaBCIeNlcXMXhsrOxVWBouAdLN1lf3MDhc5DPZeQlsFGzk89vyo3Bzm6Rrp4kvoifraUd/B6HhMI1UdEUm4x1h/whDKvJ2so6iZY4oWhAfjFuLm7iCjjlBDvWmSARrLB0J8XLfwm76PzkUJR0sUog5GBlI8+9TYP+sIdvfe0XCUbCfOXL3+Hw4QEW1zdx+b3Ew0ITUiQWbeeVV77LY4+fldNYcaAVSqm9Qk6+CAVtX2yZQpE4PR1tON12SXj1+GJMLz7gf//JF3n3/Sv89h9dZGggSHu7i4X5AgvrBd761q/zJ3/6Q+7Nb+AX+AhDHGB8lHSYnE/zP//ks5Lc+9oP7/LsC+cYPdTKZ37pT2QsbLxNoVKpSP3hyxMunIZKyFXmyZN+tmoKX/hejb++lJMu+/N9AZ6Y0JiezfHBco6TY90srWzITp8AgG+lCvKA6FdsnB7rJNDi51BPG3YljyfQzd17U+TLOkcPdxDxB/jSX32PouVn7EiE1fkszzwxzM27q9y8vso73/+/+cEPPuSdixf5zI++JLu2mt3NrZvX5Us8EPBSa+jUymVGxwep1y1GD41wb3ZSRjVVTcOmK3g1i9evzfA/vjvLpy70oyl1itUcMysGewcmb/+mnURrB5mqk+zBDvm8zrFjh1hN7VDJ1/F4nbjcNiqGDZeqEEvGmJqaolFs8sgzx7AZfrJ7G9JZbVVUnKEAsZiXoFbG5jPxqSHevrzL/3ffyat3M3S6y4z2eFHtYQ52iyRaAiwI6M9BlaeOd/CzP3eBqXsP5DMtvnAE8Vh4vJOJONlCTjqWBfDpmQvCpJCShzxxYXnvrYs89tSjiPjE1tom4ViIQibL4UNd/Ph//Dofm/BQsSdJZ3ZYWm/y9CGdv/m3HUxtq1SKBVbmsxw/HKVqKHQEi/zdDQ+//1qBJw456Qi68YVd/MsHO5yIWHz71psUZz5AbeZRiNPwiGTSPooAowo7iVnD8Lbi3JvDDA7LpJIqPKyKA8MSg6QCNrtT9vB1oRut11EcbkmzNe2Ceqtid/jkpkMQxa2ySG6I5FSEhqKjVbbRTRVFC2BrVmUkt2mVaFpeFJfwYYckWEdUmoTzVmkKRob4chDJK/H3EyAmBzVLx+seoG4JNcw6lj2MaatLgKGpRNBEhK6WwTRqqN4AzZpo4GZlgke4Iuy+OG53BN10U8lO4xcXTGeTcPev0Re30dsRJpqIsLG1T6lW4dTEELdSuzjbonJIuLWxRu9AN/siyq5aONwOGk2NuF9j4/s3cLhc6B63HBY7nXZ6e6LYRLw66Od+tsbl93bpDen8xkfa+eRPPSE3NrpZQ/MJrUmA2oPr7E8to529IO0xi9/6FwYfOSkjwQd7W9gcbbT1+6mn98jOThEcmMAbteMqbWMeehwrEEQ1DIgUYHUdoxri3fcvc22rxldeWWO7pImXDeNdfoYnIsRUD2+9O02yuxXNqrK+W8ZtmXR2hckJDWdHjFyhSnpul41MnbHj7fQ/IzbbizLOK+ou4hKQWt+U6YdHTh8jnc5RqeblRSRfMpi+fpPQQZOS2cQS3mEDeeGu5BuUM2VO/8zzlOt5pm8tUW+I+KdPUtxF9DUUC8jLxOTsNIGAh6HBQzyYW5L9cRGVF5dmAdF0OdxSfXV4bEx2v+VheWlDqiFPPXKCqek5+Q4XZPlqvSH96/n1HWpbe3h9gqbsknAtUVcK+sKSyq61RTHsDvq6Ooh3Jrh3e5Jw0Mu9ezNcePop5hcWSCZbCIUDTM3O88yFx3j37UvyfSrgZqmdHXkQFkotsbkvie+UWET+swg/9srSilQVCjK5uFgJyJXf55cHdHGp8gdCvP7GJfp72hgePSS3XmLDJjrCTsdDUG16dxe9YXL89FGZQsjspeXgQWhHxXrcEipPGZOO4g/5uHtHkLQPSwWhAL91tLVJaGIhn0dzqnR0dspIsbhUYJlStycugALcKLrnIr4tvPNiKLK+viUTH3axQ9Rs0rRQKgktqxgGil54Q/bxJyenOTQ0TFRUSXYPcDhcdHUnmZ9ZIBiJoNpsFMpl6aNe3VzjyccfZz+9S1dPL2+++ia9/X2gCM2oSCVmyRdFPL1d1j2u3b7G0fFjrK+toFoKFaOK2xUgGHSSTmfpk5fKVTSnQndXB/NLS+QzRTnIEerEu3cn2Vjf5uTJCQlhW1nZ5uTxCeZm5+UFSSQfhAP+uY89JQc1h/r7pJrx3LnHuH//vmS4CDhwo14hFArJxcHe7r6sqwga+uLSIicfeYTM3p7c2Ir0xsSxCeksF7pEt8shaxYt7Uk6Otp449V3JS8nHAyzub4pkwGxWEyyLMTmXyTMxN9T9PJrlRqG2ZAcrKHBIVnRW3qwLIHJwnwhfm//2y/8PF/97/8Db8DHQF+/HCaIz+vBXoaZmXm5YRYKWvF5zpcqfPS5p7l7Z1rWH6IJkaJCEtVPnz7FxUuXGDs8yuriunwH3rhxh3AwKpcXg4f6xOPC4sIisXgLA309srpwb3KKvu5OWZ8Ul01RERAqZ0HqF1Fxf9ArY9s9/T0yITN5d0pGxMXPUjzvtWqV0aEByWNaW9/CH3RJt/3s7AMM0yJzsE9SKgdz8vd5//Zdook4LpdXeu17OtvkpVAkRkStZXBwgI21dTZ3UvR0DUjivqhp7KfzaIIo//gjpLf3WFpYlvyNrp4eOTTz+3xkc0WpaLSbsLqxLsn4rT1J7l26SqSmoPlcOIIeVmdXaG8X7nULn6gWxvz4xKBqZR2n1yUTW8VMGVNcpqpVmTr45I++yA9/+AbzM8t09bRxeHyE9G6GXDErqwoildTWnpQgPjGE295N09B1OegSySgx+MxkhH6zXSZ7xP8+4PPKJMLEsTGmp6Y4cfoRZiZnKFdqMtkp/nzzs4tk93Z49oXnuXLlphyw9HR1kd5Py/SDJhKkgveg2OR7WSQTRMLFrtnlwg9VkbaKy+99yNETx2RKx+US31X7D6tXo6Pyd9TR0cH62jq6ZdAWb5OGjcsXL0vFoRi21UolfKEgXpcYQNRldWttZZXt3T3OP3qKpYUlObCJx6OyWiWGNvlySbI3cvkihUKRoM9Ha0cbmUxe6kUjkSAdiU7qeomjJ8aYXlvmztevwV6R9omwTLwJTez6dg2v30YhnWWvprKz8FfU93NU1krYkwGMmp167gHO9nHczgC1QgmHs4bRtFBre+imhs0l0hNVmmocS09jt4qYjgCWUaNZq8rhiBioGWoMm1nDVlpGdfXIxYVe2kd1x6BRxjQEfNqNsXcXFQW1+0mMWh7NLureNrnc1YL96PUdrGoJLTwK2UmMmoDCJ3HaQzSE/lt1oxXWMRQL1TtMfesNnC2nJWG/vnsNd3AUm6edeuodzOhx7Koboy4Gje3Y5NDLwhTf1aYNKzqOlZnEYQvRsBmY+TWUQBe4/Nj1GvV6AdXSwBvAKm5i1PO4W06hp29ihY+hVBYls0BJnJBVm6YujHY2bOUNLP8IutZEy6ZRHAbSaW82MYw8iksApE9i7E/K5Ifp7kCp7WPLX/t/rWbmHoYWxuFLYHm7MYsPsJsVCT2yfH0PD6qFKYF/whTbqdoqqqcHNXAMc+8DcIdp1nZQBGXRqGIL9mPc/2eUrudo7F3BFelD8/fQyN5DC52guf7PNIXWIXiIppHF401g2uKYSgVFxAHrdmxuu7z821TxqlGxqnvUmjqBSJecctTLKRS9gulwo+k1mvixORUsQT8sVbGSJzErq1jpaQxPDHf7YzS3P6SpRHD7gxiaRxoFjGoGNXMXM9CPvjNNPb+Kb/AlzNwmtcYSdlec+MBp2TFsGf5V/sNnonhCLXz1tQWGWzyspRssbjd48XwCtVRjZb3Gp480OTwUoGdAIxZXceVMMpUyer6MM5JkfqFI1mriT0TxWHVCrUGptBAxGZunFUfIxsylW9QaKidOjDB7Z4bWAaEsUVhdEARMXfqJbYZOrVmjvbcPxWySWhfO+CgtnWH2UjkZHxHgIbEZ15xCHSOYxuJLTmX/oEg0HpVObaMpLoU6iWRIOo/FZLlSLJHZFxJHByfPJ7lxfYfnPr/HWK+fVrdBNl0h0pUk7nLzxvQK2YMmv/ULj/LSc4dwajH++m9ekX1KTbFo7YzR3tIuQTmtbd10CnLs/jpBf5z3Ll6m71AHA70Dshfb1dvB9NwqiZDYTNTkC/HM2ePMrS7xM//2q/R2JAkFhCZMJZetkk8XeP3bv8XX//U9/voHU3QEnYTiLgJ2G5lsiUu3q4QCDd757m/jrKl8+cuvMHaynUJ2ny/94xRPHovJw9UHd0p89skYP3/Wxa2lLQ527XziqTYcxhZ1W4T/+kaRP3+zjiPo4mSXh7H2EKupNdwBL+3hBP/65hRdCS81XXzYNSIuO826wYXHuviln/40WwcHfOub77C1vcWnX3hKUvD/7q0Z8lXob3WTz4vn3CBbKPPTnzjJyy+d4Ns/uCmHGYIYOjxyWIJidlO75OolWuMtPPXEOS6++z57GdF57WJ5fpWaUeXCM0+yMLPMSmqTtmiYxx45zq/+0d9TqWgM9btZT2fYz9nZ2m/w+58M8Ks/GmR2xcBhNdjOmpw4f5SV+RVsNQPNr6JXq+h1lVjSy8bCFv5wgInjw1y9PoPDVIn6FUKD3ewvLMpUjcvnkZC0qNsifVDFT4WWbjffeT3ND2/Y+WBXZXU/y/nRGHajSU501xWdl58+zMRIN6vr22geP7VCjYHhbgnhEWAwEdEU3Tav18vuzg5t7a0ynpzez8qh2+BAO9ev3uUjz15gLXXAN7/5Qz71/DH+9JU7DMQdpDI1Pn02we9/fYdfPO/m9z5l8vYHNTrbw3S2+6Wr3uG2caJV4fNvV5iqJzg35GJ+Ic+8uNyEXCzdK3Jv+gs4/BPU1q6ir1+Cnk9j2ctYxRU0TzuN/ZtooTOy62hUUxKwZQ8fwyjPYhR2cETGaObXZETV0fYo1s47GJZbfgkoAi8siLm1LLb4MRrb1/G0Cmqtg/rODRnHb4ZPU1v4Nv6ux2h4IyjlPRkjtzUtLIeNZi6DafOgqWVJN1c9AWyOINXVyzi8IclQMeoH0hdbsXtwC6+sM4DT04ZZ3MYQ9gOH6Po2UR1hLEOVHXZNCcgBhd2qUM6KrX4Np+aloVcpplbpfuJZ1q+/Rd/zX+GF80nZA2yJ+KmaAisgOCgBal0xltfWOdQ1wMzqKj3tbezt7OKJuYh7IngSCVLlPYpzu3gyFTlArNfqHJR3aJRNmRxwlkx8CSe7qRzzaZW61SRbqDHR6eM3PnOYllAYLbfCaJ+T+JlzIIbG6SKNyhoORwA8/ZB0w903YegwHOyCakJwRLJg6ps7ZNYWKabrLFHl9tUCf/vWHGtV8GgalZqO12ny73/mPMvCfW5rsLJakXTd/v44127MMNTTjsftYnf/gIDPL+OuMzNbRAIOmYbpGB1g5NwRbl2+QzAWpV7MysO22+6UgKhQNCz705qp4Au4GRwY4p1rVzDyDbzrB+AXNgUNr8NNpVInf5Ann64x8PEjPP+J53jz+2+zu7FDW183Nt2gUCwRjkW4d2eSp55+VGqtNlM7BL0B5hdmZZ9abITFEEATfvpUmpaWmHQF211Orl25yckTx9na3iCRSMoqjoi/qw6NEZHg+KdvEZHDJydlARA2BYBXlfHjiqUz9NgpOWwQBHKXQ8PvC0rwUyAeke81wbgQsflytSoPrZ0dSYymTWqr6uWqjEqL773Ozm5uXLtNV2crw0dG5Ha9URHe+ipdvT28885Fjh07Qkd7G1NTcyRboszOL6CKreCJY6wsCSWxX27TxseHKWaFKi/FhWefILW+zX5GXKq9kkwvmAS9vaK+qLK8uEJHW4dUv4mBiNjsJVuS8mckurgiqVasVXDZHXLQboi+vkMju5/m5R/7FPMPVlhdXhYhTfmdFgmFJZldAOeExi3eEiMYEP5p5FYX047qFHq3Len0FvUNYeKYnZ6Sjnp/0MftW/dpSUZlmkJsyTc21xk8NCB1d/VKVW5Xzz36KH/1F3+Dw+3m1LEJarUK6XSB3b0dutvb8Ic9rCxs0ppskcuUeqkqFWVuj09yQDa21nn0sXNMT09jtz/cSHrdIipbZGNjS/bvT585Qe4gK3vxgvLeNzDI0pKwaDRJxiLcujfHix97iqtXbstLigDgCS+75nFJW4OAk4lIe//AgLRCeH0BquWKtAREI1E6BEugUpbb0929jNQ51mp1CqWyhAd2dLWTERH7xSWSLQlyeWFcccj0iwArHog0Sa0iN7GDA4NS6ybqgMGQm6XFTbo629nbP5BUdRFDF715f8Alf6YHeznGjwwzPTsjKf5O8Sysbkl2TXtHO3Ozc0wcGcMlVIFNeDA/z8TEUQmRE/q6Q4OHWFlcluDAI0ePsJtK4Q8FZXzb6/WxvrpNpVKQtQixiBCfkbNnTnPv/j15KT96bILZ+5PULV0+f+KfaXZ6mv7+Abn8ETVI8RxZprBOBcjnKpiGLge8IuUgEkfhaETaLMR50O/1sr6xLWF4yY4W+X1jAf19fUxNzsgBltvnJitUc9EI+wf7aGLI1Jrk2vU7OJ0a4xNHcLtscngzc3+BCx95iur/0hjnD9JSiRgLBrn04XWcmiZBnsIUsZMWHJsayWQrbp9XgqG3NreJJxOYjTq+SEBWday6TjBvYTVL1D0uwp6ABNGlNoucfm6cori8NMTApojPL0xSw2ysb8jlysc//jGWltbkQklclsU5VgAhBYfBaJp0dXRjQ1QzBNRNo601KQc2YmDX2dVJR0eS+bkF+cyIz6JQ/olz+QeXr+JwWByeOCGHWQLIJqqXc3MPZCVIQBA1TeHGzVskO9pIRCIyop/JZ9lZS0nooKihOJ1uFLuN1Oa2rPXojTqR+EPrQr1aIRCOSuK/GEKJulBmvyDPvqIis7Mj+A9ObE0b3qCLpmGRSqXo7ewiHAtLDWA4HCKbK8iagM/jY3VtFadbMGdSjI+NMjTSz8V3LpPL5Tj72BkuvnlJGg+S7QkuXnyf4ydPMDc1w4nTJ8ntZ6jrQieI5Ebcn5qUqTHxfhfAxMc/8VGWPrhBbS5H+2hMbtBt9SaFhiKTPj5vhcv3TB68+hLtpz5HfeoKpbLw2LfhaOo09TKKGPblFiHUR3X5DVzxwzg6LmDu3YLqCnb/YQxfl6xuG5llVGcdW2SMRvoqdq0V3deBvSGsO6Ll7UWvr+MUpiR/Jw3BNRLPdq0q/72WHJGDVVvFibF5Ca39HPW9W2iJo9jqJRStiU0NUC9sSUOY6YrRrIu0lAfL1QH1DXB4MC0n5u5VtMRpmkYFRWgPvC2YugvVqWPU11GbYQxFRTPr2JITNJbepqGZaEL/p3qx1zNYugD7ZbB7QmiuTslsstl0TMsrzQiKO4BpulFsBXRnN/bqJnp+FdUVwu7uwDQbKPYquuXErvpo1EvY66K+WcMyDAxHBEd9n3qwHY+eBrfQIE5i234Tc+SXQN+iqWvY8jf+zBKkQIyK7ICJzhquuJxGGbU1HEoIS6miK3FJa3QLRYFRpqaKWJOTZu4WWvQMqm8Mo7goL+c2b5j6nS/gaR1CcQ1RN4SIWwDVXOgoNPau4vKO4FSrGJaTRn0fe6wfS41g03PYMOT2XByCDc2HpprYo+eppa+hiC6EGsROBcXpxjAsGquXcPd/nGZhDsvbgh0PRnkebAJG6ETxhvA6ExTyK7gcERl91UtbuEP9WFaeWnoZV/uT6JVNHDaDSrWEx67SKJWoaBHaH3+ZW2//FSdf+Ds+95ifA6vKzSU7bnuN870efvmkk+H+Js5klIbHjqtuUbHp5NdtlPMGhkshlGjn29+9SXePjbHRVoyygeJtJeKvga+NlblFzEKepuKklsmjaCrYnYyf7mX22gMsy6LvcB+qzeT+rVmOnzstJ0s3P7xKKNYip+X37t6TUzvRu3swP0vQp1EqG9RKRakYsomOiYLU3KRWt4jHI6huB4lkC1NT83QkW9GrNQlPa0l2o7kabM9n6BhI0teq8s+vb/Ib/2riCDY5F/XS3eXi5sKOjP5tpCukdgoMtgc4f36QIwNxOrv7pb95bWOdYqHC8NBhNtZWcHoUKmWTUqXAoQGhoKoydXcaf9TDwUGNv/76FD3dfhSzxsRYN6Zu4xtvC3CZxrPPdpDeTDMw2sNbV1f5yLFBfv5Tx+kdGeRzv/lF7kzn6W7zo1AjEQjiDQV4//IKwz0+fvNXnmVrv0ZqbZWWZCu/9/+8iifg5FirV06TC7kd/t2jKuPnx3j/egq1VmJ1rc5HP5nEX6mwnrbzDzdq/OVbBQY647Q6a3R0ubl+T2ynOnn8iXYWpuZEyweb08HccppipskTpzsZG05wYnSQTKEEpoODgskf/u0POH9yhDNHIyzO57j9YIOD8gFf/p1f5v3r14mHvbg0B8m2dhwOD9//7vd46aWXuHt/Sm4lnnrmUZYXNymWC8SDQd69fImhIQG2adDd2s5edp/uzlacLju/+8ffxRGw4bPb2Uo1OD7sJpHs479//zYPPt8h40/+aJJcbp8HqylagnGaFLAJEYtdTOP9JAIBrl6ZlPFW3aYTDTnZ29gi3irixk329ioy0t/ZruHzKvzTK2syOfCxcyK1UiXR6UQpVvm1v6+gKyp303XGW1uo1assbFSJBGr8xk+eItoyym4mzcbKmtQoTc7cl25m0Y8UB8zeHqExK8kYb39nmwSkHRo/Rnp9nus3p7nwzDMU9TyJUJD87jZ/8LeXOD/ey+RcmoneJt+67+Q/PQP/5oKTpW2VZMzP0kZGqnCCAQ99IZX/eS3HH102+a2fGOZbry0REQoin4NvfrDLm9/8GY4/+59Ivftn+GJBdEKoYrtf3MAREl80BWqVAnZHDFv5Abrw0HY8hS23ihKIyy270L5YtTJaoA1bsyI1WKLnogo3rG5QS72NlhhHzS9htT5Ds7GNunOXhnCktBzHsJXQKwY2QXbVvALtQLOxRbMhqjAD1BwatswmaJr80hAXeUrL1AX4KXkYfXda1rFUd4RGbhu7Zce0WTQKKQmnE1P0phqTMXMzN49pldEiXTRzZTlkcIj3rOYju3KZoM9Nxd5C/NxLvPHF/8xzv/ZNfuezI7x+YxWvpmH3uakeCEhbiQu/8WPcuXxNch28wQibqxtyyOt2i4FeBbulEmqJ0PS5KaZ2qV5fRG/Y6D8UkVUbUzeJt0SkBkk1FUQtWtU8vH5tHcXpRPj8NvZ1qhUbLic8ORGj32fRnXDTk9AESJv2gEqktYOpqS0KzpAEZtodTVb3suxkTW5vNTko1RHwYa8GZQt6O+N0uSp0RH1s7BbQXU5+7PQ43/tgiopNldC1g9Q2Y31tpOs6OzsZjkz0UNqrsn5wgF8TZciLkgAAIABJREFU3JYIBIOyQ+kPOannKtyfnKWjLcb+fhHdakog2ejQqIRlVcp5vIGwfLdP3b/HqcfOce/KLQq3Fuka6WVlY0OS0jXLQm9Y1Ms1Tv7k06zv7VHLVBgcOiRd9S6Pl/XlddmxFofbE6eOks8XJGlf1MvERrtYrJPe3eDQ+BhWoyZjy/Mzc3LbfuLEMdk1FhrC3d1dNIeblhYBxy2Rq1XJbKcJ5A28QTeZ/QxuXxC9Vsft0shnSgycHqYW9+DXBNVf4/oH1x8S8hMxurp72UqtU6vW5L8CwSjVWoW9vR3Onz0rVbJiuyt0eS63k9npeYxGjY++8DzLy6tywy6Sa3LLu73GsYkJbty4xujYKEZDdJD9fPDhTbrbOwmEhG2gxszMgoT0jY6Lrus+xWJBKkX3dvbkpUsMKYYGBukZ7GQ/nZUVCJFYExtGUSNItj3s+8cE+LJiSP2rABlubqRQFRtdve0Uc1WpDBseG2JxTri0m7IGI4COiqYxfW+Kzq4OORzc3NqScD5BsRd07O6+bmkRECT1bDYvt3L9A32srWzQ2ioGc3Z5PpB2HbGUMRoyEl7VdU5MTPD+xUuMjR/B4VQlOT0YcNPe3Y7VtMm/Lp3alWeyT7z4IpevXpHPTq1c49bNOzxy7qQcQJTKJcKRCH6vn1KlyvbGprQqCF6OLqPeGZ546km5nZyfWZI/k1Rql9bWGG3dHbz95kWefPIJOXAREDabYmIaCqcfOcX1q9dpNGp0dvdIgOLD9EKQYDDI7vY2lbouafDi2RM/j3R6l3z+QHb1hQGi3jAwxOYbhWxBHKZ13D6PvGB1dXZJ2065VpaXIBH97j90iKDfz9zinLTPCKuMuByJmoOIpIsBl0hn3Lt7V6ZRXE4n3/3uD3j8icckZ0AMxQRXQWzVhVlA9KX1Sl36wLN7ZfxBMWyIUKvp7KS2+PSnP8mdu3ckF6BULMvn6/iJ4zKN8u6b78o++PjhcbnhDYcCbKa2pY1DVDCEsk8YCFTFji/gRWnamHuwIIcXAk4nkqD7e/tsb6ap16ucOn2CQCQoAZ5CzTlzd04S0Q8fGeMgW5TE9lhLRHbaW1vEBl/j4GCP/sF+yWaYnJmlJd7Kpfc+5NQjExKGJwYdItGwvLCCTRVDzQ4q1aJMIIpEjtOuycFHa0cLE0cOy+FNb+8g71+6KOGl1VpNgvi6+3ol60JYohKxuDyTxlviknEVi0TxBQNk9vZJtEZJ7ewSjMTwKw5m37gmocK7hSKxkF9WH5SmHTMEut8vhwLb61toXqfs8z954bzcVIv/TJxlLUUo6TYIBryy1iZ4Cz39vdI8sTD3ALffRb2qy4v7xfc/4MmnHpd/Br/fTVbYshRNavlWVxdlAkCx2SWkc2xihEsXL9LT1SHBhmLIcH9ySvIyxAAmtbstmQ+CT5RsaSEcFLrQAl09ndybvCeTRiLFdPfufTq72glHo9y6fofnP/a0rLi88fo7Mrly9ux5/uWVb8lnI+AV/Aad/YMsY6PDZLI5wsGgZHOIBVkykSCTz8hBi8/jlc99JBSRism1lU1pjbBEKqlUkEPkjfUVyaA4NNDPzo5QdKbp7e2WyRnB2hCA7ldffZVHHzuPXm+gN5oUizkCoTCT01NEAyFU3eLEM2fZzx9w+2vv0hb2sq83GettYXljTV6kx4ZVFtd0jkQUvvL2NyndvYWuenHaRX/9QG78Q74EDUPc9+oYB5OYbS/LLbmq7MqzHZUlnPYwliI+fwpmI48tfBSzuCIXY/iCmPkNrGgnDmGaq21jNraxmiEcAXFvdcrNvq44sTs0rHoZ9DSN7CK+4R+juPYhml2V5wfTdGK6vNgLi2jx8+i1LGZ2Hrsvgin4Ab4h7GYBSwwAjDx2l4rR9EEggbW/QrO8iDMxhGkFoCbsbHYobUNxQ27rbb4hrPquBOObtgKKLYlRW0R1JmQFCVVwrrLYjRyW/xCWUsGeT1F3JFHNEjZPGEMoAR0ebPawcEdB05ADiLoYOetp1GgfzVJJWgBMwSOoboB3CCXUSnPpFYz0A1xjP4tRq6FU1zBdAWy521+2xANviR+clsBIi4NhBMs3DMVlbCL6qR9AsYQWG5ckWs3I0yxuUqvv4Y4/gU3ZxKb4sOolapVl7IFHBNqARn0RM3pY9jlUCWYAu9holtfQup+iUT6QvVhVEfzQBlYpIzthllFAdfgwlRCat4NGdUXWBxRcNA8mZfTR6TlOo/pAamHMzApW+3mc9iD15gEu00Ht4CYE+7EJ2IIzimXuoeR3sXv8GF4BYciiZFawuYXeyZTVAU2QZPOr6KJ34fJjHkxTzTUIP/kR7vzll/jUb7/H0KEw1WKZaFK8fJqs5Wv88afbOJnQ6TnWwtrsFq+/W6BvtIVSYQ+v5iDR7qJrqAXTcGCvOlhYmaLeUGiNt0vwmxp2EHdqpNa3CLZHCATCqIKGrZcxqjbWl5YJxT24PAkwbRhWjVxqh+7BQfnlUshkcHhdRFuS8lAmnJaCZN83OIRlVVlbSTEk+phbGzKC3tXVQymXIS/8sn0PN6wi7huJJ+Vlslos0dndTalUJCysAXs6xUqGsUeGufz+Eh//4g7Pj/s42Mnx2LmjXL+dwtYsc+hwGx9+sMXqZp6XXzjEhcceoatNY3JmnkS0Q3qbZx5s0J70o6lBtrbWpV6jf6CLzg7R4zyQUb8//ovvkcnZGBkNsrpclpOxQNhOa2uERsOUne/Ubpn7SyW+8eefxVaocWN6jueeOsfnv/o6713f4PR4RAKzYq0BZh5ss7pb5Pc+9xLjgwHm53Y5frSLz3/tLe7P7jLY6aRaN6hsNfnqv3MT7O5iZXOXyk4JAUJIaiIVkGbgkEsmIO6vOfg//nqTnOpDaSr0tTYY6fJj6hYb21U5dEpnS9g1BX+8n9nb0wz1Rjl/soOPPHWcgNfJX/7T27zy2grtURWfuL2pLtZ3DT5ytosXnhtmaSHLQF+H3FyIafGXvvwVTp04weGjY8zPztDd1cfU1H2efOYx8vkyt29O8tJLH2UvfcDKyiLlUl5SsJ9/5gJvX77DKz/8QBJ+HVqVbMFioLWF+8v7rJebfPVTKseOB1hOWfLg2chZ+GI+OnticlghNpEut0nloEYwotLa7mNvo0jeMEin7TzYOaC0ZWNsooWpe1tk6hp9PS68pkYkIHq0CkXDxFE3ef7RON+9UmLHiPL3763Q0dqOmzLzmw3mdor86b8/z1DPCFfvzuPSVKxmU9KYhQ3CsgSsb4hvffPbdPf00Noi/N51qYFZ20px9tFjbKd2+f4P3ufMkUF+7pd+nD/7ytf5L1+7wafOJcmJQ1vTpKG5+A+PNnhqxMfVBzUZuxVxV6Oh4XbbOH4oxM25fX7uX230RE3OdIRoCfnYNpq8/u4Cv/yTR/ncF/6e9Te+SCDUKrt1ot+oaeJ56ZDVKJutTHXnNu7wCJY7gCEqS0oQVbjqK3vYPYK+W8Cs7Ms4vemLYor4l0e4cuuonojslTY23kCJnEMJBMHeAuVVjKJIJiXQhac+exdfaBjd24mir2EdZLF1HJPgGrvoa+9v4dI0mjY7miDvBlowyxXsikLBZsfeFAc70UkvA2KgIIwoTkzs2DWLemkXt2mCu4NafgGrbuBo68HK5mkGE9Iu4VXtZGoW8ZPH+Tcf/Vn+9rU1Hj0UpGq3yT5lS0sIR8NkRbjSP/00U9cn5Rf6Jz/xIt//wesyhn386GGufHhTHlSEwksokBI9bewur5O+uUBmcZvWgSghd5L13Bpdfa3sLm/Jrc3i8h4OGvR3RagYFrlaiUxBx6W2sJFOy4GY3+1lfbeGLjZhegOvP4BLt2jaG+RqKnajwkh7mIZqElBMwl437pANTVhUmib3H+wxOhwlZNeYXhAmHBWvUNQ1ygj8Y9jvIbNfolSzMTTeSXVP+OT3SGUNPD47J144gxZ144sEmb5yB7c7SFt7Qm69hgb7pUt7O71DsjUpExFHjh6jVChiNU22d1PkDvI8/sITbE0tMfvqbeqKRW9vTG5LBZBz5s6cjPq2nx1icXObIyPDrK5vEmuJcef6XdkpFnFp0RGulDLYHU75fLkDPgIS3DYjuRpiCCXi9KPjo/JdXK9UpILV7w/IuKnb65Tq0Vw2L73n5y6cJbOUYvvGA5wxhzR2iA10MVekVKqgVJp0PjmMPR5mb2Gbjq5W7k/PcvrkceYWFyUU7NSpo5w/d1YexkFhc2OD7u52aSL4+Mdf5K033mZgsE/2bkUlyOcJkS1muHX9Hp/85PMsLCzR09fN3RvC9jEgK20fXPqAetPg8cfPUyiUaBoG01NLPP3MGeYXluhsbePKlRuyD9/Z246KSk9vB2XhSE8fyM3YjWt3WFxd5szp0+zubkvCvogKF0sFaQ4Kx4IyvSBSScNjY/L/Y2tzg86OdqamJzlz7rwcGNy6eZP+3kEsUYXUxLMSYn1rg6NHj0rgXjgYopAvSGPD4uIaP/KJT3Cwt8vSyjIdXR2SLSC65OKC297eybUr1+Q2T9bofD654SyJdKHTKXkKDb0mo/6C/SBUhy9/+iX5OfzOd16Xhplke6uk8MtnZG2VfK7I2PhhpiYfpgsiwQD3px4QCnol4K5aqslqR2dvjzz/FXIV9vd36e7rIZ/JsrK4xsTJCQkjk5rE7R0Ojx9CiEfef+8yY2MP9WLVSolaw8DtcJNsi0jdYL1moteq9Az0U6tUpAHg3v0Zejo7qTXqkv3T0y20beJn0cnK+ipdHV1EQ37mHizJJYj4vQi4otiE6mWdmflZWXsRcNZsJi/p5en0Hqur6xIueObcaTIHeVaWl+jr65XgXpF+kbUVmyIvROJnHkvG2drYlJtXAS4TlQPBLxIR6WNHJ1A1ha2NLYKix2738MGHgs9io7snKZ+55597htdefRu7Q5FqRBU76+vb/MgnPyqHIq+/+SbDQ6N0dLTISHfDaJDa3iXoD9E30CWfnbW1FIP93bS0tPL2O2/JYZSw/ojncWZ2lpC86Ji0Jlokt6JUEhvPOprdLn8fG6l12ttaGegflNWFd95+lxPHjpHaTUmKvsctkgui2uKQiQ/DqMtnYmR8jNXlFTkYcTqcrCyLOkIcT0BExjPyvRSPJ9nZSWF32vF4fDJtKuwEAnpps1u0xFu4d3+KoC9IpCUqn4F6tY7f7yUSijIzOYkv4MHlfAgLLmQKqI0m2/eXiUeiUoNcr9Yo50oEEjGSh0VKxcfG/BqnzpzgtoA4epwyFXT/3k3CEQHELDM6MiIBmRK2WW1w5vxZVpYfyMrg+OgoM9MzjAyPSAOHMD7ki0V5iRcA0JZknP2DPZkA2E9nhDmNoD8s4ZcN3YbmALfbKfvcYhgnfubiM+zzBnA7nBIQKuwVAr7Y19dDVUTLxZBehZ7O9oe1HaedWDQmwZeidx8Ox1AUE6/Lj241ZLLgsUcflcrT9969yFYqJeGagoliYJOAxnt3b/PMMxd4752LaE43J09McO36tYc/g1yRU6eOSYhlqVLHLd8LDba3t4nHEnT2tTM7vUh3V6tUENb1mhwCi+H6QS5HLBqVz6z4zhFDTxG99AfDlHNFhgZ7eLC0Tjq1w/ipESg22fzgOuGOboxSgUqjgc/rQNNs7KTrsrq6NP8Nqukc2Y1lHE4NVbPhtAT/w0UzdoxGJYWzkcVW2qKam0TtfhnN24JWW6YqmET5JZqBw3hcQdnXtwm4slGWvCLdGUQtrmL4+lDtTkyriGW55XmjaYmkS5iGTcHVqNFwCsuAwDQW0W1xfM4mhk2A2bNywWpXPdRyGRwxF1ZxlUY2gysyIU6HqP4kta2raMFRabuQ4L7iInanT4LntYAfqipNFYzaJg5PN6bDR2V/Gk/n89j3J6mbwkrno2lqqPFhmsU9bM0sZrOK3TuA02FQWL+BUyTo3VEUYx1btYLdF0a3+1EMVX4/6+UUmr8Ly1JQDi5iC43SLO6j+gepWzX5HSPu1Zqoo2dmUBJPU9u/gdtlx/QOYGRn0JxRmSKxZW7/iaWoTqnNq4vdZSOPZunovi6ahU1J6HX5hMJsDnsph5J8mkZ9Hq1alnEwxddPNXMHtzOC4mnB3H4XBj+LdTAruxeOvk9K16dqigP23sMpjKBI+1sx7HHUegrTLaJINfmlaghTQHkLV1A4M1XZI2zWs6jNJkqsFz2Xg/oyiqdLlPJkYsHmsEv9lupooVFJ4w22gaeXWmMX1+670mRgOLtRRbxVqeBMPC11WeSWsYX6MRpVFLMhfaEC+Gc00zj9JzDMIub+Ev4nP0HhnTf5+M9/gVpLgrZ6kUfOudjcguXNPO8vKfQkTH7tqMqPvRjH36KyOXNAU/Pg0RQy4iWzkyVddHHo6ENwzjuvz3HhxSFy26IP6KdWEzAajcHjI0xeuk1Zb0hdTbOWx+HxyS+Yai1Psq8XxbKxPjNDtLsPt1chu19hb2eH9q52GuUKonWiNyoMiIhjtU5x/4BQPMHG7Ao2AVhUVVQhIadJPpuVG/bR/5+n946SKz3vM597K+fc1Tk3uhuNBhp5AEzkDJNmxKEkUsE6XluUtV5LK1uywtFZBXqlsz6WE30UTHklrbj2ShQlkRpSJIdiGE7ADHJGA+icu6u6co733vX7wcf8h+SZAKC66tb3ve/v9zwnZrj27g3lLj3z3ALf/+YVkr0RXOImjttpFRoUuwbNrTxWoMvvvGnn2zeb/OOPDimnZaZUxbTayjowMTpIqlTk2p0t5asVAv0nPvwMh7sruAIhBZtBpnI2nYdLT+iP9/DcxWeUrzYZtlFrafz8b/6/+IIak8OD6gHo0J14oyHu3dnh9IkhXB6Tob4oc1PjeLwGb11+xK//0k+zvrXCJ3/6T/j4iydYWd1QZGTpBgqIRuoyX/zDn+WNv7uK1s1Trmr8/dVHhCRK1K0wOeYgYtT4Z6+P0tU6PFppMNDvpFMz6Z8e4HtvPcTXbPLCR3rZWc7S0Hx85V6QP/rmDgtzCTptF5VmieePR3AZHZYODXK5ImcXRhXp//qdHKemXPzcz3ycL71xmXfv7bFwJMrk5HFu3bnC7ZUa/+W3Xkezm6QPZaO+p+KysrXY2dtTUcPbd+5x7twZ1pfX1eb0woWLPFxeYn15mxcvnlNWCelmnj/9jPrzhwM+Xv7oOT71U79Ot+PA5fTiVowNg92sTqpb5V8sRPmlX5jlznurDArX4PYa0XiUyECMg+VlBZMUR61Asr739kNsmpfUYZfbS0XsLouoQyc6EODUbC/vXn5CIObHo2n4g26mBgLUy3XubeaYGekjGmth/ncOwhvv1Vh3iHKqS8Jn0DTdfO9ekf/jMwtMDMbw+vp499o7HDs6i26CNxCi3ZbulsHq6iovvfwKX/yLL5HoSzA5PEZcLhjptIplanY3S48eMDAQ5XOf/wb7DY3zY2Eqzadb3kzJycN/m6B2WOK712pMTcYxhTBr2Ln/pMBHzoYJJDx85HcznBxPEPK2xe6mzAiPl3OcO5Hg3/7Nn5O6fkPBwYz6BqYlULwGLk8Io5pRcE75j2GZOCM9qr/rMFp0Kuvo4TnMagqPP05XSOeia3F7MDs1VTlqlA+Vl7xZ3UUPDuDUdNq5JZwSUZfhbKuIKQqd2FG0ShnLJRu2GGbuMbbAkKpXWfnrkDiv0h9mKUdbNKgyWPX0o3fTdAVQ5Rt9mgSIDGB0nVidfXTp3dmEJqtLpACbpSlNofABNKuAkT/A6e8VQhGdloHL7eeguEPAsAi+8GGeH/wwroCdptHGrcmmOKqcz3u5JrOnJvHMD9EtNpQh5P7D+4wMjnD++bPcvXlf1TxkG/O1r34Nl9tLJBGh3DUwG01sNR0jvcX6egZf147HZ8MedDA+EObB4iELC8M0ijXuC//B7ScRkB5eDaJeRGqo2ZxsrqUIxp1MDg+wtLVHj1yeNTD8Oj6vl3pdp9FqUqo+VVfZHUEWF3e5MB8VFwJLuwWG+vpoVrJsF0S5mcRp6WylM5w/O6MGSTfubBKJeiilG6r2deYHzmEF3fTFe/jWX3+D3vFBQj4P+VKFnqEkZrOLUddJlw45MjnO6MggX3vzWzx/6Tylco2r797g+Ok5VSNIFzMU19Kwk6Xrd6p++O7WPonhGMVUjf1UiU//yo+xuLFFfnWfobFhpVK98t4VxiRebbep3urphQWy+by6OMh2yB+KsL2yzvGFE2QLGfKZohq2CRG7b1CGbAbb66v09PervrpsoDyBgOrJ9o0Mc/hgg70b6/j7fTJd4bAgh/BRquUq9VIdRpNMClfk0SZTk8Ns7x+gdTSOHJ0gc1hm8ckDjs9Psbkmyq4qp8+ew+938db33mLqyBGl1RPbwejgqNILZ9IHmKZOOB5Sl7LlJ0v09PSpLfrfvvGGApvNHTvKu29fYWSsn8NsXmm/hof6SfTEFWTO7/Ngml1qooMTmrswU7qi82sS8Psolwusr23xzIWzLJw4yruXP2Cwf0hR1mdnZlhaXlK0cOk6JxJJbly/qbZxM7NHFC38g6vXVBxfgHI7uynKhRJH52Z49OQR/mBEAeWkE6x1u/QNDJJKZRifGOYwnWV7Z1ddGOX2IWcFiTLLpeTIEfl1l9UzRfR88roUiyXKpRrjY8PKXhCKh+iJxXn/8g3sDhvHF+bV9vvrX3+T06fP0GqLWtFH2+xw7cptzp87pZTAqZ0tFs6cZXt7k9TBAadOn1ZwwUazq2wCd+7cJRyNUK1UGB8dVZ3hg70DosJ86elR7xUZYkjPWgY0bbNNoich+1dWlzb4oR9+lWwux/vvXyESihOK+NSyR+LsAuCTC2Q2c6ji6JIKefzwEdPHZshmDhTdfGCwl6HhYR4+fEQ4FGR3J4XNLpWVMH6vFyydlbV1ZqcnyObyODxuzI5B0O9X8OFSucD88XkVj5aYdbvdVZyGnkSSVrPN+sYa4xNj7OztK01ko9bC53PjEVVmo6VSDwP9SfYO0ur90z/YS7laJRIMKW3x2OioUplKNWbmyBRf/co3VQUjEosTjURI9kkqc0UpEkX76PN5uX/vER4BXDscFIsVBbF8/OARQ2NDCgBXqhTJZ4sqsSlDJhmEy3mgJOe5WA/NVk0NGoTWL0aGaCSmttzlcplQIqwSno8eLDM9M8nezj63r9/m6PwsL73yAu++8z65w7wC3AWDfuzKOFJTF7+9rR1e/6FPcPPWTbV9PkzlmJmeUV11udALrymaCCmS/9KDZZV0EBZFKOhX1SKJyMvGen5u5mmqLipLxLaq9rQahuKKPHnwSKWXjp2cplqqEpRhy+ouXbFvNTpkMlmlhBRPu1gsiqbJ5Jkpor1x7ly5r0xEAnUUS5FpsxESQ0Oil/2dfcYmhxWP4uLFizy8+0BdfiXxIBWJxYePFXhWEnsSjb/07PN8cPkDTiwcV59pSdI4bU898fLzEyBmwOdSilBJxkzOzOB0aBjdNg8Wl0n29ipGiNSE7NhJH+6p5IOc3Xf391V9SVgDksyVn6HT/hS2ubO3S9DjY2r2COura2yubalExPjUmBrGiO1EBjkypBFzxMKpEyzeX8QX8HDn1gNGR4cUhFXOxsn+Puy6g92dTSaPzPLOW+8wd2JGfcdubm0BNsWbkPP1yvISCyePc+vGXc5fPInVkQrloTLFyOdcajU+X0ABHEMBL045p3scasiY7Onh5tWbJAdjNKoW4YEQfrefG3/ybcYnomQqVXqDXpL9YTY2U9QMF6Vak+UPfhf72EXYfYBRN+g0dTr5e3T0JChVexfN1gdmCaPVUclf0SFa7j51LrI7fXTaVbRyDlPr4owM0FKJxy4uh51OdhVnYlotjq2i6Ln7aVQ2MXU37sgYliU5H8H1iNLYi91WpNOSwdcOTi2O6XHTbpTUr2O3fBiVx+ieIVrdJpp3EKeVwjI9dBuSDhGTRhOn6aHTuI/mm8eRGFK6X9P0ojXuo5y+nhH0SAJaVazQNN3sOyrNY3f0qzuJpGtt/iSdcg6fI0LLH0TXwtDKoJlZ2pZ8t/ixKrKYl/MXWJUazmAcQ9znHSeW3lHGFMPbj97aQpe0QHOLljCadC8dgY4U7tLFj2/oDDgG0arL2HQTQ9Id2NEK1/+NZdal1xak0yqp7oEl9Gi5JBRzaGEB6QzQbKTRO5bqa2CU6WZXcQtp0RWlVdpV8RbT2w+lVSx3jI5MW1LfxR2SL+0hBSKw2nl0exzNLn8AU3XERM/gDgzTPryuABaWswfDoWOznHQcAZztQ0xnBFuri9neo+vyY7PF0Is3MQKnlftVl5hGbpluIw2uBGZ5D1tsCKpC9u/BkiirUQa3m1ZuHZdvAsthqb8uGqeOKWTJUWzlR5iaC80TxqjkMIL9tHOb9CR1Nm7f4aWf+y4DHoP5YyHiwT4uXxFoYYj+sIftXImGwCmabX72ZT8hW4eBhMaxoz00ankKqTaumMTMpZagU7TrJOR1qhfp2FpiyCTmhb3DLJrLrci9Mi099dLz7C+t0mw9BSlubeaIJ/24nXZCveNq4r+2eJuJuWl0u4sDcT3PTLK/lVF9w7j4WAs57HYP+XKWufOXKGc3qRXr5HbynDg3x9ZGmkgsqC5B7aZBJBLh9tU76nBVSJc5dnKYdtMkk2/g0gx6fTrxfvjVP4c/vp7nxJiPM31+9nJtwj1+9fds7ldwmCY75Q5+XVP2g1dfGGN2cpAXLs1yWGqyvXGAL+hhZ32LaksjEQoQiiY4dXacazcf8zOf/QanJrzMTceol0SfNM6jZdGzhChWDT50bo6RATEabHDpwmk0Wxuj3ua/vXGDe6tleqKSmmgQD4Y4Oj3GH/zFZX76tXF+4ed/gve+f5l0yc3fXb7H45Uc/+FHwjwqgidX5Z/+TB87W13V0fKGIjh9LvwBD4u3VvA7u4weGaCWNbDpVbRWiYNslT/6nps/ve+hN9nm5WEPvT4vK7UhXtdUAAAgAElEQVSyiuB38yXeuy+2AhfraXD4TdxoeH061arG1Eic3cN90jmLz//WT5JI+Lm5tE7EFcbSDOwSSfzy1xTN9cL5s1y+8gFLS08VQw8fPCAcifFk5QGvfvwHFaFbWAuTQ8O0TLh+5wGvv3KK6w83+fJ3NoiGuiRDAUpNHZety9qhnf/z1Q4/8olerny3xNT5hIrA6Z08Bk40s8NBzuILf7VDu2PDYe/QlfBlF44MOZWaqGY0Sfqd2Fw62VKTkMNGS9NpNS0FkAuHPTRzZaL9PipFB2ePNLm83cMfvrnL8aN9eC03a5k0qXSLU3MJfvgHThHw9ZKplqkU8+qwJ/3l3t4BNtaWGBx8Sth2ezxsrWzgdGu4PQESsSi1coXdvSwXLw5x4/Ya37m6hk130G5oDCS6vP3QJOms88Znh5V/ffWgid61k84eMjYyqjZJIalK+HRe+O0sL144iV/bZmmpzA9+6gzX3rxP16zyF3cfU1v/W7oFP6a1h9bVlNLUbErP14e75zTNyiJG9QCP9MVqZcx2QU1wpQcosa+2GEvsDpFlYBRu4ZJNvly8XCGa2YdorhAOKQX7ZLDZxqs1aAkoTNSBnTyWwAIDQ3Syd7F7h7C8IczKFrqwW+w1TKkmYOCgRtsKYqeJUVlTsTPNM0rLrCiIjm7VsPmm6DSewgBF7Wp6A9iqKaUn8oT7MXQ37dI9nL45jM4eukMANw08fV3MQ3BNnGdr+RvMPPsfeP3lCZqdCh5HgFQmp2CEbjPAkpbh9KVnaeSLqkNZbSgoCTodpVGSKOOps+doNWrqQJnJZtSWs22YCuooWxNbrcn9v7+BS9coHjbpnwpjM1r0DsRIV9tktjJcOn+CarnE6qYQ6C08YQ9ut11ddkW9Jh3ZvcOn3fygT1RzOnvpA4bVBbeGZQgppUtHfM0Bv9p6N40uNgMK+Ty64cDus6kLXCQSVNuw9E6BTKpK8mgcLRLAPxAnEvZTKZQVjKlaq6uLVd//cEfL5q1crpPsiaoDou500pOIKXr27Rv3VK/59KkTbO/uqAiquKQFJGY/KNLIFPGHXOSKDbU1fuHFM3z/W7dUeuH0689SKDbY21xlZnJWwXVlwzo0MkTqIKNi9ELEl9i82TUJh31qayiDDzl4yoVqd3tH/bcMxOX1kK27/G+5EIrWtlQoqwPhzPwRWlWDrQ9uc7iTZWg8IbN9daGWQ72kTDKNJvM/cJ65iSmuXbuDTXOwc7CjkjgSSRe1nMTwo/Gw2rQ9XlpmfHxYObAT8YTatkp/V3rdAn4SWKL423XNVJcEj8uLgaGis6n9Qyyzy+5eit7eKJeefZb19S1qlbKiV588McfVazeUNk2SAR1xgKf2lb7t7Lln+OobX+f8+XMUshlVTxDWiKj8ZKvv8nrxO32sbKyr6L9svw/29nnm0jmuvH+dzY09/H4Hfn8Ah8vN8fmjijJuAs1qg3Q2w/MvPqti11fev6I29xJBl8ve9vYOW+vbSpN38bkLfPObf08sHFXR4asf3KB3oJeD3T00u1Dgw+pifevGDcbHp0j296jEwubWOp/5zD/i937/v6j35MLCMe7ffsTQ6ICCAwrR/cLFM2yu7rO2vqYua75ACL/PxeDQII+fLKsDf9fU0W1dmrUOrU6L4cEhDMNSScNqrUyrZdDXn1S6PVHGJZMxfH4vG5u7CpQmn3UZTCSTvapCcPWDa0+Bk7PTynwgGrWNlXUcTifjo2M8XH7EsZk5CqUyB/vbqrogr6vYJWamj6hBg+gyj87PkD1Iozldysog7wXRp8lQQaopPYmo+v1sb8r3gft/DFRGKVeL2DWBGOZw2HVGRkfIZA9VGk7SNxJ7Pn/+JI12Rw0qRd1mc7oVwV0glzJ4uHnrjoL+CeV+f2+XcCSiUkr1co1sKaPgu6VqiW6nq15T2YTbHU8rA8fmjyo+hTw3qtUaY+Pj6hL26ideZWdrS4HnZFsvTAPhX2xvbqp/Ri5rmpwK7XbqzQZer1f9fm7du8dHXvmIAiu//941RidGGBsZVCmFg1SaerVGOBZQFphyocLayjaegEs9w4QWL7YMj9enzjPNVocHtx8yMTGmIJST0+MqpXD3zl0uPXdOfZ7kcympA3lftFpNauWyUjunDnNEQ1GlAhX7gEB75fKf6I2pAZFUBKROI5URoZ2HIlHy6Tx76T2mxiexe2ykdw9VxUW4BMPTI7TqXZav3qLfJ8Ye0UCGWFx8wlAySQeT6IlxVpfW+fSPvc7bb72nOBr7B/tqcHLn3kMmJ8eVxWD/4PB/VgXFhCCJIFHjyQBmYLCPcDgkP2Ue3L3HQP+Aeg6EIhFKpTztZodwPEI8GlXDn5s3bzE7O42QmKTOIO+1RE+PgkSKFeXIzCRrKxvEYgnF75D0lEBI19ZXmTs6r4Zjf/uVr+B0eBkZ7cMwTfWzDgf8ZEsFMHU1WJIU3Ob6jkqrjY+NcOPqdT72sY9x/cZVXvrwKwrIODE+hmazc//eAwVq7O3vfdr3l+rMfkZBUZ88ecL88aMqoeB3e1nf2VZssFgyxksvPsvG5iYrT5bUEEJsLPKddOz4nIKd3rx2W1VV5AtQDArHTx5nc21T6aZHR0YUbLNYLzOYSDI1NaGqDg7NRM92MHbz1COyFOhyfmGSt99fJRJ0Ui6UKdTsPP7Gv0APdQjN/4jS8NFIgcsJ7Rbm3g20VoaaFcVJr1qSFB7fITQ+Tssw8diTZLNvExp5RT036qtr2Ia82DpT6PoO5XoXr8uN7glh83qxGofUDx7iipzDtNcU0FT39qlNu61VVLwpu2+EbnpNcZfckT5qhQ3cgR66+3cxYrPoUiTXGtQbTjSfi/b+baVWtofjaK0KpqTm5f2t+RSEudvNous9CkJpGSkc3mEV6df0OFr3kHa7ikPqoQKgNyrgFaD+HjZvEq2bxvTG0DsOuhSxNXI4gmPKcGGXZH70GEb9ELsMA3z96O4kndouNmFpFFPYCo+x/BPYPUFsUlHwCWTbT6cgqVk535nqsygcGIE6mI4IllUGSQAU3vsVS6L3ZngAvVlGd0fRvBPqsKoLfdEWo1tcxUEVvWcBo1gAP1gt59P4QzNHe+ctnOFxdP8ozdIDXM449uQJOvll1T2VraTZbuM2WjQEhKGLd7GLZXejtXXlU21kHyjIlOFo4rAPY0ocX5OHXxFX4wBHcIKmacfVSSkKZLudxR48SkeIiJZbpQdMs4LucdOpyXRFSJBd7MFB2p4gWv4+uh5A0wwFDjRLZazybXTPKHrfabrSoahVsEucJH4On99Ju7xHtmAj0b2Ja/ZFBqZ/lY9c9GGrw05V6MwOQh4nybgDs9zFjHS4ve5hI9Mg6e0QjXmw2lVeGNP41R8bIO5zcJCp4dPaeAf7yewV2DuoE4uFqda7qgfUtXeYmFlgc3MRjykHyLT6Yhg/Mc/WyjY9UQFMQDa7z+zsMVakHx0Sp3NRpQMq6ZTqOB2sHhCM+PHGE+rLqJzPYCBR+h46uYpSiQj0QS5W0o+p1xqsPNwlHI7TNxhm/fEm41O9pHaKyuPtioZJpXYUTFCzgpw/rtEXN9ja9/DP/p86b650OD+tM5vw0zJ11rfzxHvtjPQNs7yeIdkToGNzsra6xdxwnJMLI2rT0izVOX5yjje/8w3Onr7E1mYRt6fIax99npt3VvipX/ka/+BT8zSqWT64usfocJiFEwP87fdWadYbrH/wR/zGb/4bHq7nOHPqCAszR4j12Pm13/4Kut1Hq5lDs/mZ6veQrhrs7jf4N7/2SdrtIl/4/94n3YRYNMil3gwb+05ePaXx3AsTPFzcpb8npACBEoH0+J30D/WwdG+TSr1Fu9Yi4nUqsnZvwo/XWWNnN8+fvO3gP76nE3S1uTjUoX98kP2dHA6Hm1a9wPTUOA+WcyQSLio1g8PDPJfOT9DqGFy/t0/So/HHn/81/tX/9TnGRwbxepwMD4woFdHl9z9g/tgcmlNXDzwBd8nhVL6cm/UalXqVZG9SxTBb5QqTR6b5r1/8Gs9fOq4our/4H99kciIE1TrxuF/1zt97UOBzP+rkH//iR1m/fBNbIESrqHP93jKpQw8tvcXalp0TR0VpZOJ2GVSKHSo1GBp0MDIcotOwsbubp9rQ6egaLleLYt6GzeajWC1wkO7yg+cDnDjey+KTfX7olQj/+i9y/Kf32nzkuPQSLbb3qyppUM3Vef7sMPNzEudz0DabCvI1MzvNzRs3GB6ZVIcz6cDJdlCYBXIYlE1ET29C2S/EjOALBvid3/sqQZsDb8BNRzgidZ3LqRxv/nSE/h4371w95OhMkqHRMBvrBxzul2k5Apw+6iIgW7bfzPDsWJgPvTzI7q7Jbv6A1HoDTWvwtcUrtPdu0ipZaEYFQ02Qk5hItz+LI9FPt5iF3ktYuQc46hsKMtetpbHcA0ptaspzyrJj6S0MpwebfBkWNrCCfTijx2mLW7aWw/TE6JQ38MbH6eZ3FE/FFDYDDSzfsOqkGflFtMQCVqmAwxeh64ygdVfBCmE1D3D4pjEkDrf3Dnan+6lZxS8WhxydnWs4knPYfAlFpe3QQg9MYTQK6OUl9KAoPcPo5T260TGcrUM6lZTq05nROerZHQZf/U3+8Jf+IT//uZu8fsnL/kEVtzdKo1xl9sQEd6894dmfeV2R5G9cua4uWJKekOFfs9NRl4W+aC/FWo5oLIKwddKHKdyajd6hJHupQ4rlMr5gkJFjU+xevUd384CDgzaJqBtfr5fx5CDXr97HsGt4/DIkBbvmwOmx02521XAs2RtVsUSvR6LTFka3hcvpfLqJTYbZ3M5gui0c6Mwcn2J9eY9MKcegwKqEX1NrKb2iW+uo2HU6VafcNpg9FcfUPBy2Gxy/uMBgby/X3r5K0zKIJeJ4XT5WVld46UMv8P67VxgZH1LDj2qxSrIvycbmuorkz85N8/jRGuk9ictLlcTGyso6cyfmOHHyCH//B1+mXmlxdH6IQrGuCPFihTncyTF1ehRjtIdausTg2CCbGxtKozcyMsjtm7fUtlNi5ULVtjk8bK6sKZL3nYd3ufTMRRI9UUUj7+1Jsrq+wfSRKe7eu8fs9CwdU5gLYkAc5dGjVfW6Rvuj3PzKu0QcbvqOjNBoVthY2mJiZphSsUq7UKcWsjNy/LhSPskwqph5yqOR7fTK2orqbMt3jwxRqs0yrVqb5194nhvXbyionJwVRkemVKWp0ajRqLfUhV26ypakN4SE3jaZP36MO7fu0pOM8+zzF7l56x6NakUduEOhCG6vQ/VtJycnVcpAAKKPHi/i8/pYOHGCcqWu/r8MGaWOMTQ6TH9vmJs37lHIV+kf7CcRi6if5d7ONqFIGL/fp74bRNslBosjRyZ4/HiFaDj81GrQL+rKlgIhiuZPNswSqbfbbAq69ubXv83o2BDNbotTC2f58le+zLMXLtEymty6fovXf+R1Ht5ZVCkAIeTPS+zcprP4YImJsVGuXLuu1IGjR8a5d+ce8yemKeTKjI4MK77AF77w33j5xRdZ39ph6ckiNptb/bmnJifVRUEGDG6nk3Q6Re6wpFIB0n0WGF+5nGd0UBR3N9VlUpR9ktAJh6STa5HLZOhJ9mO0RXEp8Vmdje1tHJpTRYYlLp5NHVCvtTh1ZkFdKgV4Jk50uRTKdrWQFQC0R/GByvLdlYgTi0TZ3dtRSa69gwN18Sgc5skUcuoytbO7S7vRUfUEqS6OjY+qlJ1pduh0O6orPzQyzMP7j2nUGzz3wkWufnBFDV/2d9NqeCHayiePlp9C+Q726RtI0Ki1MSyB4Y3ypb/5Mi+98BLVaolitfJ0w6vrahgqlHjx3UtSQ5IyJm1e+fArrG1uKVd8WBKOrabSIAYDAmBL43Z7CcqQRNJJwZA6l0XCERUPX3qySrKvlxeef5avfvXvCISfGqb291NMHzuC1tZodCqq+lgql9WQRQZj+6lD9T0v7KJaqcydO4/44U++RrNdJxCOsvL4sao1ihL22eeeVRf+G1duqc1qam+fSDSozA/j4+N8cOU9NNNB/1CS/R1hathU4kFgiOGAR30WlhaXVQ/cF/ApjWU6k2FvZ0f19/v6htRg8xtvfoOjszOk9jIMDEltb5NYskfZeCS2PXFklLs37ipGhICK5RL/8OEiCyfm8YVDKu1QlKFMrkjPQJ/oN8js53DYNMyAk/kPneLyd66qeouceVPZDJNjkvRtsyiLkFAUh3jkRSu6d6Ag15JkPL0wz+X3risobygcYmt9lYmJcbKlIof7GQXdO35slo3tHZVoczgEsJfG5fJRLGU4Ic8vgSwG/RRyJbWZL5byRCM9ajD9aPGhujCKnUkcoY8XHzM0MqiSN9lClsHeAVaW1tSAotaqy52XXCFNOBRXVfHDXEZ9LhQcc3iAh0+WGenvV8OwtdUVBTkMRfzKxiDgzbGxYfzBAHdv3uNDH/kQD+8vqsui1KTy2ayCuwprRdInwvsYGuyn0Xoa5W/WW8qE0WrVFddA2BH+sI/BgSFuXr+F2+tVqSWf161sD8LfODY3oxYsYvaQ82W5UlafB90GibEhVt++C8sHaD0eQj4XQa+dzUxTVdjOLwyxubzHzZWW2tpHNHj9B6ZArxB1BBmY8HPmyAyn/sHPork0nMYNMMboPLmGmezD6oSp7y9j5Vs4B2extfJq6CH3vHxuEZevH8sK4uge0jUatG1xfM4AHYeGQ/NhlhaxynsYPSfQq2VVVdbdMVpGDU1vqjumDKXVKsIxBMahSmFKaqK1/z1pGxMYPEVX99Gt7WAT9oB3CKN7qAZ3xI/QqbSwS93dFsA0HWoxYHSbOBopDKckg01sDgutllccNsufVMw9Q+6rzglsxi4Om49uu0KnXcbm7kV3Ruh0DrFyy9h8Awpab+9KXaCD5owrRgjOKIZmqAWIw9ZDs5vFamTBE0JvGjiCTtpWQCVizW5FgfQliW+zCwTfh25zohWv/meL9iGG04nd0LFKK2jh0+iRCO3yE+wSta+sK8+4PT6rgA2dto5el7hWG8tuYZP3VmIUq97AaFegbxJXRfpAu9iiC5ilB5itLg7LwDTq4JtAc7RVFUDUfJZ9ENMTVl7wroAS7AnMRgbcOg4rSLeTV5HYLk6Qv6u+jRUawV5pYJgStZetug8bHWzysLQn1QbTbm/R7chfc+CxUAMES9h6gR6sw6tovn4MzwiOVppWPYPmm8RpNuk0FrERxrKFQE/js0Uxzv0oP/fx13jzrQ0+/qE4es1gLWuQCDqZGPBxdfMQe9vGYNJHxWgx4XcwMxnns3+6huHxMd7T5eFOh+P9Or/4aoxzMx6MfInAmDgms9TtQcr5DpurRaZmhmmYOvlKBa1V5MSpeXZWNqjWDU6cP8rG8jZ7OymOzB9RDyOh8mbTu/gCfkmEqEmkbL66prRVbPSN9JFJCfXbYvXxkopgBXxBQgk/d65tMTEWJNIXYmMtqzq+gZhQji1qNVEdRmgYFUW0ToR8VCtl3PE4l99JUW52+d9/sp9KpcAX3uny777rxKpWGRlyE4naMEt2TEeLmi3IeLDJVrrG4WGH+ck481ODDA362E8LndrH6Mgk9+9cIRAZJBLzEw/HCXvhL/7+PX7vz5/wzJEw8zMRMF2sbBbA1WJpqchv/fzL/OSnP8rn/uBr9Pb6mZxICgeMt+884S+/couBQT+jiV62DrJkCgXVwcEUqniHo0NuomE/lPNEon5q6Tw//oKb8y8fp1O1s7a3jdkyiAWD6otetpnhYIzBmUEK+ylw+8lvHBJ0OfD6NILROg4hbjfgc99t881rBitpi7FRnY+d6MPtsLOTrnDlwQGf+eQ89zfLFPMFgi43TdMgW2ujNTr87m98mtt3H9HsiAbGxkBPLy6fhyePNtTkVw5FXbNL7jDF4KgQRKGYzyrYkUR3JTb25PEDfuCjr3D3oXiiRX/j4Jf/9dtEk076g25csmEtlbhbaPCZ4Q6//i8X+K9fXKeea9ByWfRGIzxaqzDQY0fzNlkYT7L8IMvY0RCZdJ2JsSTthsnj3T0Mw6E6onurWUbHIgS8buU+d9EiVdJo6xo/9Q+P8uTxPqmdCs/N+fnSW0U++7ZGxGOgtw0mBkMK0JWtdnBqTl59cZZPfHScx49SVBqWmsYLSArdoNWQLbmLd7//HpNTg5xcOKW0O3IIPH18WsGv/vUfv8P6do2PHnPxwUqTE+MOtrIW6YbB2u8Nc+1qiie7HeZnRkjntkkGQwyMeHnjjW2Gw14+/toA/+RPD2gZPkwqHInGubFUw+vsENQb/Mn7X6a1skirYVddUF3UWp6I6lPSFkVyG6uTwhE/S6f0GF1zgzyIc7ewJT+k6K5WYRWoQfAURmgQa/cKundEXAd09r6DY+BHMAu3cfkSNOsH6PYe7A4vhm8QvX2I1UrRJa7cyVZjH8MbR7N5sEr72CODdDstbMEj2Aq3aJV21LPV3XsBwfJXS1eITHySemkNvZaG/o/irG/QNd1ozRQEE2g2mW6HaZYe4fHFFfnc4epTU2pqebW5R5+kkr3K4Guf5hc/+Rn+01d3+OVPHWWtUmH5fpaeiIfDQpFQbwz33Bi2pmxRChSLZcX+iCZiJBO93L11F8OyVL83m89y8+Zdnjl3hr3sAfFwTEUtlx8t0zIazC0co2vayOcyRGvy78uT3cgw3BtWbIFKo6mGC3Gvg0KzSVM2+gIUszQSgwl2t3YY6u1XcCrdMtTGyO6SZ5YHbyCsEhqZ7RThaJi1DTEZBHGaOpVyDaffoQwqUpGwbA48cR/zP/gck+PDXH3rmur9y1bX6TQVhKknEqParuN1e1XsUvrHu9spFZEWAFEsmsDrdbGztauyEBIVlq317JEptXUXQJjHJ7pbr2LlPHjjFoODYZq1LvmyUNBDFFpVwoaD2FQv5agbd9tGQ3qJbp3xqUmuvn9NpboEACiALkm6VCsl7t69x/jYKH39w2ztbilon/jJBVh37/5dFakVld362pqi6i+vrKDZNaUHvPr+TWwOG/5SS/XLS2VJaHnVYUdUYQI7NXJNTv7Ec9SV2aJFak+0eiYXnj1HoypQyAx9vT3Umg0CXh+FSllt4KT7LEBAieq2JXkhiSNdV1tQ+XXkMH50bor7dxdlAsDc/Akuv/M+Q+Mj7O/tqQGSwGfdYklwBxXUz+dzsb60xfj0GKFwlIO9bTScBMI+tREUgKLwQ6R3PjE5wf37d9WgLBnvoUv7KXDT3iURT1JUqrUhVTEQJoBUC86dPcv33nqbUDSs4shChB8VMO8DqTfMs7G+qWj/QoMf6Btkd3+Xwb4+5QM/vrDAYSqF2bVUTFiYHSNTIyoZ0Nc7QDwaYHdvX4EHpdLTE+9V9YJ33/1A6WClc7y+toHH5SYWixCMBLl+7Ya6NMqlOhoLc+r0Ob78V3/FydML6mc9kBxU+jAZHEhqQSBgY2NjLK+uqlSlJoYSm0PR9SVdkS+IMm1aVQGeamij3L59mzGlOcsSiYQ4c/4s5XyOpdUVBZIrFWqsLK+g2QzMlsUzL1xQKuAjk5N0OhLHtTg+d1xdLAzTUheLB/eXeOmlS0qRJuYHt8uj6hKiKusfGFQd875kLz6/m6WlNcU9kN+/sBoSEVEN+hQ3plKRLbzG6MgY21s7HB7uM3dsjnv3HiptZSQQUkNHgaoFQh5K+ZoCXAqE0+MJEgj68fuk859WXXKhsMt2c2xkmEKlpLSA05MzqqOtOexqyCbVAYmgi8FDPm/VWpOAx6WeM/L6SZoiW8gxMjSoBmtiKmg32uq9eu6ZU6ra1tfXT0t69B7PU2Xo4QHnL5xl8eEj7Lqd5196kb/58t/Q1z/I9JRUJRaZmzvG2ua6AvSJGlCi9s1Gm2AorKoKmYMDut0usXhCbeJTB3toNksNPeQeMTE2idfr5t1336NabnH+mTO4fQ52Nw8UQ0TOHM1KTVVVHW4b25tbKskhSUFhGUi0Pl+UlKlDfTZrpZJircgFWOqeXo/UbTr09fYqLoilaywuPuTcmdN4fQHKxfz/gABGaW/sE7B50bwObt95SDIaUTal6FQ/Iyen2dveY3d9l/HJUcWyuPzOB0qpKUOUbDql0ipP0zt+njx+RDQSV5evUqlBfzJKud5UNSZ5hgkMMRGPk0ofYhm6uvw22lWVZpZucTZ3SCLRh9Omk84cquGC0ybZza6qrWQOM8gUUoZ9UquQGL8MSOS5Pjc3yze/8R3W17c5OjfNc5cu8vbb71FrVNRAQb7j0geHDA0M0zFa5Ap5JifG8AdDfPtb3+XYsWPYdLEoHVLMVpS2UJ6FMgyUoVmr2VVQSbn4S9JkZnaOpaVFRkdHiMWSPH68qBYiUn+Ym5vnyeNFVXWRqk0iFqNQLKiaQ7sj/x63OmeG/RFVl3nmmdMKltgzlEDv2Hm8sqIqlsIEkHrq8WPzXL12nVBQ/E427JqF814adxCCEwn2Hm4zMJQklalgVcv8L586y/UHqxQrpur0Lz6oKTOQKYDdBgh9QhIeiTC8MBvhJ//RD/HK6y9jufzqtcfWppXJUMtW0Uq72ENyP9LwSb1Rd+LUi3QLNbUlN6KT2C0XXapqACBq5W6lBLYqzsiY+lx4HC5ahbvoyQvYWlWMZhq7b0hVwe0uA6t0iBZIqu+WTteBXc5t3iCW8Ahq29jcY5hmE8tooDsC1Lffxjd0CdMThcYuSFJec6L7Iuhyb61XMVs5XKIfdI7RMVLouTy6z69SmwJrlnq/4Ung1nx0XU4J52O1tjHLDcxuDmIL2G0JjHYKze7HbKyrFZAMGIRqYKdEt15Cc4XRbCKYSmC6wxi1ZWyeEezeCNX9q9iL69j7zmA53OitIlr26r+yNNPEFT5Cu15R+gWJhIr6wLSc6I2U8i86ZKNf2sJs1bEH++jIwdE7hO4LQbuOJhm7TgNbJEa7msNWPqTriiiIoH3dbAYAACAASURBVEzebFqQbmUDs5PHEZjAatfQ7R4siW5oPkUPd3ZyWM4wuiU+Twed2gF4Asrh3NbtOIwc6BFMRxC7XlfRQLO6g+T77MEJTF+Pcuva5AdaXFaORLNnFodjiE7xHXT3GCJsdztj1Fb+K/b+Z7DsQbRWG7QWNqtJlxDdwrLqmghwxOuLk89VGTl1kobWZnDwF0gmmkxH/UTl4hxwceNunuF+Lw67l1Y9z3amysxQjGjA4s6jKh9+ZoS3FlNspKpcmA7xweMK+wUTv9vBP33GzWCfyctnA4zMRtGNALtbqxRLHWwtG5onTtPWJLuSJZZ0qp6y5tZJJCMUDgsqGozLRiTgU9srIUYnB8OsLG4wNjbA1vo+B9tZhibiZA8qxAIBulaLXKWFW7eTSTUIiQ92ULpuDeyWE4enqx4OXn+QlcdZIrEAjVaH3F5DXYRPn+qj0mpgaj7ur7SZS5QYTQTItn384l8XuXVg0R/S8dFgojdMvpLCGxpipCfI9u4B91aLeAMuXnv2KPPHE6w83lJu40wurXqVsWAPV+7eZWY0ycsvnOALf/UO/+rz7/HSyUEG+/3cXT4g6nJTazVJ5Rt88Q/+V7VNajec3L11n2PHx3j2pXn+4Pe/ydX7GZJJqVMImd5D095Cr9XQdRdxeZDqFWqZJjv7dv7sV4IMxHxUuy6eLKVUF1qGVv6Yj/4+8eOWqJSaODWB5LkJBMLkqgVSe01SO1m8wQDDSTujXgt7o0Zgdox//5e7/LdrOiv5Dn3+Jq9fmOLq0jIRLUSiL0gsFCNbqqpIsm7roJluXrs0i+Y2OHl0hoN0mUjYy3e+/30mRsd5/vkX+IsvfVFFyOLxGLmCJCaC1CsFjp84wfrmtvpCCEdDzM8fo9tos7OT5hOvXeKlT/07BUWcG/axvl/AcnvIFOE3PmwwEtL53p025094CYedLO102N7M8NrHprlyZZ2R4TgtNX20sbSYYXo0xP5hg1DYT1vAWeUOI/1hlfTxhbo8fNDg9U8MMTUZpdXR0drS83LwYCnPxRM6v/v5Tf74oZDVa0QGfDLr4zD7VPeVy3bYzbb46deP8sM//AKJkJNssUi3pdPtasrSIYdOOVzIwWJoYIj+3ig7qRyFQoW//sYNrixVODvrZTDuJL9Xp+PU2ai7OBMq8fn/LcGjtQLOjp+dYkXBGwV8FR/1EPPbWH1QYqynyxtPvPz1PU0pQGN+g7PTw/zdO0tMDbv50nt/RXMvTTe9Q9OqofsmVA/M0UxjRXtUd0uT6BkNujZRtwyjGfuqN6+1ZUrbh+aMQruC6QjgcDRpbb6DY/BFCQ1j27+FNf6j6lmkpr1eN91yWkXYrMgkpmWjW03hDg7TrWwriGSnm8OffIbmzlWIjKBZXXS7k+7+97HbIirabwufpWvt4HQEaEtyqn1I6+AqelSif3VsDr96jmuuiNqICXuk1c1g2qSGVUB3BTCs9tOenncct3wh9vZgxWaY7HtBKTr7BxJk8m2mhhJk0jk2dgqc+9gF1iqHOLERScQZGRrmzq0bjE0eoZB5Sl+XzcPK6rKK4C+cXKDVbqhL28TEMKu722jCA+hayu8uhzd3OMT0iTFsmp1aqsjNb18hJAe0jijo7Njsbox6npDPh+F1s7WRoS8eIt+oE3C56BvsoVxpk0ll6e1LqM2Vz+NQ3vhUrk4iHsLrlZSATiZboeY0mD51jMOdQ/zJEGc/9gzUuzxee4JLNIvVBrFEmPu37tLtmkyMi1qvq+BNKbF2vPQhDg52WF9aoad/gIVTJynni6xtrpFKZ1g4fkxdjASil+iN020bBFwetQl79HiDZNTB8vefEJTtR6lApEco5l0mJka5+vYdAhMR5j/6IpVUTm0e+wZ7aTU7aosT9oeotVuK0u/zupibP87+3o6K8YoLfXRigq3NbTWYEWr2xz/2CvuZfZUE84R9uJ2yaawxc3RM0e5z1RoXLl1g7f17FFfWcIR86jtBNmxiaylli7gjfqLTI+RKGc6cOc3X/+77CsK1t7dDPldUG8GFEwv88f/9Z/T2xPn4ax/n6pUPlAteYHAup47D5VWVhWg8ri5AMggUpZZEs2VQcu7MGba39rh+9Rqf/vFPqmqCDAOnZ6dYevyEQCjK9NQI9UZbEeeFnC10fp9XEiJutblV0nXdVMT7ikpkxHFJ97tWYXJikqW1bVr1IpOzs6w/WaZRayq2gs/lB9k02WWrmlaK149+/KPqkhIM+5XjXSoG8d5+mq26Aq6NjQrMcE2lUM49c47iYQ5sdrXZluplt11VQFzhCXz7OwI/nFDfiR2jq3rHYmSReLGA637w9VcVBf3hg8fq8iXUeEkpiBJNYIjzR4/yzgfvEw+HcLhdSrd34/ZNKvmKgjzmimnGx49w9+4dhocGcfvEhHCoqjeTY9Pq18sVMspZLjRwp8PB2toak0cmVQpTeCzymon+bHLqCGjm0/dlOMzB/oGCx8UiEdXr94d8OO0eGo2W6m2LVWJqaoqv/93fqz+jvIdFTScgQk23KfWhgOJEjSs2hMnJUW5dv60I5r2JHqW+6+1Lqq2p9NM3d3aVJlbUaLFYjHy2wMzRae7dF2XksBpYSApCs2xcuHSJ995/h8HBYTU4mT8xRyGXUzDBTqulIHFjU+Mqbrx47wFj42MqpbO1KRdniMciChAnFP9gIIxp1zg82FdmDEkwfHDtpoIQHh6kyOSyzExPqyqIz+tAKHLT4xN88S//krljx4iFQwpK6nV72E+n2d9JMT49yvjwGA8WH6lKi46N3t5eYrEghwKuaxvYcajahwyv5LMhAM9vvfldlfaUFIxKpzTr6p+Vv//x0mMFnRYWjFQ7pToir6H09eXnJCm6kycX2N/bV+wgSRIcP3YS02rxZPExvckhNna3SUSiWN02PYMDhIM+7t9/QmrvgJHRfvqGh7l18xY//hOf4r33rqqqjGyZFx/e59JzF1lb36CYL6kUVsAXJl8skzrY59TpEzy4/xDd5sBd7rD3eIvhmT4uPnOGN7/9Lj7dhr0/RnAgQVWI9KEojUpDqTCV4q/dVfYEqTeJxlAghDJcOdjfVbpRAWmKjUJAb/39fewepPC4XVSrMhj0K1bJzvYeJ8/MqzPV9as3VMVnUC756Txdo61qQzJs03VNpQAkRSVLGdH/TU1M8f7lD/D6fIRCYR7ef6Bgk/IdJglNGZKcPntSDaxkSCRw6HKxoSpfT54sMTY6gokMwApsru/yiU+8ytvvvoelmZycX2BjZ1uBjnv6e2lUq5SrFaX7C/i9is/SatYZGBxU73uHU6NarrP48AnnL5zh6tVbihY/P39U/Vx7kr3kc1n2UwfKGiBpLxnkih3A7QqoM69ULFdX1jFNQ2m5y/k6A8O96vO/t7en+Ab5QxkG6FiNNsdePsn2t26RfryGbyhIsdgmFvZRybRoUcSPn67VZXQgprgVW9kKo6P9SvMeCQdYT2WxWyZrB5pSP+/WQHLj430aH7oY4yd+9Ec48fFX0KTumC7T3H9EJ7+Kf/Ao3XqbrpxN5J5q5tFFHdjNK4ifzSU8I1EYN9HdQ9gdPppC67ecIDWTWouu04bLatIx61haDLsoXEUx74iiBX1otX0M/xBGaROHpJ1sXrVA1DWhsnrptoq4jBr1toUrOoDeamDYAtAtYfMH1UJF9HyGmUKLH0OrWUjlXrc3FXC55evDmbmP1THQomNKS6/L78UpTAAneIPY6y1Mu0G9m8NrC9G19aI31tCklmeZWPUiXbvUKSrKQtVtZDHzd3EE5+j4enG0UwpIaBfAfr1E19eLbjSx5N5evfqblqn76Uqu3MrhcicxhIhaXMXTd4FmNQ2lRRyOXjSJiCr9gJwM45hGBpsu2o0OZkUmvTp64Ch6folu6Qn0P4dR3cfyDWJrHIJzAl2XaVsXm82r9FUyQWvlVxVBW9f9aijQbZto/iHMdhpnoAezVYG2E83uwWyJvqBHKQA7+9dxRkaw/INYLVEb7OII9dBN7dKNTWDXXWq6Yuudobb5TTRnQNEbzdgcVm1fbXFkqWjz+DHs4l9s0czv4x08r/rwza23sfnk9QhD+gnRly+xe/1b/MzP/Q1vLdnp9zX49MUelrJtPJqTlr3OgNdFtSswKZ2KZlHLFeiPONjJ1RlLDvD8KT+P1vbw0kO6UWMjU2N5T9b2Gq+c9jPub/DKrJdLr45h2nQKy4d4oi6y+2VyFZ39rRozR5I0jTqm4SDgMXH63aS3czg9NqqFGvV6h3SmwsXnFkjv7LL0JMex+T72DwpUqh3OnR9RnbDL31nlyGwCtI4yKGyupAnFXXh9bhVvWVzepJLxEO/Rcbk7hHrCFNNdchIh91v4QzK9bVCu2Dg162PyiJ/CXpHv3MjwjQ0v76bcDCdqzEYTvP3gEHu3xdhoBE1zcetJmg+d6+e3/+WnefvqA0W1jwRi/P4f/SHPPn9BRQlrlQ61UoYf/7GP8dl/91d8+fI25yY81DqGetiJLz5TNLhwNMw//8zHSB+WKFRa9A0NcP/uTSL/fRvw2f90jfk5jyLPVrIt3E5NRed0mzxwmxhOi0ZFZz5S4XO/c4L8WpFC0cfq3jpzCxMMDyT56pe/SyQUZP70LLnMIburKUZmJ1h/tMLc/CgdTV4fk1ahTTARYavc5GBxhfmol8HhCHWjztdu2fj5L+YYH43jsrdx17uEg3Y8fju5fINmXSPc62Fj5YBf/qkPky5nOHH0JF//5rfx+vwMDfXwzPmL3L51Q21iR8bGcWo2NKeD9fU1hoYG2Nzc5RtffYef/qkfYjedUioVU2CSyQTx2CCf/fd/Tk8yyfSYh6X1FE6Xj+WtIr/wkp1PXujj99/Y5OiwDbfuJo+ToaCDg3qLRqmJQ3zyPi+p3SaGQyMSNOkNu3G5LNY2q7zw/BFOn+pn6e46yaEw+ZrJ2FCEK28t09ba+J1eekdd3LmR4hPPRvjKd+r85mUb//yHjvHuB49Y3S0yNzJI16jidJk0TReXb+6JjZR/9KkzDPUESUZCVBt1kn0RPC4/7qDQyx8qSOLEWD9f/uYHfOGvb6nN3anJMG63we2VCq+d7ePri2XWNouk/2gEDDtbqTKtaplUDs4928/awxyNapuBsTibu3UGnDn+84MoX7qX58OTTrY3dC6d62U3d8D1qw3Wi1/FXF+iJvPrZuPpRtho07VrOHyTdA6foJHHkC8brYXDN4XN6cJslDC8dvSWA4sKulFTqYGu5cHVytL1hsAWw6a5MGwVLFcP7uYebT2JzeyoypXmtivvq1xU7c4+DKuOy+6jVj7E5XXQrWVxRE/TKj9Wz0CnPUjDIdsLGU7r6Olr2EPH6VgNdN8YemuPduYh3tA4hs2LUV7BDIyj6w2M3CqO+CkM3FjNFXTfMcx2E6vzAJvvOO1ylcTcPE0rjSfxT3jtuTgt2U4fNnAFvVRLRRWTjB6fYr9RJGC5yOUKjA6PUqjmqBVqODx25as+MjVDq1Uln89x8tQpNjc31cDN43WoQ650geVyJpcM6U7K4Mbjd6tDVUc3VIyyWKtTKBWJu/xktnaYmJrm9nvX0FsGNrtdxdJF/RmNRlRculgRCOSgupD6I37SWenIir0jjuW0Y/M7yTfln/HQ3zegIE6FQg274M26HUrFrNKoSc9/aXVNVXQkhSDd8dm5Od763vc4e/as8jzLNk362wLlazQ6ykMdDAfVQOvh4iOef/Z5itlDnG6v6v57/EL+7bKXTjM0MU7Cb+e7f/YOHick+sP0jsbZ2RWIkIfCfp7EqWGGTs6Q3tinXqmpy8nu7j5T06PE4jGlepPKwO72rnJGFytlhod7uXNbtsARtXEqF6rKFlBulP5/lt47StL7Os98vso5dFVXV3XOabonZxDAIBEkRZMSFWxRlq31sde2uLLX56x9fNZBeyTbcpZkrrQOsqxkBUoWRIoJAEnEweQ83T2dc1dXd+Wca33vGH/h4MxMDyp83/e7932fh2y6RDmfo38gRiaTVTDi0PgwO5tbeIJeEmtxUo/2iPR5GRkd4O69Z0xM9quiVB5oz775Ah/eesjs3ATNFuxux+nri3KYOMTn9TI5Mczy+gYel1/jwkLgFk99JpPn0sVz6vSWLX5PpEdhV/KgLmBE0YDKYVEYICsrq9q9For9ceYIp81Gs9FRtkw00s3WVpyV5WeqyToxO6cP/rt7W9qnlY6+UNYl2n3q7GmtMMjvnZocI5/NYfc4tYf9g++9x9yJKd2APllY4rxs0Xf3aFYbjIwNUKs1tQd89uwp7cDfunUXm83ClSsXyRQKbG9ua4ddDj/iRpcUhjASJFnx6mfe4Pvvvqvbd4GpQUMPprsbuxRKRU0S7G7tExmI4HEKwMqsBxkBy0lU3uN1KRtje/dADwKXLl1ifX2LVrNNu9PWg97u9hbHySxzs9Mkjg9xmGxMzE7xyUe3OHfhLA8ePGJsYpTV1RWtB9RKNXbje8xMTeLwuJQdcbC3r0wLgaYdHSe4d1uSAD1US0UmpqfY2NjQZMMTMdQMj9Ld1cV33v4OL117GZPR0oNUVrgQFoNGta7vn0TK/UEfNz++g9PrJtoT1qRJKpXTw/2zZ0v6HNLfP0ClVlJ1oM/7XBlXK5U4eXqOlbV11pbXmJ4WDeMRY+OynasQjx/hcDjweMUvv6bVGkmXGO2ObnIrlbp+JmWYZBICvMWKw2XXxMTd+/d47fXXtOZQKtfIpdIMjg4RP4xz+fx57j24r1WInZ3nwEDpyYuBQza8r7/2qn53Jbkg8XvRWtabVR2gtBpV7HaX9q8TiQOtEIxPjmBYLNy7c1shk7H+AXa2N7UiIYmckaEJrn/ykQ6OJaES6+uhv7eP7h45qD7QSkc6lVIOg8Tdk4k0gbBwu2wYEgVtdHi89IwXLl1ia2dHU3Sp47RG1fv7+tRRv/BkQRkPQsyXREXvQJ9eD1eerfPqq5/S1/7mxzeZmpmlpy+s7JCb1+9or35yZpz9gz2+8MUv8GxxSVNOcqAV5sO3v/Vd1aPKtSFxeKg/S6oA6ytr9A+KfQt8Pp8q+GqNJq99+iU+/rP3yK7HCfQGtHLSarXp6+liJZOj7ZRU7SD5XFlhiz2xmIIajw6TpP/nf/uZn/lL3L1/V5NeDqdLFZBSsRnoHeDJ06e6MBSFqc1pwu/x6EBTOCLXXn+VB3dvkStXePlFsSrl1MogwwGpmZYbNRqlGtH+CMVCWTkKx4ljugJ+BoYHKJeqSvaXqpGwMYZGhkinM9hkgCnpkIFB7ty5SzDUreaAG5/c1kGpWAOi0edAQEn+vPbqa3x8/brqLuV1evzwIaGIXBMrlEtiw7LoNTKbF7OAWetR4e4ujg7lZ1kolktUSiW8Pq8mA+Q5sS/WS1dXlw4IN9bFDlWgpy+mKRlhS21vbTE/M0u92aRYritb7OnTZ/R0dykXJhgK6rD05if3GBsdwB8OaWpOrkulep5O2YR/OMTjD+/i3y/ROxGmY7eRiWdpGGYchqHpyNPzE2xsJVhaP2KkT4Zg3exupWi1DcqtJv2RIIl0Vjf+Uls7SOTZPSxRLjap1FvKlvnKXx7hn/3yL+iSuSbK9M00udwD3N5J7K4+HaCYG8uYSmVqhguL16VmOrcjQM19EpL3MbklIRxXTpw1cgWr3UPpeAmTpYw1ME2rLq98nlJ+G2fXJPXCgQ4CzUSo2a3YylnaRlXrUg7RzNvN1AniECaTSSCySTyOAeqGVdWh7cIOpkaeerNDxx1Rq1Cn1cFkCmoKvtNoYvGE6IgRqpnAMJ7Xjq0CMfSOYrRsVE3HmC092OTXlQo0m8dYhOLfamNu1WmbJNYvSeAM7XoaC3Y1yJFfxTTyJkYjQftwG7pPqsK5U6thcbppFxMY6Tv/viNQgdrue1gz92gOfQmnb4h25h5W/zCtdgizvU6lcEi77cDuQJUD2L1Yyjk6QpTNrWDxjGjErW2XAyU0rU2Mag2LGAVwYyptY/IPUnOPYCut06mW6TgiGPkF7TKYrT16GBOCtt0VpCV/Vj5Hp9OgbWljF5+jp5dmQZR1daz+cYrpRaWFt+T328w0k08wm7w07Q4dRohT0mjnqZmCWLO7WGx+LKEuqoUyhjuCWZRQRw8w2WKYPOKDDFGvFDAkRm2VKHXs+ZDAZ2BLb1MWrdmJCzrpvv/tb/DPfvE3+Ohxh25PjehQgO62BcNfp7/bzfphDr+tw0bcwtmZkE60ZdMQ9vv4k/e2+dxrvRzvpfB1O6mlS+SLTo6aLQqdBpaiEC4bvDTv5K98pp/BCR85ce1OdOEMSVQFNha26I7ESKQ3aJmDlJNZ7ZUn9/JUymVig0FqlQ7xeIHUcYuRATcHySY2o0VX1MVxqoq9Y+bEKTd72zUKhTQOm18Jw+urOS5e66OYaJLIJrlycZidrQzhiB27085BIk2kO8j+Zg6zw0qjWKV/sJs768e42g5eGDKRsdRZ2zP4v942k6pWONMboWMUSO4XOTUaId0o6hf88y8MMj4SY2eniDNgw2V14nTbaDXlhgkWO9TKdWZPj/Kv/8N3ebqWY6jHhdXZ0upDs1nh+p0U/+8/+3Gatbz6jaO9EZ7eX+fTr17jP/3hd/jOB6t8+lNj6g5e3DnA2nLgMNUxu02sbFX4zKyP//CPBqhnq6wn2xzvl+kOmrB0PHhDNrY2UjgcTQVX+fxeLBYbwvEs5xtUZHpYrDF/aZqtx1vgAH+kG7vTw/riFh8+LjBmN3jxohmX08+vfivBv37bQt+QmdkeM+lMSy/U50+OkM6WebJ4yD/8u2/QE/RSylUVxCRT7ny+wl78QFVTZ0+dYnJ6hj/6H3/CxMiQ6oA+/ebr9IR6ebRwl1SywPypee3oWbHwxutX+ZVf+31uLWzTMRvaYxJ3u91p5dl+jX/0ponesJ1cpUUplSYUC7GbaBCym1mOF6mk6rz62ghH+UPsjTaf/YsvEV9OET/aZ0zfuzi9g0GO4/KAJ4Gclnq1791d5fTsIKu7CUylDpERP7WKDU+nyELa4C/9twqfGRdAkYXdfaEuC0SwzEAkSH/My248o750eU2qNRM9XQZuu43JqSFu313CYneSSjW5eLaH+0vHzE8GSBWa7B9UmR7zq4vd7aySKznAFuK3f6bCsD/I7mGRvUyVE6Nedo4lvVHH72kQCgfYTea5dGmUrnaK0/9kjzIurk14dWPV7lhY2s2yulJke+9r2Jpr5FOi7zvC1EjRcPVgxQ4Sx2q5VWVqDY7TzB/Rrq1gOM/RyXyMyR3B5R6gfPwAQ5SjlGjaA5isI88J/U2D6sFbOH3zNP0j2Cpp6q1DzP7LClU0OnL4F+Z8U80BWN0YYlSxmKmml+hU93B0vUzH1MLcLtCyyWR5jZawXNwxrPYwpfyxduRbHhftdBKLq5tGp6o3TFtojnZuUbWrVXtAJ+TYg/ozjXKOSvVY61ptYWxYzUSmrvDhH/0yL/+N7/K5i15ShwVivd2E+gLs7xyzs53i7JdfA7ONhVv3GRXy8YqYJgKkjjPMzExor/Odd77HK69f45OPr+umU7by9289Ynh8mFgkwrPlZWKxqMbBxXUtXnHZ+IinWGnBZoNoqIe2XXqzdcanhnj/vdtEgj7GTkj8r6FbjfXVLaqFvKZ6DjeOKZRyjM1PMnVyhve/9yH90R7G5qd0g3y8msAd8TI3Nald8zu3b+OyOZRALDq5U+dO4fV4dIsiB+OXXr7Kw4cLSoyem5wmXy1ht1lVgXoQP6RWEjaMTyszzVaTVCKrsXrZ8spGJplPU8zlcXu91MoVVVe98cZL9I4M8cl3v03q8QHjM1PEpa/qdlGqlHFZ7NRzZUyjEcwBOyFvmHh8Xx3WcnCvNqqMD42xtPqM8YkJmrU2m1ubqvN6/c1X1Ztus5mZmJji0YMneL0uVWPJocNqhe7u0PM+6VGKPdHcDQwRHe7hwz9+h36ng63DHE63A5vAvlweMpWsdpWb4YACb8eGhqg2myw+WqJ/OKYJg5dfeYXbN29y+9ZDvvRjP8yTxw/oifRRKmf0cDZ/Yobr12/p5nRwsI9UNsP89EnWNtfY2d5jaHBADz2ysT537iwrayscHCQ1ETE5Mc7DhQXOnpxTLdbt2/f12URAX6Kvahsw2NtDONKNzSabwLI6wDe2t2mUqvQODvL9733AyVOz+mAu9+7Pf/6zfPvP32VsYpyh0SEK2RQ3r9/WePilK5e4e/eublal9y8QQtHJSVx/d2+fyYlJjXXLQU2iw+q3t3VwmKzaY5fDmN/n1wOKdNC393bY29pXBoMc6iqVMidOzfHuu9/DI0qvlsH5c2f5r7/xu8ycGGP+5CkePXysXAU50NgsLiWVyxDG6/VQLVV0IypVE2EYyMZ5Z29HDybZTEn/brJJl8rga9deYWdnmw8/+lg/y3LYSBwksFmd9A3F2FzbUiVktVLUGoKoxWw2px6k5eDh9/uUPG6x2LU20TZqnDl9mu98512GxwUg3dZD/dypkywuPMFld+rBWzzu+WJZAYZiUZBDpDAAVIXZ7GB2GFppmD95UiPcOxsbRHtjOgQUOOGlKy/wrW99i8mJCeUsSFQ/cXSsQw+Bv9ntJiICkd3YUaXg6TOnKBckuZZjZmaafC7LwtM1xkb7GZ8a4yBxxMGeaMTsOugTLeDJk/NYbGbu3rtPT3e3Xs/GpB+/sqLEeuFSDA0M6CBgYmaGXDat3+uH9+8yNTHN/mFcXzshrsf6ohwljujr6+HJgyWmpif1c5bJpjWKXamXsdpt1MWAEItSqRZ1SLS0skJZhq7RKNV6VanpQtMXvabUom5cv86J2RPs7uzpzxNnvRzCAwEPx+mMcqYkefFsdZlyrqSWj96YEOqfJ5HGRyd1MCXXg1gkpumOF69do5hLUSk1NGkpm24Zbj19+kSfB8eGR7SS9/77HzPY36dVHWEY6yh9jwAAIABJREFUCItB6Pli5/j+u+/RPzSIw2GlWq7iC/pZXlgiEn6upTw4PODspQus33pIZy9L3ibLrn1mp4bYO0ziG4zh7w9rFWR0YIjVjS3Gh0eUvn98nMDtkXpqicPDhEItJUa2tbOL1+NTor1wTMQA8t1vv6vPh0fHh1y6dFk/A+trWzoAtNvNCtgLhyIUSwXVJkoiQ5Sno6NDnDx7kicPHzAxPq3wwk8+ucVf/Zmf5Hd/+/e4+vJV1XjLguLaSy/qZ3hldY10Osvc3Iyyr1pGRw/YNpND4dzJzCHhUJTj4xRup6QwHP9r6GlRO4MozgvFEnarVMUirG9v0N3dTdAfVJCl/HN6fo5333+foDugz6aFcp7uUFgHYVIvffpsVXV/kj6QZatA/paXVzh37hSZbIGdzR3K1SLnzp5leWlF4bPLS6uaFJidmWRrd4vbNx7qtVCAz48fL3Dp8mnW13dpNiocHxQ49dJJMFq4dzPsbe6rFleGcM26jWanQchhpiy1sOM8I7EgNamB1KuUzBbO9wXYzLXJ5xq8enmYB493sdsrNK1mqAfweju6jF1ePyZTdFCtV7h61sdv/v4v4us/T7vcpnrvDym2PJiLFUwBM27/Cf11rWYKi62XpsUBG1+lFfkRbMExGrl7WPBic8h1LIXJHqFTTtNx+ZQRIHDjVq2EJTxKpyO14wM6Yi6TCroQm81WVboLlF2GMIYFDPsw1NNUy/uY7QZ2Ww+NZhmjaaZyeAuHzYUpeg4aRZrKIeihlT+kU9rCHZqh3DYwy5nTOaU1GirbNCtxTIYHR/cU1cwuncRHmMJzCns3bE4slhCt/BoNm0vrAOaOm4aRoG0fwOwbwRS/RUMO+d2noS4mvSIE+qBYoiFmvnIGI/vkNzst0U21qhjBGSzlBLX8Jiae92Gcpn3wn5M1OZSOMFtcNJ3yQGynWcphzR9Sd9qxOiK0fRKV2MRckv6+G8MzSfvgPYy+87QbZtrrv4d16Av6l6vm7mGVToMctl1uGuk9bDa/Psx26k1MAkrIPNKbY8Pchc3bhZFbxnD0K4yhlt7E03OehsVHef8HOLrP0JHmhMOMgZdO6hOMllhiZeM/Lfgm2i0HztAItfRjfVBvemJ04k+w+qVWEFJ3Yrtd0t9D7QiLb5JKcovC/gbhM29iNbUoZg6xRX0EeocUGrHwwTv86i/8Gsmi+Kb9iPlhLwXZVJnzc891OEtP8rx4qZtio00++5zs6nPVNYL//oMjXj7Xy2DAzGoipXG91XiJRtvBUTlNPG7VyP9cT4epMHzxrJexaS8uW03J/juHbY5Wj/Vw9WQ5TldXVIc0Rq1NMpmkVDYx1h/G7q6QLzboDjqIH9bZOcgxNRomm64SG3YR8ntIZxqsr+wwPtWrm+mN9Qw+t4VqxcSNG8dceSVMqVTFYbKTLTfxu+tU6naMahtPyEGrkaeYtxAc8RFuFImFXKyvZnm4beZR1caDRI2Q3UbYa1MC+rOlNPuFNv/4Zy8yNxVja7OFw9WhUqvh8jm4f/MuU5OzeEM+ipkjHGYn/+e/+gYXTw3q9Mvna9PXP81v/ff3+MKnp/m5v/EG3/7Gx3zq5QskC2WyEr8Md/O//f3/welTXjwdg2wZzKYqQ31+7ixmcbQsvP3v+qmlj/ngUZWxMR+tmqGHy3atzrrUE05HOXn2HE/vP9WBUFdPVHWRO2vbXH7pCguLC9SLLZL5LDPTU2xuLHNiZICGBRy1EoWmhdWtgvrFz81XWNh382O/XOEQB/PhDjODAdLFFqViBrs7wMK9XT76zj9la32HarutPeBspqg3/pm5KTJp6W+1dSMWG+hX4rk88Auh+eVrL3Hr5j1a7SojfUM4PU4F83zlH/4yu/kWZ2eH8FtqHKYzrGxUsflMfP1ve/jObZgcdVPK5jjOCHW7RmzIQcDpwWtpcPXVSXnhONg85vggg8UFvf1D7G0mmTs7zPZ6nO3VOFNnh/RC1mmZyabLyliothpaLYlvbzA400dpLcUPllL85lYPvbYqpYKJchuGQ15uL20SCvcQsBpEAiZaFrtufCYmR3i6tMVBoorLZdX4WV93iP1sjjMTA9y8ucTrVyY5LhbYO0wz3Bflk5u7TEx6+WStwX/6GyG+fM3Jf/7qMyLTXno9JgrZOvMn+7hx95D56TD5bBW72065WqOnk+M3lvxs5XwcHsQZGPTz0qlBvvXhKhtLx9zP/ABjZ5nj3S29kbTNPZhsEg2zKN281diikznG4h/AcHpo52T7EqAjYDN7mHJyGbtzAHMgRuvoNgiZVQalnTxmSzeN5h4IYZYyLfdJrALrK8cxiwawaaFl8uA0ice2BdUEDemYeeagI9DKTQypHVg91Bs5rBYDk3cIjp9gsbgou7qxGXUszTa1UgZTYw/TyGepbl/HLg7Z0Gu0q1uQ2aFltmGtPaZlncHUfZ7q/lvYus8oTb9ZF3VamcCZV/j5v/ZX+YXfXeMvvd7HfrpEKS0PrD46NhfHOxlc82PkS0lG+4eotJu6tR3q7yOZzrO1tiZqBOrtFrGeLu1rypbJbrewub7D/Jk57Z3WG228fqHu13U7VK/VFB72wpUXSGczLC+tEQl3acIn2tPD7Yf3CQa9nDxxgkw6xZOnK7zyxjUFKck2sSnxwFobT8BBrlii2xOgcJzSSs7RQZyZ2Rl2dw544cULHB0fUSgWicZiFKt1ujxeas0G6aMj+ocGePDwsUaV4/uH9PV0Y/d42VnfIhQNKWxTtrbygCaUcdkECd08n5Ut2wqvvP4qR4ljtje2FJQ2OjyqUWY5VMhg22pqc5DK4m7D4d01vDE/nUaNQqaFP+QiFPCxdG+T/msTTF06w8ajVVLpQwYGR3m2ssqZk6c0Tuz1ODFbbJg6TY0PSiRQqP57u/ucnJ0lkUxqBaBaqzA3N6vU83KxTDTaw727DxEKoF90RTYz3b0R4ot72DMZgrGI2iuq6RLrO3ucPC1R+S36Xz/PxU+d44NvfFu1s0LSl0PZ0NAwFlNHD+3yYNvpNDk8TKq+bnp2QlVv2XSB4bFhhdXKoVK2Ufu7cXx+Dw67Sw/02ezz2LYc0uXwOjY6ztrallLK5WFa+t4CO732yhvcv3dXAXd379/XIYgMayLdUc5dEDWchTsP7uvWXJzZJ+bnuXfnLnanm1wmyclTc+oXF3hcV7fEvxP4fEFivWE2t3YY6B/SWL6pI4/s6DXEZnGTOIwrn+LCubNUakUqlYrS8ZcWn3Hh0lmcbp+S4CW9tbO7r9u74+M0Y5NjxCIhNjb3NZ0hEC+JJy89fUa0P8bm+pYyRk5fvEDiIK7Eb4ns/u9/62d47/2P2d6U6944ezv7RKJBhVce7u7hdPspFFPMnxK69wZuj1dZMPJdSiSOCEcCOO1OPSzI8Ehiw4+fLtHlE7J6guGRPh02S8Tf5fJqkkGc3vI5kZ52sVzh4oVz2i+WTen83Dzra2v0DfRp2mRjbQOH1U7vYC+lYpVqtcTezg4nz5xS0KBoBYVd0arLJtpJLpdnamoUk2Gm0WrzwQcfce7sGaXRizKtVa/p4SnW26cQwvhhUvkdjVodh8BzBwZ1m5vOJLVW0GkYDI4Ns/j0iW5gB/piagzY397XoYjDJSYsYQdYdLNfb1Q1QZBJ5/W7KwOVva1dgqEQ01Oi+vuGcgRkgNGs1RkUSruglpsdVcqJ9ktAlvPz47gl5SIAw3oZnzeoirihwT5lYUhKS1zssrS6dOkCb/3pNxgYHCASjnD79h39u8pw5/KV8zx6tKhWD9EuSpVKrklbm7sUc1LrmFSl5N0bt+mKdOvvk158IBigKxTmow9uMCwKQpdNmQACfG52yiwtrBLw+/nK//G3+KV//m8Yn5pRAOLowACf3PiE3t5+zpw7xe//wdf43Gc/w/LSklYx/H6vMlvu33mAyW6hVi4ph6hWrZBOZXDY7AR6ugi6fTxcWKLVqDE0MMTTJwsMjw7T0xMmvnuAJxhicKibleUttm4t0GWxUDRaDA+PUCsVaFtMjJ6dI1cvsfhkgTc//WnuP3jM4sIKk5PDyiwJhSLa2Y9Ge9nc3GJyakQ5WGsbqwwPjukAReqFZjMKuTxKpOiNRMjmk1p9PYjLsMfG/Pxpvv+9dzR1NH/mtH7nxJAVDnVz58Zd8uUcV69ceZ6+cfm0ZvLNt77JiRMn2DvYJdrfqwkrSQ+USiVC4eBzbeRAL4n9Q+WPVOslrSqPj43x7PGSvvcXLl1me3db9X9Dg0OqTpdF45UXLvP1t/6cE7MzCvcS7sfQQK8OCOwOUXl36Ovt5dmzVY2Di9FGgI/ClZBrp5hMxMoimky5vknnv5TPki3kCHq6GJ0a0lrU5vYOdotNlY2SwA74nDx9usrrn3lZP/8yHPjc517nw49u6P1VDAI94W6ePH1Cs23whR99gw//4G0efbLL1csxzA4zS8uHDIS8JI+buDx1pvsjPNtPEvNZ6O8Z5fHuPtMRO8uHWQJOCzZzg9V4SxeZlUKVoS43iWyWStnKjCSVTU0WN/LcWalgsjv44avd/Kuf/6sMvXyN+tEutZWHGJ5hmrYxbPk7miCn6zzVagdLO4/FM0zt6Bbmeh4jMq91QmrbEDyLxdxWo5emYFwhGqV9fW5q27oxW13U8rs6kBGeltQDzN5BGul12qUEdp+HuqNXsIFaV28XS1RqK7g9g7TcQ5Bep2NUMHed1IU2ZrvCl9vlOh3D/jxZYPHRObiH3XpI0zOPydn7fFCQXaRjdGEKTtJJfp+2Ecbw99KoVLE3M2B203b00bZUsDTKqs00BNzfitNyDWLE7+BwBqk6bVgsA3rfrGfu0TEFtDZqFG7/606r2qLjamE4huiUU5gL+7ScETBydMot8IUxtVLKBLDau6jn9zBZbeqUbpYOaTv9WASckT3QzhG+Ljr7n2CEz9K2ebV3YHZ5qacfgSOCWZzSNLTz1j68j6VnhhYurO00xaNdrMYxjqEfolmt0RJiYfwj3CNvUCttKxXR2fcSjUaLdmFZe8Xm7Crt2Ksgm5njxzi6T1DJbT83GnQsWAxDN23N2uZzV2OnhnCeRZvQrpcgt4ypexpzJ0T1+BY4BrDaWzQ7dkyFDU0wWGxC0y/SEK2M1UM2lcHX58HcNY5n8irVh3/AZ770a1yeivLWnTWGuqy4bW0SSTsvfmaI//I7y3hsbcrAT73URa0KExMe7mxUCHpl4mNnP5tnqMdH5qjIYMyM0+zg4/VDTkVDpAp1nmbaPDuAiN9gMgDXJiz85ddNyB8WOznLg3cXiHW7sLpNLC1lyWYs2Dwwc6qHe7eSxGJO7JYWjxZrvHDVQ61q5pPrR8xOOTlKdSjXKkyPBMnnmxwc5Rgb8NPd49cNhGE1sLWt3LkXZ+6sH5fNz+pyEl+4RQcH5VSZydk+lpcPSZdaRHs8rC5WGBNewijs5n28+et5XAEHp0MdfXCI+pzcOagyGgzxs3/lBMsrcTomx3M4pNlgZHyMVLxId8RBuZpn8H9Gvv7Nf/kmC6spwiEfNnsTqyOIUc+QPDLz6VdHePWFUXZ3KmTErW4y8dk3rvIrv/5H/PZ39xkbCDMZM+vDTm9/t+rhHi7k+PCXgpSaou90UDe1SO2lmT89QjpT1r5nVbbwjaZO+2hXyKaEWu6mf3SIRs2g2i7SaFnp73NTrbTZ3dpR37hhcuNvV+hY7BQLDYU0+b12KvljuuwVfvGtBj/YMhgMBtg+FMiMF5O9zdpmhR95bYzJAadwSPRAOjY5ocRqeThK5wRCVFcITdswcfr0SY32bm1u6E1Obl7iEb554wYXLo4zNXGSv/kPfkvwnXhdHVxGE4e/l29c3+Zf/LCHn32tzZ/chgszQb7+3TinL3dx9oQfq0f6/SYFXSX3EqQyZabGB6mUilhtZt3Wyw06MjBCPZ9T+JWo3SSqHY34KNVa9A7EMDoVNpezwu9ksDfKZLTFf/r6Nt/YCRI1GewlGriCFUYj3Urafbq9x/VbeaZP2OgP9ZJNiskBglGJnFboCXlU6fRkcQ+L0SYYCWjPSwZET1cOGZ8eophNkUgXGQ4HWCu0GWuW+OdftBCYHCSVOCKx1aLqajHWG+CTu3FOz4ZpN9oY5hoPnuZ56YyFxSMr//e3YCRqgboVtwgQ3W2erFZ5cnidxr0/JL2zje/kl6jmt7FZQzSPboBzAru3n1zqFubMHvahV5RnYjdq6rZtuEboHN7EbqlSw43TP05V4C7pBEZ0Fov0/C1BOlYnlsxjahYfJo+Pzv4NWv5zWNuHlPbu4IieBscgHZMVSz1ByxLCKr8uF8fcytJyhBUCZDSLWLvPYCrt0zQ82uEU+Iy53aZtNmgdrNLujmGXm53JQTl9C6ukqiwhjE6GUvIpdm8fFusgTUcLi7UHc71AubKJ2+bHevpz/ORrn+f713f5/AtD7KdS5HM1ogMRssUsJsNOxmPD7vXhdzvY3t7jU5+6xEH8WIcl0il8cO8evfIgbzXh9XrVwT4wMqTY1+N0Sjfu0mNOHqcYmxiib6CXxw+eqi9ddHrp9CFTU9PsJdJsrC3zyrWXWX+2SmykX5VamUSScHeUZr3O2to61659it3dLWrNunqWtzYOCAZ8mK023RBLpHd1YYGx6Ql9WFx8tsZf+MwbbO1sqbtbCN9Ca5aHAp/LoQemfD6L0+FgeGyKjz+8rtHh/tEBukIhTBKvz+exWmwcHh1rV3h9bYPx8REmpse5c+ehbopkuyYauv2DQyU9D8Ri3Lt1F38sRsBiYvm9+xr3lGHDcSpPIOKlnSuzd5jnjZ/7YVKFDGsP1giGg7pNzmfLrC4vMj0zpwAyOdyYOuhD+E/99Jf56MP3NaZcLhYpFUtEe3splnOMT0zz+OE9RgZHadBi4ckiX/rxH2HhwUOO0llVZXVyNeKLK7itdh0ICXK2LgYOj0sPh97JETxBhx5ExQ1vdVlx258T1GN9EU2ULDxb4qf+8pdZeLrAgzv3mToxzVEiof5t2bIm08c6CCmKfioWw+sPkMvmabebetCqV2uqShW3vXBrBBgoVH2J7gsnQA7H+/ED8pmcWkO8Phe1ak23gUtPV1QzKAc9gTGK99lqtuLxe4j1RFhceKbvq9DdZVNpEvXX4YEC2PwBWYJY2DvYxyzOCJuJl19+kc2VNarVFjc++Vi3bR6Xk4WlZRxel9pLGpWmPoR5PA4yuRImObgexDUZMNAf4+GDR4xPjWsC7smjBaanZxTsFj86UpDl3PwJstkcQ0NRWobBsycryBs6NzevbAPhaMjrLVovOYRPjA/pvTShyQcTK8trXLxw+nlMuFrWw4/AGSVpIBwCn8fP1Ikx7t15rK9VlzeoQzY56G5vbWjXeKCvj5s3bxON9T3fYsdiao04c3qexHFCU2o1ue60DFY3NpmenNAedvI4qco1GTjs7x1iNhvMn5zXTeLDR0+YnZnVg4W8pjL0kb61AMqSx2mteXV1B5Rv4wsE6A5F2NrexOvwUGnVdcA3OzutB1vZEouKUbRtAZ+HUq1GdzjE5uamvmfdkV5S6SPGxoYwm638zu98nR/90hukkhndJguA7eniIgN9vfp9SR4ltVYm22yp0oiX/rmK0sTs9DTrG1tqIJD6x+rqOufPn9FBhNDK93bi9A9EyeRypI4yXL16UYF9ck2ZOznF0tNlBW8+fPKAibEx3F4fi08W1aLg97mZnJ1kZXmFQrZCT28Pd27e4fKnrmh9JZ/LYbOY6e3vY3RkhIf37+l3uVouE+oL0xfroZyvs/hsiUBXkI21HT3815s1jcJ393QR7gqzs72tTIORkVEeP37Ky9cu8/Txsj5jTE5NsH90xNjIkB6GZ2anVcEbj+8xOjTKxx98QKla1+24mbbS4kUj2sZQu0dXl0cZCJLayeQyDA0NcuP6HYYG+/VwKvFq6f/HBnuZmp7g4dffo0tMRKamyG4o5StsJ/LMvjyjkfl46pjXX3udjY1lXb1KrURqQuVyhe6gmFra+n0q14pMjU/pfUKGBV63jY5YxQpl8rmCDkcEGCrwQ2EKDA33s7C4SlfQq2BSMcM8XljQ91+qGRub6wSDIdxuF88WlvVnyhBQEjcypJJBkTAVROcnoEpJisi9RgwDMnianJ7io4+uMzwcIxLr460//gZj40M6jNjZP9BrcleXX2GRcn+Rgcb6yganz84pTLYgFpRqTfv5Pt9z7sbM9KxWSSRNsrKyQX8khjsgr79Up1w6eEsmj/VzXKnXWX+2gmF1MDU+xvr2NvVqGb/Pp+wau0vYaLJsOdQBdDKZ4DCZYaQ/Rmywn+vXP1Hzy4/+xBf52h/+iQ695fstWrlIf4RE9hiSFQqLu/gjHvr7IjqgTWdq5NNVenq88vCMVd6DZgWnyaDLb8dSbVNrNQkFrSwsFekdDWjlSAZuYs4ajbmIH1SpWassLlYYHZFaMexsVXmWrrKVMPihFwP8j9/6t9SHz2La/A6lTJVO24K5ZtAylfVw3WxXaWYW1ApntKHVPYul2aST3qRjldyYG6NdUvZRxxmlFv8El1P+PYhRlARmBmvXFC05Czb3kaivtVWnWs0iFXqTzY7FMNOR84jRopna1fMn5i6s3QHq+WPM6Ye0PZOYbG6MwgZNZwxro0qnsIsp9inKhT1szQxNSxRzeYd2Na4DDCr7mOR5zTlIvdPARp1W0wrmGu1aBos8UzaLmMvbtM2jOowzVYVjF9U6hny2GmXROw+qlY52E4vZTccKRuH+v+rIxrMjoKma/E8OgHTPzCXa+TQmq5UaDlqJBVxjr2BxRsg++w3c/jGaXRex2Lw060c4BAqTW6FZqdH2CMyuqpolc2AAak19cWU1bbL76WQStKoHtLumMdckM/yMlhHG3KyAT7oNJky1I9pWK1ZXL6IpNBpVBQ5KXEMAhEZoBONgmWotjiN8go7Q3ako9Eku6jiidEpZjPDQc5BD5ikWe1QvTA2TwK8SmIMjtKxh2sUtTFI1qArZWqatTqptA2uriKP3qnojSxvfwt33KZqOEJbsAo2K+IkrmB09BGYvcf2t/49X/tqf8XM/eoZaKcfAkJ9y3sYfffMWj2/8e1rVJn/8R3/MBz/YYyER59meBZejScBp4sufH2F9IUurXcfW5eQLrw7yL3/5Lp/+9Djf+f4W86cCdMn7UC6xEG9ic5moFts8FH5Ro4bVZKPH2cEbafLlC05Oj1mxNVucGLZjd5tJ7pWoG27WdtMk0ia6uoRqm2duNITdXKXZcLB5lObEZIhapUK23GFkrIta8flU39Q2sZct4nXZSaQaVPIFzp3tZn+7RK7QYGQkhNNmYLXVebaSoyfWrTWBLqcHV8RG+rjCyyfcfO2jNP/4Ayt+V4NAo4Hb4yM6FOLPv7/Cl14e4Cs/9Xneeuc9JZ3bzRY9nIiHe3Vlk4tnThKM2llaOeJffPV9JifEGVpWPUrAYeGDB0c47R1+5ef/Ins7x+wnjujxRLB6TEqG/3u/+Hvc2MrwE2c9Oh2+vrBPPVPn/aUKv/Ozbv7iT13h7tuLRHsDrG7HmZuOqp5MNGM2E3z00QavfXZKHcAbK8ccHG7xxS9e1g5uLBLg7Xfv8NnPXVAg3sP7G5yYG2RbEg6VGldPR3j6uEx02ML20zx31zN85af7+fidQ/72n7v4a2+6aDYsvLckU/MGqUyHdMnCL3zlVcbHuvmt3/4mL37qKk6XWV27uWxW3bHerm5oNrl1+xavvPwC+0dJTZe024YqWkaHetn8n3GuX//jG6wfVrh2cVDp2rkK9Iar/NmdJn/6Yy3OXXVzVOvD6zGoFyvk63Wa+ZJ2bNPHOZx+H06blYPdPYYnxyiVxfBRxtQyUa7XCYf91JuGgtVEFyY0f1kkHx5k8IW9+hDdMQy1Bjy4tcyF0w7+60c2fudGjhMRedi2kiu1WdvO8vN/601eefMMn/uJX+HxXpHhqJ2BLieDfT5WNzOMj3hpNKwUCyl6+31IMqtVb7OfrDIQC7C/d8RusknQ72Ck38veVo5Sp8kPTdp45YSFsSk/C3eP6Qk76Z3sYfnRAY1yQzVEbZsoVaqEAx5GfGV+9btt/sOdNi8PWjEHnfo5qGey5JJW/nTxAY2Vr5LZL+Ma+RTF3We4PG2FdFrFBesQwOkoRi1F0zlAJ/sAiyFBKh81w4GDGrXUBja3j6Z7Eva+RcfswxSc0diz6moMKx3DTNMwY7b7sZrs1CtpGrkFbA4vHd9lrKVlahYLVkuIZiWhcD6T0F+bJYzyMabACSju0jR5oL5LJ3JRsFA0jlawBEewdhzUSpvYPFHVhJo6dWqpdczuKUm4YnYFqdVLmPfXqLrbuD1d1A+PcPgtlPI2vFEH5p55+qa+rJWnKxdGiB+nyB0VOXdlhvsPVjE5bLz6N3+alaUV1p4tE/T5+JEv/RD/5dd/G4v0IPv6iO+t8+Wf/mlufHJTD8bSbR2bHOfOx7fAYtXuZLNZU5J1Lp8hn81zdJRRhZfHJ1G+GvVyWXVG5VqN3a1twj0RhVnRMvC6XUrjPjw80gfpFy5dZnX1GZlUgZ6ebrZ3Jfk0LmQz4omkUpB7B4Tmb8EqmyO7hY217ed07lyGi1cvqx9bHvDPXzytvX6JtvcNDWhXeKB/kKXFZaVMywNd8uiIQFg2rAK4q2m/eGxkTOtOQlfe2t1VL7cMtoTqLoMFcZwH/R6q1TYVo0K4bqGdLVOqVjnKZhiISpc4Qz1XUlDf4EuzbGwkuHj2BPfuPKEnFqFcKanDXLbZ773/IdFYSCGKz56tMTczw97+DuFIDw8fLXLx3ElNG9nMdsLRIOlslpHePna3D1Qp5LW6yFdKmh6o5PMEay22V3Z0GSC07lKjSiGZxW53MPW581QFPvZ0BZfHoYMej9utFPr3vv+BerXHxidUVSiHdX8gyMrKisIb52fn9JArID2BekrHfXj4i8n9AAAgAElEQVS8n7e/9TZnz59Xr7EMIQSkVyrkiERiNBpVhXpJ71L6vTIMkPtLJnXE/l6SaG+YyalJVcZ9/PFNXn31Bd06lwoV3c6L4WFwuFchXKLRk8FDsVjReooc7A4O9ikWq8pjEde4qBnlsHrh0vMtocVuppCvUq0UuHjxEk+ePFYntM8f1M2ufMYWnq7QG+vRg+3S4gqTE6IFLNDX20+uINsngXaineoXX3xJr/MChTx/4Qxf+9rXmRgd0ySE9Kn7+ntxujzkcgVNkoiHvl1vMTI+rJqvD3/wIZ//wudJHO6z8GyFN998jXfffk+VbuVygcWna8zNTWt83ulwMyek8PUlrAIibDaIRHo4iO8h0zDhBpy/eF4ZEnLA8nmc3Lj+QIcB9VoJm1iIknKgHtHYtzjghatYE7vL8KAOTj66/gkz09M6eJEhhNR1ZDsuLATZvp6Ym2FicowP37+uxHP57EucXGj+qeOsvr4vv/wS73znXXKlPCem53ST2mq0uHv/AT/yo39BrwHSwZbl0PT0OD5fgIKk4w73OUqkFeYnaREZQkg1Qtq+olST64rUgyRRJJUbGbQ7PFaWnq0QC0foHxgkntjF7w9pTFyGeMJzaLcEHm0okV3eF4fbhsvmZW7uBB9+9IH2rK+9+grXr3+sUe6R0TGymZR66aWjvbm2yenT8ywtb3DqzCyDQ0P82r//j3z+Rz6nh/gnD1exutpcOHtOY/Xvvf8BPdEIDrePnc0Nrly+gmE2uH3nFmbDxuT0BDtbW3L3UGq9ADJl6NHl62YvEVdFbruJHkyvvHCJr/3BW4xPjqousFgqMhAd4MbtG1pV/Tt/5yv8+q//Gj09fRSKea0BdQW7iMtg0uNlL77LqVPz+Lx+OdexvrqmNaiY9Ms7bb739vcVciomib29OMVCgfMXThMIhVhcWFDmi1zjLHYLxWyB3olhPBYTj793m1a+TtMmMLp+KkdJml4Lp998ge1NAVrLsCrE+uYqJ+ZmdfAiiSJJPTQbbSw2C5cvX1K7x7f//B2CgS7yxazWtNpCl21LNcfKwUGcV159iXQ2pwPhvt4o4XCErZ1tVb2Kem90bFw37QIKE0Dq3PwcB3sHamBq1msKKj1/+rRWd9Y3Nmi0UcJ8/PCQEydnNWF1nBQ7gqH0/Wwuh9kw43LbdJB5nEjqd01eC4fdromKvoEBliQBlSsQ8PjIFjI6vJGBs8AzBZC6vrHK6PAITrdTtX9jExNq0env61fVXzKdYnDoOcdBDu3ZbFaNAJl0kompSU18lfIFrrxwVQdxxbIMQWv6/Zak2syJSe7duo/JZiV5mOaLP/xZLGarJnBOzE/rAd1skU2zRdke4xODym2RKtvqD+7Sb/HQ8sszWoHuUED7+22TWf/8sNfJraUsGTGlDXrpalnp6urQ6zZxlKxSs9iJBkoErQEeJ+okUzkCXjuzvW7trz9brjA84uY4kaXQNuhyOLmxVlCr19//Uh//8j/+U0xd06SffhNLqxuzw0O94qK5+z62YD+m7jDNbJWm04lDvr7WGq2mQTP7DEvHQrNrHKORxWZzUTeLTi9D2x7EoiaYY9Xnitre6BSoy/lWGQd22mZRKzdoiXJQBtH9r9He/nNN2xG+gI3Oc6i9DIubpef6+mAvSJqzVdKFi+Fw0Kx0MPv8tEubdBJL2LvP0vT2Uj24gyswrcrphkCkvYN05IxdOsLRdYZW5YBOdYeO4cMkymu76BHrSLq/aZYKVS9uR5RacYWG1BeaGTVTGYX3/2mnRQVz+CzV6j62SoaOOKkD/dQzCXUMNiUVYDVjhKZAdHlNB83qHtZWmaZ3ik4nq1MNk3OY1tH36DSDEJnH2dkjm0zgCw7qi9kprWGVX1/ZUSdiu+cyVJN0CusYjjHkCbvj9mCq5TGJ/1o0VKU4re5L1GtHGNU0RulI0whEX6dtymNLHWMO91KTaVvHisVko5F/QtMdwpEvU7MZ2JwRmhYnZodf3wA5/DfKCTr2fkwdMRQYqhIkeZuWw4rZOkmlsIzL1sbwDqnL2ibZPncXJqud+u7HGK5+HA4LuXiZ8JkpHn/vW/zwV77DYMzO2fkonU6Rd24fk8822H/4y5jHz+gXwNG4Tyt0lfbRIe/85q/xK7+3yOJyikwT3E44OxXgzZPj3N3fY37Sy+mIlc14nZ21JHmTlb5omHY1xfZBleGQA0ePjSMhgraa7Bx12Dm2sVWE0ZiZcqbFiKfIT77g4OSwi9igi+xmmc1cE0/ESSrZIZ0uM9DnIL5RpN1o4ek264ai0rDoFD+drjLe5+PgoEJ3vwOvE9Il8KgXt0AubyGZa3HmdJT1HYkpt/FYJXkgG/wuNjbT+EQTYnEyOdzgP39Q4ZfeNTgz6qbTKOPxwWHOwdJmmn/z9z5Pl7tNstRmZ3OTod4+TDaXdqBu3b5DbzTG5Ren+cWvvsN2osFwoMHUWD87+yn2UhW9ib96foLPvXqSx8ubDPaFWNg+5Mtf/Dy/+ttf48H9VS6fifCNj/J85qILpx1+/7tp/skPNfjxHzvF3nYbsy2jkbXHT5MMhG0UWzW6Qn56Qj4Fk8hh32RtYzIMmuU2GwcFnEZVL0bHh1U247C5maS318L2eotMqc2Lr0T55rcOGeg1cXrGgtvuY2rEwFGu8dffqmFzOBlxmjDZ3RzKoMUn0LkE9aqfv/+VFxgac5POwKO7K9TNLZq1BhcunCGXKZBMpijkkly89AL3Hz7C5bFjbpmJRALMn5nl5/7hV/H4XWzuNXFSU6+4w2alYG7SLlh57//xsBpPMzB5mUZ2i3SuRJ90bhNZjUHmMjn84SC1Wk2jbNL3lI2tHNIisW4i0bC+7od7hxwe7KkPONwb1e1BtVikUpMOV4tAt5fUUR23tc1YtMK1f3RE2xFmwFumLxri1kpGbz5DAYNf+bd/l1o5wz/+pbf47+/v6Bb4/HSEdtNgYNRFo9KhVKgTjXpp5/N4vFY29srs5CsaG5MbrVSLunwB/NY6j/YrXBtz8W//uoti08WTR3Ek9STaH9GCSqWgN+LVA7BsEJ88yhANVPjdh35u7kNX45hs00WgS4jDDiKmAv/91m0K2x9hmGWoaKW09jYOuxXH8AvUigVqR3dx9V/FSNzRHpw1cIJmy4wh/dnUFjaXHbMcvguHdBzh59H7wg4txyQ2n43a0QIdsxuLw4u5Y6VaT2mEzTAqSn012Xy0GnFMrQDtxhE4ujHU/1qQuxotmUTn9pQsy/FNOp4pOlazDl/lUtdyBTDKhedUW3cA0nEMc5kOTrCFsbiko16jdbSCSYCDHtkSx7EEBK4qyZQD7ZQFJ+Y4TNQYOP8PeO1KN9WKldPjXewcJCg3m2xv5ml47HjHeulUSoxOjJHJ51XX5HU4SeczWExywI/x+MkT3ez++I/9GE8XFrSHWa81lJYrB0ZTp6OHjsWnT+kOR5CJiqjuyoWqbvZk8ysbYTnYiS9d4szSkdftvKgIuzw0am29QUsE9cYnN/RhVg7Zcli8deOOpgBGxyf14FwpF6k1WwotO3fuDA8fPqY7EsHuclPMp/ShXqoGAtscGOxlfW2HXCqrD1xnL5xhY3UNl8+lOq504ojRiUkFdkqM+d13v68bGp/Hy8bqJpFoRMFo0Z4YS0tLxHpj+sAnOtSVlWVGz5xg7wf3Eadh02xQbpTVBGNpm4lFuzVV0egJMDozyv76rj7wycHz/q2HvPHGa9y8fZvhkWFcbju1mgxynNp3/dEv/QUkXvP7v/tHdIeDOvSIJxLaCRfIlVxrZGMmvfrHjx4T6A7QE42BKNs+XCTsd9E/Mcj6yrpGVpsNMyYrmIa61M4hBzxPwIMkH7d3dzlz5pQyHqRPqpYEOprIkiixbOLbHUM3wzang8XFRYrZMiOjgxr9v3HjntLK5+dPEI12s7m5o/esgcFBoKkb37vimw8E6Y7FqMnnuy0P4ce89vpLbG3v6HvlcrqoVsps7RzQH+vWQ1U+V9RBjdSNspm8bvjNZrNSqkvFoj4QCunfLN7uZIqhkREGBwZYXHyiMXqP00Ot0dDvtQyPXnzxiqRuFZ4nukOJ7Upt7dHjBa5du6Zgy8f3n3D6/Cm1MAiwrSvQpbHhaqWiQwKpD4yMj+omP32c1APyyvoqn/v0Z1hYWlJ2QSzWze7eAX63R1kIn9y6rnWxkZEhDveTuLxOBQWWK2W6/EHtlXu8Hvb2DhWE2R0JKNBPOsuRaIydrU26usIat+0b6NfXVBIshUKBtZUNVbjNTk2oxk4OhcPDoxwfJbQOI+mRe7fvKPxSvhuij3PbHFqbEP2WHPSlRiFd9qGBmHIhirmydpBNrbY+wzWbLWbm5vTzsbC0gFcAze0G6UwGu9Wl7If9+J5Y2nTIMDo+pCCznp4Yjx8v6kbTKvq0TJopMRPQ0VpNPlPQGtHU1BSJ47jyLTo8J8ZLB313N47NbieXTpNK5Tl3bl67uBKflmGNqCUNw6BcLit3YmZuWkGfKaHah8NEoiG2NncIhkMU0llS2SzDo6PKSpBetd3qZHnxGdVGnatXL7G7u6dVjempMTZ3djiKpwlFfFy9dEWTmGK4SB2ltc+eTh3SMZlJHmd449Ov6HWlUGrgcVvJF4oEA0HcXpfWQGSjL0whYaTI92Z395DN1U0dPgZ88j48J9gXSiXMonCzi1ViXb9/Qq6XlKL83dx+l7I3ioUapVJO++alSgWb2aaKQ+mY37x5i4DXr/UrSSmemJzSz+fo+DiTY8IrWGR355Dh/mFu3LrJpcuXlBWw8PiJ1orWVlboHR2hP9xNOp+ipz/KzvuLlIo55s7OajVBYKthATBWknj8AcKBiNbcvEEf6USSfKmg94mL5y+QTGbVciI6N08wqMkR0Tke7u8xfWJO0yoypA3JsLJUUEOOuO5nZyfx+f28+93vMTDcy8mTp3n65AlBX5dQdsikjnF7/VpFeXj3gXJThCEgdoWBoT6ePl7AbLJjtZn0GpvN59ja2GZwoE95F0Ldl2Hnndv39Jov9bZqo8z46IR+hhrtBrVKTVMHq3LPcHv0PWq2RDE6yOOHj4j19+tARNSGR8cpfvInf4I7t+7otaFttNjfOdBESTYlz+QFQj3d2Cwmjo/SXLl6mT/9kz/j9Kl51UqmswW9PsjwY3iwTxXhbaOti5R8Oc/oyBBOuwuz3cTjB/KzB/Ve8M7b7zF/ag6P166w1FdeucpX/91vMHd+htxxhqufeYHVT56w+I37zF3uI5dp4PeB22ojkUpSrDj5e286mfUU+W/Xm+wm6wT6uvj2rWPaTi/FRgfDViTqcDHss9Hjq5OrWMjV/5cOO+jhYL+Eydmk0ujgsJpwSWJQkt8G/PHHh4y44IN3/x96rr5CZ+Meyb0d3KZuWm6fqi3LRRNmj5/qxvcAC/j7sDq66BhFiZtgFvudOUuz3MDqGsBo52iba5jaVjrlIs3SFoYrBJK2NBo0zHZsbQe11iEWw6aAe5O3D0N0fge3aBY3MY2+jtUWoFw8wNYoYAmO8/+z9N5RkqVnmecvvPcmI713laZ8dXVV+1YbtQTI0CNpQIA0gxmnYUG7yxnGMAL2LHOE32HxQishISRk2qq9qy7vbWZWVvrIjIzI8D5u3LjL+9X81ef06c6qiIz47vc+7/P8nvKVvyM0epK2/yhG7j1auXVswx+jVdzGYc5jijyltvit7Aq2wLhy2gtnQZZ7hsuJw+oS8wWdVhmLv0u1TumlPLbufbSlFa+6jTU8RtvpVFFU3aSrM8RRWaPpE2eliXYljSl37veMdm0De0vDNvQEtdQ5bPU6ur9PVQc4bUE65WVMnoiq82ptvU4gfgzD5adVXlEDsrmyoSoVTOFZTKYSVucAmt2GtXiXjlTr1bPY/XKgapjSN9HCPdjdg+g7H2B2OrH4JmmXN9Fsdpz2sCImi+JiszRUvqfZzOOMHkQz3Jg6WdWXbEjfsM2O1mlgMwVUvYnYxeSmodULmMVOrVXoOAYx6yXVm920BcSwibm2rnpcbeEhOrmbdMwdTKGDGHtX6ARncLh8aDuXsHYdUl3bFouDRiuMtXwNa8CvVEebM0LHMUDu6j8w8MynefFv/o7f/KN3eHCul7O3t3nqyBi3ltPsVXO8+sJf4Te3KN++hCkih0IcT4+JdqIHp7lMI1lg9eZV/uSPfsTFTY0rK2V0IOow89EHBlhKpfC2Ghyc6ebKUpZax+DhQ5I13+TQpJe19RrisKm1tfsHY6PK0nKdknzAmybSOTO5ZosTfRrPHnZztNfM3FiI5Ss7BLqiVLHhCmh8eKbKzKSLcq1JraTjDhmUaxrdAQ+a9G4GzPidLt49taE28F6vg4Jk+eqQSlU4dqCbjt5k4W6WfQf6uHJlF7NmZnIizK2VIgNdbSb3xfnSn6T58WKb5487yBhOKoUm95I1RvvD/M/f/SIXb9xkbyerLpCFcpk2+v0qrp08Tzx5kB+8copvvrBI30AEl1HF7bfjdzm4fjPJJz82z9MPz/PyK2d49rkjlCsGE4kYv/SVvyNsNRHrD7K9nqbHZyVjeLiwWGHru1OsLBRYu5Ei2C/DmB2TzYXHX8amdePoMhMImJRFMLWcZX2nw9JmiXqxqazptQrYfDYcNqeyrE1OyuelSVdXiJEuO5evZPC6PAjVcHrSzodnq8zNBJjsavPupTr/7jWd8biDqB0ubKDy748d6+aVDxapt+AHf/WrpNOb3LghVUcan3r+Y7z847cVjyTWM0g5v6u2JDaXh2x6l3/1s5/CFbDzb379q1xZb/PI/giNlo1WpUrBVKNdtbFT1PjUrIcvf9KJNeajtquzcHsFzWxhYlgyRVa1+alkK4xODqvcr2CTDasFh9msrGpej5e9vRJWCwRjIayGwcrdTbr6u4nEw9y6dodIVxx7x0EgYWN3a49WrsbEpIef/aMcCxkb4906Xrudpi1IbifHz3xunpAjxO2FWzzz7HEy6TJXrq5x+c4GN++WcPts1Bqacq0YphZ+r4NSU9TVBrEwBGwujh0eIl2qsrJR4Givm7c2qgw4mrz5m/28dLZEf8yE1+6gqBtUMkWaZhMeq52GANpiLkqazgPTLv7Ldyp8+4LGpx8MkMzWCbndfHA6xb7xNv905hzluxdUF3JbxMRGGot7DN1qw9ypo3v3Ydq7gVXP0AnMKfqyVlvB3BASsRfD5VXDqsUoY3PFadkT2Ko3Fb3W6RqiuvEWdn+Ett2JvSpCZIxWeVVZrXXnNDayNMpbOES8lLWOSP8WYajoqq/WZHaA06QyY5ZOC6tuoGkp9WEVfoKt+yBazcCoLGP2JjAEJFjPY7I6MExBjPY61sAcWvqsEgjM9jAOk1MNTkYrjTU4jV68h+/gx/nRn36ZT335TR47GKZULBFUIK86A4MBdlNVjj3/DB+cu0zQ52Z4eIh33nqfyYkxtUGVgevRR06yvp5U0DcBXjVaLcIhv7Jk6y1Dbf+dLg937ixis8h3MaCcJk8+8TjvvXcKraUpe7VsbuXys76+oazF165dU3lF2US99uO3GBruU0C2l175MX63ULOjaoNXq1XoGxxCbzapVMrUa3XV7T0tkYL1Te4sLKrc58rqCk63i0ajid/nVZbMarFGvV3nyJH9LF6/q0BPh48dIp/dU0LErYUFtU0VIU2yyRI5EPt/u9PkkYdPKuu/iBey8UzEEiQ3k+qZNjE1weDQIC/84wuMTo4weXyO1//gW9gMC32DcaTSQWBobqeXdCZDudhi9idOMDTSzfWrS6C11IbVaBokMzu4vR6efPxRRenWdE1t4l9/9XVlr9c6usoeq2y5riu69trGKlaTg3Rmi5/9+c/z4funaDQ0ekcHuPz+JbqdNjJrWSzWjhJ3dcMg0h2kmMkxc/IQluEE987foNLUmD0widvhVaA6yWTPTE+riMK7b7/N8Oioyrz+6Eev8tDJ4wo+9uYb7/C5f/k5Pjj1IfNz+9TrvHb1JpOT+/AH3Fy6fIm+gUFVvye58aHhQdUi4Av6mJLWh4vXVGRNxfSCXnoSPWoIlM3n5cs3VfNBb18vPl+IN197HYvFTrw7qnrL5fK9em9VdZZLG4UMySsrq/hDIWUxF6Djyr0VCoWyqgG7fWuR5z/9MZbvrah6RPl8S3xD/hkM+tQl7cqVy2qgFyeDWPrPX7ygPsNSvya99bdv3mF4cIRWu0693mB8YlK9ZoHNjQwPqWo6YdKIi6CttTilIJluBS70STe7y6nAxTev3+ap556mVa+RSqex2m0Us1kqdfkeaern3r59i9mZfUocSm5tqM2i1IZJLl8cLeVSiVZdJ9oVIRD08P47Z3j08UcU1DKbL6pKSRkeRBiR6IWu33eqCG38+tWbuNxORaCv1ap0J/p5++331Hb/wME5FhcWVRe5vG5ZG4tVXyCNwUiQakVEjpwaNCUW4fP7WV25qwYnIdS7HR52drYVPG7f7BTvvX2KkYlRZTMe6Bvm5q07arDzOO10LFZMus5OJq2+5+Komtk3Rb5YUtGKtZU1JYLIQLyeXFc0fBEHenrE8m9haVliCyNKRBbhIRHrUsO/OBeef/6TvPzj1xVk7sETJ1RmO5fNMb//IMv3BAZoVuC5ncw2w0PDnD97mZmZCVXbKPl7cQ6sJdeZnZpRkMHdbIb/+Kv/gVdeeAW3w062VKBSruB1+VS//cjEAK+9/AYfeeIx7C6Xii2J1VxcAMIPECq8HP3xSJey2Otam0w2zSOPPq4cTqVcSd2LJYqXSqaUoFoT/ok4Aeo1VSMoUMud7QytZo3B4X6qTcnwZ0lEeyhW8kr83NpKqk3p5YuX1PkgTSfVclU5T/xuaSnq4+7yXeUYkM2jnKsiqomzoDeeYPrAJD/8zsvKlSTf8X3z02xsZhRccHxsWvXK9w9307y7S63SwuaxqGFdKP/Xr69y5GPHKVdk615Tw7I8Y6RRQ/7+ie4e7i4uqs+v2MZX15bpGxzEYlhIZVKMj0yiaXUFO3X7/XjF9u8L8eHp9zl4ZD+p7T1ymSzxRA9lcRsbHR5+6HH+9mvf4MSDRyV6r9wD4nzs7eoiI+6U4UHy2QIrK8uMj02q+IwANgXSa7bcj4fIZ12gfRsbG+rMlQHbE5AzQScejSiBz2IRsHSQQrHAyMAgm8ltbA6rAsKmJZKSEqfCw0rse/fNDzn2wFFWNu7R19etHEcer1OJ6fKs6ent4eL58wQCYXx+B6lURnECxHmYyeYUD+eRhx5WHJYPT51RhH+pSTx37jyPP3mS2dl53nz7LTwun4objU8MkcuVuXjxKvtmxhQ0vVxpKAbH/P45JQAJ62RqfIiLt26raJ5RbtBelsiUlys3tnB5bTh1cXq0SFZcHB1s8+3fiNFOWbFGfRR282SyDhWJ+v3vLlMwdXh/U+PuRptAxMVUzMJsX5Rza0kyuy1+8lAfO6Uq1WaNmbEY55YKTMdD7J8J8/rlDNcubqulzhc+c5L/9N++iC8RI3VlmaCnTkd3UNYquGTwdbtp2QeguIwzOk/H0kLXaspJbimsKMaWNTCK3pH7kpeOwP2sXgxbgo65Qaexhck8iMUu9gYTRnlRRdsNV5xOfVMt2gxvP+bSGmb5GRY/LbtUKS9jij+KkV+QwByGtQeTnsbYu4XJMQhd82jZ69hCA5ikxcvUxursoaPloVFBM6yYLS0sBpjtTuq5NbU8MjwD6G2JnoSVaG/t7NIS4lCrqpoHLP4+dfeT71Tb3oXF0cFUSWGqXPzvRsc3j15cUfl9w22F7IrqqRa11+6K0Cql0ZuSN4J26jLEZrH6hjFJZ7TFTXPtXSSwYzVX0KPHsZRS6IWz6N5pXLHD6Lm7GO0a9D6AITkMq1tVIUhVgcUWpEUbq1iKDcm+eumEJzEE4LB1DVPvUUyFBUzWqFIrTa4h2g4T7Qt/DEJVDI5j7Uj2cAO73Y5RLGGEh7F1TLSaBVqNAuaAF4cjDqUMbQQg0UdL28MpXY6eHjriKnCE0aTPW9cUWVQuxc1CUl08BZwhcC5TR9aFCTD8aDsvYXMEaWoeYo9+mlP/+D954ue/xX/46XG21ytEe0OqimZhaY//5z/u46Gf+RLVzdsgOZLKOnqpiamlgReiQ/OYZP0f64bGAksvvcrd1Tp/9533eetqB83uRdfqHOox6I46FejKatdZuLHD9GyEpbstaiadWNTL5aUmo91NBmPSI1ljYb2OkE/Mbqk0AbtWYzBuJRF2Mx21c2JGJ9/Q6HHa8Fhhp9pGa2gYHSf5elNFPFyeuqJ+Zwt17LqbYq3F6LjkrUt43T7igfu5y/6hMG+/uaas2bL+MGlFrHa/AvIUShoup4XpuIl4n4OHv1Kj2S5yYDTBrdUdenrHOHvlDr/+xWOMDfVw/cYaTzz5kNo0zB+YV5uBt994WwHtDs5O8tW//Cd+8NYKDx0Ik8m3KRZls9egN2bhz//gN2hUdlhcyHN6YYGvffMGg31m5ieGuXQ3xaEZJ/u6wnzlO6t8atzM//d/DfH+6QoOc4vx/QMk7xWwR1qEO36Wdgss3dimVHdxc62lKlC6YhYGB7y4nOC0u2jUdbZWC4xMOOnt76JRKpKpdli8WeSnP9XH2Q/Fmm9CDCidYgN/n5fhmI90ucbR0SC//e0MV7JBEl5NbVNXC1m6fRFVUdlxmbh2bY9f+pkZHji4j7HxIc5fvsKV84v83C98lq994x+p/3NO7gs//wk2NlZVzrPabrCwuMP3X1nm8ZN9rCWzlFs23CYzD8wGeetiir7uCL/5jIWlC2v81L99lOVLi/SOdpFcL1EuZ+kfG4JOR/WTyqGRzxXVRfvWzRtYrC5lSZTLv83hol4sEurqUpum9btrCrRjEoOl001xr6iqlPY/OMf26hadUoOpMQ9/8mKTl281OHFokEJhj92CxoUbGX7xpw9w7PAoS0sbdPcMEBKatePllXoAACAASURBVLnGyOgoy6u73Fy4w5ED+zn14QVuyYOme5CI38lgn5fP/uQJPvdv/pob23mmBhw0qjDQ5eftu3WOJOp851f8fO3FHIf3h3D4XGTSVeq5EgNDfYpau7BYJBEOUG1k+InnJvjb1yq8cU9nzGdwb9dg9kCEV19bZagvyDc++BHalXdp2vwKvNMubyu6f8uoYtXqGE3xEiRxRB9QkCzqVUWq7zQrdHw+OrUChhzYNtnaF+mYNXAPKqGSwgYNvYQ78QCaZmBupNAj+zEX7mGxGmg26SkP0K7kaVeWMQWn1EbMYZLOaBeGfND0LLolAs0tuenRLGzgcIUhPEe7VcOuFdANG53SqjxJsLitGJ4haFvo7LwOzggWe5x2cw9TdBxzw0bbpuOyt6nurNAxJwjEunHO9vHs9Ee4krbz2WenOH92g5bfqoBwYZtOoQWf/a//nvfee5/uSExddGTLK3nDzdU1ZXuVSqtbtxcVRC3W3UU2k1L2ZmF4yDZFbJOBiJ9gwK+6fM+ePq2aTmIxEQsKzMzsJ5/LqS2lyWxVl8LMblrVXMp2UTKdy7dWSPR3qU2ZvFmSa48GI4p+LXA53SRb/sOK7lwQ5gAdXE63EiKHRoep1qporRbNZp2uWBelSkn1O0uPsmw2hQYvzpiVxVV10RebcXInpSIDMpjKnyGbnpmpaWW7lDo6h8eOprXxuFwkd3Zp1FoU81lmZqbZTqeJRsJ0xF5s1tV3K3d+mXKmgNltVVbXobFe1paTFLJV9s9NUuhxs7O2zqGDR9jalDy3C6+A5rY2OHj0CLV6masXbyjSutXmJLm1pQbU7p44Xb0JNu+tkc0X6O/rJSJqWgdui/hx4jClbJGF5RX6xkbZunGL3FKamdEeAr1xbl1eoqZrBOUZU2+Kcs1jzz/H2z98g3q7yXPPPcM7r7/DwPgIU2MjvPHG++w/NE85X8Dmsakc6ZuvfcAv/dsv8s6bbyoHht1h5trVRRWHWF66S19vNyOjI8qOLINHcntP2bH7B/pUhlg2tG6nU4mVzWqDlfUNles9MHuAN958k+1URtXCBf1++gd6ef31dzl+/KgC70lU0e9zK7ZJrKubdaHEHz6oBIihoQFV+baVTCqoloi8kmcXy3Pv4BCb6yvq+SQClgAdx0aGOPnIw3z1q3/K4UMzaqsvefF4LMrps+fptMUu3lY24IAvoCJZPb29ZLIZVRco9X5Op+M+5MvmIBQKs7m9pYZTga0dOjRHIBzi1s1FTp48on6mxOQ67fuCkMRbZAuVz1cUZE8GtaA/ogaYdDqjhguxw0fCAboSUcxWqxp+411xBXtLbyfZ3t5VHfKJnj48TidLy8uqtlG2kgIbk7NYWC0LSwscP/IApUqRs2cuqLy1DNb5XIEjhw+qnvKNjU1VPxcKRtU2W6rZ8gIgC4aYnd7HW2+9S6wr+L9y2WE1/MuWXbLU0mMwMNDH1vqWikcIiO7Fl17G7Qlw4MA02VxBQTqDPh8ev0NxAlbXk8zsn2RjZY1iWeJcYbL5HMmdTbVxnZoY5dLlG4wMD6js9djYKDeu3lRDnjhLBLArIpiIpEKZf/mVt1QbSaInpjbKwgSKxSOsbq7Sl+hVQr/AFBdv3+HAof0K+Cl3ghu3b6jzQCrYhNJ/5ux5vD4P8zNzqiFF3tP1lXUefvxRTp1+X/W82+wOGvU2w6N9ynIuVWuy2SzvZdXAfO/eimoEOnT4sBJ8BcbX0zOgHA3inDI0Q23prRY7/UN9bNzbwOV2KEv+Yx95TPETrly6xYg4aoI+FhduMjIySSDkI52RBg2Lii9Jlebo2ACJRB/vvn9KZfWFAyVxKDOy6UaJHN29Pep1B8NBdY6k9zKqyrEqgo3LQ75QJBaNKfilvBany8rY6ARXLl1kS7gCoyPMTExx7uw5Wo027rCL5MV7jPYPsLp2l9kH53A7HCze2WD8oVlW7iXxesURaqNcrVHM5TnywGHV4LCyvMrQ0JAC1olLbHH5lhKRUgKv7B9Sot3M7CwOl52rVy4zv38/G1tbxMIRZaUXblMoGsVitrOyvITDYaMrkVDVsbKNW11bIxj0E4+HaGhtVSkp/BBxMEUCEfW8kaaUbF5afAxGx4bU6xc2gdj7JXce70lQzBWIRoOsrK6rqMDs7CQ+b1iJr/tmJhWnRZovpNVAIjTC9Lhx/QZjE6Pqe3z6ww8YGxtXIlq5XlLvW6tRxRsIkdrZVk46xaywmXng5HEKe3l2Mxlmp6ZY30qqyJW4y4qFslrgyDkrwkGrrXF3Qc7ZHu6tbih2yuz8OOm9IoloF06PVTkudlLifCvw9HNPc/70GaKRLlXFOjQ0iCsmbkUTm69fplNvYvE56I4F2VzZIRrzsV3QWU1X+NEv29m+12C9YWMyESDotRMO5BkKeLC0zFxZa+LsCvDS+TRvr3e4ttsk4AgxEG7jkEy/AGWdHTJ7Om6nBZfNICngYN3Mw8cS1HeqfON8ngMD8PZrf4xvfAquv81uHggP4qwk8QUmKWo1SJ3HHOhCr+5h8fRieGI0l97A4tJxjH6O2t5F7NYIbu8A1a03sfp9mG33wYCGp5tabgNLI40tMac4XDIDdzJ7dGwaHf84LhF+9A7tRhqMGpZyBdwxOrEhLHvL6M0cBPZjb2dopW+hJfZjDwzRLt3CWi2AdxzdbKNjETFMYpAttWwyGy4VuZD2go7VpdzUKqpgakOjCP5BjNYeplpWPcd1hx17o4oW6MHabGBYPej1EqbcB//dQCoBJOPQsWMPDaNVkopmaq0XaMr2fugohmalXdjCZo+pLL9cMI2OWIqhVdjAZnfTCU5jS1+n4wrSMgWxuN2gWbDa2+i772Ppf46OYUFb+DrWngexBiZoV9YwdLPKaohKZxLlxd2n+rNNpj1MLTt6fQdLO4/hDylyo83swmxYaJo9OJwWWq0SHc2EqbYhCF5MhBRYwRYdoJO/Dr79yCs06lfQS0U67n4cgw+pi6Ao4+b6AibPvOIMaNULmJ1TSjXWVl7GFp/C1GphiY9htibQqwWseoFO8SZ1w0LHCNL91EcpXF+k5+iXOThiZ7wviidsoVgwc/byOt/4rcc58vlfJnf+AlqnDHob7+A8NEo0Ck0sYSv6zgp2RwTD78Q/MIQt3idpO5q3XyW3eo433knyvXdWaXZcrG2Z0JsF5meCzI2GaFQKFBrCMNCpSO9408RqrkxfwI7HbrBd8TIab9DX7WVls8rSToOr2xrHh30sbDfRTV5mQzl+8zNBLNUGkwk30e4e1rc26QqHOX8rw0rGituo4+8OEHFDOlcm7LbR1ePlilimE2Y6LSs763W6B/xU2xUeODrMu2/cxeOx4Y6YMBsedvdqPP+xHv7w6+v89lkrH3+gn/beHmWbg5u3shwedfLNv/w/+bO/epGp/cNsbu6pjaZkmSy2NtWGmZMPjrK30+Irf/hDOlYL8aCFhtah3XZQzFeoSD/zkJ9oOMiP3hWRwIHJ8LJVbHE0Ilk9N9++VqRL9/HeXw9RWd3GNzqIUytyY6HESG+cvWqD9e0S3/1uiqkpF06bhVKlzfSEm2ypSq3RIeLx0rZ36Im62NkssZMChxB2hW8QNNCK8j5V1Vbj8JEI4/2irKK2gW2tgoGDyVAdmz/KT/yNgU8yrVqL7oEoq3tlbLUGRw9PcPHqJmaTnf5eKwf2jVAr1PnETx7GbGuzm2rQ7rSIhkJE+vr54z/9OuevpGg2NCYne1jbKeB3WwiEA+ylksxNDvLhtXUOjcd4sKeAq1rn53/rEyydXaKjtWlXJA8rFvMA8d4QzWqNaqXJzm6KAwdnVL+4wHRE2ZZe2UERVd6/yPD4KLVqCZ8voGx+9+7eVd3XlXKbCxducuTYDFbsOJx1Oq0SP/+ne7QtLqydNkOJEGXdxLkrG3zhY7M8fPIwZy9doyfuxeUQsrrUDAZJ9A8p9oZWbykeQjAcRqtLzMCiiNFCdf9P/+NF3H4r/dEAw70+9rZSnNnQmQtW+davDZFpwMZmmc2tCk+c7GU7U2cnWeGJJ8d4661b6uIirgJHrcqvvdRkbt+IIn3vliw8eXiAFz9Y4pGHPPzR99bIv/cbmJzj2AN+Gjs3sVt9WGMDNIo5OoXLaktuCY2ir70FwSHMjhiGtotJ17CYQooEbLfqNHUbFlGTKlks3n4alXtQS2MNz6uzpqWV6bgHFfW/JeJqs4hNIFTeHmrVXZyuUfTqKia7E5NwUKodzDY3pkAUkxbC6mjTbKextNx0DAHdeKCQQne3MXSP+v8bzSTOUB9aZgG9ksLwB6FUouNL4PQnMGOjvHEeT6gXm8Ogli/hHT+APawzMPrLyFLvY48f5JUfX6R3IMZQv2xl75Gu1HFO9dMfjXL6/bP0Dw4SCQaUVdputaMbOiurq/T2Sn2Ui5o4ySyGcsxI/tnnD3Dh3GUV0xifmsBhdZDN5/E4XcrOfeLkMX70o5eo1Zsq/18o5HnoxDFefenH6AIaCgeIJmQoku5di4K8FfNiWa2prHog6FW/BwHgSS5YYHHSriL2f63TZnJK+tFXiQl0L32/M3xqZkoB2uRiLFWkQlTu7kmoS6Bsd4RgL3EDt8vJ4MAAp06d59lnn1CDlUDXZMCRP/POzTtqC9OfSLBvdpIfvviqAqGJ40G2qxtrScU6GN8/rQaUlRfO4XRaKMjPaNSZHh+m3K6R2Shgtho89IVPcPbtD3Fa3ezbP8Xm+pbKssvwKfZqEaLENi1DpuQyN5MbnDhxlJWVDfLZnKrrCoSCKs5TrJRUhjQRDWF122jWG+T2ynRNDWLeK5G7voEvEVBDZcAfQmvW6ZQ6NG0arYiHWE9EWcLXltZx+9yKLSP1qRIPqFdaZPdSPP3Uk5jsNhZuLqkBRtxUfm9IbdqEyWDCRr1cZlgquOZnefGFV2kaGicefIDNlS3cPiehSED9HkdGhzn9wXkWFxb4F5/5F6ruUdgoshlLZ3b44he/yBs/foPVtS1m52fQtZb63AmJW+IOUjWb2UsRid2PA4xODLGXznJnYYETx4+phgq53KYyaVVFuba8ysmHTipAoAyUE1ND9PcO0NJbCm548eIlRsZGlROk3WzTNnSOPnBM2ZtX724xNjXM9k4SS8fG0QePqA51aXKZOzBPaiet6haHh0bJ/C+rsdyzRBiIdskgmiUWi7K4uEw8FufAwVn++s+/zqd/+pNcPH+JfDnLE48/zrlz55ifn2cvl2dnI0kwEuLQof2qts6MWVmKZRAVtq0A/1bXZOFhZ3pqhmx2l91dAetNU6/Je7WsfscDg/0MDIzxzltvkkrlGR3tZt/MFAPDQ7z3zvu43PKdcCu7ugATx8fHGJ4Y483XXlWd73Jvk+FGoIOp5DYDI/1sb6XUEC2i1dy+fexJz3o6SyweU0LA3m5GMTPESh8Nx1jf3lDwO4HdeoJuzp++pIa1TkvElTrjkyN43MLdKJDa26XdhAMHZjl15jSjo0KA3+HwkSPcuH4du81GPlch4JfKyiY7yTTzs/PcWbitnuMDQ8MK+iaZbhneJE4ig6YI8WLprpTrnHzouLL2X79+nXg0is8b5M7tOyqyUW+UVexCNtMiBMhZUipX8bgsqhIw3t3F3YUVnnruSd740WuMTA6o71lqN8Ps/mkVXTp+9DCpfIYfv/ImE+NTyhVz9tw5ioWKEiYk9pDZyymbtrhMNpIi/t13TM0fmmHpzhp6s0W8O47ZalZxBBFtxCIeCEXU+y4CkdwZpH1AwHHCOgoFfNy8saAEL2GoVOtVxVeo16tMTExy5doVHn/0Md568x2sZgtzszMqCy/OqCOH97O2ua0EIIklbO9s89xHn2HhtjhuTczPH+TDD04pjkciESebyzN3+ABrl2/SSRWJjSUUwHZjcYe2R9q7HHzsUz/B8uIKV69c4rFHHuf06QtYzB36+ntweHyktreplGQDb+LQoXmyuZyC5p07fQaXW9p8tlSL08BAjzoz5HN48/qN+y6TgrgLpV3EocTZ5HaSjz79NK++9rramIcjYZ55+nF+8P2X8PsDKnrjcrvYFueEJq7GCTbWN6hU6/T3DHLt+hWeee5Zrl+9wvDQGIViTrlrNlY36e5PcPTYMa5fvY7FbFHiiggYPX0JgtEImZ20ilYIVLVeERdFlVgsztTMqKppjcQTCtoajYSUwFAo5PD6gmrxMjktNa+6Yj/spjLKdSYsHBE55FkiwoAAQkOhABsrm8p1UcyXyGb2mD9wkNu3bishRBY+suBJ76U5OHdAwQ9Pvfshz370KdKZXZaWVxQ49eCxWa6dva6Aih/5qWeUE/vs997BkqwQ6JZWNGnYqajWtVikzffOlfjzj0f45EEHry1mGOnu4tqdDMWWhfmZKPeWdpmNO+kfkHYSSBbbNOwebtwp8+fnWyyk64xETDw1HaNabVNpmyi1Gox1hbixkqK3x4G13qZeM1TrzEtXc9z54a8w8LEvkDv3Dbz1BFVXDas0NdVBl851XDgD3TTbJpwOM7quoe3ehsQDuIu3qGTuYQw9hkWrK8dmp2HGEh5Hb2yqdquOUacTmYDdZazWNoZvDFMzjS5teM0sTXcYT2Q/RuEeWruByxlRr4niAia7RBmlarSO2WPFtHkby9AzNCtpjFoKR9BD/dYrmEd/Goe/G33xO5gmn6edu0On08QRHEErbWDSDRyuODVMOE1Z2ppDRUj8XZOU9u6fl7o9glnX6dS2sEcG0NMrmAqX/sCQ/sL27g3sgVE0kwlLcFrlI/TiTUy4sXoiVFf+EdfAIyA1fKmr2BNTitRrbTUxAt1YdKsaIMytLTSxYJl9mCigp87Q6X0OZ7WKySdSRJuW0JATh9AyV7DIjcQXw1woYiQO0ancu2+7t3XRMdkxOb1Q28VqatIWqFa7QEvqAD0jWLQcBnY6ZgOXK0qjsQ22BHanFz2/orK1iLXWa8FUTlFPXcYWmlPZvla7hE02do0slloaQ6k0WWzuEBbfYdo2M6bGpmIXuNsVNFFhdHBoqzStQ1i8oxi2PObsCt7pj1BcusJTn/vPeDwWDh+cJZ1KsbacxtJp84f/7bPs+/hzZG9exxfsQ9MbaI0S1kYLp0nH4hd6fINaS8PujeJw+ti9e41YXz/BqX4orCing1g7Ft9/k+TqPW5t2fj6N86zWW6rHsrekImZkQQxmwn8BqmSRtjsYKDPpBoBAnEXhbqJes2E01bm6Hg3V7fKGJ0WLkuLm9smrm3CYEQnaNV5ZtbGJw7aSa7ZOHnMi91WZ31bMrk+NjbrGJYOLl+QQmGXkREfu7saXTEPoyMerl7fVoOgtDxcuZymr9/NsfkYy9tpkimNqC1MrCfLb7/k5t3lMs/uT9yvYqm02FzL81e/90UFffv+998nXZGsWocjR45w5vxNBU7ZPxtj7p9hUF/5H9+jpztIuVDE4XGqLZ1kQs02Fwv3ChyYixEP2mUdzeZGi33RAjZzkG9fqBH2Wnjn/wgR7HFQqJr43ltLNEoWIolulV28t6VxYMqhcu993SEy2Ro2pwu/RyeValBumAkHbLz9XpbpYTsetwWrxYLLWyYR62YlWeaJhxNolSr+iJu+6UHWFnYoF3X6oja2M02VSbp9boOPPtHDod/apdrUGAhJo6cNQwxCRp1uyfcFAyytbNESJZ02bmeQRx+ZIOr00NYbavP1wqvnubVcJRC20jcYQqLgLludUh3Gh2KqH3tlPY8z4CSZrlPTTTzR7+HXnoTIXJzV6xmiiaAawGyWFsWKrqB+pVaFfftm1GYyuyc8gIDaXMguQKzSRx45zuqdZbUZDXZFySbTil4uDAGpXOoe7mVnYxWLw4lRN2G0Uoqn8cBv14m7mwQ9ViYHu7h8N0Nqt8Ir3/zfVL769KU7VJuyhQnhsnqolarspguEorJtucv+Q3N09/dwd+EeE+N9Kt+XrWl87ZsfMDQQo1AqY7Po6C0bK0WNTx8287NjLTZbOvv3jVDJ17hybYt4zEsoalX1nKGARdHKnW6NWLjJxL8vEIuYmO/xYbebsbpNfPvVHP/3l7r4V3/wDlun/oZodByjXqOlZUGr3m89aWr3bVqBERUnKWduYHP10Mnv0A4PwcZpXP3H0YXmWtsFp3AlArRz17FYo5h7DmGWy9buBWyRflomLw6p8LEBlW1slhD1Rl494MyOIEa9RccoYvLP0Kmu0e7UcXr6aEv1YCujIHpE96NtvIo5eACzPYReWMYUHsVSXlDAQFvwAFqtjNlcxRF4iErmjDpH7e4gbQkzN3fRqzmapl4CfjN6OYVn30Fyd+8Qeeh3eXTMTLkhtmSLGqIbZjuOVpP55x+lZhg0ciJ4ddTmppwvKlK8bjKri05Pf4J33nmPocFBlV+T/076t6WtoW+4l0ZTVmEdpXhLt7bPE1Abm6PHjuLyOnjphVd54qkn1Xb//Kmzansnl7qA36cysNJO4RbHwc6OGu4kiuYP+XHanUowkG3m8OCYAktJjvTo0aNcvXaJsdFJtakVQvnHP/4cr7zyKtFQDLvLTb6YpVqsqOoo+fm1WkP9eZKXD0bD+N0u9rIFtTVaXVlXw20kFlEVduIwiMS62N1JEQwE1bklJGm3z6uiCuGgT0GrtmW4dvuIDSbYWtsgd2GNRMKLxeVhaWGT8aEokaEo+WSVeqdJ4pF5+vyR+1n3akNZ0oXAbrFauHHjpupWFyGgoxsKbNds1TlwYIa19W1qYq8VXkI8xNr6JolojFA8TCGTx2ToeMNRVQ/o9FrZOnsXa7XFyL4hLl9bUJvBoMtDcm2Po594AFsixOqtFY6fOMzFS9cVj+Hw0YP80/devN89nysTiQfUhVU60asiEjmcuN0eQqEgm8ktgmEflUqVQ/NzLCzcIZ5IsHJ3jSMPHGU3vatcHfdUZMFQJO/U7q4aVsVCK4BSqUkrlYsqMymbbnm+h/+5bSa9l8Nms6n/X94T2Vzlc2UKuT0VV5KIgsvuUtbZYiHL/sOH2FxfVfnc+wC+jIqu9Hb3URYY3eQYl67dJOgPMDYxxjtvvsWBI4dp1epcuHiNrq644i5IR7m0VNy+c0MNROJmFFhXo1ojHApidDqqWUEAdEtLy9itDsbGR1XsRIQxcYqIddoflNjCO+rnirAwOT2iiNyXLlwmIRvGQglNHAZelxo4hLIukRW3001XPEI2m6Vaa5PaTaost7AntEYbm92qctHbqTT752bURnB5YY35/TMKPnfy5DFVy/bKK28QjYWYn59RQ4vRMdhKbikmgsRnJM4iDCFhxgicU+oe19d2iET8TM3M8P7bH3Do2CG2tjZURGPfzD7KJRHjHDSaFfX51DvyPS9QLlaYmh5XQmBNBJr0nuJ+zM3M8OGp00RjUSLRID093ewkMyo3P7tvikIxq15PciPN2PSo6joX6rt8z4TxMX9glg9PnWd6apr19RXaHUMB24QzMj4yxo1bCyoKINWC0XhMbWrluy6xoLnZWdXUEIlEVPRBhs2eREKxDTpGm6npabK7GcVcsDrM9Pb2c/vmIuFIUDVJCEfj+MkHVcvB++++h8Uug1EU3ZBqVF25EG7euEmsK0a5WFO8nlZHU/EVOU/kHJw/OMu5M+cYGBgm0dfFnWu3FccjHA9jM5sV7POjzz1NpVQl0R1n4c6SElonpkfpaHDmw3MKTioViJnsHnGJx2hiIzcTjUZI7mbUM/aBo4fYTm0yMTFNMrnFvpk5Xvvxj+nuS7B/fo5z5y7Q0xWjXmuyk86ovHq5WFCOv6npEXX+yO9set8kC4uLjIyNK/EqFAgq6NxucpvhqUkKuRzFYpYv/rtf5Dtf/WvKOwVmjk1y+fx1AjYPkycO4B+Lc+bDi0yMjLJ0Z5loIkx6O8PUxATtjq6iCNlMXjUZFMsFHHarcoGMTE2p1hv5rKxvbNDX1c3I5DivvvpjZbOXmFQ8HlNLj+TWDuFYVLUkZHb28Ho9uFwO8oWyEqslynHp8lXFyHjy0Yc5d+kshVJNtTgsLS4qN6TECxpaQ3FDpCozEg4qyGAoEFHwx63kNvFIGJfHzW4qrb5zEis7ePAAH5w6rf4uEuEJh2Mq9jQ+MYLT41SNCpsbW3i9fvX9k7+jJC3MZrMCQe5u76rPojAJnB6vckdIxEYWn/JcEs6DNDCMyHlXqdyPZwqgr62rszJXKpLoiqvPmwBYDTmzDx1Q7VdXr1xVz0gRDQR6q+k6D548xql3PsAXcPPssx/lW9/4FvHePto2Ey5ZrF5awZEIUs/lVMVkOpclFnRyZsPgFx+08KUHbCzkO1idDtbuFUjtNDhxsIdKM8fYvn6++8oWD47bcFqDBPx12rQZHY7w+3+X5AercGazwLDDzUSfi1KzrISUiMtJQRg/bSuBiAmt3CRXbrK40eLd73+FQ598mq3vfhVPsI+OJ6x4Rw6/C1Ntj07LgW7W1PLDMfZxaGXopJZpu4X35cKSXaQd24/VPYGReRHd3oVZb2NIta5tEFP+Ns3MCo6IUP5dtEwurHI/a5Ro791QnCxX1zxmZ4DG2j/gSfwUTfICY8LsdWBUs5h8fZicQ7TWXgStjCk0QcfuwaFl0RomOu0yWm0V975/ia2YolEr4nD6aQsw3Sz8BDumtp9O9ZYS/Ow2+fcuLK4wHaODyTuAoWKoVVWDbDHFMGXP/p7hNnVomsPolja2+l2abbMiG+IZxCaKiFglMhsQnsDc3qWdOgfBozgkEtAoYg5EMRxd6Mk3sPd8hGazisncpFN1YTN2MLsSdEwljGaTtmcYk9QB2iPYHAFoaxj+MJ1OCYRka7HjdHZT2XpTdSXaR59Hz95WXZnunsewyuZ95xQmcxxL/zGlgphbDTq2EC5LG11v0OqYsNu70PQ05kYNBTl0DWM22+mQo1MpQaeGzeVAl4PPNaDIyrZ2hY70b9vdWHQbenASmzNIs7iCRc+pP5BJDwAAIABJREFU96SFB4uljoWgsreXksvE5o5x4+w3eObzL/JzT/Vxa2tP4tKM9AT44Ttb/O8/d5Bf/73/wuaZV3G7Q7gCozRqKUUPtZscGI4mmslC5d5lov3TGPhomlsEHDZKySal1jZ2qd+JzZO+8D0FNnE9/CBsJVlZ3qKda/KNv3+Nv3xzW6l7miqpcDA0bKONjXhQYzzmZWltD7PNic/dZjgWY2lFcoIOeiM2fAErL5zPMtVtxeu38qNLFTS7n7Be5ZOPuPGWzDxxwGB+LIzX1MLmN3P6gy00V5fKhlVyZTrODj6BEc0neP/cGmGPlcMPxrh+NcvlG2VGR8J0RQ3e/TDHL/xklNcuV/jSDzocG24LjoZ8zcqdzSp2s4M/+Z2P8MiRg5w5e5muaIB8ocRaco9DU4MMjc9z/toV/t+vvYLF8CFkplRRtm9WxSh49FCInWyFTKpC3OdSDQYem5PRHvjaHY1Pj7v58pMW2uUm96o6xbyDpIAyNC9rySKH5j0UCzrD3XaSO6ie8ORejt1dE+ldMyePmUmm2wTdDkYH3SR6LMRiXlxuE62aTvdwN9ure3idfjLJNXS7C5fdQyq1pVgFNqeTnrFeLGj82ddu8vy8md9938K7m2aG/XZifgs7xRp61URvn49yuamqpkRdPXJkgh+8ellVEUokpyceIBSQ11/DYjKYHB0mmd6hXasxMBinXtSpdxoEA1FW5bKjw9y0n/X1DnfzDb7zr23MHxvn7OtLdPWFsLjsKt9cqd7vQ64WZWNZxeWS3ncIRCRLKzVINmU7lQvC2NiYNKQqK+3u9ha6YWJ0uI8rN5ZoNVtqQGq3LLhdHYZ7PGwtZ/jM31v57NOT1Cu7rKy1WF3Nslk28ztfOsnKyl0OHXpQgYW8Titr6+vcvn2P5z72DIVsTllbe7r7yZfyXL1xg4Nzc2z8c4b8qY8e59f+67cVG6BjtmI0JeLi5NWbLU4Mtvj9552USi6Sey20VhV30A+6GcOioVU03L42rbadhVSRj+5z85m/h1rd4JFpDy2LKL0t/valNK//1S/z6Oe/THXxG7RzDayRXvRK7b7w6PDQqu7QSa1jjg2p+jyjvojVNUVl7yqunuM0dy8rwJ4nNE/bVJU/BLMQpbGgG2naJmkpKdF2+XHawrQMJ+bcLZyRQVo2H+16CqslgNYoYg3P0BZBtJ3FFj+Onj6P2eIDsxtNJG6TBZP0w0b3KSigoBya9jB2UagthlKrjWoO6mlMkQR6RaNZvIjbOYwjmqBeaih4oLnRpGM38Mgwb4nTTl8n/PizvPG3f8HTv/JDPv9kD+cW8oz0OYl3h1jbkkG/xuCjh1hYWaEnItZmE+GuPlLrScq1Ih67C7PAWS0WwtEAK/dWqTUaDA4NYJX4mc2pMpxCUE5vbXPg2EH1+5fVgMTVqpUS/mBYNWM4nXZFgbfabDidNm5fX1TEY9mklcs5ert6VN2QVHM53T48Ljtry2tMzUyoi/DGhhDPdbVtEauuWMXNZuFg7KE3WkS7Y6pBYHx8RIlOkvv1BQI43XaV/RR77cFDh9TFtlYuqyoqucSJ5VSI2QcPHKRVa3Lu4mUef/Rhrt+8qvLvtE0sLglBW8SuEVbX19W2RVgIxXKVSDzKbiZJJVeis7Knmii28xXmZiWDWiSTL1IvaEyfnKPmdVLO7hJP9OOwmjn17hkefOQwvmBAvV/3Fu+RSqcYGBriscdP8tKPXr1v2/b6VWNBXVwUfVHm5vezfHdNVY4JLFEu/0eOHiIx0U/yxj1uvXUFvdhkaH+PigJVcjVlj2+VWsQeGKNp0zlx/AQv/PBlxUh49NGT5Mu7+N1hlR19/c13lNVUMqShaJhHHj7B6Q/OKFeRZGmlBlIEXQHbiS26WisrmJV0yLcxcLscuCQ2sZVUQ6JYkaVFYXxkiJGxEfJ7WXbTe2ozmsvllb3dajWztram2hBEAJCBTy5FspkcGBhSW7/d1I6CPOazeSq1KmPjI/j9Lm5dW8QjZ2KloYQah8dDOpXm6tXLzM7uUxVqAl3z+nyq53ludp6L56/TbNfZNzOD1moqt4Eo0UP9A6QzaVWTGPT5MTvsLN1cIN4doa97gHubKwz2DSnQ3M6uMAVG1IW7v79b/Y6y2TwnHjpOKOBXwLB7q6uq9WBieh/rK2vsPzhDJlXg4tVrjIwO4HDaKe0VuLu6yhe/8HmWFu9y6/YC3Yk+fH6nEmAk4hiJhGm1msqaLwT69eQ2Aa+L7v4+rp2/yv4jB3E57NxdXlJutFDQS7Wu0deXUAPD3cV7HD6ynzNnLhJLRDh67IgSEJLbG4SjMQW+/Pbff1tR74VnIFtEAY2ZTbKt3OShE8fJ5HIqey5b6n1Tk+RyBVWPFwl00dPXh8dlJVe8H9kR0n5eKtPcHsVXSCaTjA4PYxg6167foLdnQLl45PssnAERVmQIffD4YXazOQVukzihCNfCC5Hfpwx60WiYWws3+dQnP6EAcbdu3OKB40e5ceW6agUSP63ehlA4qLapdrtTCWleh0eJT3LpzpULRMJdFPIZ5ufmuXr9mnIZxKJBBof6FUm/WCoRDoSZEQFueYXbC3f5zGc+wSsvvkKlqjEzP8G9pQ0CAS++oFf1osv23eV3qEiKwPpk2y51aaVcXkWfJHfu8XvAMFSd4O5uSgkZEr9YXb0fzRsZHFZixNr6Gn6PQLFRtvDB0UElOi4vL9PXN6jq5Q4dOcwrL7+qBnuJhChHxOAo5UpFMRDu3FnG77Wp/z6ZSvHIww+xl84oCG++uMfgwLCCM965dVO5D9ZWtxUoVPL2x08cUQ6Tvv5+lu8sMD41zlY6yeaVRXqDXRQKaexuN6VqBZPZydRjh7h68Srd8TjHjh3hjTfeIBSIqrNSILuFkohxM7z00ssEgn7Gx8aUICUiuXAR7q2s8sTjj1Is5Dl99gJzM9OqUvPixYvYLBZsdqdqRnF7nMqKPzw6xj988x+YnplSMNlssaSWICLcyPu/I24Ck0V9Djq6hsMltZMtBYEM+XwKzri4vMzI0JC6m9SlxrS/X/FtWo0GduGXtXUmJoaUWHb58g3FxRH3U70ltZVxVpaXmZ87oESqWCLMwp1VFRsKhPxKPBanhbzWTrtFMBShWq6oem1p7oqEZegT4RwV3by9sKDu5gJ/FOdzJBwhu5djZLRP8LqUC1V8Ia9iSGG1KnFxS565B+aVU0aiF06HF73dJN7Vi9MnAv0e6VSGh04eUzGFZk2jZ2KA7v4YF//iBQyLgdVuxiZtH4UKJocXw2Kj3Shz5tdGef9MEluPW90l89tllWVP7XYIRVp8//UyP/VsgpDbyt1UAR9u3N4mjz/ShT8U5usv3OQv3mpQ6NhxezX6nB4cfhs7azUMUxubzcRYn4+O28oHHwjEuc0P/+wXePBnf4nsmfeweNwEzQ1KekgtlbXGXSyWMDhD6K5eOoUUGEVsri5Mtn7qO9/D6R1FCMqGVsYSGMCoNOhIxbzDhblZQ9PK4A1j1BoKEi4CQKcpAM8Qrqawptp0/LOYBQxY2cEIT9HIXMQcO4ylWkerLGKPimAlDNYaeCRK7cSo5NHaEpEMYOv7CHplG4q3MYVGFGtALwvFbQ/N0YXJG4X8MlZ3DJolpMpJt7Ro7izhHTyBtn2JjtWnGF82pwdT4dTvGLJxsbhC8jEAs1fR3S3OXixtqGdPYZY/MPEQmtmLt3KNduAQreoWNiqYQyM094pYvEFMji609Ac4oxO0Kms4bV4a5gBmvXK/e9HiwmP3Us9eRXd04Qz2YKqt0bIMoOUWcHkstO39WJwJ2vlFzA6hcrvRay06ngDWdgGTEaDlcMpVGbNZx9CtWOxOdaF06SUMs51WcQ278AZ2LuFITNJpe2lWt9Vh3ajtYbTaeHqmMdmitPNLtCqrOHqOg82GqbhDp6nRsZmwBIYwtt6kbunB4RIImhVH70Fq25ew2C109AbFVIrhx59g+8J7HH3uG/zqv97PhxeuE/WG6fK7+dOXl/mb3/oIn/7Pv87OP34NZ7gfR6AXzeLGahdWkxCSbyvrsVER5miLYrWsLkvNQh5vwErH8NIiR8M+SsSvcfGHf0939ySJ3gjmngBGpBuHx09p9R6FtQ0+fO8Op64vcfV6g7u5hoppPHWoh2JJemy9rO7WVB3io7NCyW9SrldV3tBqtKhgIi70Y8kkR7zYLW3ev17lesaqLrOmZpFDA3Z+5eFe9sUzDHTbyWYNxifD3FsscepKkflZGxevN9TmaGq4C81WYa9mZjQWwR9uUMia2dhoMzdQ5YmvKQwC8YCFuGwPG03OLNfoCduZ6o1zYK6Hg2MDiqzdO9bL6bO3eeWt68i8JAdLqVknHnWpjXTHZMPlMoi5bWwkO7Q7BTbzdYLuAOUG1G0mBmwa3/oZE73jYX54qcp3X87SF4FE3Mlgd1TZt3vHujh/ZpO+qIvbaQfF0h6zYy6aRTj2WB/jsSbX79Y5vL8fp8+C0TY4f3aVo4/Nce/OLhtLSR56bh/1YoPt1TQ2n4tIzEFuu0S77cTX5cPthDdeuEK+DJ9/LsT33rLy62/VeHxM+qzLrKV0wm4rertDPBbA53NybSlFT9SL024Qi3hY3y3SbskW1a/qo6y0aWk6fqebWlunCayuZMhVNRJRB10RD36Pg4GYn45J46/fSvK1n3Pw+JPjdFoW8skiyZ01BSNr6Q3ViW7CqfrUh0dHaGo1tf1q1upU6jWGBodZXriL1SlWXC9+d4BsIa+sqiq/nS/gDQeJd/dRKKyjFazEe80sXNzj01+rMT3kxtnRyFba/z9L7xlmeZ6e5d0n53zqnDqVc+6ujjM9PT09aWdno9DKaCUr4QUbLEDAZaELSxjLxhgQxpKQMRYXYAxaaZF2tTPaNDM7OXSO1V1d3ZVzOLFOzsF631Z/mg9TXdWn/uH3Pu/z3A+TQwFWN474+a+9RLTLpxlXm0tIrz5VyU+cnsdhMfIH//HbvPzaJQxS02k1c5RMUq10GBzpxhfw8S9/7y2stibtRo2p4V7CtjJvr1ex1Cq8/w0bq1UrK4cGfC75N4hQ4WNrS34WL5lKhcJRneE+F08OMvzRPaH2ezhOlNjJVLk85uT2epl/87t/h6nLFzBvvkfluI11+CL5rWs4uydAnE+SxypsQamMfWCWWt2poJda4gZGgZDG5jHUKyDqrNmstuxGPatio2S6TEZ5IpsxebpoFDMY/TGatTKdkjicwtgdEYwWA4WVH2ELjmF0eqgnH2MJTGkWU2qHMNlppu9jDD6HobIPLhemjp9a/EMM/rP6cm4XdrH2PEsl8wRr/Rhr5CVoHJFZ+gGe4Wcx2MJ0SnEMImKYjLTLGVrFHM4uJ0bZ9p35Ot/9rV/jF3/rE/7eT57k7U8W8QdcWKS20GjSDOTpr38Fq9vG/c+uYbW5NcMttOmvfPl1PvnsGpVKnc2NTd3Kdce6yRfyCo5yuxwa99reOSAcjpKX2seeCEsLq+ro0a2m0yH4AoYHB3U4F8tgIBTSA0W9XNd6JYG27e8fqeXYYbESCge0s1w2lx6/l05TnrmQOc6pNV6snpItf3B3UbO+4maxmGzYHBbWVzYpVArMzE4Qi3STSMm2q4LP62Zzc0O3RB6P62nlZbVJKp1icmpS++37Bvt0O1eq1bXP+uDokPGJQQ4Pk5pZnzs1z9bGBl/4ype4duMapUwBl89L+biIf6iL7kgXV//dd7VqLDY4rM6rsGwhc3lSm2kmLsyRNQgZqIlL6nbFPWeS7bhACyvsHyTUASA95rdv3eaFS8/z5vd+qNVT4qg4OogzdWJCD+jCUxD7fbQrgEm4OgYju2tbygi5/8Pb9ISD9EiO9eiA4nEJm9eJCweF0jHuuUF6+2NkUjlSB3HqrZayGqI9XRoDODo8pFiu4fHYGJ+YkDmCI+U1mClWKgpHS6dS3Lwlh/QTbGxvKbwx4I9w7849ZRNIBrVVb+nvSioGhfovFuyN1Q0VhwRiJeTycKRHAaVSUWU1mXSIl+tLtn7lYpmuUFDr66rVFoO9/dy8LU0JgyrGiLNgYLCHDcmfl+t0mi0lo8uWNhj2k8+WiESfbvXi+0mOs8dMTIypYCRihdTrRcNBJS8XcuIyka1dk94eASzu0N/bp8yKarX4F9R9g9ahidgq20qp2RIHgNTSCWhOCP7Njnx9nzoxBOA3ODKq8MvtrT29Brd2djl/9gQ/fOt9/tp/+0s8frhKJpfSeIR0fScSKZaWnvDCC5e0cWNqaorUUUIJ/sKBkEFQesnFQTI8MERff0zBbuKicbiEPRQlEY9jsUuVFdq1brU4ePX1V3j0cEmrwmRoF+Hi3Ol5baWRa1R4HVLNdv3aTWZOTrJ47zG1To2xsWnWVx7TFY5ymDhi/uSsbnEl5x4/SDA0MqB59lanwebGDjaricuvvMj3vvsDBkaG1Ja+urKuPAwBAMpwJtnqQDDAzNQ4Dx8+4eBgT+vbJqcmcNqt3LxxR1tAqtW6PqMk/iHOTvkjTVf57DEnT0xpzO3+PXkG+DDbXBpFGRkbVjeQDHWZ4wKPlx4pm0G2sJOTw6xv7Cr3QN5LezsHas+PRKMKmZThXLrhjw6OWF9ZY3x8Ut+he7s7TE+NC26H7e1tjRbI0CwtDxaLU+upRUhMpI50STJ/bp6FOwtEumLcun1dB38BeIoDQX5+uRdarbq6GA0dM9lKFkOzhd8vNX4+VlZXqTdbDPf34fGFdIsvouZh/JDuSExFpfmTkxjNNir1qjJNJFfuC/nIpBP09w9y5dOrxGI9eP1+emJdekaRJgbZvAf9Ya2yk4FQAJa5fEZdNzNzs+xt7GnUJJ8tasuHCDhShxiwu3EEQngjVpIrO1irHcqlKgNjPawsbhKdGsIedukAWqkUteL1uWcvcf3ODfpj3RjMFlaePKGnr5+Tc3PcuH5b619ley2sgkg0rA1D4rKxOWw0mh06rYbef2J/FyaNvAO6Qh4sNjuVcpVcIU+XP0yhlNMMNyYDA70Ctl7QWJlUEYrYLM98iZ/cuXtXXbzybmspK6aufJjx6QmWH63gD/nUdSGMCan+lAjX1NQ4hVxeQaLixJmbnGDh0UO9ns6cOc3q2iaFXEEdNq++9orew/J5Cveit7eP3r6YCm/y90W65BqJMzE2ptGShfsLWtEoorcIASdm5zg42FXgoIjVUhUqoDuBse7vbDM9Mcmtuw+wW61Ee6PqZhVHTW8sTLnYJBqL8nDxgVYC7u0kVBjqjvYSEZeYtH14nPT1CFutislh5OEb14mE7FhNdhq1skYjLs32UTEb+E8f7PPjvx1g1tnkVspIIVfDJGJgSwB1RmYHfezttmk0UiQyMDLuIXtcod5oEzS2iPSFmJnqIrW1y7XlDL/7oYFk08DEsBNrpUXdWNcGh0y2yUEiztyEj4WlCqt/DhG8++7fZ+LiT5C5+R42m4FS04RZeEOyLLH1YzKaqeeXgLw6LVuOKBx+CN5ZjO4hyD4A9zAmS5uGUWq4k9SXf4hp4GXM/kGQKnmrm7ZQhgTGbA1hyB1BVx+N4yO1/VsjZ+lYbLSF0VKNY8ptUXZ7cYnQUFjF5Atjsg7Tlhm4FsfUNUnD0Y+1nqNTLVNSIKGdjk1m6yqWeoGGowezNUKnuK4ME2N4TMXQdrVMu1nEkFrF2PtlDPmPsEgtta2PZn0bw/HV3+w0nQMYK1ksnR3qxQa2nou0a7s02zYcFsnYQ62Ww2ao6cPYbHKq7QDJVUokYO33IfAM1tgztI/XwGqnXdjTLXzLUHl6oHWK9b2ORVQSIWdb/VgaFur7b2Px9tJ0hHRvbbJZFVpgMPuVS1CrljBbOnQ6Zag3MXujNMTy0XbSbm5jcM5Qyyxj9w9hcIQh9YCG1Y7RFqET/wj6XlALUDO1hsU+gLV/ilomSTP5MQ7HEG1fF+3sHgZTm45zQEEoklE2ib1DfsnZZZwDP03p8BYYChgDZ7HFr1D1TmG1e4kvvU33ydexWjKMnvg1xib8hKnhDvgZjXp598oy//Nfe5ZXf/0fsv/hOwQHT5FLb+FAbF8pbF1DVHcWMJpFdHBj88RoJ7Ywdo/QqrTpZB/TcoWx+fspZ3cwNip4e2cplDuYaiXspjTxJw+JXvgZzXTRSGEKu/9CPeolvfQZv/OP/zlvfVhgMd9gNCgAro6S3icnRrh99z7TQz6qtSaJTBm/w40d2C+UmRoPsLmVotGykJSal24fOZOBrYM8j7fq9HrMzMQMDAU6nBw04bOauXTCQyVbZbNUZv7cLKnlbXLHTe7t1Ki0ajw32U9k2MaffOsRX/vyOJ8sJfiNd0xQLPClEz7SxSr5tk8tZTWjkXq6hjNgI1upkixIl7SdYW8Fl82MUcjIHjP1qpG3Hub4ta+FuXY3xWbBx3hvmb1UA7fdysVRHyPhAi9NuOkLB/nw9gr39k1UC1YsjqfQnt3DHBefcVEv23SrNtZnIxwSYmuDWMyGzVihe2RIIyd7q7t6iHDYvKSkVq1jJhwLk83k1W5LRyxZR4xMT5PNHGC3im3XxvFRWjNrHq+LZrOpuWW/y8f42SGufrLDF/7pBr/0Qpi1ZIVq20Rf0MPyfpmoV+zpfg4SR8QiQY6Sed2cyEZVYHByIM5lGsQiXlVxpXqr1rSxt7NFImfgG//1eRZvruOLOBUSKBbakCfIDxeP+S9/J8Z0uEw8b6CvL0qnadDtgFjhTeIIspl1e2Kwmnl07yEej5Oh8UkaYknb3SUQ6qKnv487t25RLlZ47oXzZLN5kgdHdPV04xPSqxyQCwnWVyy8+nyQeDbJ1/710xqXdrZArQPz0xHSqRp//2+9RiTkZnVjn0SqwvzcpA5mb7z5XR3Gzp89T7lY4Htvv82pk6c0hyZ5xmatyNpOik/vHjI84GVpKcmp2Sj7R3nWMhX+zjMWfvnLXu6tFxkc6FYXzPWrKY6LFb7y0gyHtSy3ru9yZnaQqMPAJ9sH/INvGZg/EyS3XwWPkWbFwMLDFJtH39LtdeXhXTqS1ctmMPq6aErdZX4PPJPQyWilTFNs/oklHe4tfRdoJJdoZbYwBiRG5KWW2MVilZaLHEZjBKPDR6tRwGhyySIHhDdSq9ORa8jQwNQoUK9ntVbNEpym7QjSSCxh8/vA3EuneEi7cA9T7DKtehWLq5tOdoVmdh9ToEe3DTZvRNsL6vGbdOR72vtpt7Y0hmCwRjEbKzRaHWWqdMKDmApN2habXnNW5wjVsmTGjxj+3EvM9f4k8YJYPrsw1xqMT4Z5eP8Ag4BUbQ4METsO2aoeCWW6roNwOhmn3jAobEpqm+T66eqO6FAjm389uDTlYN5Rgv721rZuPcRCKzRqOUzubmxglipFg0Hzr/lsgQ4Gnn/hWe7fWdCu5pnpaSWsDw4MKbRLtrztjpkH9+9w5tmz5NJ5te7L1k+s0gGvh+NcQTe0g/1yuOnik0+va2WegMZk0/mXvvaTfPrZpxpjGJ0cV1up1+vRzvGt9S218vb3dpPOFwh7gwTDXvK5im7R5WcUG6UcEoUv0Cv/X1Lym15cHhc3r96iuzei4pbd6dLvV84VifRFaO3koCME5jo+h5NsvorFalDw636xiSdix90TIbGVIFc+pjc2yMyJSa5dvam2z3u372v2+Bd+7uusbW2y+HCJ2dlJDFYTB9t79A8PaoRPKOmlUo1w2Kt52ZXHK8yeOsnh3haWjoOD60sgQupolNRRDm/Qo/b3neVtmiEbz7x+ibWlHdZXV3j+8kV1BwlNW1odBCps6HS0r7rTNjE7P8Eb336DU6fPKO17e3dfreIycMrBvSYOILdD7dTi0BNOw8m5E7q1Fvu8CANb23uMDg9htzrZ2dtSEJfk/21mC4l4SgFoEtNYXVtj9uQs/X1Rvvvt73PqzEncbh+bGxsK1RW30eBgP1tbe9plLkDApcVVWq0mX//Zn1JbfqlaIZtKKugu3BXRrbE8x4X/kErFcfs8LD1YIxwJMTwyonn/Sq3GoMLzZFvr5TiX1dz5yRNz3L1zh6KIPydmVPzpGxhQ94EM+gI6c9pdCqWcP3WCd9/9QDe7E9PjOqwuLjxGmMQyaLs9IiRa+OyjqyqKeD0uwtEgVz69xee/8CrpZJrHj59w+twZbViKH8Y1NiGDttT4PVh8rDG7+fkzPFpaUluvVBvK5s/j9ROLRXSIkOun1mhxcm6KpcUlFRSkWiyTS7O8tKEbVVlfuX1ePE4Hj5fXOX/2LMvLT9R9IREC2XwL0FGe6WtrGyospDJ5jWTI73t//4Avf/XzvPvW+9q+ND4xrJ3stUZNt5nTM9MKrBPwpuT8hT4vg5cMtcVynpkTJ9XpUi3Lz9rk5PykVjT+6Zs/5LmL5zRDLTZ+aduQhcb01Ay37tzQf68IHMlUgr7Bbur1DsnDOFa7i0a9ijyKZRtfrVbp6xvg/v1FQl0+tZE3mk3tVRe7eLSnV10nUnN3sLfH/sEBl557ju29Q938d0eDGiWQfL100YvIJ2BIu8WpNv2evhjZ44xyJFbX11V8sliMnDhzilI2p4JUKV9UrsDzzz/Lw8WHOK0uBR2K0CM5dLtLnldeQuEuBUtGu6MKJRQ+2NTMhA55N27eVgFEnBUDfb3cW7hPMBBkfHKczbU1dYxceuF5Ekdp5WoIeFC4FGKLlxiPVHcKzFAWDgJzlepGAWVKhry3t0fhmSIKtTro+UHo/0d7OwroE7BrVzBAKBZTgaHeadCut7C5HTx67xbzZ+fwu6wcplIkd5KEh3swB/wkJWYwINGbEisr60S6AhoDu3njJnNzJ1hZ3aBcydHX06+sFwmTCc9AnhcCm5Xhu9M2UBC7dceMw2kl2tNNu9amWC6rmCaVhqdPzWsNoGzhq40apUJFbf4CD5ybn9ENfq3W5O79+5ycncXqtLO9ucXc3JxGZ0wGo8aXpC2snBP4r5lkMquR7ERgAAAgAElEQVTwxYePFjl5Yp6Dg32ikS4SR08FOhGLpb3GYrNw7sx5/Z2L48Hpd2O3OVQ4WV/ZUFaMy+5Sl0skHGE/fqiCkUThdlZ3tP1keGiI1VUh2bdU+JKIxeGBsEiqvPjqZTa21rXOMX6Y0HnLJWJMroDB0NFn2fT0BD944y06xo6CaPd341x6+YI6QO7eXeDihQu0GjX243EiXVFWF58Q6O3GYTazL4LWczMcLOyRWdom5HPQ121nZTNDrtZkZjLKnXsZfvo5E7/+uRhvXDtgfMBHoVLD5/bQaTe1/rJ3IsLtGwlcRis1o4AtbXSHPRzuidhgI3UsS8wWr58JEh7o4j9/kuQffPOQX/5iL8u7ZfbTdZ4bd3J9s8grFwdYuLPF/X3Rx2tsXvtHuKe+SuXBd6mZXTRLdWUNHZf2sdtkUeCgVc3RsEQxWqx0KilaNs9TUaAGDXcEc3qJjslG09WLtXiPZr2LTqQbk1SZJtYwuUI0i1msg8/QlK/Px3EGhnW53hEQfdtD0yCw+TDsvIPRP0zd1oM1vwNWl7br6VLI6tKvLx1ewdVzGepp5QyZ7CEs7l6FRzfrJcy1Gi2jGVMlD4YadVsEE8LUkyd7k5bRjtvVRTm3D6X1p1XOrhiG/LXf7phdDurxexhdAzSF0pNeoGmyKJVa7PhtuwFj+iGtwAi2lpHy1jUsoWHaNsn/pPBKlmHgq9Q2vo3RHEWfNJ0mZneQtmMIQ0t6SaV/N0CzdEitlscmmy/vtNorG8YizsohTTxgsVOvHGI0NjD7xxFqmhzsjPk12r6TGMq7tGt7mGwj+nK2utzUknexhmY039RsppUD4PD00cpvYHBJ97MZ2kk6+T3MdRdMfZVW7iNqqQSe7tNq62+lVzDVk5jdAVrBC1BZo13KYnMO0DDWaYjlwj2BsVzG2N6hGXoek92K6WgB++BlOvWrhCf+Kf/VawPUKkXsrhgjAy0++uSQX/m5Hn7iv/sN8gufUpfNm6cfh9FObuUjvKF+2g6HqkUWg4eWb4RKYRO7pa38gnphBbO7j2Yxj6kpB7Qi7u5x4ks/Jjo6Q9so218v9UqdSnqJxNoyAxdfx+H2KaHU6bHS6T2LqZah+OB7vPPOdX77/13BZmxTrEGtaGGg28Zf/eocDUed9+6tEgt72dytUshA75BRh8u7T7LMTvmwN82MDfj4eDHNcFed1XyQRDrNYcmo9qOT3iYhm5H/8accRIMuTBjoHbVwcK/BZjlHT9RB/KCFxdngOOekv7vMO7fh198z8kqf2OqNSrnO1Kq0aw4Gu00cpSvUO20ctQ5H5TpNiwmvW6iWNaodI3Wfh0Apy7/8egAnbv7tx0kWdgqcG3bzsy8bGej1sb/f5JPrFdbSZQ6LdSJ+IwaLh929Y0l8cPFkF06jGXM1Td9wUCnhQ4MhnAYDbZOd/XhGQUeyVQkEbXRqbUxmqTMy6NZgRDYAKxuaqxRw0+TMDCvLm/h9bhxWJ6try0zMTqiNUGyr9VJJ1fJ26RhfyMXKdp7X/q8q3zgfYa10jLlmUcv5fqZFr8eIYFSiAQtjoz08ebDG8y+c4d69VSr1Fu6Qm1y6RjZbpCvg1uFJ6iJDXh9/+Ht/mZ4/h4D9+u9+h7d/sM7kTJBToxFK1Rx/+lmJ//WrDf7m12dYOahgN3ewmt0c7mzp5j4Y8bD+ZJ1gJKaZx8O9PbWgWZ0uMsl9HWTkgGS12ihmj1W57h3s44Mff8bYxNDT3tVKUzcsllqT3WKTMxEbq/uH/PU3zLw046LdcpMWq57Dw3sfb/Ct3/l5/GE3771/nU+vLXH5+dOqlO/v7GJ3y9Ygh7EplWMx9vd29YXRGx3k9dfP8L23P+bv/vNP+cqlGIVMk/Exu+bs3nxY5598sYtfOFfl2kqLmfEI2VKeWJ+TcrHF44UsE5N2aWnk8UqeL74WI5M1Mf+bKc4N1NWtMRXzcubZE/zGb77Pj370K0y+9BMcX72FJWyjmVzD4h0QBz8dWw9ms5n68X1svnO0KEJ2l4bRjMHiUriiofiYUi6Fd/gLNAvHYK1gbJoV5gg1jPYAbaMRMuvg6MdkqUPbSctsxVRLKgjRYvdgqFY1z0W0j5a8jPIHmPyTNI8+xZw/xhCdpGmw4fANqyuq1TZh8cmwn1PBtyOer50rePrP0DS7sRQPnoqobR81uxPqCUzSD1zYwuQb02vWYqlhLLcxD3fj7J/D436Ny2eCeL0ujuMV6sYa2VybfL7I9J9vI89/9RLf+s/f1pzpibl51jbWNSIiVlnJCwulWjaYshF2OGTDU9V+Yq/bSSabVbK3CErSpxzw+1UEktP4wsOHnD93lr2dHd2YSre7DLbST51JHmsdoFQlySFUstkizMXjce1bl9qqVz5/mdu37mp/s2zmBIInFOugP4TVbKanr4fPPr1CONqtzR+S1ZUN/s7uFlPTcxQLebWMzsxOc+HCGb7z7Tc4f/4UnY6V/Z09au0aDrtDN5rSRCDDkQAHxW59tHuE0WJWyrl0totz5TiV0GeGxAGkjk5YBQKlGp4c4canVzFspIgEvBzlSpQbNQJer1q27QazVpJ+/pdexBsK8OjeA778E1/i+2/8iKNEkjNnz2CRLXi+AG35nk1qtYbW0AmfYO9gl6HhYRYWFvWzsdssZNPSCR8knclTqZfVAn2czVBNFMk+3CLUHyF1nCLg8HCUy0kBkB7eXNP9dKwGfRddfv5Z3nv3UwJdYe3B7o/FkDd5p1HXLalQ+WV4l63WhWdOE4mEuXVHDthz3L19n9GhQR1kBOpm7oizy02lJlR7g1LmB4b6CQW6uH9/QcFsuUyOkVGxLqeYmplUcKdkbYWALcDI6dlpHY5k+DxKSMVsH9euXdPt8PTMFN/73g90+7qzfaDZ+TPnTnMsta9xydaKyFxVVsXh/pEC+OSZ/nh9VQdNOQSLVfjBwgKhQESJ9JL5l2tZrlub00Yum1Oh2eqQswjqlBoRS3CjST6Xw+5waE7/1q07zM7O6DD2wYcf0dMbpb+vT69no9nC4f4+kzNTSgqX+0DiLrL1bjbbSvY/d/6sVhJKplnyzFaDRa3gYhcOR8J43dIKsYvBaNIYgQhNicMD/fzjibQC4g4O97RVwWK2K1TsypVrajmXHL04IHKlPJFQmGarydDAIPceLGjERoQRcW7IkCf3ajqTIpU44vnnL+k2U1oYjKanEFxxN9y4flPvXcnJiztEYHRdkW5cHqsCK212B4cHCTbXxO0wwPnzJ7l65ZrGQuRr7t+9x8n5k8piMAok2NDR/5bNprRRPHPhAreu36a7N4jF5MBpM7OytsXrX3yVjz78DG/AqRVwAnkUgcThcuu2e+HuXUKSC8+V1CklWWkzZq0ClOeAwOtEtAkGxXYt21xxxonrzYDD7eLe7XvaLiAuJXHBDQwMaIxNHKijo8Mq4qWPk3RaLZwucQNKVfACAb9kw+3Ua1Xl7uzu7mC3O/XrxE3VadWJ9fSoG7JQLGn0QYQTId8b5b44PuaZZy9w68YN/F6PMiUeLa4wOTnBk0ePNQojrgQBEc5Nz5LJJNThIxWPEpcp1Eo4rQ6NYsjAu3j/AcHuIC++8AJ/8q3/wiuvfI5kNsPa0jK1ZotIIIjb72RtbVP5HXaLld6hftKJLNnjFLVGg56BPiziZrMaNb4SDndhpMnioyfKORDAo1Do5Xqx+xwcLG5SiGeIhLzU2m3Se0ns3V5Gz53hYGOb9e1NvvSVL+KTCFD8kI8/vMr0zATjo+PcvrugkQeDoU273VYIazTazb0HD5ifnVXuyWEiTn9/Lw67G5fDwpVrN7TuNZPPkDxKK19BruPrV28Qi8ZURJI8vzwjUokE2cyxbrknp+c0fuO221WcatYNVCoFbWuZPjmr4pmAq6Vu9Ma12+o+ePXzL6iAduPGbU7MTZBJ5dne3mNMrgmpbZVzVC5Po92mXqtova0/FMTUhmKlyN7OET/zC1+jUWnwxp/9iDOnT2stpzhlZPki4mK70VGwbLlU1vugKxRQp8anH36q1YjNpvA0SlrTeOb0vAopUvcpMd6Bvh51uMg5JhQIMDoiXJw1PD6vWvjlub1/eEB3rI+ebmEq7OL3hXh4/x4lcdxVCgyPz9E7EeNoZYfK0iZmW4daxYzPZcTldtOqF9nJthgItvgPX4/xnY83sNvMnJjqIV8pky228bu93Hu0w0hPGLcfqBsYG3Vx48YWZrObrj43pZI0b1WYGwuQqGY4Nezko3tx/uafdJgZ72HKEydfNVFuODE468RcLswuC9dvxDFa6zzc+4R29oDy2hXa7S4MnhhNwS7u3cI28DKdSppmNaMEfltslubhCm2PHavBRK3S0HvdZC5RrodxW+xU4m9gclzCHOmhtncNQ3gKayNNObWMqetZbI0jmhLFDE7RKklveBOLiA+ypMFM1QpkkxjdvdrQoyw82QB1P4cxu0Lr4AHEpjGa7LSPtzHI0GLxKliwEzuBwxajsvcjbNYg7dgljNklirkUZt+4LiCN5ia5zT/GYhvD7u2lYZPzYwFD9vZvd4yUaQqJ3zWIqZaiFb9Hy96NKdj/lFCYeAJSM9J9EVN1l0ZuBbt/VLtE220jpvDI09jA0SJth09hTbKprtbA5gtQlZYAgw2Dy0ermMHi7XtaXZC+BaYQRrH0t23UrTYMRgvm2jF4Bmkf3YTGgdq9jZGXMHqCNLJL2CxBGvL/2KOYOmWaRpvawVuJVXCLJSiEobFHo5SnXT7GHBzQSqtGI6tWHkPpHmbDpFasWHwRavJiTh1Qy65R72TwDv/k03oFuwdjO0clvYXNFqXj9lE7uoXFN07HEsS4+x2apn7sk6dp1Y4Jnv4tXp0P47e1+GyxwN/92WnefGeR3/nfv8azv/j32Pz3/xv+oWlskVka5RLG+iKNpglnn1RIhHG68uTj0tkcoprZoJSv4o4O0qYbY32ZlryADC7aYrjspCk2rZjqeYxWC+3yOs7u12iYGphabcq1Q9qJTc3Ft+oVIkOTWHtP0jELnHEbPC3e/rfv82c/fI/3ruZJCxETkDbCs9Ne2o06lbYZa6OlmckLJ/v41juydTDy/FSAxd08bq+NaqHDQAA8ARc+W5vry3nKFhvlXIdCtUjI6eJ/uFjhlZdCVGsmYgE3B5t5SgKlaFeJmuCo5eSv/zEcFDN8br6LfLyBP2hlfS+HwWqkWbSSraWY6nVgbNq5uV2nz9/ALh3N8WMCf17Z882/6uGzWxUGx5x0+auMDvRh6DQ4jNd5+0aaeLrKahyMNhPDIQMRfxu3Q8AiQYaGgtq5e7iWwB824nJ5KFccJOJHul12BUJqb3RZjKQzaUYnRkkcJp7aDf1+5uZGSWQSZBIl7TNtG1uqvMkA4A9HODzY1jiMw2amWqthdZqoV2qaJTzaz3DpxZNqt3r2f87x5Xk35XxOe5hvLSaZ6PPx2pemeOvHi9SLFlYO4/T3BrCJ6p9MMzrWTXwvRbHZ5DhTxmy2Mxxz8oXXp+kNyYGmj1Ypx+/8x/epGkz0BdwsbiZ4djLMBw8KfHGowL/4Zxf5+PuPyaWzjM6NKPDu4f11xqcH8XtcVGt1Pbi1mh2q5cJf2JgtmimrFMpq3Q1Hw5gtNs2tjQ0Oak9rvdLQ+EnFCBPTE9SyUve5zM3HbX76/87zcy+FcXnCSrFd3MngtRr51b/+BVbXd+nv7VV6+5MHjymUsly4cJmPPvsQU9uklWuSiZWKs9WtTRL7cX72qy+ylsnzt3/zT5ntsbK6W+DkkB+jrcOf3C7zf75m5ld+OsCPfryP021h86DB7FwPI/0OlhZTqtb7urtYW9nlp744xD/7Zp7fv5PlF8+HqdjM5PKSf2/xYPmAtz78dzhDU5QefB9rdIR2y4ShnsVkqFM3eDBKPKkep2MK0Gkc03EFMDXtNIvbmN0R6saQ2krNzbxa0RtUlJIrTghjI4mxVdYMWKNtpxOIYixkNKNYb5i0tsscGKJlDmA4+PHT54hvHOxuzJ0kLXMMi9lDs3xIs1nGSk03aW1riGYlSaMpanEOAw0ssRe0UcF8fJ+WS4SBCi2BaHrsmKtxbUMRi7yhckjHFlCmgNOao1aP4IyGsQQbOHv/Fl+5FGLxfgpvJEjYZyKVb7C9nqFrNsrFLz/PzmqcTDKBL+zWQ+jGqmRbXThdDnVcxcUF0COuBDPbG5tMzExjxMDCgwVefeUl3WJ7/oISLl3PLpdbgXmGVpvrV29z6uwJ5QZIFrfZbOiQIIeXyclx7i08UMCc2CXF9itDbiqZ0Eq5jz74hNNnTtNuthSGZRJ+gMWiNvlkJoWxZVDYktiuXbJh2dpVWrkc4KVf/mgvrplNuTmkLWD/4FDJ/TKUdIX83Lp9W5sCZFgRTkFZ4g/ibhPLsterMax0IqWVgzKwvfq5V/j06nW1lXaFfByljumP9WqEInt7UYF8bZuDqZlRjrYPKFXLOFoWUu0W3RfGKWezlPI1vCEf9UJJAXjimDh97oRmPg8OEmxvrvHspUusLS9r77q0EZw5f4qj/UPmT58mmUmzs7Gp2/bTp05p7Vk6l8YZ8VNbTfH4yiNOPzPB4cE+TbkXu7wUjtJKAQ9fnicnm8ihfv2sV5bX1TE0PDROKhEnXynp5yKfhTSCVGpldUTIzyC1idLg4vWJpX1fN+gCtPrgvfe5eO5ZllaXdciW30G1Jq6NkG6GZUsuvfMCuJKqhLu3b9E3NKACkwwc0mc9NDxAy9jBZnKwsb6qTq2OAR2MBPq3vrbJ/MkpreeTgXR3e5tkMsPlF1/UxoYnj5b02pDv2WwLILRLq9dkcyfd3vlKXmsty8KU2dxgYLifkcEBsrmCVkcKJ0GEg7axrRwDedZIFGJu/iQbm+u47S5knS8grqGhfg4EPCOH90iXvm/Euu10ubWONdod48GDReUX0ERBX+KqsdktJBJpJifHWFteodp8Wi8pzplAIMqTx491MBJyuOSTZQjKHBc5ODhSIW1ra4O93X2NrAh0L9YXe7p5r9Xw+4IKVHRanZhtJqrligp3ho6JnBxmDW0G+ofIZVMcJdOMqaD0CKfTKsE8PvfaaypsZVJp/P4AO3tHOB0WZcZIDZvb52J7c5etzW2F7tXrFUZHhvSdI3bt+GGSkdExjXM8EpCy10ej3qJnoEeFsq5ImBtXrjAxOYPZZiWZPGRqfIKlpWWyhaxyUEaHhtSNUS4VdCBPJtNEw2H2dw+wOe1a3SktDOuru5q3lueisIUkGhnq8qpYdu/eQ8bGx1XskhiNbNgla50rZvX3JQuXrlBEKyinJsZ4sPBQOToOt5NOs61i+XEmoU4oSeuMT88ou0AU8t4eEVBcyoaQQTWbyeoGdnh4WHkizUZb70Nhk1gsZjodA8lEXF0NH398lVOnT6kjo1opqavJ6fYo7FTewQL+GZ2eIL6/RzqTUyeKVFOKyCNRDrGdy/eXGIGwGxbu3cfj92uVc6tZ12tOHENytimVSrz86st6/cYPDrHZXHT3RHVYNVkNpNMSYTOpADZ7Yo5iMc+1j29isZoYGhsmGY8zPDZEMpXWTXXYH+D+g4caG9w7PKI/3EN+d1fdDk6vn2KmxNAzExxXa+pcwNSinKsq62Jnb5dMpqjX2Lj8vu8/4LmXL7K3dcTS4yUVYYZHhrhx85a6FqSecPfgiDOnT+H3e1h88IDjQpnRoQGNj7z19rtcvvS8WtofLa08jQMZzfo7GhzuVYDr7tYeoYhfVpIEQ13sbK7T3dejLUSJeFrFImHR2GxWTsyc4Oat2wrn7Onp5r13P9T6yfmz8+riEBjj6MS4VmPKe1FYJtL64HS7WVh4wOnT80rxF3eACIISH5mam6aQz3Hn7j36eoXb4GDpyZI6WeRak4jDo4UHyrV5/vnnuHn3Ll6n1DTW8HldCodt1ttkSznOnT2nrq/vv/UWQW9AeTAHe7ucODWH1WSjVCxoPW1/3xD3Fu5o7OTU6Wne+dH7Yk2kp1fcKjm6Y728/MpzXL95hyeP1wn5XPSI6PTm+8z293OYPdJ3abVeYTgW4dZ2me10m+/8TJOuLh+Pd4WhYVYQbTZnItptxdDO09PdhcPr4daVdT7/5Wl+8OYi0/N9Gpnr7rJTqTfYSVdx+90MOi2cP+fk335nk3/xqYkTURNWcxWvxadObpNUIZt92PxtvvlWir/xhWF++zu/T+7en1Ap9+IOjunG3Zxf1AFczmgdiYs0Ujik0lw2+84hWjIlFZcwOaexWB20yusYw8/TLu1D5gHN4BTWmplWR1oULFDb1up3TH00t98HATAbzBhdVsyeaTqp2xpp7LjHFOBsku/VSiqUs2PvxipoUs/AU1Ers0zHGMTc2KauPAI3hsPPaNYTOAZ+ArHqC/+q0elgNxtpHu9hiJzGkL5Kx96H0dtLO3GbjmtGXUjtwj6G4yv/sNOuNzB4++gkbmMIz2FydOu2XA6n8oNKBaDIQm1Dlo5sluw+TAKZKq9icXrANkKnVYPC3lOrqjVCq7iLydGgYYtgqFixtQ9o1A00w2NYc/uUm208ZKmZrYhzvWkbwGByYSjuYrQYaRo7UEzR9o5itsVoVe5jLLQgNIml2aBtM9Msb2BodjD6ZADfhloJY8dMSz9RqRN00SzuYQmepSa/ICH6W52a+zdbvFRrhxL8gtAshkYRU7mG0ZChLlRYezeG0hYNUZZdXUqENARimK1+6vIwbyQp792A7ot4JSn90iWmI6/jMZk5cTLM6k6Or716iv/l/7nOb//KGf7K//FbpH/4Tbz93RTLTWwmP9ZwiGtvfJdQ1KuwsYnZaSxmA6XjA3xTr2JzhqnuvUunY6fScGKtpmlXKyC2sbYFT7Afg7eL4/1HOPKrVJpVDL4pKvk0LqcFU2iMTt2IpbVHK5WnaRWbzwABn4FCK4T95AyW+i1qxya1lN7/4BPe/P5dPr3fIJkVNbiNyQZnBuxMT/SxlCwwFvPweGefme5uPr2VYHjUQr3UwW5sS+Mj6VSd7pCVZLFGb9SLo9PknVUD+WKWk2E7X7vso7d1xOWLMbweCzt7NQwWOzeXm/yjHwjxv8xsn09tdAKZLLWsNGgTkAxlu0AlW8cd9DHVb+WtW20OMkV+9XKTUa+d/l4LgaAZQy1Pqu3kX/9RglzdwpC3wZmTbvpiYvPzMjosAKMsAXcIk93E8mNpgagTdLmweLpoNmoUj9McC9jNYmB0coxWtakbqlhXF0NjQ6ysCgDHr6prwOMmW8gzMj6mIBaB1MkwI1sBeZFLpU6HJjsbOwwOj2B2WVm4/lAPdiGvg6m5AbKpAmO/usmJbgvDYTiqdMgf1xjtC/M3/ptXyWUyNK1ePrn5hAf393gcz+JEcoxtPJIZajXpjbgY6fPxV77+Og5/RzN333tngfOn+3myVuXNd6/y0689wx+/u0gsbKZsCvKNM2V+6Rd62FtvaHZJVPzHDx/j9fno7vVznDjm4OCAaFc3NRkGTeiGUkBOm8vL+IJBbFZxf1hp1Npqg60US1RrZfa2E4zPDKrt8ZNri3oAPzNh4Xe+XeaPHlo4P1ThyU6TnoCdRKHFpTND/PxPPsefff8DTp2ZpdaGdrWKy+Vja2+LeqmqwLVnnn2Gt996i1QyicMXJuh281d/6Wv87u//Mf/4D+7yqz89SypVYC9eUjElabLze1+1M91bpWzyY+tYiGeO2d0pY2q2ee3L0zx8EqfaNjA/FqUrXGHoG6t4wza+cHqQhbUi01H4zjsHvPL5Yf7T298kd+NdOrkyltgc7fIiLdckhuwetAr6wBdGSavdoJVZxugaUmu/sXpEXbZ2oUEqu1cxO7wYLVGaSalO9WnNS6dpomWwYzEkqLbDOI02asVlBfs18rvQJayDUxTWpFpwALPDgzFxnbbnNIbANK3CGgZDBWOjTssk7iA/mEo0qy2MVhsdowtDvYC5ukXDOUWrvIFViLORszQKT5Vlk8lNOyvPS6jW8zhE8DQ2sThkLO8lv3eX7jPPcnD4iN653+Tnv9DNbryqNHVxoDisbnbih/zsP/wb/OEffRenxUF/T7dukaWW7MqV6zo0jI2MKW1doi3p1FM6dCAYZHd/V2FPqVRaK/8GB4d0UBAokcVs02eb3G8iBMgBU663aF8vbWmYqdXVRinblKnJcT784DMF/4mgJhVPAsFL7iXJlQs6DEntmfQqm8wdVpa31NItQ2Cn0SSeThLw+jTnm0gndPtpMlgULiYWXI/Xo7ZfyT1390TwONw6SJlMdlodaaZxMNTfz9b+NosPH/PiSxdZfrKhVZqRnhjhoJetrV2Fly0tPuLSy5dYfrJCIpnWOqLMcZnenl4K4q45SlM9rlAUn5zHrvWDAhVMpY+ZOj9J4MQovZFe9ra2ee+9K7z+2mV16MhB8md//ue4fuWKbi6OMhmsZoHkmgl4QiTTMsiOa0f3wv2H2K0uLr7wDNl0gWvXr9DTFaVq6NDT30P6s2Vy6RSe3oDmXPPZMiaTQdkK+UqVxkAYWwuefeY0j1ZWNKv65a+8zkfvf6jVWS6PQ8FXUvslhyexC0dCIQaGB9g/3GdzY48vvP4yzbaRH7z5JsMjo5iMBq0ILBSrmr2X2jW71USwK0R870j/jcJviEZ7OM4n+dyrr3L77l0y8Rxnzp9k4d6CcktkY372/Bklwjt8TurVmg48szMnOdjf42A/rkR5t9vD1OQIOzvb2mIjQ229Ltt1P4PD46ytLStrQlwpMpwtPZKceJRMNqNDRjlfIVM41ooxY7ulg5REpcRmfRRPk0wkGBkZ0kO+iFKSp7548aIO/Vs7W0qm398XZxM6qAncq1atUK49hbFKZGR4ZID1tV0mJ4d0G7con2M0qAdjqS6UgTMW7VE+ylFij9PzZ7h1/abSz/P5PP29Pbr1zWQyBAJBzRjLoCRAKfmcDCajAhFD4TDNehYikHUAACAASURBVEs3hTfv3lGHpfAR5FnfqpUxGAU65+HsqVMsPLiv4rNEciTeYjFYlPD/6PESybgIjw3N6otbQpRvs9WiokUqdazMD6PBxNDAgIIoRQwSIc9iNykjQnLeP/rRB3gCPuZOTjPU38ef/umfMTI+gkGqGY8OFRgqYpK40KSKV7afm8ubjE+NaV2bOEnW1zY0tyz3bKGY0ypEeSbIABbtjihF/fg4S1hioaa2xinW19bV/fHcpfP6Tnm0uMCXvvQFHj54TL6Qpd7s6DVsspvxuj3qSjOb7AwM9vLZJ9cZGR+mK9zF1uYq3kAYv1eiXEYl+ovTSIauD979gF/4xV9gaeWR/n77Bnp48mSddDrHhXNntbFBhJOjoyROp00hmWLHF1dLrd5Rh43RZCQj1YmxsMYZjtNpIt09LD5cINbTr5+1XD+SDx4YGuDu3XvMzp7Q6EKzVdfrQMQ6EQxFzJOGA4GDJuJJjTQqXDJ9zNlT81y9flVZM/K7XBTxoK+X1eU1zp09TbS7S50cYjk/c+4Et+/dx2W3qbvpYHdXhbfZuZNc/exTbR+5eOGsPu+8Hr9yCETQuPn99wn5vNRbBsq5ChVbDYfXT6g7wOjEBLdv3KPWrOK0OeiJydb6gT6z5aY5MX+Cu7fvqmDu9wn9fkcZCdeuXWVmelYdRHKWqtWbCpaWP+IwjHSHefxgmf2jA6bnZlQAFWHY4bBrRe3C4pKKH8+cPav/1o3tTV586TnWVjbp7uuicFzAHwhr9CyXTGJzexWIKFGQaFeEze0drA4r6USawZF+dja3qVdbfOUvvaYuAAETiugl8GVDp632/Vq9hdf99Ewm9+LW1qZWukrLgPyd4pw7PIhz+vw8brdbf656s04gFNT3pcQf5F0o1bUizAirSqJH90VAbMt91lSHiVD6pYkl0OWjN9bD5taWRnxEiJJWC7kfxY0nroDzF07z3tsf0hON4A54OTyMa02iRHXK6QKFWpPxqV52kilKC3Fs1RxWv4Vur5/9wzxVU5OeoI/3byZ581djjMeaLC4ZCbnt7CRSym1wuoz6vRYeHRALOegfDnPzpsRfHZhdRvbXczz/8oi664xNca1ZWTos0iiXOTXi0Iaur/yHJi/OuPAZarTbZfIdIzvbDYZ6rbhsDt65k2B34X8iMPIzJG7+AUGPhUK5SsPowdSW87sFq3+AVrVGq7SFQZwl/lHM7QCG3AJNlwfaHjrS/mQ0YvLN0zn4EIOrW8UWcWsKQJC2nXZthXongJWcWvWbVjsms1dFw1btkI7Vh8nhpVMp0jb5MDYzyt0RkVCH40pBwfQSy7Q28hgcQRWiXXYrpbpJxZpGswh2M+aWm3Zum47NQauSxdh3EXNui0Ylic0epJzbwOLpoe30YRBOyPGdf9Xp1LKYO7WnvdSuGM1CgpYjgL2coOGMYfL4qB/vYDY1QOj4WDWD0CmtadehxTejG/3W6hsYe85jDE/SKexov6wcXJsmL81GAlu7Rsveozaq+sHNp4fi7kuQXqNla2PM7NJuZWgHZjHk0xi9QxAYwJLdollcpGkJYWg7MRSXsUdPU26VaOTTOLsmqR/ewewewOSOYsitKOnaIhYKkxuzyUDbUKJ6eE+tyJ3Rr0F+HWyoza2WWKUqNsPeZzA2S3Syu7RkOGzIhs6AxRamXl3XrKz8nSUqOAJ9GDJF2jYUkuh+5jVmxl5Tu8pzc/0cVxu4HG2uXDnmjX/zOeZfvMzekwM84SiZ1AoeRxeOwdf44P/7xyw8XlC70Nj4DBOzw6SPtjBYfcR6ogzNnMZYL9Hs2DQPsnH/DULhKCZLH7XiHtXCEY7e53GFQzT212jbWpSKWSKBWRrOMLXNjzH3nRWaAo2NjzF1DWIJjtLa/ARzzUopOkLf5AXalYcYA11oOWani/LWA/7LN3/EH36wysOHNfJ0OD0ZoNfT4OFykdeeiTEx5KRicvPw7jJWk+VpXgYzN9fjDMU81ModelxtZob9XN/Ls5Ns0h128GSvjaleJeoz8Ruv2ukOlgk6nPzJ7Ty//m5byjmeqoi+Cu1miYmAl7PzMb736SrprIWizc1uPMvlATP/5GtuteknS0VCYQ/XrubVjfB4J8PrlwcZm7NTqLbpjw0qwyG9myXcHSGRPOZgJ0uukmFodBiH2cLWzjqT586y+XgLp0D1LE26Y+Pa5SrAkHAwRMfi4Dh1hKFpxB1w6yFNrGOpVIZnnn+GVPxQlUyFZ9XLmCx2jlMpttYyujnrWNtUSnXCAZ9uWuQmF9vq4FCUE39/D5NwEkZdFIwW0vEcYz1dfO7yKBGfnVy5xtiIbAo8rK8eUGnJoeYIT9BPb9BB71CUe3fXFIBy/+EWPYNSwbfNay/PcefJAd984z7PTAXVvmcxm3jz5gG//Iqbf/I3h0lkbOys77Czk+Wlz52lmCmyJy+pdk3BULlcQV0hFpeVYLib/a1dDO06wxPjJA4S1KpltbwGIl3UqkXdGrXaHXKZEru7h4S63Jx54QVMhYf82r8/4PaGm0unQ8SPmmykUtqtmjk+5pu/98ua8Vte3eDenccKpxJrms0lh842XdEwm1u7Sp8dGp2kUy/xeG2Fs+emefTwiG9/uMEXX+whEc+xfVjEZ61xVHfxjbkGlwdaBCZ7+Pb3tzg96mdkLMDWSgaTq0Mi1aQvAo1MlaHxPr78eymm+3zMjdj4wccJfv6nZvjD797hzKiff/3+GxTufEajUdENtoiIAuJrHgkc1IW9+zy1sjw7GnTc/RgLGzQ6NszFOFZTjprzWa1qsXsnqBR3MHYqmDwDGDtGBHsq91IjtYgxfBJD55h2foOOd1bZHO16gtLBkubxnWN/mWb9GDoFbSoxHu9h9ndTt47jcHswFDYplvexB07S6JQwGX1Y/f0YGi3qGTmwi7gmMFWB/rTo1OJUGlJt14c12Ec5tUS1ZCA8MEG7maWSqtF2GKjvLdD7l7/Bd/79W/y1//5f8Ze+2MOdxQQOq4WZ8RgffrBOKOYk9sK8xkmEgC/96yaptmzWBOWC3+1WC7svGGZvZ1Or4QSEJJnFpSXZVoq9NYrV7uDJ0iNOzp8mmZZ+9B3mZk6wuLCEy+tgbnaKhfuPcPvcuJ2yTa7idnowGwyk0hk2d7YUuCUU+JUnK08J0SOjOrzLJjlXKrOxss65Z87p5ke2V7t7Owomk97rVFwso0MqNLgFOra1zvzsCdJygHfaaNbqup07OorjcJp0aywb7s2NXSwWE+vrAtAcx9QRro0Jj9uu17Zs9kV73t7c1yFhdWVNqz8np6cUTBUJ+7VH++xzp3j82V12bi6rVbNnuF+z21KvVc5XMVsMzF46iXO4h+//wQ85fW6K0akZ3v/xh3hdDixOGy6Hm3QqzrOXn2N384ijo32lsu/s7SlFOxmXgdWu8LJKWSqC0EFQ7PMvvfK8bnnX7qzgTOYpNGr4o16sbatu8eTzzKcLel/1np0iuSHkcYMKgQfb+/hCHkrFqkKtytWS2mFFUBFo1R3JITtsDAwOK69kdGRYs6mffnaDM+fnNKM6OjqE1xfks8+ucOrMKZbFytwb1X7sqsAEvV5CIZ+6AORzFVieDLn+kJ+JsQnu3LmDw2lXa22sr5dEMqkWeznQSk5YWiIkZlKr5JmYmuTb3/4BYxODDPYPsr21STgSJXEg1YIVqo22PrcFGCY59Hazwemzp3iw8IjT86fJZFN4/SHu3rrFQH8vBouRTqep21rZVMsXDg70a8772rUbVKoNnjl3hoX7D7C67Np1Pz42rl3uYvNe29zQIVWAXdIuEIl0qzgtNnOp8ZJhd25e8vgreki//NJF3vzejzh/5jyp5F9UmlVrSsI3mczMzUyrm0rYBhJ5EbFNet8XF5cwWc10BYOYHRa1z4cCQc0GyyZ/YnJUo265Yl4p/dJCNNg3oGKDcB0kltBoNdWG/Xj5iTojzAYrifihbrekwUncWjJQy5k2mZRokZH5M/Osr66ztbnL/Pycxnhu37lLf5900Wf0+Sn95WLXzuVz6jqQz2VmdkrjFB99dAWjscNP/dRP8uTJkna5dzoWjdSIsyLSHSUTT2oG+8tf/Yr2rgssV2zxg4O9WI1mlh6vKexQYhbSwCENOEJ2390/xNhqY7bZNLpgs5g5TKQxdkRwd6vAYzZbWH28THdvj5LVxXYuwtrBYQKH3a55+Scrq0S6Qrzw0vMKezMbzZplP0zsMzs5rdecODocdif37txXd9vI2CiHh4dagfjk0YoC8+q1GpNj49QbFdxOt4JM+3oHtOFHhB9ZRPT19mKzmXV77XE5MBqkjtvAxNQob//wHS5dek6F+VrVQDQSUHeUkNtfeOEC9x8u4nA4n7b9NNv09/Sxsb1O/0AfIwOjfHb1CkZDRwUynzfAytoyLqcXX8DDysqqVsiFIhFWV55gNTu1eq7erGiVoUAZLz5/gTs375Iv5Ql1+amUajz77AX+6D9/U2MCYnkXfsfM3AR/9u/+lMFgCHvQSXLnGFOXjdDECB6bncWFBQUaxnqfCjYSsxReizRSSNuLOLtu3rrPa6+9pD+z2+4hEg6xubXJpcsvsrm+9fS9bTJoTr8nEmNf2hKM0D84pPdgWz63dktZNTFxDpTKug2Xs4fEiaQtQtQwX9BH8ihFrLdPYzbyvJczYuY4r4JTtSLNIG4eLz1RdoUI1CdPTrGwsER3NKo1moXqU1FBXCgiSso7STgTs3MzvPndH9IdC+uzaPHxIxrVBrHuGAdH+wrXjPbE1JHp9gbY2tgk3BWlXJJnX5Cj/QTlYk5FOrFhSlWiVr9Wqlx+4UWF0CYThxwkEszPzOpiZWtjS1sK5B0otZwiFElNroiWgUBI2RQS1xDRQYRziXHb7E6Wlx9z4bkL3Lp5n9m5if+fp/cOs/Q87/Pu7/Tey5zpvW/F7mIBLHohQIGkSEm0qdiSrCRWimPL9pUoiZXENu1EcXxdLpFk2SIlWTJliqQoiR0dC2B7L7Oz03s7c+b0XqPnga78jcXs7Mw533nf5/n97hufz8HNhRWCBahsbmOxt/V3IGmBTLlNT8SpxqDf/HKIz5zw8MN7KeIWJzWbQVgA0j6fwh4lZZFLVzU9IwflWiOnlahCvsHmVgqjZWZgLKZp2qpUk/YqRPp8vHLSz//yh4v81q0WpyIexkdMlPJNHm+VaQpcNeHixsMKowPw0fw9yrd/n/JBC1f3BM3iLhbfAK36Ac1SGVsgTKsT1QWz8ANarZwamNo2K6b0CiZvL7X8PkZ4HKNhYJhK4t8GU1irn0LbtzTqdBwOLG2pvOaoB2ex17NUHv8J5ug5bMEROoJfb3nAXKHdKNMRBpOA4c0uKB2pNaKamsdoFbB0P4NxcIO6tx9rMA75XR2WmZ1xzIYNU3mHqiWGuZGkkd7A3TVF0x6GWoaW1Y5soaSG0zFaGNnLX+1YgqM003MgP2hvD+30Qwifwtyu0mlUaNXymN0ezB0HjaakP3bpGD4MOdRGR6jVDnHIA/DwGg33CcweO5Z6gbYRwjDqdBo7GNYEzWoec3EFU3BEncPmdhNTZJB2Sui9AcytJUzWCRrhWSzFB5gbZcr1IxzWAIZjmOLBZZxSS2h1aMi2PnIcm7tDq2mifnAZu3uAtsVPu7yISYYOQqoWLUMlidU3SKVZw9wyqU/RqO7iiJ2nWdujJQdnh4+OW0BeAXDUsOeS1D1DNIpbOhH3BQYoHq3pVL+RW6Nt8uP0tGi14gR7YxixOE+O/yL5dpu//tkhlg5ypA+S3Htc5+v//FVe/5V/wM67PyAyeIZsfg1rI4c1cRyP18+Hf/H7WL0yGfby9g++j8vjxmYKUK/scP7k05TbBar1DC+/8jk83SM0azXabg/1leuUN65jG3yFRmaZVsuMY+AcRmGfem0fw5XAYTP0Z2V2eejki5h8YY0Itxw2kqv3cXZKtP0+TLk0ZqRPU2RsogsCMWxmLy2XaLBsbFy8yte/9j0ePKhw+6BJWcj94tC0VXh2KkrD1CLs92Kq5LDY3FRyFdwhJ+/P5eiLgQSjD+stOuUO4YBoV0xcW8oxFfdzIHAwD/z9Z8ycvdDLf3xrh+9cadGounmQqpMsN+iPGeRSFmpGjc9PdzgWcfHcpJVWK4kr0s/G0gG+iIvl7Qpnng4znIhgdVvp1FpcvLjAuScn2dvc5+H9Q7r6fBw/M8mSRCWzdcZnh+jq7+F73/gJvWNR/DYvwWiQ3fVdGgYKu8lkUmSSeXqH+6hXijRqLf1v8sElEDE57HYl4kr3lEOATMHb5TITs9Ns7e8SD8X0Erv4eEXhQV2JPuZvL+jkeHQ0TmLMwujPH3D6dBBrKUOw283OaonBIS8nJvs18iyU1SuXHtLTFVAva5U2syP9fHzpIWNT/WyvbhDr69O+X89QFxF/kIvv3ObLX3mJq9ce8c9+5wP6Eg76Ej6sZoPbKyW8VPnRr3dRbHhxRXzqmvVanSSTefqGu9ndXObE6TP6YTa/8IiQ20++VlbNidvpYmRyguuXr+gFZ3hsjPWlNcKJ8KcRy64EdodBpVHjMFukst/m2fM2vvqfGvzue0leP9nNSipJw+wkYrcSitj43MtPqCrr/U+u8Mz559Qj/e6772u0TXzJgbCXrZ0dzp89w8UPPmZ6Ykahgv3xMH/4nXd5sFbC6zdxuFfHa68R8zi5ftDkW3+7m/OTVt6+eUTQLpT9NoepMsfGYxTqLYIeiZzXOTdRZqXh5u//xwpfOuahYrhYLBQYCiX47l884tf+t8/zt3/tqxzc/E8EguINP8DtO02nvE6bKs22DawdTG07JkkDCEH/6CEm4Z+YY9RTN7BGZ7VW00ht6ea55fBjspixtFzULGaZS9JuFMEeolU+VAp93erD5HTQ3lmFaAKbuUU7vUrbG6JjHqHVzmLOrunXMfyjWs0So4jRzmBFqjNV6uVNGqJwcndj9fdoQsFpddPs2KjV97BWarTNVqydEg17AFNHOq82WuUWreIatUKWwMA4DnMD07FX+cxLf41rV3YZGfNhM5moVVoEvE5WVtMcf2mSoTOzbK7t0KrUWRGQX8CvEWhRVNmdFubvzdHT008oEaaYK5FNSSfVqhG8zY11xqcmaDbqCtirlotsbK7T2zOEx+dQL3aj0davubyyplR4b8Crsc+333lX49q6UawKj8XN1sY29XqTAXEVtxvUKnXsXrsedqRKkzqQjZeXs0+eYXll6f/Xy+lWMJ1hd+eQp86fJZ05YmFhEZfTSVeiW4nn/d29ehjNFUtYOm3Wt0WNOamHt+3NHVXEyYFKIppSmfH6A/gDXlaWl/XwlkkdKLXfE/Cp0m3+8SNmpqbZPdhhaHKKS//5ewStXkZmh1hbW8NUa9OU95/HRa0sKZQInaAbu2HD6jCpdk5AUbLFkE2hqOQePryHy+NjdHyC7fVVZXoUCmW9ENSLFe08d/X0aAJtdWUVk9mKx+f6NKkxNsLCpTkyj5axhX00ZUNVbWgsvlmv0GkZuMYS+Luj7KztkEqmmJ6dxBfwUi6UdaAn7BMZEqaTaV5/4zU+vvgRTz97gUcPHqrFRzrEwo1I7u9RqZR56eUX2N7ew+v1KLthYCBBNlckk8oqgC+V+nTrK5evu/fvMDI0qsPYpfklRifl9Q/3b99TI8Gx4zN89MFHTM1IbHiXcr7Asdkp9lNJauWaqtNcNgeb+1uaVjHkPWAx/iqtkFDOwGuvvcJhKsXdm7c5+8x5njx3hh99/we6eVtd2dAIsd/rIZXO6mZ2bXUDs91KVyRArlgkHIpod/fGnRu88NwFBWtJ9Fkuh7IZ9PuD6mYe6OvlIJlm7uEcJ584zsbyOoPDw0r4bjekKtFU/emFp58jmdxlZW2DcCBCvlRgYnyEw8ND3XIvLM3r4kNAmAuPl3V49uIrLyuocnNjg+HhYR00YWrz3/z3/y3/77/+t1qDi3Z1KVRPVIoCpBQo5LWrtxgbG6K/L6F1Fpl5Li6s6rZS3mPb29t6SUofZTQW39MTVZCmVC0mp8d0G1suyVYNvQwdn53RZ8CtGzcZGh3RA7y8d6VL7nE58Uks/O59fB4HTz11gXfefkdft9PHxlhZWCQaj+v7PZ3LKdFcLhwSmf2bv/wLvPP2exqFnxgb5tbthwRDfv3d2MTa1Oxo3ebRg0WFQHbFwuxsCpPq0yFJICi/q5xuwP3BoGoXB/t72d3bZ3ZmSjenYk6Q3/niwrwOUCXVIF9f/v1yGTx37gl2D/Z0wDI7e5xM9ohSucTYxAQff3gRk6QkOm2mpiaUT7O9t0vQ7ycUDengNxgNK9dh/tGiphHkmXX65HEdQly+fIlnnnuKnZ2ksgvks1EGd7FoF4neuA7XcrkiPq9XL90uj1Np7qJE299NqiFDfn+XLl/h3JkzrK6u6IZazirhSIhGS1LEdf27yoW8VllsApf8+KqmVcRokMkckcuVFOopdQKxAbjddh3237t1n97ebsSrkj0STkc3zzz7NN/+4+9gddo0vWU2oZf0+w8fEg3H6TRqCkENRAIcHqW123+wvE0tlSdTK+hrY+LkcXpOTXHx7XdxmB30DiTIC3TRZWd9Y5/hwV5K+RJma4fPvvkmf/SH3yAWjVEo5Dhz9klu37pLqZTn1KmTXL18A5vdTjDgVeDhg7sP8IcDGMJHMbWx2a08frzISy89T6aQZ39nV99HFrNTrQgCszz/1Dk8bjfvvH2RV158RiGQki6pNmXpZ6VQEA1fhMHBAa1USSpUnrXy/v7Slz7Hn373B9jsZlwuL7FQUAGjw+NDuOx2rS0JF2RsdEjNChabDafDS3J/Vy/QAX9AB5qr6+tMTU/o51zqIMn27oEyJRJ9PVr7vHz5Y/q6+z+tcXRqxLsi7GzuqyZc4Jny+eXyeXRYq7wZp0uZE5Is0yGAYUJOSfF4RBXMMrgWOK/oTGXQ8cyFJ1lYWNW/83Nf+iyLjxa5dOm61u7E6CFwQU/bxsGVB3QNRLQqZzZZ8ZpMFMSSZI0QMuX4n852SLacRMIdDLuf61c2iHXZiPh8bCezOFoQiPqweswsLqeYGYtTa7XZWClz9ukubt3dwmFtMjLWze7iAcGEgIJTfO6Ym3/9YY1/fhHePNkgXzeTcMr71UyraUNY839yeYu3v/oMZ/7uPyN/+yfYbV26/Hb1DFLFTn1/CZvw72xjmB11Tb83BHJqiLbdTaWWV5W9JTRAc+17anazuYcw2QMY+XWaAtLvyH3Shz0ySatyQKexh9UhIMl9ZPFudvdgMhqa+GiLirm0Ba4xTKIblPWSt49mKUXDVMPRDtBsJ+lYvTjtYoWx0K7mobYNliDmjkEzt4E12E3bFgNrC0opWvVDOq4olrqJtmiTxKhXSStk2she+aedduYx1ogAo7yqFekkb2DEz9Mp70hhUVVgshIVCqStY4LqHrWWBZs9rHT+8t413NER2rGnMUpCZ8zQrpcxmZt0LBEF2Hm8UcqlPTq5dUzRaSy2IEZth+bhQzo2HyZHN9agOG+rWPMbGO5uVeg0dz6BwddotS2Y936EzTlIjQiGaRmaVsy+IdoCs2tksPuitItHGE4bNpOHqtWBqWbCbhGqdQNzrUxVYtO+biyZLQUUtpxObK4I5aMV2P4xvvGfpZrZp3F0F0v8KUw2Ey3RWhkums0c1lYNwxKhXklrL8PU8uCIVrDaopw591/yzLOzXJ9fxdmxMTAc5J231/h7vzTMP/zdb7PxzX9B1+hJSocprD6BtdWxGwauYIIWdfZXF7h8+QOK6RSByChjp4+z/HiRjaU1enpG2d2SD78Eg6MxEqOjTJy8QMsewchukHp4h4qpQcDiVqNAp5nEGXuaYqNONbmOz2GnYThpGhashW1qnSSm+MsErFmKRy2ajg52R57cQYWgM0y1nsJiLpNOGQxeeJY2LsxRmd+7qCTXufb+Nf7d77ytnaIPFg1VIsZtFpyWJlOTYY53O9jJVXB5zFy6ccTEmBun1criWo4T4z469ToH9TYHWRMep5vDfIuNcpl/9WaAL7/gIL2RoeN1cJgzs3Hk4N/9cIXXT1n54uk4kW4XjliAlcc7WEKDZHY2mL+3zcyxKNNPjLO4XKKUEt1KhhNPnmB/YY3NZJqnXnyKaqFILrnDdrJIOOild6CHezdvEwxGqTXatCsNGkZdO4oTx46zdH+egdHeT6Nw2GjqNsOuBNJITzeVfJ3D/R3VukgUVOo0svYQP+/N63fp7k9oZ9FjtykJPBiPYbM72FiUiW0Uj9vK9lqGs690M/s3HvLqqR5WDyS6ZaOUKmBz+fj5z89wcFAhmpAe7yqRRIK5e2sKDZqaneLq9St84YtvcOm9q6ytbahre3JsmPn5B8QT/djtHfY2t/gPf/GI0f4e3aCP91tou0PM3U9z5+u93Ppkh/D4AFFvgB985xJTx3rwR4Lk0kequRKux9j0CM16k1atodFJSXsc7G8T7+/G73Xr4Vo2ZLtbB9p9FuBYsZDDG4wT7u7mow+u8tdfGuJXv9nmrbsHDAarCto5LDTJp0p0hRz80i98hmuXbnJ/boHPfe5NUrsbDI6MYrXAlctXGRwfwSQwTMOsLuloqIt8ucDf/Lk3+Fdf/z4f33zMZP8gtxaWODse5+FOg5XVIrf+nygOZ40bN8p0B8zYAg46lTblhkMTM/FeB8nVIs99tpt/+c0iX/9Jis+9FGd5ta4Ruv4o3Ht8yA/f/2PcsRhb996mN9BPavkHOANh6H+D1uEiJk8vndIapo4H/P2qZqx2UtisPQpsMbdrNH191FOrOO1ih+hWCnKrvovNsFGVNJYlrFDTTmGBVjFJtQmuTp6mLw6OPuyGmVJ1H0u1jcnjxpp7TL3nSWyVIK3OjtavjLqNdniATsdFO/cYa+8TIM+uo2Xa1T1MXedp549oFebA2489cAxSj2mIaL5+KDkEIqwBuAAAIABJREFUWh2bGgMK+3O4glFstpAmGezNPawzFxgafJ2ffuU4l+6s4jEMivWSql7jIQ/B0W42K6JprZDePWJ8bAhfKMDiwrJeqM/qRrjO3du3VSN26/YDbDabQrLk8LG4sMjpM8e5fOW6KvVCsQijA326NX0wN6/9yIO9PVLpFH0DvXTFu/jwnfcZHh+mq6tHe6ydjoljxyY1oigQtkA0pJHKo/1Dkpk00zPH2NvaoEe3PEUO9g8wW0z0JHqVBi6HtlAwQDQcZu7xPLPHZ3RLI1aC2eMnuHfntsZfpb/catQZGRnG5fVy/eodPaS1OzVOnT6tIMKB4R4ioZhWF+TQfOnjixo/39xaVdiZpAxWl1f02eAL+LW/WysL7NHJ2od3CDj9hLv9bO5L6qtBb08fO1ufQpjM4xEicjB0yyFuB6PdVFCnuO7LlToHyX2mZidoVdssry4xNTlD8nAfr9utoD2jLZs9P7du3MbhdROPB3ULKO/zqmjI/FFWL92hdphncHZQ48E2w6SxaRkub+6nGHnjPPura3zhcz/FxQ+u6mFYQKCrK2sYLXSAJ8OEw6Mc5544yaP7c1SaDYZHx1hZWtBhRnJvnxdffIlwLMztazcptf6KYtxs8epPfYZvfuPbOvh5/qXnOdw/0O2xAKpkK5bOpKnUK0xOjLO5tUNqL6kwuk8uXePck08o20GgwWJbEHbR2tqyMhIEwCaQvu5Ev+r6Bgd6OMqVFMY3MTGhm9diPi94AVVWTs2MkM+VWF5cVtq48DtsJpv2rttGk2K+zNCI/JmCxsxFkTZzbEovmHII7tQ7lCplotGQplCkWy39X7moba1v6XtE6leSLAmFAvpn3v/wIs8+fZ5coczW1jYnjs+ysLhIJBhkaGyUD99/H7fXr9pB4fik00eapJADnt3uIF8sMDo2rKYBSelJJFsqdqFIkEa1phe6rlgXLXOTuzfv6aXC4XKo3kxMHHabRasm0xPjvPXuB9orFxbAcy9c4N233lfi+/BoP8VCmQf3H2nsvtNq6+XV5baQOpCecEyVZsIwsdtNetEUHdzxk8e4c+s20XiXks9dbrdS8QVMeZQWp3yZ3kSc69dvU65UFKQpoMLllXVeeOFZ1jd3cDttPHq8oArOqbFxVjbXCAQCqmGTi6KoHitVNJprpc3Zp87z9k/eZWR8mGAgyPXrtwgF/FoNkPeeXIA6TZMmluK9EWVTiA2o3ZTX76HC63y+kOo8hcYuFaO+/h7K1aomfl586RUl6YuFYmZmUgGOqgXs6aKvv0sHr6FghD/79l9w4omTOuBNZw/1AiiQuGwupyT9SqWkEfeFxSWyqSzheIRwOKJcCRmGzszM0BUN8cEHl/GG3AQ8YeWgyCVvZWlVI/hHB0fKJhAF5fHpWQU6ymCuVM4xNX1MX9sCLhago1xCUgdppLq8tLDGK6+/qvWVne1tzp07o//+W3fv0NXVpcOgB/fnqNeaCi4cGxpn/vGcbtGl3rK3s053fx/rK6sadT/35FluXLuKN+ChXG7y5Lmz3Hv4QCsc5XKBqclJfvzW+5yYmNRLt9tsZfj0NAfL6+wlc4yencFhNTT19GhhjoHuQVrtJpVyHcNuJuT1aoJQfkYyFPU4fTr8lbSj8DIEPri4sMCg6FjtLvZ39lVht7O7g98folIvMTo0Rq1W4YMPL3H2zEkMi0UtIZ//3E9pzeDoIE0wGlIgpvA13n/vA5546qymxEbHRrVGIbF7qaQMDg/idnh4OD+vFZaHjxaZmZ3i2vVrCuK8cOFpTW1Ui0UajRbzCwtYTVaF1crgsJTL8exzz2hNaXNzRwcrApeW+iNtE5evXlc7gHToHz14rDDP2eOTai3Y30zSMTpceP4Z3vnJ+7jcNoZGRvWZubiyooknqdaUi0W+/F/8LN/55nfp7ulifHycjc1tlpcWtHIgz0sB/1lMdlUNHj8+q2DnTy5e0fTL1OQ4K0vLjE6N6GtWKhlHAmk2mbA5zHT3DHDrD7+Hy2wl2u+nXKkSC3vxuc18eH2fus3M7V8Pcv2mwepGGrurpQmcvh4fpUqLG1e2mZ4NEYpauX3niHLJxPQTHrY38vTEQjQ7ORKBbv74h4t8+Y1xHDEXP3zrEcMJP+FAhyenA/yd38/zZ3NlXhpp4/C4WN1vYSu3GeuD/Q40/tKM8MHdT6jd/VDPkY7gEI3t27QdnyoMm+0ypsAo7XoRi16eu6gW0zjbOdqeKTqlJYxKDVOoi3Yhqdwxk82i+ltqMvDKYzJX6ZiHaRbX6ZjaejY0Oy0Ke5ZlrmGyq02qk07ScVoxNwQwbqaduknLNYhZ9dBJWs0GhtePue3USoC1lKSefoh5+A0qyQVc7gBVw4HFbtV7WrtUoG4zEGpcp9mgaXbTPryFNTxOUxblpS2M3K3f7Bjtgj50O9LBr2VpCayq6zyt4jqGxYHFO0Al8wALMQxznVa9jDM+SSd7SNNcBVOPKqTMrTSthmgMIhgdJ43tj2n7urD4RqkeXcXlHqdhEdpziHKriK3lwHA46JgcNGu7GpGtC201u4YlOkkjMISt46G58xYWcV97x6jsXsaQ6L5/hEbbwGgamKwdzFg1bt0QKqIthKlZVItAIzWn5EtbcIxOfo2O4AwCs3QOH8rPCFPdSqeewRocoZY51BqExR/BalT1hyQ9gUbpkBY5/PYAFYsHsz1Ec/cTMLkx6/bOie/EE3zh1OdJ1Vrqqx3o62N15YBiM8cvvDTC3/u932H9P36VTtlB8NwZKi0LnpZZfeGt0gHW0AzW3gSOyBidjXs6UZt/vMSlqw85ee6Yxo8WH97B6kxw99YDrI06J5+ZYWL0FGNPPElsOE4jd0Bt5QYMXaC+8ZBiKoUraMHujlBJLuIIDmCLPkGltEbu7h8Qnvky1sjTVCuLmPal8+PA3j1Ou3KkL2C7q5d6cYlG3QatIs1sBn+oC9f5U9RtQcwHd9m9c4uDnRL+mJe3PrrCv/njXTaPYNjnYK9UZbofnpkepFmukszWKJoMwnYrlXyRQMTF+maKLr+VZMXKfrXF7fUq7r8khP+zz7j4r37KwepikkQijE9I9+UChcMyJkuMVsiBpSmAqjZRv4N8p0mzUiWciKlGJBgJqWJFEiudVlMPVIMTg2wvSDQySKAnxN7KAeEuH6VsQd3NvQPdmM1W8uVPSfNyeKZZlS4ADqdL427J5CHZXdE7lXn+zRdYnFvCaTEzOj3JpYuXlUQs03h/SHzkbirFLI/vzeMK+qgVBSDloSVxJonMl5sYhlN/byPjcS78RlbhhGMBL9WmneXdQw4yTd779j/k0ru3OTzcpntoSOGBQgLv8oZp0cQf9aquS2As8nCKxnoplrPqzZWHvN9hIzEY5vmf/zpvno5Tok5vws6D9QZLy0fsfO9p5q/u06KApzuOtdHiIJXH43Hh9FhIH+SxO8wEQ7LZT9Ld08f8w8d0d4V02hqJCVTIrR9+oviSeKwcInwON9VWm5X7azz7xZdplg4p7q7wq39kZeGgyNRAQC0g4YiDaw/SnDsZ46v/8y9y7/4yq5tbCq97ePMOv/DLf5OF+Xl2dvb4zGdf5Y++9p+J9yc4efoYjx9ITSDOyb/cjv7ir/4O6ZKJM9Mx9g4OOTk9zt3VNPe209z6p2ESdhsfPMyS2c3RHRWQnAOPt0Mx3eAnV8v84/+6j9WNI579jTxnjof1cGzxQLto1g5yb7TJH//F71LZ3KLuj9HJbmhEtyW9LUcUS3WbFm5oCQAxhyPYTVOgTjYTducAhXu/hSV+DG/iDUq5W1hKFXC4sNq95I7uYnd0YxR3afkkijtCde8S9ugJOrUiVic0zL3QLNPe/iGW+Ou0PH7MuTXq6SVcw29Qq2/SxIbbGqC6cRmL24/h9dAuN8ERwOLsg06G6u5dTNFT6kOvp+ZotAO4fS6a5RRN76haDESDI5R+qNDIbGENn8BqarCXqzEY8VFzVBmf+R84ddzLVrqJ1+EiEgqRSaZIFXN4hvuIjw0QTUTJ7xyxuLhIMBZndHhYY7vSlc1m8nqBk41TKpVSDZNE3aRzLVHtnt649u6l312olNnb2tJLuoDCpFcr3e6trQ1mpyd0G5nPlRU62WiJQtCgJB/oDhe1epnZqeM43XbdEE5PT2q0N5s+0oOx9DztFgcLj5bwBXx0J7ooVuVgVtfBghy4hQS/urauG+2+4UESkQjbuztKTxfCulCBG82acgQkWv6Fn/kif/qtb9E/1Kud/0AkSrVUJBqPcfmjK7RNBq+89CK5nGjfOproWXi8pFF20QNeu36Ln/2ZL+gWsnxwxO6jNR0iiu98ezOFJ+hQqFm9Zebcl57l5vU5tje2eP31F1QFur60qZCsyZkJMkdZ3fibLRb2trZpYCIY9HH/9l3OP/O0XkzlYnX98m1eevFFdvc3SKfz9A/0Y3JbeXjlNuFKS6FttoCbdrmmkL+WxUTE7STbbjDz2nm2Hq0SG+zGXINHi6sYpg65bJZTJ44rIMvptdPXP8Sj+3c1+SZKwLXNTR1kDo4MsrkikfsY167cVrbIuSdPMXd/XmFwVge8/urrvP/+R3poP33yJBa7hf3dPdoyrrKaaTbrOuCpVpps7mxz8sRJ9af3d/dw/8Gc9nMFzBoKBDSyLhfd+YUl1QiurWxqPFx6v3Jhkvip0+3WSK3P51Pi+u62xLInNJHy8UefqI5KYvSvf/ZV1pa2lPTeajbZP0gSCIZ0qCQDJIGtSa1FtGJyiMvls4yOTei5xGKYdTsq7AqBS87PLXHs+JSC1S5+8Il2lPv7erXHLpf/4aEhas2Kfi/RUIxwVKB+eYLhOPdu3/gULLgsw2G/dlOlhyzbfqfLytwD8Y1HOH7ylEbXDXNH9b+i3hsa7Fcop5hkmrUWwbBfhxjCFpCB3d5+Sodp9x480vTVo/kFTdIID0asEvKzF3iuXAjHpoZ02N2utzk6OlI4o/SS5RLsdFgV6Nkxo0C7RHeC61dv6L+vmM/ROzigqkCbxa6vdUkCTE9Naz1HqhP37z4iEg1hMXcUaimXjedffJ6b12/oZV6SBCsra/R0d6nPXaooKXlmxLsUzibb8cP9JIVSWS+ywq4SPoikJ6Vr39vXq+q9y59c5fwz55SuLs8Zcag/cfYMR+mkQtQkUSQXrIf35hQUKXYSgSNKuLanJ6YE79ShMB+OCEVCejFLdEVp1ppk80VNCATCYUJBL3Pzi2q9kN+/MEisFqtWAWQYKRdk+XmJJWBqdpJWrU65VmN3e52XXnpRoYXy315+7UWWHj+mUKoQjcboH0zo5fFwXzgXEwpMW1/5VDPndXmRu4yAK/f39nX482hhQXJnPPPcszSqdR48eMjE5BjpozQen5udrW0dTOlQx+XE4bDhErhhA60jeN0u3fr7I2E6rYYOZp+58CzVUln1gPJvk4qRPFsfPH6kl+PnLzyljA6BmepzN97H7vYGt6/e4rVXX+OwsI+lZdFIvUSoJbKciHdRzmV1UNM3PMDVy9fJHRWJREVbbFJ1qdPuZG9nW5bfeD1+KtUKtXqNRDxOLBHHbrNy9+4DBvv7lK0gMfeFpRVCIT92m0vj+yMDg1ojscuDx2LSZebw8AQ3bt6gUesorDQaDbOxtq1Jr9RhhtXVdQXGJnrieiGWWs5g3wC5Qk5tOvLM/OmfeZPLl2+xvbWl3+f8/AJPPHFKIYOry5u0DUOVf0eprJ6/qqWK2sZEkTvUO0yhVmB3fQefP0A0HtL3qthBTOY2m+ubjI1PUCmVKdeqmkLqTXTTtqLGBuGYtGWHZ1hYW1/VZ040GuDxwhqjIwOUSxUdREg1o1zO61lXNKHyDG82Wxwlk5x+4iS1akPrE8KrEG6EqBPjibh+vaPUp5WITC6NPxakq1Xn5tsPiIVC1IwSm5tNZsbDZAoF7m83uPs/+mlardy4W9Vnw4nzfhZuH9EwmZiajrK9cUS73aHV6DDYHwCriYc3Dnjus6PcuLTO5laaL/zMCT768DG9Q1246zU88SC7SwWOjZswB0p0/YMOz/abcDrrZDJFrcWMdHsp1uH718rc+vHf5sSrX+Ho4tdw24ZomiQs46LWSmO1umjX96BQwBQew1ovUjVJhTao4Hc8/ZhKS3TiF2hs3MVGCiN2nnr1UIn9ZuEvWRKazLRmNqm1wOyWNIzUYHaxuqI0Nj7A7R2mHein7ohhqWzQ6ljpVDN0iptY+p+hkctq+tzk8tGuSYLCwFJcpFl2Ykw8h7F9CZMjTtNoYpSSGP4RkGppKUvHM0RTlkDC4zM1wORVPbW5lsfIXf2/O4ZsdloFPXA39u9ji89St3iw5FdpNvYxBY5htTuhaqItXupWHrMtgFHYoS2HynaJVitPo2PWPrZ0gw3/LNXsA9mZgm+K8sEN3F2naVbFwWmmJdRsu4em4aLTrmJqlLDYHDSUhG1g7iSpF7I4wiM0ylVaNh+W9CPqrgh2bwyTO4ZJ9BuNArWC/CBjmF0h2pWMPsjatSomV1AJoaI4tHTNQrmCERygmbqlMBS7M0rNcEJ+Dlf/SzRbQagsYgkMUS21MAqX1blta7mwRo5rf9UmUd5qjnZlF7PDQbVpxW048M4e45de/wo3FgpceGqUQqVBPXnI3GaFzzzl419+8+tU712mkN4mmBjncOM+wWN/jXpmTqnfopmpNU3YfOLtfoTNH4HESTJXf8RH9x9x/eISDXuFr3zpDexeN/ubu2yvH3H2wkm+8Qffwu2085nXLzA6O0E4MkLHF8TidFDeukerUaKUPMDaMMjmDggd/wKGPYC5kdap497mPfyxKM30PlZHh7p9BCOzQjO9hGP6FcwtC83MIdbuER2GWDodmuUdnYqHe07QMWUhPoEllIBqnt1Pfsy1j1a5vXnEt/78FkelTw0DlSYMRmU61eSzs/2EojEeLDyguy+i3bi9fJ7cfo1Mo83tAxe3/u6nhFfryBiRwSFK24esrO8QDjox100USzk8YYkqt6nUGjSqTaWcG61P4+lWv2wLrBpZqlYa2nEytTpEehLa48zuJgn3d+tBLLl/oBuOYqVOoZgiEBa1mI+9zW0qpQKTM7Pq/JYNkUC/JI4puj1L28AZdOshn6aZSr2oh5dANIjbJd3Fon4oNatFnYTL5SVbyNGp1zC8Xq6+84A3vzTN4eYuJ7/a4Yl4ndHeXoYG7Lx3ZZnFlTq//xt/DYvLqoCws2ef5MaNKwRDMY4yKSWcj42NcvnSZWZmZ+kWcv7CknYB97b32d5J0jfQz/h4F7/yT77PSMxKoWpmIGJmabPMeL+ZP/uDc6x8vMr+VguzWXr8Hjomp3ayhYycP8gSiIcUnrK8tkxXNIrVZFdLwtDEGMn9fex6eXNSq9RwOax0rGbW51ZpOSyMD0Xxdg/xwz97lxe6WvzcD4M0G1aCJokqW5mZ7uG7P17m8y8P8bOfO89771/TONPpc2f0YlevN9Txm02n9PCayxxqL7Srr4cH9x4QCbtJhLv4/oc3WNqpMNrn4vCoTjgQ4NbjDUylMj/5JzG2ts1sJMvEXA0SPRFu3D/gqTMByi3x0Tc4FTd4+d8e0Wh7+LkzVjaLZi4/PGJ21EdyO8drb5zlV//VPyb71jcxBWM0ywY2t5mqxYq9ZaFtc9HZf4gp1I1JwKXNfTq2Hsx65bJR3v0Im9MP7iGFvTjIUD16DO4JrE6PXgqpS2/PSV3iYR1hLsgWTgAvvWA06BSSn1pYes5Qq2ToHNzF7BnD8Hd9qo1pVbCZ3dQyi7RNDuwRUa3u0zhYxnANYw14aNVKWMxCFc/SNIVxtHJUhddi99GupvXvlMGAtV2macSwBVzQMGFuNjjMp+l/8fNc/ebX+Mwvf4PZKS8jA13cm9+iXq5ydqKXI9kq98ZIraSUXC1eYYm1nzx2TDcQQpJ02x3UWg3GRob1ULl3kKRYLnDs+HEeP3xIb1+fGjiEBRuJxMlKr9vv0ei+gJ7u3rurqZxGrcHE5BQLS7JBMavy7/rNOzz95BmNekrkeGxilNs3burGJBANK+X99OkTugUVm8RRJqvwRQG/DQwNasx6fWkZb9hPNCzJByuRv+zxvvfORY0f1xsCzZLIt4+l5VU1J0RjId1eytc4OXtMwZnj09O89/6HhIM+7blfu3SVZ1+6QMjv5/vf/7HS16/fvIXX49EqTTqZJBwLaT/22sdXOP3cOYIhHwfXHlDYF3WunarRINwbYyARZXF9h9TqPs/+rZ/Srq0clIRGvbW5QaJ/UAcyQ8M9HCYzfPe7P2BidJSevjglVU01wLDqhlvYBnLZE8+7gH9ldSw9aJ/fTWKsn+0bDylvpqmb2rpNq+YqBLuCNCoVmqUWfc9M405E2dvaI+B2k0ofYcFKrV1ndXmDNz//WRYWFjQGLhCrTD6vl2GJPotWMZHoIZNNaWXBZHby0Xvva5rhjTdeZXF5Sfuj+/sphcmNjA3Sk+hRIOnezq4OewLeIJVmRSsBm+sb9PUPYjaarK5t8ZWvfJGPPr6q/Wa5kMmh9vjJWQWIBoMB9vcOaYpO0enWYV7TaNGTSHCwt68bvXQ+o1YGsbfIhrlcrlDM5LQHnhjop5LPK+351s07PPn0eQq5NPNzq0xMj+Jy2jWSLReTZFJ4BqP6WVSrVdXlvLu5S+9Qr16gpdvcNzikBH2BzZ44NkO+WKZcKjI2MsKd+3MaiRclXDZzxPmnnuTW7fsK8hsZGWFjexOHzaFQTSGRyyBMDs25fEYTJyuLy8TiUQ5TWf1sEP6GAPdkW9vX2817733E4FAfo6PDZNJpqrWGchaGJiZoVKt8cPFDnn3mabLpHLv7u4yPDWvMfGVlXV8zAt2TjvmNm7ehbSiATUYpQv6XPrOk6+5cvc7M6ZPsbu8wMTGi35Ns+WePn9L0gGzr252WkuGX1uTs2WZa1LmVGotLS8qOiMZi6qX3en1Y7WYq+aoS5AXmWy5W6eqSgUWR06dP8s7bbzM8PKYXQMMKAZeb+/fmNV3w5NNnNSrelejis599gz/97rcY6OnTJMzOwSGlUkYvxhurG5rUszosqqCVn+Hj+cd0Gm2cXjexWIKaeOGFaRSXIV+VTD7L0NCI2gzk9TI6MqxDFkk9iKpPxkvBQBiv362piMGhYe7cuUk8GlfWQCqT1e/Z5/P+FcCyRPLggFl5Ns7NMTE1rmeSUrmpiT8563j9Ljw+v16yZRgmUDfxRAaCfu2Uy0C0WJRI/Bk2ttYFf6jwPfnsFuOG3xfg0dycwhgnJkfVIiDee1FrgomDgySxWJxGs6rPu0alRby/S/9/j9tPo1bTVEg+l8ewis4uo19TrOICTDx35gl9TcrFsL9vgPW1NVWgynBL7BgyKJBUoQwpxTzgDcvlt6kmildefkXhqsISkiGQGCmEon/ixHF+9KN3+fV/9Kts7Gzzp9/8HoPDfdhEnWgxdAAm6Q1hQdy7d0/rMPK+y2QO9TzY39fP3KM5hTVPT01+CjuORVlYWGbm2LTS9ne2dxifmGBrYwurw6qgRznXSaUmlc7oGaPebNGU82ezrZ8LZptZ/z0uu5d7D+4yMjHEqZNP8J++8U2mp8YY0oHjCj5/UGGcMnjY2z9QiGj/cD9LjxYoiuHF6dHBo5jRcukUXfEEd+7e5dyTZ8gVimTTaTUzyTBEGDeyPV/f2FSFpNhY4j0JFheWdJAvr71KrfopD63doTvRq1WA9c1NrCYLp06f4J333qOnW6pWBcYnxlmcf0w2W2L25DQuu5W9/UMFUMrPJLV3qLWxnv4udrZ2sFpsBMJ+gkEPq6I2HB0hub5Bs22w+fZDwt1uPSe3WybIZ7D6nXy4VOY3Xgnzd1/z8Nvf2yQS9jDS52ZhJYfdZjAxGWVtJYPVaOENe7G5OrjsHt55e5WI39A0l4AZT59LcPniDifOjrC3naTeLFNpOrAJZPGnu/jmT5L8yp/X+NXXergzt6HgzFylxpsXxvna24ucHeviJze+S+XGd6g0AwQ9vRSKS1SqXtyJIRq7tzH7gpisYdrNImaFrfdS2vwYe8852oUjjKwY6Lrp2L2YrE6aBwuYnVGMSJha+gCbPUarta8dfpP/KcyFxzRqSQz3MB1JAGSuf7qM9o7Q6SQVQt8oHWA2ucHWhLoJk6lNy9WFYbfRzO5iElh0ZIZOvUgn+TFtzwQun9iOjmjlVjHMTqyyQKJO+3COui2BS+6Z5RXMngEd0BvZ6/+8U6+VsBttOuKA7pixiFpPHurpXdrZm9jHv4KpY6VR2QWnF3PLQauyjTU28ykNVjRR7lGMw3ma8sHj8mMxMpiNHvWTloppbJ0qHdcAZmsFKi1azSRtLNgzq5gCw9RKZZruNnbPMNaOmWqniVHOaHTfGT9FPfuIdjGJd/znONp+G7fFTqOyh63jVoJ2R/rlDgMLDtoOH8bRggJnjJ4LmI7WFOrRdodp1Xdo1STW5qdZPsAaGKBRP9SNG8081Pdp7tzFcHmxxk4reRy7HHzkcC2qkzCN7CKuvjeoFZYwiwYx3I8n4eTXvvQLfLBlY6hLekB1uqNmcoUa1lKLP/7ot8nfuUqdMaxGlsLhHZxTX6GduoUjOKKqw05jl+runE4hTd4AjuAk7foqLlmnTvw0j7797/nk2vt0sGFxOSkclQiFIxTkklwvkd4pEkwE2Fxd4qUXTxMMRfSA7Rl/GaOTo9YoUU/uUUtv43T4KZdqOsRo1XNY5eEw8Rnq5STWo0XqtkFoZ3FHJ8nv3sNSzWGNBigVDLyxBKWNBSyWGlVrD85OUdUW7SYYpVXcI8dwxVwQ8kM7QXb1Ot/9999mS0CAqSofzFfIZuo0ndBlhVfPB2i1HeTSTYqWMp1CgwcHDV6ccPO1/22K1YUch7sp3ThNn5qhlE2yv36I4XZrvEi2Wt0DMbokRru4ilXuUY2qauSyh3KhQ4FhAqzb2dzF1mqTKabcOpFlAAAgAElEQVRJDI+yv7yEU2K0tNnb2lf37+TsOCanhd2dJPFwSD7/9IAsE9/luSXqNInH4+wn08SjQUq5Igd/ecg+/sQ0NpeTzeVVHBYh6Yr/e5qj1B6GXRzcZnVLx+JhfaC7QwmONg557otPkc2tMflLu4S9NRrFCrPdbmJ9vdx+fMSXX+3DH4qzt7aHP+rUiLP0NDu1Bumi2BKs2nMeGx1RovGNW3cVCCSR5MfLm9jtbcbHEvz443U2NjbYOyjwsy8fYzuT5fKdDG/9IwclohKVoFGuc3BYJuIzcZgvaY/x6GhPP+BrrQ4DQ0Nksoc6+MgdpSk2a4yOjKhj/O7NO8S74tjdVjKZPP09CbDZ2N5a5tQTT/H+ty7y0tNx3vidPMVsjbGQgSsSY3Vxk/WCjd/7P/86hfQR26mcKjqHez6dnM7PPdID1c7upupKX/vMy3zrT77DE6dO6qCtWshzeLBNKDHKr/2LH/LZp+Ms7eRwOduU8VHezXLlt3tYuiWTbCuePgf7G0WiA27KG2XMYTvHvPDBZp3futIkaLWws5/mzMwwh+kSiREPV97d4oN7/4GW6wyHd/4Ce93A7PZhtVUpF9NYOmYMp5dKaQu7wFicQ7SNAoboUAtrn0Iy2y2arhFNVbWPboOzHzMl2s5hbEaRdsOOqXmgl3HZwptMTgxHF/XiPtZWhrYktNwRzPK7aBxhDU7TSd0SoZ8+9zqtIo1qCotYWtxxmo44Vild5vYxldboiOklMEBH6k+5ZayeGB17iHY1B/4xjY5LTaFR2MEy+nOQmcMaHKSTTat+1QgMYHHY8Mw8yZMnXuT+fJ7PnO2n1amztJliqDdK5lEK9/Oj9J+apJktsrNzqBHsixc/0pi0HIYLhYLSfsUp7Pf59TAvXVihe0vv0O50kUmlNfHRK4OEo7z+OTnoCwAvGg1qYkC65x6vA6soZY0WW1u7vPzyy1y+cgVTp0W90cLpEdWgoZoj6S6XS3UsVrEZoBcZOYzaHHZVTF2/dkNhSKPDg2zv7hH0ern9YE43lbJVeeqZJ/V7knSCfD/tZp1qvaFE5o7RJplKMj02w87+nl5OT5w5rZ74bKHM0d6+HqZdDieLq6u0WxLj79d+cLdsqO/epbd/QDfQy6sr/Mqv/LJSwZP7GXYu3yfs9rG6uU2kL641JqvTrGC11cVtznz5Obb3DzFJdFC2YILycXtoNKpEowlS6UM8LrfGUUWtNHNshof3H2n3+cnzTynbw2G2KX9B4qi1Slnp5NevXae/f5DUg1XKexn6jw+qz3tzZY9YVxRTu0YuXafoqDN74ZzChW7cvs2xY9PKK7l8/Qrd8QQvvfKC0u6jwajG7a9cvkaxXFSKfrvd0kGAdNetVgdLq8u88vJrekn95PIVTQ8szgtwzK0Hcrf27DMEIn5MkqLzO9RRHYl2sbu1QTgexePzcP/uPeVLiGL08OCIsbFh/d4b9SaJ7i62dnbV0NLX06c/M0l7edxOQmGfdtFlUy9x5nT6kEpDorAejYtKP7xQqeB1eqFTo1RrsLywrIDB4cF+HcCUyjWmpkd595339XIuYDDhGsjFr1ItkS8UiMdjeriWC5Vs1FdWN9hYXWd8YpJMOoXH76JUrmjcPpYQ13tWL3qS+JLXVvoopymCpYUF3dRGIjHlQ9QbZdxOr0aARydGOdjZ5UCsEg43xUJeXwdyprJ7rIyprm9B+9CiKdtc31OKuMTZk8k0K0tr2ol/6qkz9Pf2k8tmSKdTxBJdpI+y7O4eMNDfTzgS5OIHHymcT77PjY0tRidGCIWCaiz49p98T1/3/pCXoNfH6oZYEeLU6m3sduFINBkeHWb+0byCykbHR5h/vExI9F6DQ3zyySf09g3SqItauszpE6fpGejla7/7e0hQXyw7cpEUNWWsq0vfo5LMEQhhNBrR9MGOxKI7TYKRsCYaavU6A71d7CYPMYwOXoefzd0N7XbLMOLMmdNsbu1qAkISQLlsiWq5rNv+vsEBiqWK+stlGRAKhhVwKcO6qgzFmm1MhklTDQIHFYCovH4GBwb15yMD0MWVRVUxWswmVQxLd/q99y4q/EyGoFJhuHX7LqFQWHk9Xrfo5TL4gmFEHCt8BakOCehzdX1VvfRGp8V7737M5PQ4LrsZh9uFxWzn8pXLhMNR5U1IvUpgpFLrkHSVpH8k+i+8noWHC8ycmKRea/N4cZF89ohjx2bI5cuEg34dLt26dUef4XLRFK6CSeDVE6NaFZCqlAzG0qkMLdGX1eXn0MFigVisW5MAUtM5deoUty7f1KWBsHjGx0dZWljB6XNI/pd4LMTqxq4OWcRpf5BMEhfrR1LOOhZNqshGOhKPsra8RjFfZGpmQjfiUpO58vElxiYntPby6P68qtskRSZDP6lZvfjqy7r1X11dY2pijP39pDrqtzY26ZfawvqaDgiOzx7TFMD4xCjZbI5Op62DEdlyC9NlcmpGEzY2u4mdvX16uhKa2BH459baNtV6jcGBAQr5tKpihUsgtcWt9R29LMuzXqogEvdeWlxiYHCAfD6nIFhJRogtRIweD+4/5NjMtKbV7tx7yDNPn+eTjy7ra0buJTKEaQtxHRPxcJRyuUi1XtU0qzynF+YXCfp9DA0OMDf/WAGwMngOBPxYzTaWl1cYHhrgiTMnePBwHrPZpuYVSRbJQEg4LMLKuX9/Thdyr732KgepAzrtNs0OJA+STGl9YJ1gMKKGBpvNyeHBDrOzM/zwaz9hzGelbrdgdps5GQqwUcyxXTTxVK/BV/rrHOBkOC5a6RrLe7Iga9I3HqeczpDoCbG1V+bBtQNeeaOPa9f2GBhyMXGyj53lPKlUDl/IpYYYS9Pg3IUulueL/LtvbPLf/UyI3i47L/xmjtlRN0alooOlqXE/u4dNqhUHb80d8Pj9/5XB809RuX6TutHCGYrp4KGeXqFl92POFqk52phc/co0kXsvrbSqnq3NEo16HnNoho4os1tJOha7JnWlpuLxd1NLPlAFccPwYwt2YxgtGoePaB7codP9Am5vQkF99eU/0vS7LXyWVnYLOmXaDjHpFTGb6powEhV8rbys1VSpXhu+MWyG3Ncf0nIGMDsH6GQXP60YtCwYgSEs2UXwD8pslk5pF4szQFNq7IVrv9GpmwzM1TTttkBDJF+8R8vdhcXiorp3H0d0jLbVI/8a2o4EpnaaZvoe1tDztPLztGt7mLtf0iSA9CdssXN0xAFbOlS9Wsdiw5DcfisD1hDtWoWOxSFpDozqsqpIHN4+OmYPiPStjdK0rc4YtewaHf3gFQeym7Z7mPqDr+HqfYp215u0i3cwuQcw0it06nk63iE6jTSGLQJ1ITpKN6NII7WoIDybs4uWv4dm6i6YBZxgpi7RRl8UqvPgStA6PKITn8RUTn5KoHQGIH8Ls/8kpsKCRuIt0QGamU2d8pjsTlwnj/N/fPHv8H/9+Tz/+9+YYnmjysONDfq73XBY57uf/Asau8sUjyI4EwlKu/P8VTmSdmELV/+LVA/uU02vERz7MvX8DQx7h3LVh6WwhifehTs2RLVmouWKcnj9R3z47lts7qWxulyYrAlmpoZJ9Hh4vLqn0Y9ivUktn8dpMzj+9Hks1QInn/8cTa+Z/N4hLsNOM79EQWCJrh5MiXOw9CMs3hamnp+m0cjQ2HuAp2eQ0soDzDYnroFnKWzewOGxaKdYHq6GdxhrMaMfzhaJvXei1LfuUti6xtgzr2KKhbGEusTpBu6gvo4W33+LH/7gHt//aA2HpYbNY2HvsKFQLLepxFDAyx9czrP02300mmXmH5WIeS3U2jWsDpl0t6hU2xoNlq2fTLdL+Qr9wwMKtZELQCgQJlsoYTc1tR5ylE0TDofUB1vM1Zg6dxJTs8FH712mu8vP5NnzzN29jane1Ajmw0fLukXzBRyi6iWTzlEo1ujqDmJ0rEzMSEQuw8KjeSKhIIPHJtQgYJPLwH6SvuF+FhdXCHjcDE4Nc7STUiCU02FXYnAk1sXa6h6xiJVosJvI37rFL573UGgaHJXqmkaQaN0v/ew53badPn5cAVE/fus9dcZWaxXV8yyvbFDIFpicHGd1fVP1gtLhFuIzLRtf+fLT/Pm7t/kn/+ZDfv6VOE5/iHtzW+TyNbb2DB787iAbuzUyhzme/tyz3PzgDg6TQSjqVb9vppQjFo5rpLVSrGK1Oyhks3QPdOtAw+Oxc5gpqYZzaHxctyGysavni5w8/zTL926Qb5oZC3lJHhb5G9+C0+NukutZio0aQ6Mx3v14h1//lecZ7HZzVGzq15XO2OjYEOurKzqIkA8vAf1EIl3aw6VZY2BwjJ2dNZ574RS/9833+KPvLfLqbIz9YplEwsN7j/J8acTFb/5ClbcfGPRErKTydawCMLU1WdlsMREzcXK6zZu/5WCvnGPCY2Uw6mBuL0MiGiC9lWMz2+Lm0k8ozd0Dn1gsBG7m/P9Yeu/oyNPsPO+pnAOqgAIKKOQcOofpPHnDrHaHXC3XlKhdipYlU7Io2UeiZMokrUNJ50hrU8EiZVsykyguaYbNYcJO6DydpgPQyDlVoaqAyjnZ97b+23N2umdQqPrV9937vs+DPdBDKb+JqbSDyR7C6J6kmV2kYcxiqLdhdJsxptMYrXYKJjsOzziG6jbVvXcwhl/BWEpRt/lolbIYrSYM5gEMthomg4OmJEeSTzHYAqp5MjSl5mTVHn4zPYfT1UPNbtWunrlmwWDO0xAuil3qJjvY3RNU6ylaqRUFpYrmUepOruEvUYrfg+wG5uAM9XwMU/sYzWoSahYamU+xRL4AtQzm0h6ZrJn2kVGKyXWcHf1Yw2fo6TqN12tkqNOHNAwy+RKRvhAHKxlCr0+QLZfIxZJ0dfdRLlc0otg/ILWoHe1TC0V4amxGO7SVSgF/sOO/JnnKlEolpiYmiMWjOOUy02wqiHV7a0cVY+3BF1uX+F4cu8NGuVzTbvb87HOtwchQVPzJGztbHJuY0Kj+9s4uo2OiBLPpplAO+RKH1fpPOk1XR1ArA3/t57+mB66bN+4xMzOh23+JhEtUv13877EoRouFQq5AR0fHC7ZAm09hYDLUEGL7T977kJOnZpTMPH38uJKlZ2ZmiCbiuhGfnhxTbZzEi40mEzKOkM34fuJADzHnXzrJ3Zt3cYgKK5mltZ/WKsH6zi5Oh5XkQRqrRdg2DpxBD+6pIdxOE4exFNuxPabGJ3X7LOmYWDJBX0+vuqjlsN5sVhUsJWmI2MGuGhMiAxGF52XSWaXqC6BwaXUFk8HO1TdeYuW9hxxtx3B3etW5HN8/VFq1y2wl1N0OAS/3ny9xUujsPjezc3O6rR0cGuTRvUeaFJOkmbzesqXq6upWUGGlUWVtaVuVVP3DERL7CTwBL2OjE0qbF9aA2A7kMicHn3PnT3P39l2Nt9udDtZXNnA63QqcEwp5b2+3grIarRfpsDZfkFIlr7F00aCJmlV678KXkGFDV4dAPNNaB8jlC1rdk22oDJFHxobYj8WUhp88TDAyMs7du/f1d+1wulheXGJmZlKrefLfaGy18LR59TLikDSBCXZ3ouRFJWs2K2W/Uirh9biwynLBaNTntyiFhdgu7Ae5wMvzvn9okOdzczoYkb9LlGPCyZFIsBDuReUlRPuWrFRlieKwkD4S88SqQvc6O8I8fvwp5Yoowfx0d0c4jB0QDEuaxUy9WtP3bWdYDqLo4OHc+XP85CcfaYoo2O7T77mWXAzDIQy0lJ4uVPlgu8Tl66qFnHsyp6+XbG2fPX3K57/wGe7eukck0qc9d4GfHSTimu678soVTTM8n5+n1TLRGwlTyGdVcyiXP7fLzbET0+xsb/Pk01lOnz2tr6HwK3p6Ilo/k0G/pETk2bEgF5mzZ/QiL3R1ea3lO1U2oVkxArUFlEMgG2NhDIjJRjb5h0dJZR5ItaO/L4LD7WVrfV0BnaIVFXZNtVHTiL6YQOTfI5Fu+T7/wltvcf3GdXojfaQzRwpN3N+PyqJdhz9b2/tkCynCXT0cJo80gVTKlZk5NaFWhKW1Zewmi9pDatUGfr9XUyjf/d6PefsLb5EtpHE67ZpEOUgmNGp99eolbt68qykVeX6cPXuKaqmq22oBom5vb3Dx8gWtOX364InWX0QnJ69/pVbXIZ+wE8SmE48ealLAZnUpK0CqBTJwkPe/bLUXni9pxSUa3aezs0uNC3IpFe7Bo3uPuXL5ki5W9HPslaHdAU6nU+0O9+4+ors7rKDRhblZpo5NqBZY4HteTxurqyuaZgh3d5M6TGIy25ToLimsiKixc7Kp72L26Zw+S6XO1dkpwGoTG1v7qhZdnF/WdFJ7UExGNTKZDAODw2QPD1lcXGFsapytzXWFuUq9ol6uqjq0kM+rVUYGo3KJLhVLWiGTXrvDalX+QSAUIps7xIhFz4hpUdDKgLA/orVHu82mRjDhyIhtYm97j4YU6WnQ291Dy2RkbzcmH0c1BXSI7tJg0CTCp5/O6cD5wsVzOhyr1mtMT07S3tnG0sKqJoIkNdKsyYWuRHd3H7lSQTkFclGUBYvZbNLPhuhP/R4fj588pb+vn52tPYKhdowGIeWbCIe7uHX7E/r7I/qe7o306EBThlMyANvfiTMyOsrss1kmJif0/SY1HamfjU6O6kCvXi1zIFW++KGmOk4cO6a6TqkCDA72K/RTeE+DAwNadRCgajFf4O7tB5pOkaHfD77zEzoiHiJj/Zj3c8SfLFExwfETQ1TSRe493dGt/lCHhV+bqbJvtLJzUCJXbDDQ7eTMqTA370Tp6xGmWYtUuqB3DlvLzOpWkrGBsDJXhCmysZEiHity7bVu9rcqtLd7KJTTpDMttV0MtWf45sdG/sW9DP02IxPdPozWEttrGQIDPq7fTfHXf+ok//7P/jWp+7dolvOqhneKBvnwrmqcsXjUXFamgU3A6el9mm6p0thpFc205F4SCFLPCRQ3h8E3TuPgA8yu0ReGqOgzbP0XqEZnwerG4h3Wy7uxmVHQcfUoht0fpG5oYjV4aBg9GFx2TE0rtWZR9ZkGg1cHi82iqDnTWKzt1DKbWO1uKjhoVRM0jRWM1mks9qamjlu5WYy2IWoWr7JXGo0XCuDSzkPMbQMYco//Y6tWiGvPpNn00cw+Q8pwxs4RSBdoWXxYLXU9UJps0olvUi81sBiK1L1DtPZuYWk7RcMs0MEc5XKG1u4nGHpfVoJio2HGZO+inlrH5OvTD1GrnsQsnsvcLsbQReymoF5KDfFH1HOHtNpnMAkIUC5KgVNYa7uUDjZwOf1UjB6MxXUwu2h4R0GIkvLJtkiewISh4aCReYo1KEAMM7Xslm537Y4ApdYhVrM4nisKcTPbOzE2jqg7XBjqJjB4QDoUtTxlidM1qtQK89iMXbSsERqtskZAbM4QTVEEVjNYXX7iT96n/6f/Cn/vL/8TfnBrj7ffmmR7L0Fft/Qs99QvfvPe79LIH3IkEZXsKv7IBM1sg5bDj6GwRsPhw+IKgkF6uc+oFTJ4+t7AbCqR392lVlsivxcn0DuFb/QiTWOdpkRBDveV5vvO7/1HEkclgn19jIz3MPtkhWBkUknohZxQ2x0UKiUyqRQzxwc4d+0SHn8Eo80OLheVnTlic9cxu8O4h1+FfIVS8hGyjnSNXMDYyFI8nKdSPMQbiGD0n6Uav03T1IazbYJs4pHAFfA4xA9cweCfVE91vZTDWChAewCqRerJDP7TJ3S7afKFqBnqXBr7PLmyncsX2nj+OEFXt52Q1cE783l+eqzBv/tnEzyfzeCyt1Fs5qnmKjqcsrgk6u+gWExRShuYn1/n4rVjSja9c+MZkd6gPsDlQLA4u6bQl2a1RblewmE3YnW4tbcklRRRFclhaWRMXM9rumXrDIfZXt9SoJ+vPcD6wjoX37imYLv5x3P0CejF7dAIpJDE67USZptTI/Cb61t094ZxeDzkkzncQQ/lbA6by4nX304iuk/6MIXR6aJ/wM/d+wf8D39Y5CunnazH67jcTXajBXaiTX7j772s3bdMtUStUMTd3o7X6eLe3Xu8+ebrlCoFfvDD94VyxOSxKT1o7h3EGR3oxerwQr3Et370mO99usc//qp0SI3c+TShxPZmNs+f/OYYBzsxns5muHpVJs1N4ntJPXTINLmzd0D1QIV0mpZZiLhmkrsxrE63PrzMFgvh3l5ahjrx/RiC+g3Izxjfo5qHocketvbS9Nqbeoj5q9/04zbHOT0e4jBaxOZ0s7iR4G9+9RQD/b3sJ7Lsbu5oCuD86eN6QJHN3fbONmfOnuVH3/s+PZE+jeQajCaMzRee7t/6L++xutdkZtBDy9wkXWiSKdn4hRN5vvYm3Jt10RbIktirM9Ttxe62YK5UMZnq/ONvl1ku+OgPNsjs52nUKpi7HZyJnOD3v3uXb/3H17n49V8hfvsHaiWxux0UUlEsnccgI3H7ACabnVbliJa9CwtWKql1zD4vBkdYu5/N/CJURPnXidXspyoAz73bGN1t1K0umrG72MMXqJo92GsGmiTJbD7CPfGzYCxRK8YxF2LU3R1QqWj6SPp/ZqHSeqaplHaxlWIY7REa5bgSehtWP3YxgFjcSjmuZg8w1hvqtaXloBmcwpJ9+gKyag1RiD3CGp6glT+klXlOre7E2XdCYX6FvVW6X/4iyzfucf7t3+DCSb8esNZXD8kXiwxGOknG09RHOxkZGaDN18b880WyubxehKX680yUfR63bnmcTi/r6yv09fUpKPPJo8e6FZItnDjg5aCRjMf1S2/m+IxeCD+5fZ/pmQmmpqbY2d2hUq5SzBeZOD7K/ONF9g9EUWQnJA7zRlMBSFIReO+d9zl77gzPnz3FYLTicDgYGBsge5hVuJIozA5TWfYO9ujp7NANaCAoYD2BWTa1tlMqVlTfJ9HD7a1d7cFWKnXVLcmBWHSfvmBAe6BCoC5X6wpT29/e1eSCbEuEceBzuYgmYrjsTlw+N067nf3oAaV8UeOhBmOdbLZIuL+L6OoWsftrWDxWBTJNHR/j+dNVskcl3Tb4xjrJ2ywMDIawWdzksyXyuSNiyRR1iTl+8XO6eZMO+rmz55mbfaKJiO5Ir4IGNzd39BkqMFQZLIh6TjZBAqqToWl7m5v5dx/R7nQQr2SRD+XU2CiJVJyjnSQNj43+i8cUPNQsVvVyJNT+9bVVpqX7v3+gv/fjp8/w9NFj7bimjg7p6QkroE5o1iePz+j/fj43r5dAgRsuLm9z/Pgkc4/nGRkfotFoksvmSGeyeqiVYcv27jbTY+PKqxENV3tnJ+ViVWFykgiRoUAikcRmsRHqCrC2ucnwwKhuqjpDXbrlFBVcuKdHf18H0QRu6fsbWjh9br2IbWys0C02E7NT4bBvvP4mP/j+D7VKIGqv1ZU1Bgd6dEMWiyd1Ayg1Mbl4Wa02ioWyXhSLpSLZdEYNPxIZF1e76LxcLlFeFVQjJ11goalvb27QHelhW7agUp5rGQkGfJy7+BK/8zv/GZvFyOfe+hzLy4tUS02y6ZT2lIU1MD4+opoyWQhKAnJ29jmjY6M6eBGnvcSjLQaDpgAkTbEyt0wqm8fjstPT209HKEi+kFIQplSSBIomSxCJSl88f5FnCwtsrq7z87/wNWqVOt/84z9VtaFc1MRtL3USGbLIBeSdH/9EtWGhUJCDZBKvy8XU9JQC/cQU8daXPsd3/uLbHD9+kuXFBe3p26xWVZtZHE7WV1YJd3VrQkfYOtlsQS8mYt0RMFo40sFgX7+aCsTEIMMZ8ZHvHyS0z1xv1PC5fRzsx+gZjBDbe5FwEG9209BieHCQx7NPCPrbaA+GtPKSSabxh9p59OgB3V3d+hq0+fzKLBEg4/7egTIhxGYS6u5QgKakSY6fnCaXyispPnYQZXpqUpMIMgwTK4OwB2T4JrHuVEZo7gLiy1Gp1pQDIRdTSUzI5VMGlItLi/pnhseGeT67wMBADy+/fI0ffv899mO7jAyOcHB4yMLsKqdPT6kmUQacHref+flZ3cpLYmFpeZ2pyTF9f8aTR7r5ltSUy+lTrVukr1e/W0V5GQ534Pa1kc+kGRweIroX0+dpb09EBwCXrlygWMlrrbBRLnPq9CmW11bVyODyOLCazDybW2Rqclw33jKYkSi7zW5VbaScQ588eUJHe1CNC2IRkb93dDSitapCoaqdfIfHSbPWwGwz6uBEEj1ej4MH9z/Vn29re0sHV2+8+TI/ee+WphaknrC+uq6fo55IN4fJOOl0VtMDAwODmiSQuoVchGP7MRWeif6Zeo1ns3MKOPT5/eSyWf33nT9/jrW1dQ7jMuysEOnuInoQe6F39Pm0HrIb28VucrK1t63JGmHYyJB4dW1VP+9nz57l9p07fP5zn+XhgwdaUdqPRjXhIsknSVG89upV5p+v6YBSqo5uj5OOYJtC/iLhsML9tja2uHj5PCazlZWFBR3CyRZalk6fPpnl3LnTOqiKRQU2bCIUDpLJlPTyK5+Bw3gWk8lAtVbTZ5HJ1KSUr+L0y+vqUpjuiZkT3Lx1R2tbXrdLU2mtekv5DufOnuLevU+wOlxMyPA6nmRn74CR4QGK+Zwm78I9Qd54/bP8xZ/+BW6/ne7QIO39bSw8WyK9GqMZlee2l7gswIwmxsd6OTjMc38pwe99yUxbl4OlrTKDfe161sgVBYxs1CXUzQ/XOTnTqyT+jdUSr74V4e7HG4yN96gm0NVhZeHRAT2hDgxO6fiLftXA1EyIB/d26HSYWT6q8E9vGxjqcOGzZtnZadDR7qBNgJW5DHNzWaLP/hccg59l4Z1fw2M7TVv3aSpGsd3Ula5vbrYw+yeoV4sYyls0TDaM7jC1jTsYnQEs3kEqpR3VOjf8p3CkHmsFwtB5SuuJ9fQmjZYLo1z08zsYZaHjm8DcTFNOPcfaMtEKTFPLJTHUFsAxRc3mwS6U+2zpOvAAACAASURBVHKSVq1K0+XFWLdLlox6cYtSLoXPF6LS/gqt1G0cxg4d0FWsHgzFKEZrN41KgroM4LFrar7ln4TSCmZcGDKP/0OrKs7pcgXD0DmMdR+twg7NcgK8vbTqZZp7T3D2v0S1FqNxMI+x4yUFlJhLUerOzhfTEUNL1WASsW0mboB7RKOmdZMBe2iaWvxTTL7jGJ1OatFnNBplzO3jWEtH1MvLekgWnkCj6sdhy1ApCc0/DJXEi8t66DLNcopmq4qxlsVckeGEVf2Wosoy+4fB6KWVXddNV9PhxlA1YWpt0conMPov0rK6KeX3MDcyqldoJJZwBIYoHTzDFOqnko7hNMrloUFdKI2+41BM0WjlsOSy1AwSF56mWS5jKB5gtIYwmwu0MofYXvlr/Og3f5lf+NXrTPbU6OnqYLjLyvONPKliio+f/BmV56uk8yUCHhuZfA1nYJTK6ncx+SO6iSutvEfF7sI3eBVTNqcKwlIpi8nuwDXwBsXDDWqbP6FWOcLcOUCg+wKl5DL+kWMYgj5Wb94jlcyRXH/Mo4fPaLS89A53YzVYCPW1Y3VYiO7FmX34HLvDqA/BkcEQ46cvc/qVt7FUkpTSW3oBNNSKGB39GFoVDvdu4e95U6E+4g/H0Y7ZG1FKroU8R9kCHU4b1aaVUuEIo6sNW6uqmz7MAcqxe5g6T2F2tbO3+j5trgiNWh6DK0L42hd59F9+m7Nf+79547RVlYO7RwaG+2A05Odb726z+8fHFTT2/PmO0sRlIiaAn8yREKrtBMNSTago+dniNNPW3kGjVqdcLrK/s89L1y6zu7tPo1KhVi0zfeYc1fwhqXwOgwykGi16R4Z4cvuZThXbQgEOtveZOjXD+sIi2UL5hcapVqFFXfUuK4tbxOIJTp0/QeYwTi5bxCE/sE1iyR695AtkzB3wUyuWNCIWDnXq4bizO4TJABtru7R5fIyd6OPew3l+5ds+jtL79HS0MRr00LLluftpmV//G2fwd3aysi29swSD4R6CbX4+uHmLsZEJurtCYDPR3SbwOBsff/ABJotDtxKf3L3PV778Re7ee8Kv/4eP+WtfGOL5Uoqw30Kk08oHN3f5/X80yPDlIeaur5AvZBWA5fQGKGUTdIR7yGfyqvuSuHJnKKT9YYn6V5om8omEbrmEdNzT20G1XMXu8JDJ5BifGFYoSaNY5CCdpdPY4OaDBH/3PSsnu434LE4mprv48x88JhTy8jf+8hXMdpNuInu7e9nZ29ULU0f7C6CWaJOmp4+zs7+tHWWBt+3sbdHfM8Ly8jN+cH2HYqXE+FCIhdVd1ZjN7Vf4N3/JzGdOuPn4boH+QTOJwwomIekbG0yOurDnTLz521kuR8w6DHAFBdBioGEoUiiZ2No64sbm96kvzVPNr2G2jpAtF7C5PRgKWeq5dayeEA3PDNXYB5j9xzHbArTqUkfppJCex+YZw5hZoSwrgs7TWApRjNUoDYsfS2Ccqmyv0nFqzTjYu2jkRXNmonq0AM02WlYLjsHP0Uo9pFWpYw72q1bI2DRQSszi7L2q0Jhm9ZCGpVM3YZZ8jGotq5Usi6OLugwQghM0xPIiXS3JW+V3MXRdxdrI0TBaaKYWsHqGaTiGsBDTQUUmvYXN76OSbdF+9hK/9au/yi/9q3f5xS/1sZupaoxxaXYFqia6Brso9vipFEs47V52djbp7x9UD/Mrr77MysqKRswdsrk9OFKf8/raGhMT49oBlo2QbOFkEylxYB0meX0srixy7eWXNTJ748ZN5V3s7+0TDLXR0dGlkW2HzUo6VWBzY10PkbKxNJsN6oC/eOkS/kA7/+G3f5vPfvZNVlbW6R/oIxqL0h5o18Ob+KyT8RRvfemz+oW9tLimFwYZMMgB7NHDhxhMZr1UCoxN6jQSY5eepqSfJBUglymv08NRWswHIzz99DFnz5/jKCcQH/GDmCiWRAs2wVEyod3UKy+/qkMIeYZIPSiXyWg/u3Ogg1KqRuzuPC6PWSnjoj2ULrts8f2SohuLYPDYOYrG6OsbxGYxKQzqwrUr3L5+i/ZQAKvRRKnRpFwsKxyqq70Nk8nO1voax8/M8NEH14lEInIWprMnqLA22TSHOrvYnV9m5dEq4TY3beF2/TzOPVumLejCY7XjneijaGwQ6erRw6IAV4VULrDEOg1NE4i14snz54yMyKWkrJecXC7P4uKSUvt7erv46MOb2j+12Rw43DaNPK+urKhdQTR4kjjY29tRa4jUnarlMi6Xk43tTc6fOstebI94/JBctqT1isHhAd2mL66sqov+9MnTzD9fwO2209/fqzF8iZwPDo3QHe7UYZJ2kK1m2rxtxA/2VEvY1duN3+3n3r37GEyixQqpOvD48WMsLa2pYaKvt1uBaBvr26qDlMrI3v4+Q0PDBNvatNIhQynlyreaGp2XIYG8t4R1sbO3Q8Dbrs+93T357zDqpV2qMs2WQZMJQ8OD3Pj4jm77TAYDh6lD9bDLe0h63zKslt7t5uYWNz66y+TUKMPDA8w9nycU6FBNoFiLKuWG+ukl1SLphbWlFQZHRlUBXZMuc72iCk6pkAnc0tUmZ6YiE6OTrK2vUWtJnLpLgXMWk1OBhJcuXFIo7v7enpoHDg/TDAz2aExbNoNOl5tyrUwpW6SzWz5rXt1cSh85fhjlwktXSCYP2VxbU4CYAAXzuQIzxyY0qfHhBx/TP9SrEDr5LEplSHrMG5trCoOU11q+g7bWN3j5tWtEo3Gl2ZtsRv1npf4n4D+JaB/I4M0ZAFODva1tVfeOiypxaU2BuTKcEjCp1CquX/9Eh40d7X7yxQI+1wtrw/DoOMVcBqvbTnQ3wf7+Hj/zMz+lXA8Zwr/95S+ztDKv8EJJmDx69Ejj+lItkgqADBelLy5GAP0sm6V+Y8JuNrO7l8DpsuGS/rcJCvmCJj+EeSGX+Io8Z/Jlwj1deP1u/F4f+/sxrSgdxBL6mevq6CK2u4cn0KaAXKHiP52dY3BgBJOppdrCg0RCBxrxvQMFo0nVQSLjMmwXe8hR5lBd81KhmH36nPGpcVweD3du3OLaK69wlEwqCK7ZqunASfgQWzs7qgn86le+yjf+1W/SGeni2uWr/OT9H6o6r7unjz/4vT/ii29/ke2dLe3Vz8xMadVFWBwH0QOuXLuk3xnyvpfPjEHel826DpLPnD+jn385Q21urPK3/ubf4vf/4JsYzU3lXMhAxePy6XtbFjISkZbPxLPZWdUcyu9GXlRhGS2vr+oQWC7IfZFetbZ8+ug5Fy+e5/79B/h8LtUELi2sq5axfyBC5iilnIXDVEqXisVihVQmp4mZ4cFhVlZX6OuP6M/V1RXR5OrW9h6XLl9SG0I6ldYL/d7+AWPDgy/I+U67mgyMppYmyvajMriv4/S4cIuxpCpmkax+X+ZyKd3Em21WIj3dVAsldoRbIHDDoJ/4UZpSLs8X3/4SP/jhDxgbH9Zq1HvvfKDJi0Q8hqySJe1Tqxa59+BTpicl5WZTC1mlVKNDGAiLK5riFI7GwvyKJoEuX77Mk6ePiUWjXL50VYdbAn3u7e1iayeq71WpEolFbnx4SC0lG1u79A12Y6nXyczv4TGZadrQQbN8D4r55fpWkru/1IHH6WRzv0QDB/VygWrLgLFe0rSXDOB7h/u4deOp/uzdPV5ia1n6hxz86McHHH/Jw5kZAQ+WtXJ95/YBkwNdREZMzK6neOulXqzWOj/7v0fZyFb53AkX6XKDxZ0qZyc8rGymuLFc42tvhvmdd9+l8PC/YGuFKTvAkItLc1Br4zhMkD+gYXNgDUxDPqPpqGZ5FWx9tPzTGI9WabWSYO+kVS4p7b/RtNIsZTG4vdTrBmyVAxrudoy4qReK2HwW6rkiVoNwV6Lg9mOtFKh7z9I4vIvF5cdg7VQmnqGRpOUJY3OOUsvMYuo8jjG9RWv7u9RCb2AKnsS08tuUjU7oeRtrZR+Dc5hGfgGjtYrB1IOpWaUm++5CAUPq/b/TMjuCGDx+6nUvxlaORuwx5vA0laYdm4CsWhYF1Zg8g1iNRWrxp7S8pzFSVq9nKfdclXnmcp16fgVj9zmahgDm/FOMQvxPbGPM7mPomsJkdmGu7FA1ChyrQA2ndiPEZ2h1B2gc3adWiWJue1X7YfnoXayuKcxuO+XEIoSvYK1EMdSr1H19GHM72vcXAAO+cVrZZawdx6kWUy9qDY5eDBwq3d8oQD9PN42yAZolmvUSDaeD2ux3sM78LPXDp1gaBmqOEKZaFaO3n5bdTT2zoeRqs9FPS+Lk9jaqhQ2sNQOtjrOk196n59oX+ZNf+Qf84n9a4h/+3BQrG4e0+Z08mttgZR329n+T+nqUXLyGbWCESnoXi9WI1eamZmzDUD6isfU+dc8ozvAItVYLY2GPQqGCy9qgbu4ClxuryURDBPTZTVqNNPmjKo6+GdpcHZi8NlqhGQ6efYDFVMVOldlny6xtrGIy+Kjm5fLZpyyAvpERVXiY//+Y5wfvfciYAKJ62jg5fQLv4CDtXXZw9FKOrlMv7lCjE4utidhB65UyzXIJR3iMUnyFfDxJMDJIoZjAaPRgDfZREzlEZZdKfp9ay4vRaqO8v07b+Gn8PcMUo1FS0Qe0953AdmyEX//6r/Nvv7nET70yiKeW4HmyxORAP3/y7j7f+0Yv50YdPHkelcAjpVyTgbEOckd5Vhdl0+7DaLJSzhcwuBwMjw5pl99Ig+2NLbwd7Qr+yR7EdVItkbKyRMR7e3QQJQcWm9NBf/8QN9+7QaQ/wPiJ08w9fqaajukTJ4jubHOYOlIqr0Synjx5rsC76XMzVKVCYTJjsFu16y1KwLJ8MXR26RdVR1tQHbvyhWCzOznaTyitOtTfyfxsgqEpAwGfn9f/4Q4tq4M2iwy6bAR8Dm4u5Pirr3Ty8z/7Ft9+5w5+eb/Wq4yPDZHK1VhcmqerM6jamr/48+9w5dIVYgc7ukESvdCHH3zCG2+e1+n8L/7L73JiwIrN7CbirdHd087v/cEc3/+tftpDo7z3vbtceXmUYk1iyXXyBymcHUEyqX1sJtHs5HDIQ7BlwuqxcZQ41I5iIV+kM9JBOV3Ww9DwxAg7G9vEdo4IdflVDbgdzXFxysfvvb/Lv33i4a8c8/HOo0NeOxdmYyNGsmLhzfNh+nu7OThI65ZHnMnpVEyp3fHkoWq6jh0/xdrmqsZKU6mcVngGR7o5fnKEf/C//hGVWotw0Mr8aoarl8f5zx/G+O7fqnI+4uUHszmmulzkqy1yxQqeZo2+TiP//CMriykLYXuOhMnH6YCR9WSey/0d/Os/W+HX/t45/vb/9n9y+ODPlaBrdY3QrB3hdASoVtepZIoY7R4IjGIq5jFUE9RT+zRaLZzdJygbK5hLJhqZh7TMXTSsbqzeIOZKnXozRq2Yw+ESuIuLQk2AqCbM9RKGQD+NwjqV+BKezleo5TdpupyY7IPUEg90emxoFcHppll2Yiqu6WWUwCC1YgZyzzG5B6gcHWFt68LQMlO3ejEUNjDYejBUZSh2RMPowtKQvl9dkzkyaS63HNi7TlHPii5N/LaH5PfShF97mV/+G/+Cf/P/PuPL58PkWg3a2nzk0wWePd3n+KvHiYoFoVDFabPz8meu8s73f4TRbGPq+BSxnagOBv0BH4WcxFDdGg+dnJ7STqQAiA7iB9ppzmXlc9BkfHRCdaySzBkbnSQRlwPgJlaLRenxDx8+woSJq69c4fnsc72EOF1O7VxLikWGdmK5MRptSnqXWOvCwoJGi+Uyv762ydjYsG4/mxh0ay2RzlKhwMjoGDtb+8oNkAF3V6Sbnc0Nzpw+qTH1hYU1pYh7JEVmMmjMeG9rh2RatqhdNGpNCpUi+WKJ6YkJ7ZnK99rc82Ui/Z3qQ5feozjJhTQe6u6lUMgpNdXe7sFVq/H4e3f07w/0BskcpvC1BSgVC+xuJnBPhgkNdXNycorrH9zmKJfBYjKrn71YymnlyO/z6YZ9eXGFz771hm5RHz14zMBAr7rexaEtNHWBJPT19vLt73yXmWOTjMsl9DDByo156g1Jyhj1ci51EnlNG4UylrEeQpEONle29HkqAwKB9cll1+KwaPx2dHhQ+8Yryj5At3HyPpWBaKlaZGNtSy8a0q2V7vjy0prCrUbGB/E43cRi4q9uqpIu1NGh5gdhkdz4+CaBYFDBU59/6wt884/+WGOxkgb6/vffUR2qQM/u3rmjF+PRkRGtS4VCIewuK5HuEB9+dAdDvUVXf4ihyKCyBW5ev8PwcB/Tx47x0UcfUymWOXbyJCUxt+RzHB7lOHZskvsPHmp6QpIdYlmw2aysLq/pgEHI2B6Pj2ePn/DS+TPaXxYmgwD95HWQlItcWARyJ153iZ/Xyg1297YYGOxXuN6ZM6e1JnAQP1SYrXR5p46Nawd9dWlFNYwSfpSOtSSufvyj9zQ+Ld91+Xxaqwry547SRSLdHYR7wiw8X9DLtgC80okko+NjSpVfnl9U3sroxBClQplW3cD9B5/y5a+8zSd37mp/WbTF8lx22708mXus1RLxYsv2VNSDgUBILwFra1s6CBkeFtjbNiMj/XpJbQ91s7A4S2dA3vdO7VELU2F9a0td5GdOntCEmGzVJTHz6iuXePj4CS63i7WVTb38nz57SlWDpXKOSG8/fp8wG1Z59bVXuXXrJqODoxxlj9jb3aezq1s73IN9PYyOTfL40RPder/62usaZV/fkPh1TQdSMnyRyPzUxKQS2iXtKcODo7Qo6kY1WTO/uEBnR4d+38l22+F2aypNuv0erwu71UW1XlKo6fz8PFaLjWDQp7A6UYVKElEGlZJ4UvZFW0Chhzev3+TilSvUixUePnum3Kb+vh4e3H9Iu6RPLFaFiwrJPhAI8OYbr/GHf/CHmqASxpb8feVSQTvHMhjq7e3H43Xo50meU1IhiMUEnGvTbfHjuUWtXQm7RIZun3zykIGBiF7w15ZX6B0a1OWOWBPEBBLfj5Mv5JTGLwaG8YkxPv7oBr2RiC4ENnZ3oV4lJIDUakGhgDu7cfXPDw0MakdckhNS2zl75hira+vaXRcaf7AtpEmk5OGR6pOtdgvlQpVsIcvlixe5dfOuvpd6eno499IpfvC97xIMhpU1kD3KKJhZlhHyZ7O5opLk5fmyubnLzNQY6XSOcq2kaTSpkm3v7Gjip7+3XwfJ46MDeiaTi60MDiqFiqaADGYjGytrCv4bGxlVm4NUQUIdnSwtLWpF5dGDRwoQFMtKV3cHsf24PidFoecRwOnmulYkEkkBH3YTbAtylM3ogFVqGjJYSCbS+ruKxuP4XH6i0Zhe/F9+5RLLq+s8n1/SpJmoB7sj3SRj8f9qzCgol6ImtdqWieMnJnELS2dzm43NTa0OSbJo6tiYptWOHzvB4VGK9jY/n9x/qO+vnt5etT3kS2UcFpumHpaWF/T7uTMU1iqeWCLcPhdeZ4DD9KEyeQ7246pXTCWSTExP4HL52NrYwGITHbgMFjuJ7e0RinQR39tnaGCE9373h/S4HYQGBXxYYzOW4NqZHr71KM2/+ZyPz0/BraU6jVqJ9g4XTUnPORwcpTIszmZ59bPdGFsOltcStHUaFJjZFXIyNxdl8XmCUKeH/mEzjZKTbLaFw9YgVSgyMRBkNlngXGeVfNrA5X97xMnRNsymMs1SSxMRfpuXQHuVH3y0z/7BH2Mq28lufUTLEJRTMNbABK1yjVo2quwdrGGqyQMcHe1U0tuYGjGM5g6awTEaqV0oFTB7e2imZbF8VXXONZMZp9YtDzT5brF7MJbzFFb+DOPoW9gDl2k007QKuzgMPilWU2vkMbSamBxWkNRm06yprqakQesGLLUyDVcYgzFLo2HEZBGOV4HK3l1snZextI9T3fkxtmqRqrCh+t6kZfBTTz2gXjPg9HdjyNz9p62yqOsCgzRSGxiqexiC5zFYbViKuzRx6MaVo+dYI1epVg00M+tgt2GW3nzFpsRBo9NHyyzTgCxNgxmTLaw6rJZVQFk1IQPSMDWpH61jaVUxtfWqdsqY36flHaDpDCE/XmX7gf5/Zt8EtZXvqPbA2vM6uUQUW+EjWqHzWK0jlCoJjZSbPB0YihmaAmFw91Cr7WEwd2CqxKgXd7F1vkm5ta8dPUPFgiG1RNXe0o2Y2doDyTkMgQjY26hUnVgtVWrVOM2D+xil328M0GrWMFgskN2hKdF1GQyQwpCKQs8rNHbn8Fy7xPe/8Zv8j/9+li+ccnBvucDAkJXkZoFY0c7ck1+jEm1SLTbB5qJR3qDVKmDKVzD0HsPk6KTZKGJqGMh9+ruYOkdx9H0GYyVDs5zDUK5RyT7G3nEOQ1sPmZX72IMNrAY/zVqNQ1HshMVPG8Rgs2NuWjHbQtA6oFIz8uTudQqZJFube5jwYWxz8PTBMm994RpmSwOTo417t9+ju2+I1ceLlIo5vv73/z6Tr38BRIfXjFJKlUjNPsYf9FO2GGmIg9UexNA4oF4xYLYJUyGD0dEDppp+iTuEjO4PUonvU9y/i6vrGvlyAUt9C4e9m2S6xNDZKYrNDJMn/iFn+uycGmvjg7kaqWxc+8d/900nv/gZG87wcVY3dzg6km1zGFNDIkFR+kakC7VDs97i2Okpspkj1U5JDFOAEl1dYWIHMYpHZUZOjDE/t4Db6cbhNJNSgJRs6+Ocu/Yqj27c0Mu5v7ebclosBHXyxbKCgMSLLD5n8eYKRdkb9CmVfGtthy6pF4iCrCYaSIu+Z+RL0OmwaDe1abZhw0Ds6IhWVRzPLvINK9nkEVPnenl6a4+v/9YeQ+MhEjv7uIJeulwmHi3l+Y2/8wqjw2H+4tvX6Rvo1R6f3xdgcX6ecqnK6Ngwdpeb+bk5jW1NH5+g1ZDxR4Ol9WU6/DIsKfI7P3rChVNBTEVwSEyoVlAn9q/+LPQNHOPZowUs5qayNhIHSfxeN4H2DkqlDC6Lk0KthM1kxOX2asVBXOAefxt1m4nB/gh7G3s0qeAPtlEt1ojvJ1/0o20SP0xizOR5FnfwP79b4Vp/i1gSjo13MbtyqGyHf/drP8PmWlTj4n/+re8RCrbr1id1lNB/z4mZKVXtiG5KOrvSI5aed3tniOTOLj/6NEa1WKcj4MdgburF5vZqlWf/pJ32DjN//OMDLk45aJmcjIw0aeWK/LMfVfmT2zV+/oqbRN2Ky+Ym0hfg4bNNPIY6t+ezLOzdwZreJL3/GKt9nHIhRsssfX0DhuwRBv8YGI8wpZ9gtIxQt3vVI43bSmPjBgZXJ5bgGaq5DR2YykO91RLacRaDoxPr4UNqnRcx2tqgWsJS2qVizNGyTWA3B5T63/KEoJyiYbFS2XuEIzyKxT1I5XATq7uLYjaKzeHFLBcls4V62Uijvq/ME7OnXQQVNNJrGAp7NIt5rCNfpXg4i8Pip1FLaPXIaBPOS+kF2DW9gCFyjnrVgctnppjYpCpAxL/0Gu2Br9Djg1dOD/Hx402iiSovzQgbxkTn2VGOTCYGJCK5s6swHOknSgXi9t27/Ld//Ws8X1xgf/dA4UcC9hOoVDqbVrCf8CVk+y7R6WOnpjXBI8oO2bQcHR7ollpi8hKj3tjeoKuzG6fdpuqmkydOKIG+UCpo9FfgTsI3sZjNRHp7SCZksCBO5jmGBuTg59DDksAzpcccO9hXNdjD+4/p6enE6nAw9/g53b29GpWUzZl0iMXoIJf1cDisLnmBAnaGgrop2dze0ZikXHwF7mUwmRgfHWF9a5NsJqMaQ7vdwUDfMAfJmG6So/sxVWcKhC6RPKRSKDA6OfaCpp2McvRwC5vXQaFaw+8Rv7uosdJ47W7aT45Ss9bJpYv0hrp5uvCUr37lK3rRW9ncxmmxMjw+pFHMvoGIXvBkoyeda6fDxV5sh8H+AU1TtDCr5kyUusWGRJNbuKsGrftIHN7ndBJs97K2H9Pvo8hQH0cmaJpq9A0Msbmyrl39ULidrdUtxmcmdOssFTVxp4u+b2x4jI2NNe2hi5u6WquQOEzqpX3p+Ronz5ziyexzLMaWDijkfXCQOGB67IW6cW5uQaP0o2ND9A/28/jxE7KpNMGOTprVKha7VWGTUpeQDrZcPk6fO6PbaUmDSG1XNn8SSfe4Xfqs34lGGRsb5dH9h1oBk26xKCFFbXXq9HEWF1a0+tAw1tT97vZ52drcxqT1gbAyDp48muPilfOaMBNFl7yetUZLI8ZSWVhYXFStXbsCI1v6M0jvXwbX4o4X4rtsXKU7Lsalzo4Ay6uyTTIqrVkI9F9463PcvnGDjq4uVYwJrV8GsMvLS5w6cYJUNoPX6cPb5mF9c4PPf+Yz/Pidd/Xy3dcTIhTp1BiypC/aAyFu3LpOd0+EjkAQl8uuFbjHj+Z0W9jV3a4JkguXL2rf/Nb1+1y+9JKm3g6PDmnzufn6136OH/3ofVw+Fx2Bdj76+JZyEYRgLxfVzfV13XR3dbXjkzrQwhImQwO706OQz7qhymDPkNbvJP4slxahvff29VESyK2hpZHsidFxvQiI0i8RjWm1RzbH8XiSje11Hcq/gIk6NKEjSb1gIKQDw+ljk2ysrrN/ENPh+fmXLnHnk0/UdiAcDHlGXXr5Ivdu36cg50ksSoKvSo0uHqMj1Emb28MnD+4pzNHf7teLfUX/+6Rz3alk9Pc/+JChoX5GBkb4/vd/qNvTja1tWvUqY5MTHB4mMFvsWsWQi9nG2g7h3jBS3dbPfTyp54dgIMjO7jYjQ8PkSjl8njYePLxHb6Sfc+fP8vFH12lrczI6OslHH91UGLBALaVGIMYcsWd4JULfEs97QWGbw0PD2kmXZEejVdNBjdQD5Ge8+MpF1lc39VLbrBm0Q54r5hjsG+CTB/fx+tw4rHYFli6trjI40KtqwEQyqcPC5EGcju5uspk0BUl4RDqVHVArlTl+6hR3bn/CsRMz7IpNqVxU/9iFdAAAIABJREFUoN7W+vaL91g4xINPHtA/NMDi3LwCZofHxvA6nXz729/jM599TVMP8r0gCc9cUejwViYnJ/jwg5vKc5HP8tlTp0llU0SjB4S7QuRyYk2QM4MLm9NK/qigG+xHTx6yuxvl85//vCYVpAf/02+/zZ9+6890wHXx0hV++P0fahqq2qjqoFm0xmKyEDCeQPEUAFet4A/48Xjt+Lxt3Lkt+s1J0smU6h5npo+xuLCgzwGpREldqFjKK3BPIICSQqqU6xTLOR1CS9In6A/qezebTZMXa0WzqZYNr8en52ir2aQwSfm91hpNfX6KSntkUp6hTW7cuMHVKy+p8UVUhz2hMA+fPNTkgJyjJK0mqTJhMzx88JDz5y4Qj0X1bJZO5XSpJFWfQlmsKm5sLjt+f0CXYMI2yaYLdIbbeeXVy6r0FZ7M5saOnotNJjOT06OkEkcsLa8oBFPMUy9dPMbH1z+he2SU3IPnZHbimG0NPO0+bCYHA74q9/ZrtFIpvvG6nYrDqQOtfNZI9CBNy2hm5pibVt1MOl0iEmrnMFXm2GknH78rCZQS0zMhDPYKy7NZOnpcTIx38e0/ecbpa2G6O4L86XeeMRB2MBCxc/bsEP/o9zf4T5+k+dJMgEbRDNYKR1kD7Z46K2sFvvFrb/CZ//5vkn8mpjgfLZOJVrWMwXikAzpT+CzmUobi9rdwDv0cRoebvPDlWhbMtRxmW5WW9Th1hwV23gV3BEf7OJWmFaKPMbr9NNqGae5ex1BKUDG4sQbGMHkiLyL7YjQrZzG7ezHkN2m5Ol+A57PrmO1ODI5RWkfPqFQS2N0DZPfuYo+cxVzOYiwkaQpsuvMKeN0YE3dp4lf7W8kaxGqWxvwOBqme2oyaIDVkHv4frWY9AwIRMBoR9bPQjWVVUt1/qg87oec3CzlMsoEOjmAwuSnEl9RRaG0b1+5rs54AuSxXjvSQZrM09EDUcI1o1LWSSSi0qCWqv3pDL+sG6liyC1RtEYzyz4uiUDZYDjvV3BFmk0PJxvX6FvaOy1SFlN+IYmzklCVgtwYoGS3YTE3d8BjMorZqUjMLD9MNqTkwVjGWGxg7r1Kz1GnG57C5e/Sw0DTIBc+CwdVHvbBIK5XE7O+mYbYqPVviuYZyhobEN6wyqSzTqOZw+ENU6wVaFRsud5VCapXAhV9h/u7/xczrv8kvfXmaVHyfdN7M8HiQ9364yHzqj6mtJUgtPcMzdp7CwcYLRWH+xcGvWpZLQQECE5iFHF4t4BACuCQXrEkOlx/jCE3j6hilltzBEZwgV1qnmVhTBaKzq5dapcHh3Ht0jl6hYcrQzDdwdwZomnqwGKtUSykK9RabTx6QOErx5NM5Pvv2l7n+zg9p7+mh0y8KCzflSpLd7SyFfIp0IY/H38616SEufP1v0zQWMBj9NGPb5I9i2Lomya3doW534yvsUpPaQNcM5ZVvQ+AktWoGZzVPo2XF1RumWWnRylYxuLKqcrEGIzisXowDQ/zUhZ/j0XaWgFkqCx6stSr31428PVbiP//6GLc+SZCulhmLyGEySns4yMFenKljU9i8TmYfPaMz3KFQsNhOnInpPmoVE8lYAl/Yj7FhUD/tyPikVhuK6Sw2mwdsZuZnF/TifHRwqN3SwbERWhUjJnsDqgbMdoMqbqTbLTFai8NMKCQP76wOInZ29/EGvDpYECqrRPMCQpte2SHYHWBlaYOhgR5cbW0cRg9oGasK4zHLZLfHAWYLE//Np3R0eznd72J9P8XMgINvfXLEP//v3uDs6V5WdzOYGkbmFufxtrVx7doF7t9+qL08p8tDpLuX+/fvK2xHNmXJbB5jq86ZE+Pcf7DE//PDeUYDTbxeM0aLi6fLMVxWJ3/2yx6O9uq4+0Xj0snG82WMnjYMtYK6rm1uLxvL60yfmCG+vU8hV6U9IpfOLAexFxv/IznQNWo4bX4sVojvRuka6KJlsNHZ62fu3joBY5qbm1Z+43070x1ZnGaPdqxiiQpOQ4N//o++xG6igMvp0MGDxMXFsOBwOfQAtLTwHKPJogAdIaRHusL4Ax3ado1G1/nG7z5gsNPHYSZL34CP2F6R+d0i7/1SELepxFraQvyowFhHi/OfD/Pn3y3xi39U5je+3s+9xwvcXqxzpc+Kp8PFX3ptnF/4pzf5T7/xWb7wy98g9ewB9uwKhYZLyKXUbA4C7lFKzUMoVzHbg1RSOxjcLkyNDE1TAKnZN4pRDJ4xcPlo7bxLvenAFjpHM7dKrZzH6gpTy67QdIQxurqwlPaoN0oYrBFMxVmQB34pSc0TwtQ0Y8jv0iwksPW9Rqmyj6nRxGS10hLWhthd7e2Yq+IRkEm1gFeb1ORCX5U6hYWaYxAzJSrZOFZ/FyaTiUpiC3PkEvX4Kk1K2KyiY/JQo6Hqv0LtAIt5isDEKNXSHLbu/4nXJzx0+YzslswcZXK4zU0OU1XG3zqHO9jG0qfLDEwMceeju9qVnZqZ1O3S5LFJHj94zImTJ3nn3fd5/bVX2VjfULKzsAFScplrC7AfjRFq91OsvEgSpLMFBS6JnUa2KrKJlM395OQIhWKeRDQNlhqVQl35AOtba9rt1UiykoR7WF1eYXhsiE8fPWFyYhKXUK2fzvLSS+coV0ukkqLFiqt+Uio6MhyL7m0TGexjc2NXD8yy+RZQ38yJaQ72onpJlyjymVNnyGdzCnkamxxW5dTtG7ewSbRxa1873BK9thiMDI5OsLj49AUsLJXUIUdnZ1gHImJBGB4d0Xh6b38X6f0Y8+/OMjLTp25o8Ulb7E5V0dldNlJuG/0DYbY2oro9l4ioDJjaAz4cLjeZo5y+FeQAKN3Tvc0d6o0WJ04fI3mQ1IuDwWpmaVE84HLZrHHh4gV6IgPcuHGLxmYUl8NKLlWkLB7ieg2L20Gt2KBzqIvhqyf02WYyvriEba3va41KVIcOr1PVgCNDQ8zOzqrJQ4jr29s7Ct2qlkvs7e3xxufexGY28tFHt5meGlNV29TEuNZ58rk0tWYLn8ur7mqv108gIBDIOgWpEwT8qkKVvq6QrEOdIT748IZG7OWSHN1LMD45qtt5SRZcuHSW6x/dpbcnrAdpjHUdhnh9QVZWpG7T5OrLl3UD//jhHBcundFL4M1bNzTVcOHyBZbm5+kf7GNrfY90KsVLF84STyaI7kd1I7q5tcmVK1d57733uXj5kpLhZeMrKQgBMx4/dVJrKb6Am9RhVgdWZrNFa21iOxADhWy2RXt25YosPIyks0Vl6kgdUjq7k1PTGo0Wra28b+KHSd3YjY9PUCoWtaIpve7hwRFlZ8jG3WKxkTyMI242gWTK5fXoIIXJ1sJucXLz9kOOnxgjc5RR6KTEz8V+c+3VqywvrqqdoFqrMzE9yebqGsH2DjbWNzWJMDgwpEOspdUFfD4/w4MD7GzuK0dDOAYS0ZdKwc/85Z/m3sOH7G7taNxYUjd3bt/n4sWXtLoim3vZKs7OzjMzPUYyIS5uG4VSXmF2kqZIZ/P6uq8trXHixDFV6354/RbnT58ifpjQmoloyaIH+0xOjOln6eWXXyadzZE8jFLIVLVmIfT7XCGP02nTmlIxl2drd5fe/l711ccOkgpIFDXf8TMn2VjdxOP36vu3IxCgvb2DTz65r3R9qbFsbQsQsMHg8CCdXe1YrU4+fP8nyhCSbb88W5ry+ZVLpIBLZyZ58viZvj9EVSqDQXm9JUXndDg5fvw4BlOLB/cf6Pva5/VqGqZlAp/br58fifU/ffZUL/4CLV1d3yRzlNbu+9T0jFb3JIkmVYML588yv7BItVzRn102tasrq0xNHaNUyBNNRPVzKwBIuYgODvQhD8L93ah29qWC1Nsd1oHBxUvnWdvYZGV+mQtXL+jAa2d9l7Fj41gsZlKHKQWXSV1F6lVDY0PMPlkgfpCkPdiu1QHR/cmzYW1zi4PYIV/92S/znW99j4mpSTY31jg5c5yjfFrhjlUxhykgXCCAL+qYMsAt50t6IZXXprs/QjDoZfbxnAIUp05OYTNbuXXrAUG/AMAdajKQBMLIkMT+3YyMjPKt7/wFMxMzOBw2TTmILcPisOk5Y/bpU024CF9EVH2GVpXxiWkdHsg9RpY78rl2eZ3YLHalvsugQ0wIPb0RYvtRfaZLwidxeMTE2KimUOQ9cenqRf7w979JT3evVnukwiJViZu3btMVDmsSoZjJcffuA4aGBhXWJ8PEpeUlOkLtnDpxirt379In9pF0RpWW8vnxeN0vkleTY6wsLOuQWhgqUp+WwZ8sz27euI3L6eTUmRNqyZJ/zmI2Mjk9qQOL1dV1/B6vslKkSlMolfSZZXfJ4sJMbP9AtZdy7xI487lzZ7BarTrArJTz+pwuVsuakpF6kK1QY+X9Ja5eGyJPQ/WMHnuL1VSVaLTKnV/yc1RpCXoMd5ufg7UkdrdJhzyJdJHOdr+CPrM5I2dO9Ch3qN6sE2g343B7qNZbmJotCiXhKJjY3ivQ0W5ge7XOy1fbyNRMmCo1Plmq8I2bZS5GjKQyBc6d7Wc/nmM3WmJ9u0jQ0eLTo+/AyjZbGyv4/RGaTUkWhyC382JJ3XRhNpfVkCCVGxNOquUDjKUy9F/AlNmjTgmLJYyxlaaUjuoy2eR48Sw0YMNcL1IzeXRRZZI0u0HU5hla9TRlbNj9PVgbBXL7T7C2TenC3SDw59wmhuIRuNoxSzpdKgWeIcrmXZrbS1j9bRhMPqoNG62qDK7sGB0+GqUKxuwyuOX3+f/x9N5Bkt/nfebTOcfp7gk9Oe/M7M5mLHIgQAAkSJGiRCrQsiia9pUtya678qkUfFXyuXyy7op3ku2SFUzKZ/lMSqTFBJIAiECEXWDzzE7OOfb0dM6//p3ed13mf6xazM7OdP/6+33fz+d5WjRZaRqnWNK3/si0mQ2M7DKWtsexiYoutYYr1Eu1uIVDlHq+fhypOf2GG6EuLOJCzK5jCXTRcIdBYH7yAnN4sRg1rN4OqvUs1oObOCLdNGMTGLkjPC4vjcwuDV8AZ7CP2vrr2K1+jMgIrmgEDlaoiUKQKmZ2CzPUr2A5m1sA8nmFgtnqear5FDZvAqerlaatiCFTKAMMu01ZBAKAEFIt3hiW3D6N3DrO7uexnryv0ULT14/TTGNxJ6hjp1nOYhWHfbmCUcxgyW5gCXdieGK4mgV9oVFz0LTIw9Slk0pn9YSaK0hu6QHB2BCRJx5j9rvf4NIv/kd+8eO91GoOBgbj/O2Pb5F0e/nxnf+H/L13KBz7McMOXP4ELnuIujeIcXILHGGwxKmt/BBXNIEt1EfZIQC3Ai7DjZm/h80zjmkegzeAUyZDFhdm8YiG9OyLu7o5K6z9lOi5L1EzC1RPdnB5auT3Fwl3XqVqseFqePHE5OtD/WCfeqCF1fdf5ca71ynWmvoz9Np9DJ/ppK1zjOtv/QS3u0HnyCT3b7yPWbFz6eo5Ons6GbgwgVH3gz2HxRoht3X/oUs8X8Kw56iUXLJLwm45oVz147DZ8HRfw2b10th4l2YoQigSJ3fQIPLxR/jNlz/ND+6YvHCph8zRIes5u8Yrq6cpZr91kXde2+A0U+LJJy5pjFKAOuViimA4TKVUxuESTZhJJBhmbW2NRCxCd3+St1+/Q1tniPFzk2ytrVGSzpX4hhMR3RilUnkcDgfxlhC5QpVQ0M/CgkzEmwrxkjF9NBbTSKUMt3LFY4xqg2qlSamQ046jbCQ7e7o03isfqqLNGxkf48GtKUYunOVwd0vJt/FoUMFhlarJ6eEe8e42rFTZ2Ezxlb+00xWzEAr7iHpd2OtZ/vbDPF/+bA9f+vmXKFQafPdvf6KRuGDIQ//goCTvmF+c5WPPfkyJyxKfrBh1Usd7JNv7efPdD/n8557laPOE3//znxIJG4z1hhnoDvIn31ojFHFy/ff7KVmsLD04pP9MD/ub67o5TBVrOKRT2J0k0R7n9vUpvWzIBkCiztF4QqOUO4uL2mvsHeqhpaObg81lDnZyeENurj1znuW5A0qnWVzlHb56q50fTdUZSRQIe4JU7E0ezKT45PMj/OYXX+CHb92gXrcRDno43NvluRee0U7awuIi586cw2J3cPfuda49+gwel0Uvf11tEZzBKL/xO3/FUG+IezMpzo2FWT+usn54yu1/3kGtYGHlsMwj11y0uFr4v769xW+/lucrT/eQrRcpFQyi0TiZzCETQ4P81V/d5splD9/48DXK17+B4U1g1nx42obJpe5hFk5xJD+mCaJq+jaejsdpVHJ66a7vr+BoG1G4pjy0ZWxvKWYxm9vYrRGqAlMtCsm1isPb9dDJ7rDhskVpZBf04Wx1tWMx01hbHsHMzFPe/RB738s4rTUapay6gV3OgF5cDasTlzNMLX8bS82P3RegZjawVUsYVhObK4zVHsYoLD2k06Z2sdcXMSJXcTYqVLPzWD2i8zvF0vTqJVDYGNbIGeWm+CxF0gfbtF59mtnvfY2Lv/xNXn6mh+21VSLRON39Cfbvb2DrSbJhqTA5NMC9BzMM9w0xOD6gVR1RKz2YnWdwaJBwMKBKJrl0mVY5HAWUxC0Rfukw3rx9j+6uJMcnWe1i3p+aIxYO4w24Vfcl4MnUaZb+7h7WNzb1UHnu/CTtbTGWVpZ0iBzwh9jZ2aUj2c7u9sF/j53Lj9mmzve7t28zOjZGtVRkfWOLkfERjEqDrf1tzLpFoZcCJ5tdnFWd1PzMnEbH5fC5vLjCJz71CX70+o+IhlqUVeDzu9RtP7e4pJthqSPJsEESBtJ3lEO30J9FndXb08dpNqN++1QmowfWx598nLXVdd3QiwJyZuo+XUPDxH1e3v4PP8Td4tbNTqVcwNo0ae1MsL24jXu8m5ErI4ScQW5+cIdao0Iy2aEALKFdB0IB1d3JUFC2hX193RweHGgPXZ5bvd2dzMwtqu5LDqDBljBBvxebSyBn7azfnCI1vU6wq5VStqC9+PaOdlWu2VuDjFw+y95eCotQkF3yOnRTyGX12XR8JMmIBJtbOzrQE92wwNoEtqVdAIn2trdpL11+V+K2/vQrL3Hz1kca+S0UC0TCYU1FyGZSeA1BfxCv362/c/leUqk0zz3/FCtLK7S3Jtg73qdetijIKtoSUvuDKP5Eq3a4v8fQ6DCrS5t093exv7tDLN6iHdy2ZCu7m7vUBfxbEzWhTyngAmILtUQ0viyR1w4dJC1iNK04nE62N7bpH+zTC9ydO1OaEJD02cUr5znc26G9I8nc3CzxtoRuecX1LQAzAcd1drZr/VE22AIxNK0WrQl0dfTos7w90abxX+lvnxkb1ThuOBhha3eH1ngMh0s2hjmuXb3KBzc+ItnZit1iZ3Fe0gticYKRsVE21qTrHuf2zSnyxRzt7Un9XT/6xKMU8xXqRlUHOCcCiHP7lEMhNYFUKsP4xAgL84taIVFSvt+vHerUSQrDbKoTvFytcWZkRMn4oUiQgFdsL8eUyzXd/svlw2a16sBBrDgSl28ahr4uisUKV65eoiRb21SKC5Nn+eijW7QJ18awUWkIDb5NO+5CbZchoZgwxEmeTRfUQy5chuWVJdoSD0n3FodFXxeT5yfJplLMzMzx9//hP+Ddt96j2aiTL+bVZtM3PIDNbLK0usz4xFnu3L7Hp195WQc4oiicfzDH5KWzWn2RjXK8tUW3w9tbu2r/6e3v5sPrt3jm2ScVMnnnw3u4gx68Li9T9+fo6EwoYE/0a3LxLwh13ufTC3ooHFRqvNQJDMPk8tULSs+v1YTR4Nd6oVQJIy0h5epIys1uGhwc5VUDKFpJeZaK8Ufo7KI8vvH+DaXwi4nC7rLrEGNpcZGf+9zPML+4pKmFg8MjMKycOzfB2vYWGyvrqj6VSWmyM0GivYNKucrG0poqJ6WmYXO69OIjAx75XqXaIbq8+3oJrtKdlMtpWhWJcmELB8Ps7e/pezefK9Ko18mXijz11BP6b3rr9bdJtEd55LFHeO/Nd6kZcOnKOXq6e3U4LLC9/v5uurq6uDf1QPXL09NzBL1+5SfJe2Z3d0cp9Jvbe/T1ySKmqErGnu4OKpUKHreHpmGhWi9rVXFn75BP/8yn2NvZZXFxjscef47Zmfta7ZKUzf7eof5+5XNPVHxXr11W5pAkAUTlNzMzQ6ylnZmZBzz3sWf09fzmG29rumFvd4dQJExHWydTD6awWyw6kJG8ttQKpDIqwx+HWKxyVQVwytBsZ+uAZKck5Q709ymfI6qFdLgUZDg9dV8rVaJJlKWGDDHleSmfV3J5F5ii8C8EhizJ02XRTzsddCS7VCsYiUYZGupje2tHKxeGJMhaWshmTjRpIRyL46O0mjT8QZ8OogSgd3xyorwLgYQODw7rWVo+RzbXNpWP4ZP7j1OeSws8/sQVdncP2N/f55d+4ef5/g9+pAsZGWCdpNMM9SYJdHVi2T9i+8YSuVIB3A4SURdBr53DwzLvrGe5/3vjGPktfnSzyvlRH4WCg8lzUU5yNd7/6S49vR7i4Qg3PpRKgYWewSQP5nY01h8N23TYbNYrNGoORi8E+OF/2+Tc5S417PR2ODjI1Xn93S3+8Leu8nP/aoW3DwtcifsxahWtVLtCDdo8Cb59fZu9hd8nEOslc/Md3IkLulWvF9LYgg7MityR3DhdHhqFPWoNqdTKUHwIiwPKGzfA5sAdioE9RPnoFk5fAtPWhWHJYnWGaWZkaRvBcEQ1WSfcpqbVq0NbU8DO5onCua0dlzAEhi+6vugYDqeHenr6YSrMPfjw61ndGI0T7HUPTW8QS+lAKEPSGNCFEeSwBs9gSNK+XsAaaKWRXsQeaMe0h7GcfPDbpqw6HI44piVPQy5SrecwUndwuAaouWXrlKdZXcLuHQBHRF3VjWKRusPEFbpArbaJ1eLVnrxZzihgT1yjZmmb7L3/SHziNyiF2rGUtmh62rCUUpjizg77ceS3yO3P4r3829Q3XsVSO8XR+zM0K0WauRnM4IBS+XU64pLJfxWPLUiDI+w2P/WGQ3V/Ht8ZioUD7NY6zWALzaMdrJYSVl8co5rC6e2mWhbN1RGOaokaLVg9JjZHF7bGMQ3DgrtllKLAVlxApYktv4Rpc2DzdVArF2k293G6ItRw4bB55GaKPZykUjnA67GSPtjnyc9/k/F+B+u7p3REfVSqdXraHPynH/w7KvfuKFfBE+1Uv6/0TG1GSX2hokh0+vrBPNbYltcTxmi6MHLLONouYzHRyY8t3kklc0Rz8xbW1nYMaxSv1CnSqzhtVoo1N+6Odsr7D/BYgxiODszCIpagdI/l1n+MWSzSqOTxRPooNou0t1+gtH8dX+9ZKn9HJn33nR9xtHOMNxrB2qxxf2qdz/zSl5m6/jobh+J/9eG2WfTSLB8cV66dpf+Jz+Es7hNK9pI5nsKdc2JvCWkUuVE+oJI/opjawREZwpsYoJ5dxuMJ0WjaKdRW6Xzsd/l3/+Tv8+9fm+NSj3xINukeS7C3lWLvuMrr/6aN9QMXIaep1OeZWyv0DXbR2hOhcCqHXenyBTEdDj3MyLR3Y3GNcKyF9LFM1qrgMPH6QoQCHjLpU9aW9/RSIVEuh8Or5Gghq4thoX94mEPprq1s448FVT0TjIS5f+MOkViUoD+AzWUnFA0r2EfIzPlMEawm4XBcu2wS99Kp8mGanuF+LWtuzy8TTcTZ3ZJevTBZxAPson0gytiXlnl8PEiueMRxwUZ7wEfZYuM3f/kx/G47DYsTp9ujQBkhulpskM0U1G38yZdf5r/+1f+nWxKv18P4+BiPPHaFP/vT/8z4UDf7f9fL/Zdf+5ChDg8ffyyJ3dLkO+9nSNpKfOsPBrk/k2JvK03faB/ZbEo/iHqE8ipbk8MT/L4wmcIpI2cGKedLHBzs6EAkFn+YGOgfmWAvvUk1XyXZEVca8vrcLuNXxlXTIxvqgWu9DHxumq72MGe7TBZ2iw/ha+t5Pv+pCwy2eFnY3OaLv/gF3nnnDcbHJjXWKHE76fo9mJrmzMgwI8PDzM7P6/dYyJQZnehifmmZr/6/MzxzPk62WsdlwkHeZG6ryK3fjRNzNqkaKerVAM/9RYm1VJPPXPRTrdpwOKtsHJbxOD1ErXV+MFfkKz/TyZ99502as9+msP0BVftV3G2d2lltZBex2AI4XGGq0nc/XMbhC2GR/uLBGq7EBA53jEpRgF5RDLdNky/WegpbqBdb7oBa04FFOnPSSy/t4Imeo3J4l2ZkAJvbTSO3is3eilHewePvoSIGjc33MJNP4vKKrWVTTQdW06kRYUd4lMrhEtT3cUTO05Bnsa2ICz+V/AaBSC+lhofG/nUcgc6HqS75lECGYfIcqmCUD7G3XKNZPaa09x7+8c9T3p/BYc9Tr0dIXH6Kf/rLP8sffyfHY6M2nKaLYqOOv8XD/uwp7jNxhh+5QNjlxBvykj4p6nbq+RefZXVuHbvToeCzN1/7gF/6e5+lq7eT27dv0ZFI6mZLXsvibe8fGqTeEEL9ll66pV6SPskpADOWaNELic8foCfZoe+vcrWuPUfpnJ6/cJHMUZqpuRm6OuWSt6edf6fdpYdSOYCemzxHpVJWwrNcwuTQPT+3SP9wnw5rSvUaYd9DiKBsdiVu/+Tj15RyLpuWcrHMafZEo7/SnU+0JZTh8d3vvcqTTz2uQ6nUSZaAR2LodoVFCetgenqGUDCgtO5as87awppqzSYmRvTyJ5tN4VzIRldAcwOjIxwsr1Jc2gKvWzU+lYKUvk21mUSCHmKPjrF3fEzxJKeKqIEB0WZuUqnX9X3qCwY43ttneOSMApnkcuN2eVmcmWFgZETj8vsHB0rfF+r30ECvPl/EMJOR3vraLs6mHV9rVDe4YkdJhKNUmiV6n7nCysqG9hLjoRB2t5uWeITZ6Tm9CDYqD5W+kuI42Nmno7tNCepysS4Vs3zuZz7Ld77/Q01WCR2+blRw2z26xfURSI9KAAAgAElEQVTIMNc0dFMdb4npQXlOlFmNGgG3Rwc5NpeTkF+2MQ5WRFNnsyq8Sgwh0/fvcvbcWQr5CqVinudfeJ7Z2VkWFpY0QSC+ahmQ9A70MDM1pdtsqYm1t8aVdWKxWuiV110my972jlLVH0zNgwOigbDGYb2eIPlClvZ4K8enp6yvruqwp72tVX/OUn8aPzuuUMfUaZqupOjhshiGocOMzu4k9UqNGx/epr0tzq/+gy/z6ne/r533Srmk1Yj2tnbqDVMXGlJ1kS6yDHmuXbtKKp1WfaO4ybO5UwVdLizMk8uWaWuL09ER5yR1qqo6GQo16w1KtRpj46PsbG0/9I8vinGgXbe9Tq+XN3/yLuV8jieefIrtnTUF1EnH/pFrVylmiywtryp3wReQ+oKdSr6sw2h5r8iQSawsMiCWusvZC5NsLK/QMC2afjlJHZMr5BgfP6OANuHztLUl9fkl3vD5+RlGR0bIFgt6uZHeev9Av9Z4pu/f5+mnHmdqSrzupv6ehA1zeLjP8sY2ne0P+9knx0f09vexuLisdhpJckrNaGFxhaefeZyVpXUFXNbrDVUMnpsY1/j19Q+vc3yc1mfVO2+9rx1oAR5Kiksi9FL5CIf93Lpzl8uXr+glbml2Qf+NMqgWPevh7iHPvfQCf/n1v+LyhbMkWmNsb+/wwsvPMT+7xMrCIu0dnarVOzlOc/7CpKay5LXrdDkUdisb6esf3SR9fMwnPvlJZqYePEx62Ky0hKOsrq/ra94fDrG/u4svFFEQ5OT5CRaFK9Ldo319+WwUbbFUYYZHhnjjzbe1UhMMBBWAKpWTWq1MItGGV7r/y8uMjYywvinJVKvGysXskGhPsLe7T09XUi+B777zvg4j5OvmMjmC4ZBaGNraWjW9tbq2Qa9cyLN5XcjIMHNhdonnn3uard0trXN5fAJJTRMMBx927iMhYuGQ2jVefullpfLbHDY1mLz63VcZHRtnZ3NLPz+khtEwG3pJFZtJXnSudqte0sVCtLOxrwnNT3zyBW58dFO/vpyFJFEmVc5s6oRAUKLmTj0/DQ8MaFpBqg5HB2mOT0+IR6Icpk9wu+y0Jdq1enC4d6xDxHAkQrlWZHvrQAF1vX1dzEzNakpgaKRf1ZzlYpVM9lTPhvI7FeDl9Rv3+bVf+wLzs3N65hPI51tvvMG1xx7n1q1beFweBTvK9/qTH7+pjBL53PJK5Sjo5fj4RH9nq6vbmmTpaI9zfHKqjCq7zUastYNypcjpyYm+7iVVsLy8RDAijJkiPb19OlyUuasYPZ547Bp7B4fKPpDPW2GSCPNGBzZmne5kN6uba1pP6Orq1Gfw0rw8O6M0pY6QOaVSNoi3h2gJJVRVemFijHfeu8H5S5McHuyRK1SoZQq09ifBqFO6vUq5XiMS8WGzOjCsTWUdvb8D/8tzXn77C0Pc/nAH0+Zie+eQs+ckYZSjlrexdZChJWpneCRMsWTVapjUXJeXjnnpUwOcpKrksxVy5TpdyRhWs0CpYSN1VCYRkYCtm3dv7vKVz/bxH9884I/vNnlpRNTjVuqGHa/Dhj8I37+e4vf+QT+//effJveDP4JIK6bFid0Qs9kANGsYsryxR7Ru7rGKRtKOxRfDKOxi8QzQDMRorn4bm68dm0cgwYd6d7NYItRsdlyBDkqllBq6zNK+VtPqtiBCSLRYXVg8Icz8DFbfWUqL/wVX22UcgQ4aG9/F0vEiZl3u6fvYHVFshkkzmoTslvJFbLF+GrU8DgsKIWy4W3HUMtQcXhwBL/ZylXJ2X0LPGFY3lsz1f2laqlmMxDmsjQbGyTS22DnM6ikWIRI2y1hC4zQqB5i5eeyhYUzt+HsxUmuYvg6NGFjcHox8Sf+MLdyL6UiA5RTjaAunbIWNCi53lLLDj622jikR+OTHKEvrqrSJw9tCLbeHs1amGW6namQ0QmEWDmk47DiDHdjtHprVLHU5NDeqOpU0HB4s5UOsrhhG5YSmUMw7rmCm55Ws6QxNUCkfYBbXsdq7MCQKn1sn1PEI2MKUSqsKwjOky+v1gND9hcDq7sOwOLBXth8qtAwXVmeB2tEhxGJYSNIo3sEdSELhGM/FL7I39dc8+sL/wW/92lXm9o70sFjKVDjeq/LB8n+juHpAMTVDyGJw0ogQcpdpOCViUsFdP6Bk8+GQiY6zg+rpHexeC173MI3qCXVXm/Yiq7viIe/V6X4zu0XpYI6WR36dyuki9dQ9vB3PUDm6T6OcwRMboprL4fA7aLb04SqVMU42qPk7CARdpBbfwd82jtXZQiO7jb/3MeU42Go7bG+tcby0gs3jZXoxRaQ1xNLNuwyMnVWSqCfm00O5ka9SlfSBK8L26jznz/fx7MtfYHVxg97xYcrFLO3Dl2iWpOeXoyypBEuebKWCzXEGjytNMW3Q/twL/PQbf8iX/8XbPD3aSrls0DmSYG1mm+2jOv/lN0WRE2d1T/zTJv6OGNnTfU53j2nv6yTaktAeWaI1qd7tjfV9JiaH2dxY5dGnntYNzty9+0rgbu/uJRoJcLB3QjGT0u2PzemhkM2SO0njC0cVOmV1NIlH49TqJqfHB0pmFVfu2MQEB5tr+KIxatWyTqZ9kTB3FKbTjcvroGo0cTudZA4FZNb474AbJ+VKjb6RQdWb+a1NXIEwm+s7XH2sl6FfWeT8+RZaLSV1vR/upljcr/LPf+PjFE72yJ2YPPHMeVZW97l69SyZfI6V+XVm52cZGRlRcJrQqq9de4ST1Akev5v1rT3ODveSjMf5ld/6BqMjHnxuB1NTe3T29lOvHPAXv+bTB5go0XC5FfRnaRiks0XdDrhdDu1wYxUuQ1kPzg4EiNbO/ZtTDA/3q93DNOrU602cdpPl5W2dYkscLtnbSWl7E0cozCe/us1oXF77FZb2qiRbA7x3K80/+9VzjPW3s5eqcZLaIxz2aFKkrbWVXQVIJUgdHuJ0O/GH/CzOLeiHnHzgnRkbIRJy88V/8VcMSh+1w8HWXoVCxsq5WI0//UqcutvGP/qTFO9sOOnpquIpGbhF6RONUskUyZklupIjzE7d4+KZAF//3l/AUY79rUPcYQuepoOGx0Mlc4JXDr4yqa0cYmnUsXviFGspbLUGprBMxEBSPqbpD2PZX4aOSaw2D4aYVVxJatUdPGYTwyGskl1Ni4ga0FovaM9YfK8WOZ14R6mlr2Pm93B3fAzj+CaG34HT2YG1ZqfmEu+1m+Lmj/APfRFLYZPi6qv4z//P1Js1rFIzKBrYPTWaDlFWuXFaD6l5uhVA0yytYqmcYoteVrZAsyhg0gi1wgoOe5xq+CGHxe5vwzf2JF5/mI89/grrJ0V6ogHVJRVLJZLdSRZuLdD7savYE2Gm3rvPxavjTN9f0G1vR2cbs9Oz6hCWnmu12qSUP1XNnCS2ZIsvGi45XIlb+szZIYxykyMFQ5naR5VDi/jghdS+t79NrCWuW3Q50BqNhhKpBRokVQKhKAsp2xcO4RDmgtWq0L9HrjyqWrd4a0IPxR9ev0mxUlGHdltLGzXT0O2GfL5VigXdgIT+ruu8trpNZ7KdqekHRMIRBc2trq7w/Mef57vf+z4Xzp3VgcDW5iGT5ybY3N7A4/LrtnJtfU2d53Kps5hWxifHmZueJZ8raJRXqOdCGX73vQ/o6+9VrkapJjHSIv0TZ1j8zltkMiVGB5JKeS7VHm7aK9kKfpeVxDPnqVdljlOjJRHl9p17dLS14vN4FWJWrMiQzc/6xjb50xOsDjlotuKxOTjJpnWI0dvZwwcf3JDFBb19/ZSKJZwyJF3bp8Pu5DCb5WD3kKHBXjoGe1i4MU2hVqX7hatYKjWymTz5YlE3hlLfkfdlJBxkcX5BL5wjQwMKg5MhSKVew+/2kytkdbtosdj/e+e4h/X1Na28uR0evF6H0vQPjlPkMnm6ukW1Bwtzy5pACIX97Gzv6eb93r1prf5Fwi1YrXaSvQm9CFYKddo6WvUiJJs+UVWGwyFVeUn/eGZ2ntPjjG61Zat5kDpWrkhLNK4d+malTkdXUutNopOVy7B0cYVHIdtcIdULqHB7bUtp3BL99rolZuzE4XCytrallQfhxYh3PByN8t7b72pc+PHHHufB9LTGhCURI2o4h9Omm+2gL6LqKTnkjo+NqFFlb+9Y02XCWOjuFRL6EdP35hgY7NFOv/TjXQ4PmcyJ/vs8rgD5aobscYbO7m6mH8xy5coFNjY3Ff5WLOQJhqOsC0zT6SYiA5tGXe05oloUe4NExGVQ0NYaU/Dh1UcuqF1I6Oxm/eFn2sDwIFP37+PxuRkZHOD69ZsEwwHtZifbkvpzlD8nRoCEONQLBb0syjZz9sGCvv5k4REKt+gmVbaZbe0dukmW7r5ctFsiMV02yNa9q7dLQWlycZao/4XL55TML7DHr3/9L5k4e5b+vl7d9BaL4s82ePa5p/nxD3+iKT7pPct2Ur5eKCoQ15J+HVEtJjs7NdEg378MMcTQIK9JjBpjE5MPoWgHKe3YywVUAKMCIpTES6UmTIYjzp2/qGDIfCGnLAmBP4qZo6u3l/XlZVricVraYvp+Cvo8OmiSFIQkBaSHLQ57eX/PL8zrJUyGY2Iq2Nnbxemw0xDO0fkxrQ3NPVhUdaTwReQ5efnSRa07FYtZ4vF2pu9Na3pJIuryrOzobKUgyYfeNtraWtSEcev6vNaaMoU8k2fPcfeOmE4c9PZ043Tb9Pcm79u7d+8yNDiiHXtJd5ymT2laZS7p1fROPJ4g4POpWvPFjz/P2saqpixalQ9wqpdnGR489vg1XMIrkmdpSwsBt1eTUfK6lc55uVbW1+e9u/dp60zildfJvETeEzoA2d7e0nSInAfE6nF2fByHy8qbr71PV0+7KvLu3LpP/0Avo2ND+nvY3ztWUK3Ub0bHRtne2cFmsernQLGQU3Wfy2Nhb+tYmR65UhG33aXwbLl0C/NJ0i+S4BHewtrqlgL9lOVjk9qyTTfjqYMDIrEYBweHPP7E41p5k2qS/FyeeO5xbt64o8yHQqXKxfMT7O/saY1Cfm/ClpL6gCQrPrzxkT4vCmKLGe7n3t0ZfS2J1Ulg5om2djY3VpBpZLK9lcOjfQYHh8nksrTHWvU9J88fsTk5nQ792pVqTZcpDmDi/DjpozTT0w80+ba/tUPPYJ9W76QmJ1yCo5MTjg8PlWMiXBRhWS3Mr5DsStA0rLTFWnSQMTszS0dHmw4lhYEgUfzJCxPMzi6C3c3gUCvbC1u0DXWy9qM7xKIBjjNHRP0hUpk6V/tCnNQcpHdSfO0fefjma2nqWLg4HCVblEqUhXqtiSCVrlzs0ufg3mad3jNRrM0yuaxBQIaRFlhdy+Bx+DBEQ27UyBQc+L0ehiacFKpWNjZMRpI5TWd/9qtH9I5HaW9UMWRQRZl6tcniboWIq8lHq3eobr9Fc28FI9SLuxnAaGYx7HEauVmsTg+muwerzVAQfcMdw1o9AqkEB+KUj+/g73yEks0PRTFSBLC6nA/1rLYg9eIejmAAmj4wXBjVWSwispdzYj6PRbqLtQ1M00lz8LNY6gaW/TcgMgKOTprVDaylAyzeBEYth6VW0aWJw6xgTzxD02bBSH2EI9KHxajTsIew2n1YS4fo5EsQ6fUUlvT1/9O0VhbBex6ry4a5+Qam9PydEUybHZtZVdeyxRvCll4BdzemE5ymhbIrhKN4oP3uRn5KD8IELmFv7NOsHFGrGwQ7HqVYLWIUpJ9wHsvBTyhZ4jgcESzOKhb5xhonNH3D2qWtl+ZwBoYwm2mcpRqG14fpasGs1zHzqzSdTuxNg6a/G6tZQxe7EmFjD+xJ6kLr98apH3yI3dWBGemkvHIdW+sYtlgnVunDpo9pepwPeQM1k+LB23hiYxi+JHbZzLlDGJk5KQdQlTdNtANHs0zD4tK4nFPokJVd/N4gjv5J9hbfIH7pKb7zF3/N53/9G3z+qU4FIXaFm2TTRV67lWF57o9pVqwUj7Ygv0mg92NkN97FF+rH5rdQLeZpnhZoOkw1D7gdceyeMMf71/E7Hbg6nqVyMENl/yOCAxdoOrp1ikn2HlZPG/VmVGPt1lCIWn4NW8GGNZqkejQNwQRuZ5jK8fzDPuXg81R2b1CrHGF3eHF62yjnV/G5Omh4O3BZGtiiSSw2K82jJdyRFnVf3n/7u7Sf+yTLt9/kgxt3uHhpkrff/JDWvlE9IAste/90g+6eXuwFmbDvMjboprV9nGSilWw1xdgjPy+BWKpl0Z34sLeG2Zx+wJmXPsnd7/85V37hO3zhiQTjZ7pZW5ihtaWdH98+4JtfCRAdTbC7baEtDAWa5NNZKNdJ9reqRsZmceqHWaNuEm0JKmxod3WHirVCIVtVLd3q/AZ2LwwMjXGwu6V9KfE/C6RKaMuZ47R+qO7t7+oUV5RTPpebQimH2+1VoKDL42J2apbR8XFOUvtKcfbYnLrZeDC/gM/n0q768cEp7d2tREM+ZS5I/HZ5ZgV/PKgT0IW7izz17GVWdzPEbGk+86cCDqzx0iUvp1mTWNTOewsFPvNkL5/75FU2N4+1F317eoaJMxNcv/kBVy4+ou/P3Z0d2pIdpFL7jI6OMTU9y517swwN9vDY5Yt8OD3F1783T2eLk/7OCM+Nhvh3b+6TTZd579904wz6MctWTJed9HGGWqnE4MQZFqZmqBlNQj4/W+vbJNpa9XKU7OmiVi+zt75LqwATy1U9hBf+DqwnVYfRiUEl6K7cmmK3YvDcM928/842n//zMkNhG4mQg862ILuZEguLGf7g934We7NIoWgnIMmZUoGpe3N0SCSxXlLKttvm5vylcf7sz75GR0eX+sMtpqGAqLnlVf7mvX26W3wK7Qm3hDTKHiHD090Bvj/fZLbm4lq8ysd7PBwZBreXavja4jyYTfP0UwlK+Srev6Mz/9GP3pJ+DOW572OrddJw2nE2smTqdaQwZ3U0CMTGqTTLkN6j6fRiaxnBWt1XW4eZlihnEW/LJNWTJaylXRruBDaXbCvrWBtNmrYwRu2URu4Qd9tljPIGeDtx1KUvXKRayWCtprB2vESjeB+fp4VKWbzIBlU8WI2UdiitkpA6WcNmKUJoTOsIVmrYXH5M9wDN0o4Oa5r+HmqFaVy+SQyjQDm7TChwnqalrjUoR20F09qqF5ZqZQ9/sI1yxcDtFKq1D//QBSxOGx0dL3F2LEIyHqWcL7O4fsz42S4q2QYHDpPes2O8/+aHXH7sLGtrm3r4lziy1RCJiYvlpXUuXJ6kWiixtXdIOOyjrSOpVHrZLnR2dnH37k3tEY+Nj7O5uqn07Eatpool0UHKEE26vbLVk3huqVqkPZbE7XOr3iovkdhYTD3LHa2t4gBQkrtE7GTTubK6rkA/ScpIVHhwuI9qqa7ayUgkrBFwkSTKZVVeS6IlpNmgq6tXaeeGaSF7mtFuZDAQppTP4/W5iSXaONjfZXB4UDdw8/NLWkk6PzmuByIh9/cP9bOxIhs/O+FIC6n0oV4+BLR1+fJFXn/1TYXldvZ28IUvf5F//zt/yNHMFr0D3WrCkAHj/sGu9p5z+8f0ffpJ7BYHSzMP6OnpZWlhiSuPXmZ1ZYXZ2VVeeuE5NnY3VfHl93gx6nXaurt46ydvqqGgs6eNjkQHh+lTpcJ3dSV1CHxayHFwd43BeEQHI4dHRUyzRqAlSCWVwx2LMfGFZ3j7v/6AWGtUL45Sz5CEkoD3qpWqbuz6+/uZmZ7SuoVsk6oNk2RrTDum2mnt6tS0wOryJuVqUan/Z8+Paw81VywS8gRY3VhVpkVYhnuxVtVpCQdChg5CvN/Z2SAUjhAOBPjBD17nlU9/nKZpZW1FOBs12pNdzM7O0xIPMT5xjs3VVdWdyYHJNAy6e7oUKCen89GRMZZXVjQJ4vd76OntV6K7JE1OZONWqZDoEEhYXVMN0m/t+jtewnPPP82bP3kHl8OikXiv20+lUf0fcW9RIwopW7gEyc4kff1dbEk0tyHzdBObxa66MoGOyWbfJj3vYEQvyqIZW1xYIhaJk83n6OntpVA81UqlpE3EgZ46Tv0PKKEA2kTTJq9lod//9Tf/hrGxIV752U/xve++SrNuIsj4ju5OVhZXlKsxMthDNl9if3efRx69xuzCNEFfQBMbopy8e+s2n/rZn2Fve1s5F0I/l23h4uISowMDGoGeODumfeBIMKo+89dff42zk+d1WCEXm62Ndb0wSn1A6j5i/FhZXtWL987ONhfPT/JgauahvcDlUM6P2+MiFonhC/iUo7C6sk44GlA9Ws1o0B7vYHV9jY5knEgkrpdkSSzIdvrCxYusbezhFE1ch7w3jxRgfLh/pCnBfKmimzDRyZ6/eJnTzJHygwRqdu/Wff08lai1VBOeePwab77+Bsmebq0gBYIhZTfJosPldlEqFpk4f5b5+VlVQgoMUFIFAntra03oMFzSE8LJcNhlc53XWkWxUiIaFv7EMu2dHfosCAW8OtARFoMMACSpIYMSAZx2J5MsLC1r2uKVV17krbfep1Qs09fVya179/SyefHyOeZmFjQZ43Q5SR2l9WI9MNjH9voeX/ilz/KTn7yt4NCOrnbS6ZT2wuX81tPdrepFAe86vfKzj/De+x/y1FNPMnV/Sn8HY2dGtGa7OL9ItVHX6P7+4S75bEHf7/Kckp/pyMiAEvAFIimWFknEyIBxdnZKYZySANjfPXwI4wwHaI23cX/qvg56pZ+/urpOT3cXhlHj8CDFy6+8yI33b+J02zUuL5faVPqU3t4krdEYi0sryoAaHhjkm3/93Ye2q+4erUN9/MWXWFmcIxgNK2yzVq+xMLdAZ2c3G2urOiST91KzYSF1ckwiLpwCUz8vJFWpZhaLVS/isZZWNje3cHudNKpNhZ5KSqi/twe7y8P9+3cVGF2s1PS80NvfqTUYGXRLhL9YqnF6msJpd2OxGiQ7OpmfW9AFk1Ez9DNCuvRF0bRZrWytr/PSJ14km81plUOA5lI/kZSUbPbfefdd2lrbdEAmi59zZ8fZ2N7AYXco1HL/cIdkskerL/Lv6unpZnpmRlNkHq9H66vyvpB/52kqpXDbet0klzvVoc/23jqGwDxbW8FuY2Z6jmgkqMmhRk3UoVAQJZ5pUaVgsZzXoZEM62XAVi+UmXzmMt//479hNBrCEQ5wuJfC5qoT9rnYSZfJnVR477eH2cxIMu6YyavdHKdL2JoNHAE3dz/Y12dqa4dFtY/6nEwdU8wbevbsGRSFYpqtlQyRFi9nLybIZurs7p7SrFY5LsK1852sbx4z1uXlf3s1z83DMi8PtpErHJE3vLgDdnxWG2/cP+Tbf/olnnzxLKnbG3gSrdQtAZrFQ9XR1w9ex9ZwYotEsdRcVMliKxWxxzupbS9g6ZzEbglSyyxicQZwCrnF4cfMb2JtNjGjZzBzG1hqOczwGcg/hL2a7hg2W1PZeRaLUytWTn8X9cM3seCF3sfgYBorHixur1bfm/4E9uMb4OnHEhiEve/SDE1q0tJprWIUDrH5Evo56DDrWNwBrfLb5UBWb2A5vflV06xnsNtaqFY2dFIhk+5aZgNb+1msgTaMjTs0CkuqJnKEe9RBbVTB5m5irUA1u4Pd54foOczSIcbhDWyhYezBFiqnaXUhNtIzWNwx3OHzNI6mMSxVjTY0Nq9jyGRbNIKpaazBduyeMxTu/AGEx3ENXKFysojT1wHlAo3SHu7EZWqNY6ylU53CNDLTWP2DeIMdNArT1O0tSim2GKdYo6Ow+z41UQC2Po3dzFMVNoDFg+XkNk1HQH+QslE3Peewp+/SCATA9GItbuN0JSg4woQCFk5Xb2NzuLCE2gglL2JP+nntT77KP/md15Ah8uAAlEt2PKEw+O3k9nNYjKoeYt65/0cYJylKm3m8jlP2tkVt5CfQPUEptY3D18QbHMNibWLUljAr0r42MbJ5XDIgaHjwJUXLtUa9XMSf6FRtjdXegXm6TjV3B3f4HIYjgSXznqoFvdFRqls/VYtCbu3HuLsnsDQNqtkTvOFOLOEOpX9XJPpbydAspLAGEjhCZyinN7FU13FFOqkKdCwQxeny0fT3wd5H5NKnOGJ9mjS4/eYPcMdbqTacvP3jnyq5dGC4HZslQnevEOsTrG3cp5HO8exnfgWzWiZ/tECg5xHM0pZGUaKTHyM99U3GnvpPvPxcCMNix6jWuDGVJ9Aa5Bu/6iRgNai1DnC8e0hdPrzdYuE0NcJTyp7g9Pq58tgllhfnsZri/y5w/pGr3Pngph4IJJLlc7s0fisfBKKMEUiV1WHTTZR07USLJX2y/jOj7G3ucry7o3E7v8+rU2wBFRlmjUhLqzpdJQolMSs5WEui4PQkxfnL5zk6lq6did3t43h3W6fN0nWrVyu0JiPYrV4OdrY53C4y+cggtewOz/7rKtfOBCllDiiQwOcqsLRb5GefHuPX/+Fn+Pb3fqoQruPTYzyegDqrraZQxuUC02DneFfBRJur64ydO4/T2uA0V6Q/2c63fvAG33t3gxef7NQNfqlU5sdTDT41WuIvf/8Sb/x0k1o+T99ggmgsyb2PZujsbSEv271skZ7RXvxON1Wzgd0qvaU62xuHtLQGcAf9VAUMGIvohUqUZU17nZOMENjdFFI1Lo1b+OO/qfIf3kvTEwenI8xxNq0+3PWtA567mOTZp0St84BkXx+hiA+3O8jO9sbDTY5hML+4wLNPPamH+1KurBc7HA1ioRZ++OPrvDt7yuMXWihWrBwf5ilnstS9NvKGn3wpw4WOAKlcFYfFLuY8wt4Q95f3mByM8tjj43zrO9c5H43wT3/nV4kOthPr78bIpqnu16Gao0IOe3ASRyNNemcOVySGK9CF3RGmlHob0/RBYQ1LYAKvqNryVU332BtHWD2tmE0XZiNH0xnA7Q3TqKZoZA9wxEeoVrOq4rM5u9XRaz2Zpl3S70UAACAASURBVCGAGGcPjvoGzc6fp56dwWkt07C1Udv6Af7Wx6jZLdg8Ser2U7xVv8atHc0SFmecemGTeuMQZ6AHa92FYTkCZxvW4hbU8liSLyl1tlbbotkoYrf6MCRZ5fRTb7ppniwQjIny0I73fJC/+d//bz7/rz7iuckYsZCb03xOnd6RmJePfrqBdchP20A/xxs7PPPS0/g9QX746hvqWS/L6z7RpvR8i92O02nXnnEg4OfC5UvsbwlQLaux293tXXUbB4Ne1te39VAn3efNzQ091MpGWw5icsER2KVsxP70P3wNt91GS+KhH1sgYXJgOEodqWbqC5//e/zFn/+pXlJkoypgMQGaeXwuvQwc7EvqRPr8Brv7e/QPDOj252j/UCFK7Z1x7V0vzC8pJFEuALJRPj4+Iqygo7p2YCU5JNwQi2Hq5Wlza1up5hUZotPUi3+lVqOnq4vFhQW9CDz97LOqj6saNfq7+zCtBndufETPxBnaLVb2Znd47/YGsRA8du0se8Uc89c3GemPc/FXPs43/9PfcOH8BEWtGvgUzCZg1I31TdWQSfpA0kIeu1sNHk6XjZsf3uIzP/8Zbn90R6O00hfOFQU0V1bFZyZfIJRtktrYwhn1UMjVONlPMzE5iC/o5yCTpuXSKPMfPVDFVUg20F43R/vHGsOX52lnezunhQybq3sMDMlBe4PW1g6lyIthRDaAcnGV/rBs2QaHhpiemlY//PFplo62uEaIJSlQ1lqcD5tDNF9h7t2+TyzWwnHqlMuPXuDerWnGx0d0eJOWy4vLobaIvZ0DjTWPjU2yvrKkcK/CqZhfEhynj3n2YxILX6NWrepzRja0UmEI+Dxce/JRbnxwQ4eP0mcWaKDYZuwOJ/39vQofe+GF53nj9Te06y493LC872s1CqenymKRA7hYWiQ90t0taQ+bkvT7eztZXt2gmC8ycmaYvd1tvSyKC1wGzNFogEymyOryOolEC5lshsGhAd1ofvTBPfoHupUynjpNcW7iHKeZNJura7QkEtgdNu099/cP0tPfxfe/9yP9++SgLj8LIc2Pj53R13nAF2B6elqZLvKzFiio2WiQK0pCIKK0f3lfatw7EtaUjQx6xTl/8cpFZmfn6O3qZH5xDofTq+9rqykXgrKydEJh8aafUKsaCjKrGlK9SauesN5oEImGlbAu23VJa9y9NaUDN4HE9Xb3USjmdOAjFyGBzAo9/xd+6XO6NZdtZaVW0a6zPFcmz11gZ2Nbt/7Npl23uuK4dzpEt+zWuo2o8S5MjusQcHf3kP6BHt28ix1BtJlyCb76yEW1dYhSVgb+U3fv6gVZeuXy7xB+hFwaW2Nt4IS7tx8wOTmuirbTTE6TUdVqSZMkAvmVOHyjXiUpUM90jtZ4hKWVDZLtXZqEkaFXtlTA7bbRFn9oLMpIfD/k11rD3vYWTWwkEnGNgwuRXbSWHck2KqWiPosELCFKU0mZbG6tMjw4SjDkZX//iEpJTBStmrB6/70PFFvW09nJweGudvqfefYprbbNzM0xMz3Lk489zsrGGvI/gRsuL63Q09mjAMT0SYaDvT0FJba0RPQ9I2A+ec4JmLW3u4ebt+8SDftVr1goViloIqGVXC5PMBji3p3b/P0v/Qqv/+h1KkZDvxdJFchrTIbActFoiSf0ZyC8B6lrLK9t6EDuzOiIwl+zuRwXJyfVJrO2ucIrn/6E/rl3f3qdF1/8mA6M3nv/fSKhFkqlvL53W2Nxtna21fzRaFqwWZucGRnlhz/+seoOZfAUFnvM0ZEyX6RCKcMDSWtE4jKQnmB7Y5NG0yCTTitfRioIjXoFry9CNnuKP+DRAckH79/QWkvfcB8H27vsH+5jtzoVhru1vave+8HBPlVwNio1ZTPIZ49oaqXGdZouqgWkpSWgtRjhnXz04R1VStocFgaH+nSYvrm+pUPx3v4eNUJJDcMtKuloiKWFVUbGBnjyiUf52tf+M5OXz2klYmF+QStfUn/b3tpnd39ftZ8Cb5Qq2+bOpn6uSqqkZ7CXra1dfa994pOf0ARdZ3uS3S0xPsn5y87J4SHeQFD5Uwl5Zruc3L8zRSISZX/viEtXLrC2s4W7YaG5skPNKv+Zh77eVtYXFnEEXRwX7fzbF5y0d3m5fjeLP2And/pQX1qzVAj7nczMHzIx0aZWoVvvZ/QZEYk4uPZUP+nTQzYW8jpkKorevW4hlvCC3Uoy4eX6jW2FW16Y6ORSfwtf+voMCykLA4ko1VKBar2pA2uPafLaXI5/+8/O8z/94b+ifOsuxdouZs2D4Y/isVSxO0LUPFHI79PMC5RTVPZNXbo07SFszZqonsAq30cdW9OLLZzEqBUwCwJ8bsNmd2ty3BSD1ObfYgmewZq4QiO/pjYIebDI2R4BPJe2sJotavAw6hlsNi82b0zPbDV7AHtlA7uzFcPmx9j9DrbEYzTKeZzhBNZySTWRNE4xjQJNpx+Lo1Mr57ZqDcvpB79vGtVTnO4YTVH6uLqx2my4mmVK+3cw7MLSO0v5eEk7r01vnGZ1R/vU1nIYm+Phxsqwx/A6LNTqNqidKOHeqFexiqfQZcE43adpDWGPj9I4uY/D3wOywS4fY3WGtHfp2P0pTf8AtrZhGocPsMkHPi6qnk5clVMqpTmlttf8V3GWd2jUD3G2jlNdv0XDYeJufRqKmzKn0I5+w2lRCqmlalDb/D6O8b+HcbKLrZqGeA9moUrTLYmBcYzMLs2CRPoHKZRLeKQzb/VAbg3iXUpNd+zNUk4t4778BbytPv7xKz/H198QmqWd4d4wQ51C86+zk5ZIlwWsTd06tZh5fvkLl3jlS/8ET7QPMzWNIf1GWwR7fpPMSR2/rUrFHqGczuOwZfQAJR3IsPzsq1tUC1m99DVLZRoBoXf7sRSmwHThbOmn1KxhE2KqNYCleogtOqwdmVr2DqYAJVrOEAyMks98hDOzh9n1BI3COu5IG5X9OWzOYWxiASjKdkSGOsdYbQ2cXddwEKd8Og8CdnTHMU9n8HddwhoIY/X6IL1G3RIHY5vV2VXtBb79zkeMnBmjnE/R0TtOb1c324crCvJo8XupNLLqGS+XDmicHNE9Os7O2gzP/8q3eOJ8iLXtDMGYh4WdMltHRT74X1s5eyHOncUMYa9fneaILcGoks/XicV86l2WWKhsAkvlCo1SCb+QhiNRnDYLy6sy6e1kf/NANzgSxd9aWqNvdBARKm8tbdLW2UrTbqeaL6hGRyJdst1YXV4kEo6xubGpYDI5fGUykhDw6ITeabProURAW/LwPC2cqPpIVjkPbs8w0NetGpfhkXGOU3tKIE20RshIt6wliJMiT/zrBrGolY5ATSmvzUKO79444eeeHeDRc3HtBqWPJWZ4Ti8YdquFucU1zowNMj+zSFdvN7VaUzufLZGg/v981sBmK7CxtcXv/sn7fObJUXzOGm9eX8MaTHA1mOYPvxzF3T/CzkaKrdl1bP6AwsoSiYhG4qZu38LqEP3OGUyrW+E01VJeIWdhn4+VrQOONg8YHRug6bRTLghDwKMHu5PDMsNn4iRGorz0pY84zDW4fCbIwWGdbKOKgwahaAfPXWnn/OQIb791W20k3ck2tjd2uHTlIu++/55e5l555RO898F7DzclDUPjmUfpPL/8Cy/w13/7ET+8sYizYTIwEieTLnOSlsOJHV+gSn9rnLWdE9zhMC5Hg1rFoqA26TYe5LI4K6byPzaOC2yd1HHZXfyL3/tlvvKzncTOfhZz5SNKqTxFhx+vVUbeKxoba+DFKoyQlVextD+O1S+sBxOzcYxxtIsr2o/FFaXRzGMp5x5C+TwtyDOX/BH2QCtGJYPpT2I1RC1l4AzKEMCKtSmdvRzNak0f/A7TwPQmcVsNKidzONqeoJRex2HzYxPWSX6ZplmA0ATG0RK+qJNG0Y8t3Er5cBZnogesbiilqNvl4F3H3PkQe3gYI3wWR3WVuqUORDALK1ijZ6iWm9iNLNGJCf7NP/4yX/1v+1wcChLv6SR/cEjT5SHiC/Da+/P80m/+Irc3FrFVarpxFyWpOOi3drfxOB1ITk8c2bKxFAeywIdkwyUfbNIllQ+gtaVVreSIl7unt4tToRtLDWR3H7vN+ZCPIokMt4uhoWGWVlZZXVmkJRpl9My4asTa2zt08wDSvy+rG10OsSNi/7A0lGotPXDp9MtlXrYWiVhc+8lykFZYXn83U3fvc2Zigo21dT1QSSS7VCnpZvbCxQkWVjbIHh/TEm9hTaKcFy9y/cZ1Ji9OKl1dLk4CXNve3VCWQblSIXV0rErZy+fPsbO/R/4k//B7OT3C6vIiIe9iVXzWHhyhIMWFDYq7KX3ODgx1sTG7QqQtSiFToVAu8MgXX2H21j2lyV+5dkUvkrnCw/8+2SEqQy8P7kmctlOHJqIhE5qz1WHXDnejWtOBoFgNpufmaItFNcFk2n0c3JzDXW+Qt4oS0EYiHFNf+/rOJhMvPqqVnnI6rYqw7e1Nfb7K5bJczDM8OopRkwG1nempOa5cvszKyhIuj1sVb4lYjHqjrEOKF154UfuqFjuqeH3uhacwGwY/fvU12pLtamw4ODxhd1cGCOL8Nllb2VKWgij0Wts7yGdzCja8dHmS42NJg9kUDiv92Idb+m7Wl1e0Hyw9feGKCEvGrFWVki/DC/Gtx8Jx5hYXicUj6hefefBAI+vSnb14cZI7d6f05yUVAq2g+P2sr20qnMxpc3GaPdX4e2dnUi9FdqkMnMiwKoLP59XPFHGMp04OcTg89CSTOqTNZtLa/xVFotRZhPouqQ3TaNISjypTQECSTz/7tF5OJUkgf68qbE+z+hkkHnC5oIyMDunWVf4+ScFcunhJN+Yf3bzDY09eIdnWyV9/+1ucGR3l7NkxrY1UKkJVd/P/8/QeQJLe6Xnf7+ucezpMznlnZnPGAotdxAs4Hu/IO95RpChRlJhMWhZpWqZUEqUqmWWzVDZpUbR4tCzLlIv5MsLdAVjkzXl3diennpmenumcw9ef/b5gCVUooGqB2dnpL/zf532e3+NxShOEA59XiPR5lpfXtEJTnC4YQvOvKo9A7M9SrfbwsfSIVxW2JRZgj1+2114qpbq2cIjnVSoPpbVG3l0Th6ZUoJIhxuv06VbURAaxKeYfzzM5PanQSofLrsO2DI+nTp5Uar2IS21avPjSy/wf//5PCAcCuAMerULs645x4/Z9heJNTkxw6/p9Ds2NYZroz0l62kW8efbSs8o+WV1eYXxsgrXNbYWira9u8dxz57A5nRqPkEz07l6KXDrHiVPHFbZ4//4jBRlalqXwWxl2kztJteAfO3YMf8ijTREiAkY6olpRKffVxvKqimyThw7x/vvva/OJuF/Ezi6xVnnXnjl7hntSaVmQ4Sf8ab69kCdfKDIyMqIRFsmSS8WibLXlGpicGlUyvYgyInzJNdBu1bVHvqtb6viKuqGVmsiZmUlpEFfuUmJ7U8WHJ0/mVaQQIUhiC3NHp0lsJ3HgYv9AYlbdROPCorJx//Ydpmdm9PPyefxYRlvhi7V6Vc8ex47PMTg8wttv/ojPvfY5Hj5+oPeT8JGGxkewtQ1tJpBN89OHT1UIcAfdhIMCjQyoE21jPaEibG9fF/OPHtPf18vg6AiFQkZhlU+eLnHphYs8vHuf0dFRJe0L1FL67EslWaodqDtAYIWH5w5pfeDE9CGFfVYFaOySZ0JYaxilcaFZa/H00QJf/7mv8e1vfZNTJ4+xsbmt9Y5i1RaXy05ii/7+XhU6vD6Pnmnq9ZqKWaMTo1x5531tH3n86Im2AvR0xTl8bJZbd+6xuiRQ12ka1RrjE2MqLjk9Nn3/SOwoFgmyvrmj0Mjh0QE+/uhjevuGGBjsUXbOoakZfe8IQ0RcFaFwSIVTiYyGQn4dIqWCVJo03G4f1WpRRbylxU19V1Sk4cIT1BaYB/fm1S0ptbMSBUhJtbIvrIPzqeOnlFEi15pULd998EBjU9KwotGuVptgIKitICKsxmMR5ZJIzMNsmvzCP/p53v7hO+p26urtxR/2qDNidXmV8bFh6jaT7aebHD95lHvf+RFO044nJpW3RaYHOkjnm2zlLP75JTfHpiz2EhDrcXP3YYGTR+KkDvL4Yw6Mqg+HzyJ9UMPwNDArdtzuNqW8ofDZ7r5Pt+YOZ5O1hTzx3gj5gyqhiIvNvaoKk/EeD53NIn/5EP58081sHOyVKgYuwr4GvcMD/MV31vj8aQffuHmV6jt/jGWPSvcX7eAw1cYeDmccu6uTRvIqtkAn/tg4rXaMcuodPHLqCHRjStNHVWrIM8iRynLHcfi6sRp7GKUqVnWLWmRahUdKyf+6jGgbcTALmKnHCJyfmERKj1J3NaCS0xYh3C4VsFqVLLZWFVtkALvZxLJEnDUwJHJf2qXV2MbVdQajvI8lFbhNA1t1G0sAgO02RjUnEYB/YRmSZ81v0+wZw2XroWWmaDbAUV3A1fZQtQdwGhWcpoUVPSZlHNgzN2jQg9swcXY/S6OZxkxdwwj0YATHadsc2Is7WI0Upn8Uw9ODsf8BhIfVfqbZuFIep78Xm7eDVu4h7uAUrdIujfQ8wYHzFB0BbAc3sNs7FJ5Vr6W1rgbZRNeLmMUkRrONffAsrcQH4BOq+8SnjgCpIIwdpbl7E3swrlVcNunvNpOYjTY+p0XdN4Fdch1yw1sm7ewSuLtx+Dpo1nM4Ow5TW3sDT/ckzVacammP+Ow07r4Y/+SrP8vvf6vML3xtjr2VTQyzqnCye/MJ6q0Sw31h/V7LpTydTovNPCxv54iGAxwZsvHf/OY/ZGC8RaDVxJj6sl4EVLwUEgnd0jv9ceqS7WiWtDLO1Q6TS88T65cs2i5Wu46j4cYMBmjn89AsYgYG8bgMrPQOViBIpV3H3vbiHLmAq7pDdv1dAvYI1bZUhrVxerupN0oE/CNUZTCxZNjwaf7EFvJjlhu0mxkC8T4aB6uY9W2skR/DKu/ilKzNQfJTm5G7Rr5axOOOKoiq1g6r88EdqrBz/wmffPwOIU8n0W4Xh577irYXFLce4Q71EYhPk0m8Q3TmFMWlu8x+5htcmg3RNxLH77dTLWb5L+/k+PY/9DF7oZPVlara2vKZrG4PhSQtv6fkMAVMs7GS4NCRaUr1qjpWXDYbW1LP1N/N4PAwe1sJPYCXi0X8Xj+NekMP/HJQTKXSdHbHKRRzOGwO/D4P4a5OdhPyAqkzMCRCkI1mo6lqaTErwplPieZiFezr72N9ZUUPbpKPl03myMwE9UJNQTMDY73M356XuYRoZxS/L8ju9gadnQMMdFX4sX9zQLJqMeQxyFZMpvrD/PUnKf7gt7/K1754jDv3N3nvw2sMDUjkQWxdo7SNBj26WU1SLFWUcTBzaJL5x481p3hocoaRsR5WNrb5F3/4EeNRP+ePBlWh/P6DMq8Nlfmtv9NHumLQE4+wn8nhsrtwOA0qhRK4vBSz+/h8EYIRP5vLK3T39ermKJPPaJ2L5GCloiO9n1Xir9S42FwiAFZx2gI8XVvhc5cPc/JXNjCsAudmYlxbOiAeclPONinh5le+cohWu0lv77i+nHIHaS5eeE43grOzM6yuruHyOXi6sKJWPNm4rC9v0NM/zPFjnfz6P/1LGjaDwYgbm0DBEgdE/V5ioQBre7u6Cc1tm3SPu6gWLPZLeaa6e6m362zsZHBjaN1X2+2kK9hkNWsxf2+LnkiQ4zMG3/jL/wVP10nq+3XKWw8JWWmqlQINTzdNM0TQ0cT0WJjpXZwSFbIcNEt3MZxh7KEe7XI1ggNYqRUMM03bJYwUO01bCXspjyMkqqz8c4JWpUjb5cYwKzhqKQUDNtJLOJpCgz1NK7uKo3OCRj2PyzRwWnnKmVWslofA1POY1TzV5FV8oROYRpmWt5NW6hMcRj/O3hlyG6/jjV7AK8/d2gZOR5Smw0Fr/wFusZL57ZSSC3hjJ6GyQtMRIXb+El9/5cf5ztsZPnvBy/pukaCrA1/IIp9vMX32JJv5JD1TI5T3K6TTe9QqLSVxC9SqvydGwB9kb+8At1cOUVLhE9UqzLWVBaKxCLtbSU6dPaW5TOmSnj1ymO2tLa2w8gclV+xmbz/NUWGLVKpEO7t5/OAR5XpVt73SkXz9k2vaES65a7Euj4+M8Wj+iVqNn71wnq3EBqGOGHa7QbVS10OP094mFIlq9VoyKXZVGw5vkCf3n+BwWhw9fkQ71/f2pW3gCNc+ucX4+JCCoWSgFUu3/HqjVmPu8JwOXwLWk0FJsqriRpLauHTqgHwpT9u08MpG0uEin88we3QWj9PBxvq2bp5+6me+xs1bt6DloLiR5GAhwej0AH7hlmzuYncYxPu7KOTLWCM9jEoudWkVl8ejw67Q42W4EGCcQLzE0ilupFxZtgCyvc1pZZhQswUY+NWvfZHrN2+TTWe4/MJlteHKRmftym2o1QlHIxqpkYO1bGXi/WGmvvAZdpaXaFQbWjOp1XHjY0xNjnLl/Y/5iS9/iTe+/xbFcl63bPV6lXJJPhNDXv/aET85fUjrvISjYlooqEuaFJqNMrOHj+izVFwak1NTWrcqYk6mUCDg8isjIR7v0A3zh+9d51d/7R/w+NEi+WJOh+zl1VXmZo5QzGdU/BDxVQ613b29uh2Xz1+G81arxdTUNKl0SrPhIuLKlvzksRNa1yXMgMT2Bnt7GeJdce29FqeCuBjk85VDeWJtQ2MG4iIw25ZeQ53RGIVqSTPTB8mswifFOi72WxELHj54xPDwmL47RDw6emSWaCyqMTQZ2MQWL4KNDEe+oE+J9GfPn8ewtTg4yON02jg0NcW16zeVHbG1ltD7ZWtrSzeJbcNSWr0MfrI5F5FLut+DoQ7ND8tG/MjRozy4/5BnLpznm3/9XR1ii8UchUKZQMBHZ2dcWxDWVjc/jdn09+LxulheWNVceUdHSKMaMhD0DfSxubaNz+fSLHe2UNBfE46DwgENm4J3p6fGlbovP6uRkQkinREFF84emlFxKVfMUSvVeOnlF/mzP/sL3SqXK2V9t8pAK4N+70Cv2rdd7oBuTsUpJLn/hSeLymxoNdu89+77vPLKC58uczx+trc29HsYnxzTlgFxk/T3dyPobunDlntEnjVlIe8Hw9o0IYO1QBLFkSHRm+WlVW1ekNhKPp9jZXFF2ykuXX6Ov/rrb3Py+CkePX6on4eAvWQDvLC0QMAfpq+3l+tXrzE5Pa0Z94cP7hKKxcnnJMrh/6+QRIHfSaTt7KmTCmGbGB3TFiq5ZsXuLtfF6uIyk9NTtA2Tg719eoeGeXDvvoLapP5SWEBP5h+zsrTJcxfPac2eXBMy1doMm8LtPN4gtXpF69oENPjcc8+xubGmtaXidIzHAiQSKUrlKl6vn421Vbp7uz/dehdKyhcYHBvC7nDSG+vUoXhldRWfXK++T6u+s7mcDsfSalMsVLhz7y5H5o4QDHrxeH0qKBWyVba2NzlyVCKZuwovPXfmBJ98dEPvhaHhXh28z54+x3e/+z3OnDvJVmJX8+1y5olFI4RCAf2Zf+fbb/Daa6+yubVLsVCkZTQUYtzT2UdXTw/z8yLg9NA0TbIZqdSTetcNrVM8cvIo+3tpOVpoNCOd3icsQowhAMsghXKBQi5HJBpnc2MHn9et76nZw3PkCxlikQ6FcX700VWthxOBUGDQ927f5MjxE+oOEDF8ZXVRY0Zyb0s8THgBPZ2dBCKyQW/j9gTY2lpV0ay3d4BCOU9iY1tjAcPDvZRyFW3Akdy7DOYSUbt06SI3b92hUCppy5k4YmZmJ3n9e29qnn9rc43zFy6om01cDtJAsLS4oudT4fNMT02T2NnUuIbUagrVVbguNjsqhAnvZHtXAOtOhZrev3UfqV2T96y8Q5aWVzSSJ++ft77/NnMnDmuTjLQoSIRiaX2Fo8fmqBkWG9+5jqNUpRl1YdWgL+Ykc1Dn+k6Vf/VaP7/2BS+v/zCHL2BSFRc3TgbHQ7z3xg5Hjnqxu5ysrpb52V88xrvfWWFkMszS4x1mjw6yk0yztVFRbk80KpBHi/fe3eGl1wbY36vSFfYSCpq4rSYHtjg/8e8TvDLhYSub5ZDYUusmuYJEU0yu3crwdPn/Ifn4fbzuPq3P0wHaF6Qlc2I1gd03iSHxT2+MeuYhdsspiUfa/ji2/B52WwkrdopW6q7Wt9q6TkF5F7snRGv/Ku7YZZz1LOXMQ9qRKRz1glb4meEgVnYdyx3WRaeS/b0uLPcgFk7sjopa+j2OEC17ELvVEBWDWrmu9cW0itAWGHqLdrCDttnSxbArvYXZ0adVhHbLj80sigPgf7JalX1VJ5zhOI2CWFVsNNs23JKXD0V0Q1PxDWFLPsZWmcfT+SymUBzrMgh20BJrg62I4ZqlWd3AIz3YgSFKu49xVA4IjL9AvZJGktvO8Cxm20Ej/xS/248ptQgHm1hej1bjWeU9Gs4u7EaLtjuIUdyhLduv3tO0S0IhFnq8H4fhw3QGKeee4Az24DICtJsSCQhjGXWsah1PdILK3l1s2RVcAxc0qyv2cyPci7VznzYGpncEmy1Hc28be0SU14BCfIQMbXhseG0OHZKRPG70DL7ZSX7l8qv8xa08f++L4yQX98HvZG52nHffuUWxAYNj/QStBmu7DUb7oF61cWp6lB9ee0jTGSCTSlMVdHLZS4e3xSsv93L28CFefukinpkJXIUdGvs7GMWWblOa3h680RFyu1fxBUc1f1UtpvHFu3FExqFQwDA2sdmHqRS2qOc3ifbMUq5n8fv7aHoCVJ/+kGD3CDWbi0apjM8nFNgsTm8XpsQ9us5T3fqASm2f2NEfx15vY+YeUCs3sDuFxuzWbaU70E1t7zb2aBDLGMDu7cPcuk7bSOKOHiO18Yju0QmcDhnA7dg8PTg8Du3ndJSTVNsdGC4vrf0b2F1xHPEw2/MJObJ77gAAIABJREFUZl56gfyTexx57X/j6JQooznOzYUJ2iw+2Wzy+383xvRUhEcPd9RKXKrLJtAin6kR7Q7pYbperimV2+VzYll28tJ/HPBpb3ejIbm9kB6UurvCSp4VyFcpl9eXnBx4xKIW7YiqwJVL72PWGgSjURxuqXKDvUSS2ZNzurVs1Mo68Hb29OAP+ZXaLfm47dUthcJ09nZTzGa0wz6dLeqgIJRx2ZS7vHZqVp3hPslg7rCxuc8XX+3l8/8iyUrVy7nhln4/2AJ888oq/+wfXWJuNMz3X/+Yzt4Io4OTOJwtrQi6c+eJblaPzB5jYekJE+NSQdnEYXewvrlOqSIW0wkOduv8wZ9/wtyonWDbjuf/FwLeuprkt16x8xu/fIK3P1jH1ihz6NAkNclXYpHZSeHxQ1//OCHJby8v6VDX19dFcj+rfcYCUBoY7aGaKelLV4CBMmRsJPYYGhsn0hPGbabxt6oM/Q8ZzoyFOdZt59pKjnLRomo18Ljg3/7WT3P/8Ty5ihwsvfi9AVXTNxO7CiVzur3sJbc4e/KMVmjJACagoPGhcXBU+G9/90dI886PX57ixr0tGm0I+5y4PT6SB2I9lAy0nadrRbo7RTTqJWBrUqq0VKxZWdyi2aoQ9sfo6DBJ5KS+CIa8UW4s7FAvN/j6xSi/+51v4Cg7WLl/k3i4B1vPBCz/mf4cAt2nqTWTtJo5/AOfh3KWWl3ggHXM1gGuwLja0dti2/eEaDZqOEoZTDOLI3aaZiWF1c5ir+Rw+HppBgew5TaxnH5cHYNaO9M2pO4mSSt/gLtjFLtsylomDquhlFl5LrcFUtP1As30Q8zd7+A9/OsYbTutlW/RGngODzWsdgqz6sRydWA203gEesqnOT7cYWy2ugqe1CXbPowxfYKJ8BEqNidfeL6LD26mGO/qYGAixvvvL+GMOml1eJg9PkPAG8DvC+khfHhsWK9Fmwyt0U6t15RsozBDhD69s5OQcVstjXLglOx8tVRU2OTxk9Ps7x1o1lMO7yLgvf3mD7TKTYBwspV1B5y4RYxsNanXG3oIkWypQLLEIi5WWdkOy7by6tVPtL50sH+YK+++yysvv6D36pUPPmRychqnzaEHZ7HeSoaxI96poC+hcMtBcGJsgqXVRe7feczZ05Iv3mR4uF8z0SJmOA275pLFpXD65DHm5xfpCEm1aEkHYOmzFsq3XFf53L7yCs6dOcXG5gbNWpsRyX7up7A7HKxtbTLWO8bq7bvY5Rod69EechnK3AEvj++t0NcVJ/7cDLvrm5w9fYL33v1Y4wb9g31srK9Tq9R1SI12xTiQ3LzdzvShQ1y7fotTZ0/oFjG5ukPXYJ9SuUf6e3n0ZJEZsUg/fkynvGOrpnaEu+1OpU+7bHbC011UfH7yWzvMHTnC0oqAo3oVUPd0fkFtwzaceugRWJhAu8T+/vaVj3SD9eyFZxSO5Qq4ye9nNQbxa7/x6/yf3/i/KYm19+hhkpkM2XSK0dFxFWglcytsmVQqpUOQWCtF5BShIBDwcO3jW3z5p77Endu31QIrEEGpuNLOcbupdHBpkJBGBxlihweGtBFA6Piy/ZZN27179xWINztzSHPAUvX0wTsf8eWvfFEp499//XsKVhTxQD5HAa4ODfXjdPsUaibiwblzpxQINv90AZ/frWCt+UeLn4o2nXHN7ct5ShSPdC5PZyzC+MQk9x7eJ5/NcPbcGRU62u0WHm+Iu7fu8vyl59RCLMKCWDLl/SPgs9NnTnD3zn1C4Yg6WSRS0j84QqtZUceJ/FkFiraztY1b4Zhi6jap18u89oUv8c7bb7O5sc2FZ8/qllxs6jJAyH8rTIq1tTW1LO/u7KrALVTyxaUlJce3WjWSu2k6wgFs4oBzCGnEYD9zoHEXIcUnEwn93COhCHsH+2qXNttNzp49yeryhgqgoyODrK6tkNw74ND0JMFIkDu3HyhMUlyQE2PDClMWyKBYkaU2TyrIJF4jm+G5w4d1O5/JZDXCJ/eOOE+kAvIgk6dYyDE3d4ybN68yOztLuVxnO7HF3OFZllc2iIS9KiKZ7U8762VxsLeVVKfPF7/041x55wpDIi4IgyEWVYux02ZTjlajJiJmEAsHW9u7DPZ18nh+UbfqYrOWd6l87URiRwHGThfKaZDcu9DjpSFKrutnL55l4emK3jvTh6aU4i7tAcKsKBdqKrQ4fU4C0ntfbepmV9gUN25cIxoTILVBPBbWrydOKQHlSia8WimyuppgdHJMGSz5YladCWKJH58c1UpGobJKdZ6cT7Y2dtna3FLgnt/vYWNrWwfAcPjTCKTY7uU8Ic88GZaFsyIQSanMk236lSvvaSOKbOdl0L5x/TbFfI7+oUGisQ6qZRH4O3n9u29xQq6BpVWK2SL9Q334Q17lD0jzRUHOSx6XCj7Q0rjKhx9fJR6JKqvJ6wlw5cq7DAwO6PWTLha10UWeLWefPcV3/vJ15o7PKqU+ub1NuVJVgKlAWW/cuMvFS8+wsbVFei/NqRPHdXgWUUe2/iJuCKRR2ke2t7f18xAXjAgMUuUn4ki5WFJArdwTPb09+j0fO3qED97/QPk0z108j8th49qNm7pdlxpPUadnD8+ysPiUE6dO8fq33mDuiDSXlfSZDU2C4TA/euNdXv3sKxr1ERfB3/v7P8vbb72Fxx2if6CT6zfuKXtD/l+Pz871D29phKhh1jl35gyLT5ZJJnfpHRRouItMvkilXOCVz3yGlcVlHj58qEBsWXbIO8njcquwIS0mhnB6/MLk6dZ4rMRtDh09hN1m18rAxPaBxufkjN3ZGdJn1Y3r1xE0Und3XN+bwqO5c/++umM8boPrV+/z8ovPkiqkqbdsVBa3CTXL2ATA7HKzuJpkatDD1Y02p3rc/N6rDtZydTwBPzupHJGAj0q9RXKvxssvjXP1+gb2plD3Dfa200xN9hAKi6Dl5cnSDrOH+ilkchp3Wl9K0zvchdctzkk/3/yLNb760yMMR230BBwM/cZTZrr8RKN2bWNa2UrTHevgyHCMP/3BMktv/DTx41+hdu8N2vEeWoV9TFsXRmwce2kX06hAaBarUaGd+gCXf0b5PW17HKP6FIe7l7Yrhq22SpM6nuAZyltv45Z6aO8ERHpoZLZwtt3KaWsXlrA1UhiR0xrRtBoiFoyCp0pzN4Gzow9Tqg4tcdi7MS0vdquM4Q6rq71ab+EIxrGy2zoDtUOTlJfv4ApYOHqfwdmo0yokaHvlWS1ihYWRvvG7luSKbe5+qCdpZJ7gFCurmcHc+Bj6TtE2vdgcTQiOYC28hTEsdvFzGPl1Gpu3sHdIP6JNbfVtzRu0sVV3QOICLTdG8wF453C4QjqYSQ5ClI1WIILR8tFuLOF2xGg55dAQoF3ewebw0CqlcI19Hm99n8L6t3H4Z7B3jdKQrkWzBoOXtGrEVk5hGh6MSkIPy/gHsbUyWA0XDq+fulXDZQVoFpaUZG7vGKdd3KJtC+Hs6KeVeAd/92nlGtStJlYljdUwaLWTqogGwofZS96ke2ycggWd07/N7ISdwc44S0u7TAxHiMf8bG+I9dBiv9jGGzC4eGKQxJKoWQ7y1KlmW5yd7WV1U2xeTu4uZtVyGu4KcuP+HoWqwZFeL7/4lTHi0Spf+Hv/GMfoSYU+1EubsHiDWq6qVkl7JU3G9OI3wrjYo9IxqdWJzu5pXI0G2Z1FnCEv4UCMSvo+zYKFZ+w0rVoKtxXH4e6glfmEWmgCd7uO4eqg2cphb9mwaFNJfEy8/1kqbj+tvY9xBI/QMEu4/GHMrNTQVXBEZvBGuqjtLtPK7OIdOwu1NPXUXWyebtyRQerpVRzhCC5PH+XyJo1iitjYFyluvEPTHSbcfZzU45sMvfI5mitXmX7ud5kYChKLemnS4Ei3mz/6UZo//4UIz1/s5PFqkY0VsS+5iHUENO5h2U3NUdk9AmWRfH9QD8l7W/vUqxXOvXqJXHKPg9Qe3V2dbCwl6R/v1+zf4zuPGZ0YZnRiTLtgC8WM2p3EpSCbAVGkxe5fr5bIZAp6oDnYS9Gs1RXEValXNfIgtnX5/4LRINlUSgcGyQ5LNsjjD2AJndPdQXp/j4DfSSDYwe0bD6k2nLz4yhm89QQv/8tNwt2jBFtpiq0mU31RvvPJHj/zpSmePdzHw6cpzl04S+ZA1EUH2Wye19+4wisvXaJu1vSF+zNf/xqFrGycyhSELozBpVNjvPnBfd68tkOn32B0xM+79/bodbv48ck8n704QPfsLLlUgkbOINPIMz7Uw9qTLTweB5lsGVvbRbw/qPWKG6ubBKIBFV9CbrC7fAphPD7XR6tawWo36Yo7sBweaiUXwY4WiYTFz/1hBk+XjZjXQTrbxt6qspE3+YnLJ/iNX/8C3/3OB2xs7xIPBnALnHEvTbNaZ2RyhL6eOEura0yOTPBo4aHCpKSDvaezg0xhn9/7vz6ibfPQLGboCDvpjHaTFZEmnaGvu5/Dw908eLKqB6cfvnud4XiA6PQIiYdP6OyJ6ecsOct806QnEtDaJYGiprZSHD8+zbV7S9xdKHNmLMSN+39Aq+Tl4Np3cQ8cxeU2ySa38Qus0x2gYRc/QZtmMYcRmcBueJWwb9qkXz5Iw7BwVWq0PW6oJjELWVV4q/KyaJcV2FmvZLUr1nIZ2Ew7luWhZW/jdYaoHyxj2tN4HYeptwsgNnbqNKwQtA70eejqv0QhPY/PsNG2W5h1hw7i9q4YZNMUt98nNHCJspnH1TLxdJygVs7TamVweMI4bA3aZhGbM45/coLlj99i+jP/O//9lzt5sgsbqwXicQ8Or53MbhGzK8jXf+3n+MFbP8IwHQT9btZWNujoDBPv7cYjucCbj3RD+LWvfU0PSwmpl5JoTLFGuZSh1WrjD4e1K13I0lI7NHfsMG6pxavXVeiqVmr0dXdx585DJf7He2NUChXdOIktee74EUqlCndv3lSwkwCTpP7v0uUXWVp4qq6YsdEhtZsKI2Tu2IzW9D158pTZuRmOHJlheW1NbcJm09IO5ka9pi6G8bExdlP7lApFrc+T7W7PQB/ZvTR7+0klRcthSSjpPT09PHn8WDvAhdWyub7B2OS4ZsmlkrNZrTJ7ZEY3cweZgtolJWu+tb7O7IlZnrl0jn/3r/4d7fUGz748zV4+Sz1Vwx52aTe0UalSC7gZf/kZtpYSGn1xeh1qi3VLHWy9zuc//ypXrnxMrSad4eM8fvSUZy+c0U5toanfuXWXz3/uM/zV33ybc+dO0Nvdy/fefJPLr75KfmublVvzVNJFegc76YhH1FFVOMiQpMrkuaNYxZoe1OReEdv76sqGWjHl/SHW1LERqRSUFiAPlXpJN+5SySa2x8RWgsNH53Sgk01avlRW2/zm+pbmU69fu8NAX6+SsKV2UbLxi0sS4zhErVkkv59nZm5GBUeBoonlWQBam4kdGXEZ7R/Set1iuaKb/6HBfoVdCQxOliRbuwmNjZQKFX2mf/jRVaXNn3/2JPNPljQT3RmRLucGO4kU12/c59zZU1o5JnZfGdoePVrUbcqZM2fYz6RVaAqHo9y/d5eZmWntc08dCN/Ay+HDx/Way+ayKsqIm6VUKJPaT3PyxBzpTF6tyeJCEat0JBLTLaAMXdFIhw721258wszUIfZS+5QrNcbHBqmUalQbdY11ROIdTE1PcfvOA6KhkKw32M9kNEMsFYg+b4DLL77ID954g83NXV597QWF6sn1Mjgypn+227fucfjoNLlcVSv2xM0mWX7JeUcjEe2VF35OvVrVYcEX8JM9yGoeWGI0sXiUtb/dBPcP9PLo4SN2dg+YPjRBwOdhYWlFGwe6u3u0JUSaK3JC9+8fYHljifHxSXXKBIJBfH5pCphnfGSUodEB3eJurO9w9ZPrTM2MakXa6Ngkb77xFn1DUjVm4g+EFaCYSR/ooGR3uTSrLrEKuR4fzz/g8gsvqagswEypzJPIq3Sni0Iig5fYlmuVhvIcrl+7xtFTJ1l+usj6xiqXL73IBx9+QizewaDc+4UDOsKdrCys6PNAmD+5bJrh4WFu3bipg5owGbYTe3TGYuRyeRXGpEZYhJOnC0+ZOjRDf5/8PB7Q3d2pgqfEDCRrbtYsAiEve6k9zp07q7BBEc9q1RZjk6O0LZP93X0Va+TXZespNn4BiaVTUrk4RSafVWGyXW8zOjLAjvx8pWVD2o5MyY0XWV1LMDw+oDXIqZRk3qPUS1WOHj2sWXRh+3SEouoEePbyBb0nZWMseyxxO3jdLoUkh2Nh1lcSuiDx+ALq3BHhaWBI8uabSjrf30spP0KcHeKmlHtQ/hxy/4uLQECfMRVWDBLbOxyem+PWzVsaB1xZWGN9a5lf+eVf5Pr125qhFzuzbKfdHofC+KSwSEQ64XRMT03y1ls/0EWQuD1K0igy0q+8BDlDiXgY8IRUcBVHwOr6IhPTUyoCLS0s89xLFxXIt7C4xAuXntPraH7+Cc88d56N5RUqVVNbpy48f45UKsnM9CwL8wsqMMhnL8DB5eUNwh0hdbWJA0QgrtsbO3qm7OkbwOv1sbayrvDI7p5O9pJJjd90dvVok5PP5WV3L8nY+Kg+H0VEEcFLIIL+sI96tUw2X8PjtKtLVa6R9N9yopaeLnFobpZcdp+Z6UnW1reVaxCJRaiWqhpfy+XTKgx1dca0kejxkyWtXd3Z3FaxXZpAJGY0MDysouUzZ07yg7d+oNBbj8dgdHxCa62zhZyK6MKacHttXL92V0HhIhpLlLztcHL3u1foatqoOx3Eujzs7RSwGQ2Gewb5eGWXP/9qiGLBpOJy4TWqNFs25SJMjXazupGi1nRw/nwfTx6kKFdb2I02ltUm3h1gc0XurYa6I8RpJvGHgT4v3/ybpwzIO6zPRrPgIFMq8rnLAf7qLYt/+VGal8YiuAI2XM06bbcPSX7/6MMUv/ebl/jZ3/nn5N/7LrZgL+W1qwQOPa+LRqcnQKWUxGs1aPujGKUt7L5hXRoSiWMm7uEKdWFzd2q9rWmTZi0fDhL6eeEcxNHI0jaTEJzE5u3HmXqHtnuCWqQDl+XEnj/QaExbMv/CZ7E5aBpgCPst2AnNAlZ2h7bTT9sXxSMuzkKCVq2C5XLgEep/xyCFndt43BZG8DSO6gZ1qRX1hLFXMxiZ639g2Wrb1FpNPG67dk+3XD5a6dvY/FPYPUHMwn1swTkMp412PYfN1aWRgXrmOrbOE2qbdwp7WjIJNrAHe6AskL4tGqFxnI4OWvm7EBzERgekn2LY25j+ALZAPw57B7WdhzhiXZgEcGa3IRDEqicx5Q9h2cA/DrnH2Dq6MF1dOIqSg0uBI/bp360UuKM4zCJmy44lbgCptfG48HkGaTRKNHdvYfPYcHacxmzXldRu+Psxdq5g+QawAn6c5U1sIfkgq5p9apZKGFYd01ag69xn+eWXfpaPd6oMdsd4MJ/iM+e6KaeKbBw46Rlz0OUzGA6FWE/l6Orp4IeP9wi1y7xy6gjv336qN1y92SQYkhq6FJFOF10dMe6vbxDwRniwti9MbrXHBN1SY2HxD37mWX7s+RP4xkfw9fZhObxYC3s0SylyrS2qpSZxd5BmcQ2z+wSO4AiVR98gPPJ55O6pVPJa0+gxPdA8oNBu6ibCZTloVJZomDZa4VH84sJot6jVLNp2B0ZuB3t0EivzAMs/Sctm4DOLNBwDGJU7mERpVTPYeqZxpp9Q33+Aq+8ZXL0XaFf3KO3ewmmUcESO0ygl6Yj0kN96gD0yhC3QR3FngdjoNLmVB/Qdm6Zo8zA28hucnIkQj3txO6qMhw1+/4cN/vIfuRiMtyniIRwJ4PcHlehvuuDsOQH/zZNJ5jQ7H4rESKV38bn9NOUFt51j5swx1pYW8DpdbG7tcPGl51l8ukB/fyeFfJ3N9SUisS61/csw0dXdR6VRJiOKuk8sawFi3b0sz99HIjNOl41YXy+Volhvyrp9EEiO2PKkZCObK6tq3jvYz+3rt5mcGFewzeZWQg9LUh9nNAwlZh//3DHcmSzHfnUBRyzAeMhObCDCk/kEu0Un/+RnTnDx9GEy2QpbyW2KmbIeRsRW6PT5+OLnP8f773/M4/kVXnzpvFrJlle2GRiU+qAkz5+e4M135/mDv7jJ7EgEh8eiUGrRHfTyWnyfX/qtZ1hay7EiToyJXh4s7zJ3eJhStkWlYBLt8WJV91hcKjAyEtUDYVdnkL21PUbmAkoYLu2WtQ6x7LSzuJ7j6SJknR7urxX4f++6OBWrcW4qxIPVHLGAl45IkBuLCda3mvz9nzzBV16Z5j/8x+/wlZ/8MvGYh/X1A91iuoNOgv4ITptszR2kEkm12sW6Orn2yVV6u4R0Pclv/s9v4Olw0+E01SHkdzfZ2itTrrTpjjixpO2jIkJ8m6GxPiqlHK5giFRScqWyRXbgMap4bC4dnkKdUSyHk5bZwNVokW9UGRoY4P0PF2kbHnYe/w5N/yz7t/4j0eGfpiJ9qxvfolKHQHyIulnEI12x2Zv6eRA7BbY6zsw25XYdT2wGyzIx225cvgitWhFHO4fl6AB/BKNRxEyvYHSex7TWMVZuY/UcxnL5MbIJPP292CwvzrZkwYXdsUXL7cAwW7TcHhz4aVULxKI9ZOtlmoUUhqOh7SaB6AUsXwzLH6Wd3qGaW9VNgDSmuP1BkGiVTTL5JXbWlph89Wus3vo+4y99g197rZ8nB1VKpQaNWg63EVQRLnCog7OXnufaJ/e0QUJs27liEa/dzl56T6szBTBlM4QF0NbtysT4hG5yK9US5595hrXlFb03xYTw6iuv8NH7H7KwusaJ40fJF/JqlZQsrJCzZVNZr9a5eOlZBZGJ7V42xIuLy7qFEOuxQPounD/D+s6GHuZmpqdJZQ4oZWtqaRZ7sYC0pK5KMpUSFRDegFhwDw72dEss+XDpdd9NSS+0C4/LyejIqPZESxWZ1NFJhZfECWSDJJZYeQfKFnc/lQSnU+3LtWKZutnEENtmOqf1fNLlvp3cpim90cWyWhdly2V4PKQOdoj64lQX1zA8dgUn7q/s4vK6abpc2NNZyl4f3plO+oUAvXOgtPKOWEwtnsmNLTp7O0kkdunt6scfdhP0BXn8RHrUpa7Px6gc6A5yzD99qq6qRlWYJ1HWthLMDE9QXBCIZBObE7LivsuWCAd8xM/PEomH2JAc/vQEpVqN5OYO8e64AkhHJqZ0M3z37n0i8aA+L11Ot+Zed5O7BLxedQ8JQFEGIdmSyvcgVlSnOA3yGY2KnD59XLkJhXxRO9tfeflV5p8+Ym97XyFfAlOUr1Wu1hkdH9JscbPVViikkPvHx0bx+n2YdVN7qmWgL1dLCntyO7x6HdarDW5LVnv2kFYNyjWzl9wllSpw/Phh/AEPV658yD/4xZ/n/s0HJBKb+IM+rXebm5nRKIIIPvLekLy9uA6mJ6fVIru6tKKcFKFUi6PQbDZ04Gkb4gaIsb+3T2enWJJr2uSS3NnF6fFy5swp3d7ms0UqNanCcnPn9kM6e+JcOHtOh710LsvJk8e5desWfk9QI2USRXn//fdULDt+4iQba+tEYnE6wj6FJcoZrW20CYQF5pZRTlK1XlRy/t7Onm4iI7EodkXrWloTl8uVdDibmhzj4f3H9A70k9jc1Bz4MxefYenpAvVmnXKhqj9viYWtrklrxZhmzsXqLxvtWFicMEUdrLc2E0zPTlKvN8nsZ5SnIaKKbK6lRUKEFKl+lCy4eFpFqBOBybKa1GtNBRZKDFDqAMUGLhExcVRIVZ58NkLa39zc5OixYwrJS2ztKsQtt5/XpgepGUwmkyo8CQRvZu4IjXaV/e19Gu0Wk+NjLK+uE+sIq9Ph4eMFTp05TaeIYHIWbaMRG4E7ihPgRz+4ou9iccHs7O5Rb1S1lu3hnbtYhpPDJw6xKFV28U5dgO2mdnnmmbPcvnFPB0Nx/XR1DVCp5ejtG1BHgzSJ3LlxW+snRSQzDFS0kAaF5y8+z40bNxUKKBDBYqGqsEBpKJF7SQQuGYYHBgY42BcwnU+v0Qf376pwIHwOcXL4BIjcaGoUUp7VJ04do1muKo9kamqK9z/4QDkV8rUDfnG1PNBohkSyBKIo39fgYA/JvT0iwYg6eYROn9r/NA515MQxNtfXVeSyWyhvwuWT2sAt3C6vwufGhvo5yOTo7erWGtIPPriq17E8B6TJom+4V7fn29vSUDBOYkcqD228eOl5Vle3KBTzuD1Osrmi1mnKNTU1M86TR4/p6unT+tHxsXHGxgZ548039VwnUZ6Fx/P09/djGYZWU8pfu7u7nD55CputzfWrtzVuIFWhkXCU3r5uKhon8fDRJ9e4IJ/frbtckG2/066Vn26xSzZq6g6QIdjvc7G4tK4iijgmtnY2GB+dxOOyKxtCoH4CsRwaGFHxTyzzwWgIOw42ExscP3KEjz/4hN6BHrYTO/oeEQaFCFvyXhI3mCwaxMEUCke5efM2I0NDmDQYFBF9O6HXRm+PcKwi6mZbWVxV6O7G5rpyr0SkFFFWHTZrOyrO7iYTyjgQd4kIJbIoG+zr11hbtV7XiFClkNNrVESZ//Sf/lSrXm02L/uphIqsAkuX6I3MYHce3qevf4C+oS4St5ZwbB9ghX2kUzldmF4+Nc13P3qKMxLmv3zZx/RkmG+9t8HEUBd72QL1nEGky8niQoGxCQe1ql1bIHr7IyrudnV2sLmaoSMmrmRZAPqoVOusL6aZO9aDZTfYWy9x/GgXS9sZxvrj9HS3+b0/TfOHN9K8OC7zhotKtkaxUSMa9vD96xkuzIb53s1vkr/yPfB1aX7f0T1Ha1vaW7bxxp8hv/8e3q7LYDVpCZi+UcRuD2tsu+2IQD2FPTCLWU3pvzu6j0H6EQ2ZjyOj2NoebB5xba5iuSJaR26ZLgyXLGLrGM4YVn5LAYuWp5d2a4tWZhNX5wCpu9F5AAAgAElEQVSG6aGVWVVOmzyDqe/jtLuUA0KrpO1drtgs9uKm1jna3d0IX7BS3MXjH6VpL2Kkr/6OZdSEPh3Fkr5vqQto7tNyD+KKDGsVkqe6ieXpwJDOxNQTLE+EdiOHaavijT1Dw6pi31vEFp+kmRfggIVz8BJW8gqGeDG8MVzeLqpmCbNawWVVaJtOtUcY+UUlE2K0cHQcp11+ovn3Gh4clg8y81jWNu3en8SdvULTENFgmEZ+D68/htmUXsd9fO4oDQFy1daxS/ZVtMlmCdwmRnGXhqhTA89hN0vU959idxSw+cdwBULYy01qchjIb2M6+/ANn8KevkupsI874MdrSPd2DfqncHX/Mr/19SlWV/bY26sQ7TdpmxGeJg7odTVpGQFu7zaxm2XOz/UzM+BiYSlNTYbKqIuA20HA0WJxp0ah3uZYfyc7RZOKrUzE5eDM4RgbuwIiM0knC6wU2xT3GzjcSBEEX3gmwmefO8QzX75M7+F+MA5h5bZoplewmREyOTfp9R/RJQf84XEctRIuxxCGLaFQOZc3SKFdo5hrEYxJj2Ubc3sBw+fD4Q9STq3jG3oRm7wcdu5Bu04+eQV/cJpA30VK2Y9F4cEXvojRXtNqQmPwDG7LjZl8ihUdx5S3VT2Nkd/BPTiF2QhS2rtOdOJVqvUq9uKiChP7179J30s/TWllB1+3Dd/Yc0xN/Qo9XQ1eemaK5e0qEUeFv75Z4o9/PsRsrErdHWdocoj7N+5QK5sMjnTSatuUDJ3LpMnmSnR2RnVI3FxYp2cgzqMHSwyM9NARDWnlkVPIvJks9VKTbKXAYN8QnpCD3Y1dGpWaKvNiQesfG6Z8kFXLnAxGEiMoZ4vMnjiqdksZRorZCi6vk7HRMfL5tJKcxUnQ3RVT0KBAbeTQmUoe0NfXS7S7k8TqBrVqUYnTUg9z+NQk20vrfPaf7RIaiTIbbZKqtFhYKpAtmbxyOsZv/upX1CJ9584jTpw9RWesQztl15bX2Nrdo6c3yqP5FV773Cs8evxUD0Dj42N0RDxMDHbzr//oLe7d3+PX/+45Pvj4Dm3DSdVw8pOxPEfOeRkc68bmiZFN12hX8nTHTDq6gpipBqE+jwLKTLEQ5bM0qbKfcZBvRfjPbyxqU8jTdYNHB3kqIlFio2U46fJA1F9j5cDis4c62ctmcXqkbcGg3Grgc7t5spZnqsfL//pvfl67j+t1B+GAh7uP54nFuhkZ7OXxwyf09fXRNKsYpkGkM6aU7p29JEFPkI1klm++c4eJ0T6ePNnA5bAY7I5y99EuHX2dvPyFl3nnnXcZGz5Ey9aib/qQKtt/+sd/xGe+/DPkckntGP74R28oaKq5l8NoN+hwe7APerBXvQqSrFT3cLpN3no/T9jvYOfgP1BOhmmvf4BZ2MVwuakHugl6xqmW0tiiQzQLG9hr2zi6L2JQxXT4sJfWsZkWdbuH9sEC9o4B7IFubGYF0wpgNjM4wl6oeTFLS1jNDPbgGM6W1GduYe84ikGQZvUJPu8sydUrRAYP4fNInWcCe6ALm61EI7lJzTdGwBehbWvQbG5qK4un8zQBV5ti8i5GpJOgr59GLa+ClNnI0KplcHed0EOxI5cicOYz/Nvf/hX+6R884hdem+Ph4jbRHoE3WewuZdislLn4tc9qZl620OdOn+XtK+8wNjqlECjZpvuDbpbXt3ju3Hl1MIkN1ydWOAy2NnfoGezWqrB8tsqd2zcVwDZ5aIzE8jZur5OMgMRCQQW/3XvwSL+mbNME7nT27BFJ2LG88JTR8THNjQubZHN1XSvWRCzqCHXo9kaq+aZnRsmn8oTiHTpopXYOmJ6Z0wqvoyePYcdQMeDkqZPcv31Xe+dlU5k9SPN0YYkjx44wMTrC62+8qf3XluEg4PNjt5tEOjpZXnxCuKMDl9dPJrWvW9LR0UF1o4jt+Ce/8uMKC5TNmNCpZYMlmyJhmGxvJ/Vl3TRqRLwdpO7M09MZIykdy9UKvkiH5pDLT7cJjQ4QuDBNaSdHNptW679stOp1ydnX2d5IKGBUBDHZ5ko8QgBQko1vmSVy2ZLWPgntXeqg9J9uJ02Xg90HC2x9/JjhqWHy1QKpfImI3Y4/EuXIj13k8bxAYWU709bGBblXBcC2mdimXW8ydmicrbUN3Upeu36DdDbDyy++wCdXr/Lcs8/qsGy2TB2YhTgvFX4dHRFcLhtLS6tMTR/CZjOVKn/n9iO14gqASjaRIyPDGjP59ve+z/DggFqiZTssh2PZMkq93eLjp+rOENuugJOGJwXCtcnCwjJjY8N43V6KlQpb65t8+Se/RKVa+NvqNCHwxz49+AqfoNVgZHiQkYFhvvfG6yoGvfjyi6ysbugQ3RL3HCKk1/T3XVtdptmUOtQCw6NjDAz2kkpm+PjqNV59+XkVlyQ3G+34dAu+nztQZkHIF2JobIQrb7/7KV1//jFdkW7daBmGXYcPAQmura4xMjpCs1UnFJJrMkO9UdH4i8Akpf89l88rI0Os4wJn7JRBMVdW2Jv0wp86eYLvv/EmPV3d6n4ZHxvQjm9hEMg2TeoKLzz3vH4v/UMD0vyl36sM2FLLKnGeYq6gQDoB2oTCYtu/p1V5O8kd5XvIYFEqFYlHo/r+ExHI5/NrLEfAnRLD6OmMc+/eAoODXTo0nTl9jIM9sbI2dassLSFDg4Pki3m8HrdmuwUe19fdycLyslrVvW4Hbqebq7ducfTwHB63F7PV0lrHfclxh8J4Az6FWMpwKNZ7+Tm0m23lisimVTLrsvUOBCLq+NlJ7LC7u60/d+EvjAwNYnfb9Xq9f/uhbl9HJOdvdxDrjqqILF9DKikl9uN12VXQkbpT2ebfvftA38WL8wucf+48V69eV0DeM+fP8GTxCXu7B9ooIHWnpllXiGm4w8+9ew+U4O1xe2iaAuJ0Kqiv3Wry4NFjenp7ldcj9me5Fg2nXT/Tzc0trdATYSfo9WhETByK58+fUlioZOFn5g5pPC6VTDI8PszW+jZBvzBEGtQaFbyuAIPDQzSbVT56/zpnz5/Sa1fudXFEyTPIajvU6i4DtYTnJSYhApIsktpY6oYSp6Q/GNbnisQ6JOYntYkODPKlCl1xsbb36+AvEEyBNwsfJbm7q6wNcVjUyk2NCEQ74hr1WlhcVChgT3eUYIdfRTSJh1Srlb9tEbCzs7PJ5Ni4gji3d5L81Fe/yEOp2nP7VNDaTaYkXaDPxJ7+OJOHJvjmn/8N5y+cV/FWIjHi6BRVN7m7x+HZOQVQCsRWHVhOyKSEydCnS5xMLsf09JQKzcKoEHePwGMvX75IoVigXBUOVI6xMXE5JPD7nMQ7e5WTcJBKqvDs8wcoVwramCCNBsVSWSMHzVqNTK6E3+9geHSU96+8RyQS13ectOvIqChuutOnTunvJdfv5KFJ1tY2ufjsM3z44YcMiqjitbG/n8Hl8CooO7N/oCKSvC8LhZxe1zOzM0xPTKgjSpgFIogKuFZEZZcIpy4Xm+vbTM1MqMtVmk9W1THXJN7drYDfaqnE6rLE32K4fU4VF1544RJ/8a1vs3JtlbmQD2fAo7OlvQ3ekEE+0+ZpzuSfnnPx0lE3T1aKem1Huj0kE2UMy8nohBu726WOSokt3Lu5T6zHRWc0Qq6Ww+/w6vlfGmmmZmJaI3rrZp4vf/0wlf06tYLFQUVaEmAk7uIvr6f447supiJQK0nk24nT4cJnldlvg5U3ubv3FuV7V6imA3gGemgkn+C0SYNeRblyjlaapkAB3TaFzTutFnW3l9bCn+E5/j9iJn6A5e9R8LK4APzxk5RSj7B7gzj9MZpSBxgawV3ZoOEOUdl8H0+9jWvmS5QrAinuxVZ+RLVVIuAbVP5AQ9x0gy9pi4XRStNIV/F2dmFWMzRMFw5XHBt5Wo00rp7TWKUUNYGGN6VSVJ4lDey+LsziDkbm49+xZEPl8A5oL7XZymGzOZROKoAch9eL0SprpZZsg23VZc34EpuGfBVsKWyWk3ariCN0hFZlmbZN7IjSI++kkXpIu17G4e+nIcpDfBrDbNMy0zhCgwoLFAECs4EtMEJ5+wa+nsMKuJD2ALvYUu11WqYTe7kMoThGeU/z+67OGRUY2s0qjXpamwxaxXVsAR9mqYLpi+H3jVPcvoadNE5PL6aAuFwCOKzRxoejvkvVMYCjncbePsDu7MAdG6dWzqhtvFHKEg5axJ/5PEsffoup1/4zpyZDjPgrmj8pHdS4X/SwOr/OD3+7F7fU5mSqbOedvHMvSdkI8N1raQzDqXnyfDXDs9NxtncKzPY5wG1jZ7XEhfMTpPcPiPbEWXi6idtyEBv0srshwB83/oidUrXND2+VKFTrDAYhGIKLx/p5+fJhjh+L0T/3EvT3YiQf0HDO0Xy4Sr11l7ppp1E2CUS6MFwhPIFuYcySTs3j9QziDcb0QNFuFqhuPCAw8yyULOqNVb0AndEJqsV7WmfRMkOw/wHO4VexxNpiFXDU7JjOJnRMQ/YplcXX8cZnQeoymgbenn4djvbufRd/LYG95zKeoSO4qmmM4DDZYoue2D4EOpmZ/SVGxmKUC03N2mUrJVb27fzjZ538618d4srHe+SrNY0tzJ6YIp3aJ5MrMzg6pA8eeWhlM9JlOqCbEl/Ip9lLcVuMjvWTWNvVWr+qQADDIf09BPYUiMqLK8R+MqGtGVIzJypcOBCmZWtTlu5rt1Ntvg6ftD3I5r+q1FOhWXfEutlbS2gF2HYiRWd/nMGhEa6+d0VJtmJzC3jc7OwdMHN0nFiPDLaPKBzksQwfx5+L8t/98w2+vdBgKN5Wi94Lp3r40+8n+NLlCX7p71ziyscPlFfw4osvfJoZTWf1hSsPegEtvfTCZX74ox/h8wcJhtwktg545uJxwv4oP/GLf8RQT4jj0yF6O1189LAIthZ/9vMBGp4aiRScmu3EYZVxDsa0ISO7C9fv7tLwuFlezrBcivDeJ3li/V4SZQe7+3nchlu7XA/1ugkHWixtS97ewUxfiCfLSc4eneThygFRn5OGvU16v4TbH9BNnRy6E/ttfumrRzh6aID7j7e1193WrmM5nZw5fpylhQXdqor1W9Ytn/ncZf7kj/6Eo8eO6ovWMGu8/v+x9B7AkufXdd7XOed+/XK/HCfHnZ3NEdgFICQRBCiSIClZFinJJlVlyRItlklRySWVyzZFW5RESiIEUCTIhUAibZgNszOzk+eFmZdz6n6dc+42710Vagu1VVhsT/c//O6553zngyV+dHORaE+Yjc0krzw/w8zkKP/mP32fF772s3zj577Bd3/wFqZqm4DXzcbeOm+8+jmW11ZIHMVpttpcunqe+/OPKWWL9Hmc7K1vcefje4z3Bnj+6ml++NGHuExuToz2UzJm+MH7Sa6c9PPnN35M7pP/l3IihuPUr0BqSVs+7AMnaJTTtAzSEjAMu9+nXs1jHH4JS0t2xVZM/h4awlWx2jCZPdRpYSltU2s3MFiGMbb2NTpi73mdWvoejWwdUziKwR7A2RL43kMckUkKKx9i8o5jNLlwGMu0jC0aIvDksgQCdkyuMPmjLCZpXJHP1Vgn8WiL4TOXKDbstET06hrAS534wSJOT4haQWIsfnp7QlgufYWp8BlctionZvtI5sqkE2VqUpuTqnNQb/Izv/V1tpYPiO8f62E5l8kS6e+lUWloBjMUCSkoTuyUb775Gm+/+77W+XicXsbGJ0lmjtjeENvkLPHYod6bfpdbt0nSBS5248O9I4VcClHZ4fLweGFeoV1DA/2cvXCR7/7xW/RGI2qNlI7mRr6mYpiAPWW7++j+vOZRJ8ejrKwIYK7O+YsXWXg0R73R0GtK7NdbG5tMT40rBVoOe+JK2N3Z4emrVykUJQspENYWPq+ACe2ad77x/i0mZye0rs0m5eJ6LOvoRmnu4UMlxp86e4r44bF+B9HRKNlEmmwuz5nz59naWCVXKhJwBxQgtX+0r9tS245wRFwc59L0D/Wp/VAO9vnDJOaeEI5TwzQTsqlNUayW1Eot+W/J49++dZcXX3pG4w2yLZft1fjopNpcJT+7uLDMpUvnqBTLalkdHxvj7v0HzJw7QSORZe2DBQYn+xSKlU3Jps2keffVfJLhyREmx8dIxOPEj+K4nD6lQr/5xme5dv19bWwYGx3GYjIqnFFq3uQ8ofRhg0HtsNHBqMaYxOIpmcRSpUIo5Ff+yVEsSSlf1MOpbMvN7Q7HKRF4M0xNjbN/eKSRjGatRTASZnX5CQaTwHyNCqSTAbwtHe9Gh3IDBO7V29OHx+fiOBHHabOzt3esNHOxyg9GB4ntH5MrVoh0d1GvFhgaG1MK/MH+gcIipxT+d8zY+DDxZIbUcVyFHrGsSL1cT2833T197B/u4zCbiY6Mce3au0yNT+PyO0gncrgcTh30xL0iYFpxjsm9IvVxDocJv0IjjSTjSRWcz56Z1ftJOtfFpSEOJmnPkO9FYHByTSZTMTy+EM1aVSvhJF6RzKTU+t9sNHUIkym+02iQSmfVUTA0Oky91lbRWpwFAgyUaIrP5cEf9Gkue2VxlZ6eAUqlPE6HncNYXNuLJCojjQ6peFYHLrvdTlXihyaJe7n0mhbwmoBArU6XwgelGUfqIR88fMjExOynEEaDUQFvH334MV/96a+xvbWmW+xgIEI6JcKZj1IhpzWIIt7ZrU6y+awO2+l0UTkIki0XcWB1ZYuhoUEdaBYWFxnqH6RUKVGtC60+TMtQZ3fjkMFoL35fQJ14IkgUCyWNcbjsVh0YJqemqFYbOmBIe4jcGwJO3Nxa44UXX9CmiUqtyNTYNHfu39HIhtR16ZlBakA7LZwWh9LpxfEnTwFhSYjDShoNnG6/OhzEei+VzxIlunjpMreuCxPJwPnzAq4sKRtgcmaSo/2YbveEyyUAVDodzY3LbyD3tHxOaXuQ5ga5rwTYJmcBgRv3DQ5gMRuYe7DAYHRAQYk//uG7jIxHeeGFZ3jv/Y8wGsyEAnJOK+PyBDjcP6BUqCg7wmI36fb/0YOHykiQAVVqG+1WK/VKjd0jyVxP09ffza0bn9Db34/NZlXhpV5u0DQ26IsMsLu3o+0IsjARsr88FysVued6FM5ayOe15rVXwKalMrlUVlsf5Bne19fP++98wJtvfpatnU2NLQgYz25zYzJ1mHv0mJ5ILz29XRTLBR7dXeCNz7/G+vqmxmwmJ8b5+OMb9PSJC/hT6OH62royPETQatUaVOpVfWZKu8vc3AONiImbs1go8/rrr/Gt//QdPF63OgYezD1QPsb0zCwWq0T6HMp9EHZNp91RXpTbaWVoeFihpgmZIao1JqZmmF94qDWNUrkn8Ee3z0MqlmD6xDTpREbdAOLq2dnboZwpc5A4Jhrt1e9UBCVxTIjrrL9/UJ+dH3/8kQoBArydnhynUC4qrE/u35Dfz95unHPnzigXRYCcP/8LP8vd+/dpNxrKu5LWCIlOSEWyxDv6+vv1WSfXl/xWUncqNdCnpAlnZ4das6FukqI0WPVGVBgQPkt3l8A0oVCuUCoXaNWaXLhwjkKpwN3bDzQ6ND47gsVsJnWUxLJ/zMbeMdP9fewc7NAdkaYJCx9v5vk7l718ZrygTWeGprjoKgSCVpLpOr1BD4tzMc5cimjTTRsH1k6Tte0k5y8PEfTY2ViLsbffYHTEQyKRIlcwUkg2uXy1D4e9ztJule2NIn/3l84IhI0Tv77GGzMBYqkyiWQVd8DFaNQH2Th/dB9q6d+h3hmnuLOBo7VBKd/GFOrTNrRqOo3VUsVQPgCzh1phGVoOnINfguRbGJ3nKYmg0D6k3rFikpipDOH2iH73tXwGg7gWGKUd/xjbwIt63RuSt8A7g0HqnAurtIweGHwdY+IhxmaJRmAccyOjnAqDe4rO8ccaF621/diNNdr12KfCsX2UVnWPdr2OVaqJzR46RnlfCcDWjKGwh6Fw65922k3JDJholxtg9WK2OmmLPb5VxiBgKneITsdMu7SH1X+GjsNBZfd9DPlDTF3nMIrFvKsHQ8sF7QpGs4Nq4jFmGcSbdgWNdKoJzeM3KxXw9OqWVbZg0gnp8E3TNonlVWj6Aowq0bF4aJusGGoGzM0SLbtDrS2dehNnYIxqckd/QMk6tCsNrH4/baFnO4ehsolBqIdmF22JMJRiGNpWTPUUbW+/bk7FUpxLPKZSOSA08VU65iDG0g6VVAyLV4Z1F1jDmEJTNJ1OTAT5vf/lm/z6v32ffq+B0QE/lo4Bq9PAtbkcn52x8/v/MkxuocnOVorxyyEWH2aZ7u2jaLLi9De4fjvNt97PYLH18NZiWvspTeY6hlKBkM9Gl8dMr1jNQ6LkN1k5yDO3mOXChWFKtTSpozweF7rpfO/6HpmKKPF1Mg0T+baBSwMdvvDaGc6fG+f8lT5s5jr+0au0LL2Y0mtkdjIYLaLI72MtHNMplmgFg1hdfhyOMJXcE8y+KNV8GZvThbVZpWb3Y3QEaMQfYzEJ4KqOPTKr1RKNfBzTwGWM+WUo7IAjjMnYhcEfpSUgw+wTvNELVBp1WlUTJG9g6Xoes9hmSxlshjr5ZBF7OITDWqU9fJKvPfsVYjk7vWEXgxErR/k263sl/tGbTr76kpUPbpfpGvIzMtjN1uYR1UKDnv6A5sWkU1kOx6sr20R6wkrWlQ3NqOSu9hIsPpzn1OlpSpUyvcO9xI9StMtlxLPbaDe0QzwVO8br80Gzw/HxAcOzswrBScYP2FrZYXh8iHw6T7Nexmxx4BX4TqWpFj/ZwMnLfWh4QLOHArMxGyEy0M+KKPY9/ZRqJdaXd3CazUyfk8o4E/l0kZnzEU5+fV5fepfGXBzlG9SLBR5swN/9uXP8lZdm+aO3PuTrX/8q6yuPWV89ZGt7ny9+9TUaLQMfXXufoWGJcdgIdfWQzCQUCmS3W5ka7+Gf/5u/wG6wET/OEuqys3VYwGx38uPf6qZncozUWobvvbvGcc3C6r6B649zFGuSOfYwGPFSTpfZjFXpiTgJODokUiWeOxcAm4fDzVWi/SG9H3ZSNdrY6Ouyc5huYpZARKNKMGhhP1bEZu9gbFuI5Wt4bRb2j/K8/PwkL1+e5Fvf/gv+9q/8HP09EebnF0hniljEiSHU58VVrWeSeq7RqQn2d+XlesTXvvoaP/9rf8B6osyZcQeWpkuFMeEI/PDDNb7yD3+ZYuyYnc0dzly4gN1rZ31xQwc1yXE2KnU9uJ196gpel5PVrV0MhhYjU0Pc/uA2i2KDbIPfb8Dvd6vY0RVwM78U4/pShQ/+3Wu88LWvkfvkALOvzfH6dVwDM7iGX6P4+Ac43BY6kWdpph5jCXbTKlXpuARuWqDdOMDunqFWXsXcstJ2d2m7iiE4S9N2iubWf8Ux+DL1xCbtWgr78HmNWZE/pGVz4jE6SScf0DXxOQw+D7SPMImbytKvTSlYmtBuaFcvRcmddcDQq4fIlkE6hx0YOkm1+neqFgyNDNj7oFOCSpGONYLB4eZg/Qljs7/Iz/7UaeK7KWKZLFZEke9laWGDhtvFy3/jC/zkuz/G2THSOzbAxOQ0c3PzeniJ9siLfg+nzYHRalfKudgch8ZHONzd1eFu8tS0dpnfvPGIM6dntJVjZXldbdqS744O9CsIajA6RDjk17YJnz+oVuMP3n6bXK6kNOi+wV6arZYeeCQ7HOwJ6vN+YWFZ7dwBr5+tnW0uPf2U5ph3tne1Zuve7XsK75PtqhzmBPBVa9UJBwPs7O3rv182kt29EYp52dR9euCXw403IFGSI0ZGxllYWNQNmNS45Usl4ocx3bqKsCCRDxF75IA7NBzlOJ7E7/boQGp3uNTWKJZiu9VOpVnToaFydx1bxE2l1tIBvN1sK0gyZHSyVUoxcOUiNouwEUqMjo7y9o/e4dKl80qYlsz5q69cZeHxKpvbW5w7fUaJ4rIVkz+fbOKEZi3bYxlIRdwUunvvSB/N3STHW3v6/debYKgZcQeMmGVj5HQoYFNEmrl7i5w6dZLDo30lzssG5fDwgNHhMfLlAnNzCyoUyJZSIGfiRjDZLLoNU9G5Wae3p1/vc6vZxMqTVewet9pMZZMjh+5cJqMbNbPNpN+3cCSE8+D3+VlbX9eMfL3ZwBcMK0PBZLZqlaEc4hcezfPKi6+ws7urbQNdPb1al1WTWE+2wNnz53n3nR9x6cJljaX0dHcpl0e3YoUcoUBI6e+nz56k2ayTkvhGqaAH3tmZk2rbl4O7bCvnFuZV0CqX84yPj2tuVra4QukulvM47E52dw9JJOKad5aKRIkEyF/RoUG9VkRc2NvfY0dYCCdP8cnt+1y9elmz0cNDI/pee/Bgjkajij8YJnEUU+q38DDkOpdt++jICIfxuG7oX3j6Cn/6336sv40AKWX7LI4WaQYQUSPoFQBeix6JqZSrNJstLFYruXxKB++93WNsVrNWy4m7rVKSMxc8fekptre29B6dPTGlUZr1lV1S6YTa1R0Ot26JReoUe6wnGOb4IE6pXNbr4TCWYHV1mWeeu0K7Ib9FnkQyp5GBi1dOK8uiUhfKeYxodEQFFtnAnzl/Wsnp0kM+OhrVbb7PH9Cl1dzcHOfOn+E4nlAXj2T4JdOcSGd0AJYWhpXFZcZnJrSmW6CWEhEQ4e/w6Iijo6TSy802A/29USrVMpOT07z73jsaObTZLLo97u7qZ2N9Qxs9zp6eZXtnTx1LskgIByO43A5u3bjFF7/0BX7y7jXihynOXzxDvVZmeXmDs2dPq3BQrVf0u5ZKx52tA6Xih8Nduqxw+1wYDQYVSjwutwqX4jqMHR3z5ufe4MP3P6QkbIxISK3j42Oj1JqfsgPk7z/zxmc0a3/z5m3e+NyrxGLH3Lxxm6tXLxKNDvPh9Q/JCBzX56Wnr4eAz60VytKaMTEzQzGdI1ssUSmX9TO+9MIzXP/4pjowWq2WwgY9Hg/90X7m56QiHzEAACAASURBVOYIeH0azTiMHyrgdWBwiBs3buH3ezh58gQP7j4iOtyvdnt5RsRjCS6cO8fi8jweR0BFDrfLqn8+bzCo/8xbf/I9XvnMqyw+fkKXDLSH+9o+1N8XodpoUy6WtYFCok4/+fEHjA33Ee4SV0uZzZ1dbTwIeDy4vV7mHs5z8fJ5emXo3N5WZ5E8MwrZHKNjUxzuCThYanht5NMZLl48rS7V69dv0NPdq/+fFouJcFdEReHNzQ19TvcNdPP+tev80i/9Au++977+OU5MT7Gzv8NA76A2MMjip9qsMTUxomDLpSfLPPfisyw/XmFiaoz9/X2WnqwxO3uCw/iBCgYiJlZLVX0fmIxWDmMxpienmJ9bVPaUQEKDfp+CoOMHcXxBYYcklZMT9Pu12cDrCRBPpbVW8+y5Uyq2zD1aUCK/uDFE1OkfiLC3G6NQKmLqGAiFezTqIS6MwYFBrZT2+t0ayZCGDdn0p7JJjYRIrCGXzTIw0K0RhJW1NWrlCl6XD5ffo61OhbQsfKzYbCa6B3opZHJs/PC+OtPsUnlst2gl6JPlNEZfgC/95fj2D77RxX/54QFnZt36HnMIY8IdZGVpD4/XTr3eoZBv8sUvTfP2T5ZIHtcYGLJjN9mwu8xk0zU9f5crdSI+G46Al66giVv3djB22ipoC8g6Yk8x85spvnwuRN+AiwcLx/iDZgr5BqNuI398r8ju4m8TdARZn79JsOcknu5J8qvfw2LyQeQKZquRdn2fZstDI/tAqwYNdonxDWOsbWPxnKXSrmChqrNx5+BD8M/QsXR/Ck41Gigl5zAK6H7wczQ6aey2CM1WE0urRimxoWBa+WdrsYfYe5+hJY0E0qSXX8EQOoHVXqMai9Ox2nHWalQ8UUyVOA2TC0PsXdrhc9jtEZpGJ53DjzF3RWl7TtJJ3sWQvfHbnYYA3Wx+Oi3JZNhpuyIYGgWMtQzNak5hbW5XiPL+XYyR0xiqadqNKua+p2jufIDRO4HV66NejGO0uGlIzq7dxOoPU5MMhMVDq1LBZApSL+9iD4xSLycxiHDgkAxpnVbuCJuvD6NtgGZ+E4t/kHZphxoejIUnGHsvYuj4MVSWaAafxZhfoJY+wj14kUpyCUvbhNnuoGkTK0Qdo6GEyddD4/gRHbsbW+RZSNyg7eihmjrQDLzZ4sJQj9OyDpHJHeMyZwgORakPvgTpVcqb14jF3Tw+zvCt71zD225SokHQ7iKWbRM/LlJp1YgljWz8yQvsr97m8NDAaH8XDbeRVLqA1yDZSyOtYo7eISc2nxNDucT9LRsrG3HWD6z86UKJdNGJx9ckW8kRdvlplusE3R2sDgNT/RGa9RLzixlGxyNMDzn5wcdpXn2+l3wiRcRvYX6/qt3Htx/F2C+geb9he4dvfGOCL3/+K0ycHcAutTcmN821e7QqB7RKDrLFPKaODA9tzOEuLM4eqvv3MLns1LJF7C4TDVcf9kqJTseG0R2g3clpPqUjwotnEIO1TV1AcYZj6hUwhSI0CgVMNq+q/OXtj3GNPo/R6SWfjuGwG2lUS7TTKdyjl8inNugfDtGyDXPu5F/jzc+eJOI18yd/vkA47CLfrPE/v+TllafdzD2uYjDUNfezsRnDZjVo7V/8IKbVfDIAbwuBfjCM2x+iWijyeOGx2vmFzux3u9lcktxiG5vZTEe2Ll6fWnXlkFOtNenu71FCbCaWUltu1dBUQnEqU9IKM8k4JxPH9A9F9YHm8btp1qFQkOxbg/GJcdbWNzVO0xfto1gRpT6nmyk5bAkHYuXxsg4aqUSFcxdG8XWbCX/mDsMTAb5+JcS795IICKJS9XJ+BqZGxqg3zYS6PCw8esArr72hVVdXL57TzLQ0ACw+XuP5567w5Mky4Ug38aNjVh+v8vVvfp7f+Bd/QaNTweJw6G/1uZdnSOdT9BiSHNT6uLebIZWrcRCH/nAX3kCFsA2mIy7efZxgpM+NyS72PMjslxgeHGRl85jxyTDpXJWt/TrnZ53kqlWaVdS+FXTbODjKUTSZ6PU71c4oFOjdozRWm43Bbi9H+zKYNvm//+nfZGNpl8PjI0LBCAf7O6SLaU6Mn9DMvlTNCG1WHB5Wp4nVlU2CXoeCvv79Hz9W0NaJKT+pjIH1jX3yhTrDo318+dd+le9/+0+5dPEC9xfnsBlNnLlwkZ3dTQ4O9vjlv/W3+OTOPa0W6uvrYWSoT2vAfvyTazz/wvNcvHKJ7/zOv+VoZZXohKi+TUqlOm++fIKFhSXeul2mkvoTtROm7vwB3sFXMFq7Od65jtfWBQE3pkYTg0uU/wbt3C4dT4iOOJsqaWzdM9Cu066nMXsnaCTWMFWSWAYmKG49xOYbodHM64vd1vNZWjt/DOFx7BYv2c2P6J64SCv6LJndG8Q2Y/zFn32XSsvG4OAYpmaJO8sb9Hks2N1uKk2bZpUz+8dEej2Ewlby1RpTp6+QSO3iLhbw9YexersI9PTR1azg/st87D/6tf+Df/0Hi7z5XB+mWoPEUQpH2KV51t2tFN2jXj7713+KpbUdBWpJPj6bTOCze7AHxO3x6fPIZDSQPkjRaos99gKbq5tkSlnNCgtA9Zf/1s+zuLzM/L0Fuvt66OoNUinXScfSCju68uxVrr3zAWaTgWq5SFvQMAJ5bbU0o9kVCOm9HvB7NXMtOcl2x0hXb5hSvozVZtDP16i0VECQPLT8x+H24La7KeULCky8cvEC1659pNeWvCeE4C4UaMlhSlWcUMacTqdWVcaOD5VBIZ9JDnE+X4Dh8TEV6QTktrG5zeBgL/u7R5w6e0I3rVp/aDazvrFBKBTk8597gz//83fUvi8Dsdg0J8+c4Ghvn/L8LuV6TW3X8ts5jHa244cMhoLUfTayHYh0hygWivilei6Xxe10gtmgzrz1jRW++c1f4O69++ztbDIxMUE6nsbqtpOIJRTOlS9X8Dl8jI0NsH1wRLlV4eDGE4b7enXgFchfrVojG8sy8ZmL+HqDHO/InyOiGfBgMKDk7+W1NYXTdUekmz6Jw+bVPLQ/4NWOeqkRlMiH0LglfzocHdbcrVh6+wb6mRgfYW1tXaMekVAXS8urmlGWA77b4dLIjwy5Umm3OL/IwEhUD7u9/d3ED480ry6RDyGDF4sSBQsz92hReREiHAqgsFQq4vFIU5Dk00XZaNDb3c/te3eUidBoNRkcHIZ2k3u3H3Dmwlk2N9YJd0vVWUNrlkqFGsVKlr7eft1+x+Nx5UNIPEH6xaU2TuBosiUV50q9LdyHY72Werr7qNTyjIyNae2ZbPYkriiNDUG/RyMach6ampxVrsXS4zVOnzup8DWJmxwe7tEScvtgP32Dg9TUiVbn0dyiVhMKmdvrcZPOJqgWK1hNNgqFIlanVYcXASnKlvFgd1+FbyH/Sy2a3Eyyvb5y+SJ/8YMfqstGRBlxwglHYXt5hfNPP60xCrfXpWJsrlBU2KDUbYrYLtf67MyMgjYT8SN1J6yubHxqxx6fUseN4FCqtRp+2bQNDXPz1m1OnJhR5sPDB4sMDfapEPX01YusbWxTb1TULj49I4f99+jrH+IofkDQ41c+S6i7XwnlSyvLSmKXzySVvQI0E9t1s1Glq7uXvZ1ttSsPDMm1klKrv8frIpsvUSnmKVWrap2Wwfzs2bM8mptTPkC1VNZhbHhsSK3kPT29fHjtPQYGRokOy6A7wLf/8I80ly9tIYlkjJHBETZ2tijlpSbuDPt72/pcEMHkzJmzlOoVPvnoNrMnp9VNIE0kEtkYGBxkdWVdu9wtFotGJIT1IM8cYaB4PT5cLgelclFjKhLfsIhQurLGF770Jtc//FBjNHaXU4Ww7u5eqrU2ZrNRowVGqRQztwkFAhQlGmqy628mz05xMz6cX1EWRjweIxwJMiCVee2WthgIT0lcGIEur7pWBOgoNYdLq8saC5HM+O07d7Qe2mxs6fAtVPvoSJ+K7HcfPODShUvaKy8XgTRwCBOkr7uPteUljTh87gufI3GcYGl5RaMfR1KnGk/oZrq7K6zCgwhv0hQiTRDy99lCkcTxMVNTE/odyZAuUQGJmUhcR8TXfD4nGhRLqyt6v4nYJqKLtGlJ3l+YCHK+qBUqWkspwuvG5pb+3pPiNvM4MYrj2Gpjd2sXr8+l+fdbt+7osL+2vUWjVuHpK8/zaO6+ipziLDlxcoaV1RWCgW4Kf1lnPT41hvwBFueWGIr2s7W+SbCnS91K8iwU14jUOgpUz2gx0aoLK8zN0uNVdUVJ/EFiKdVqRWMhsoUXYUzaZewuB8VMUe9xac1Y3xSXw5i6G6XeUvgqscQRPZFPh0uB0967f09r5QYGetVtJiKHCCQSoREhTnAX1UpZxdHrH3+kvIqjg2OFK0o7i9xTW/u7ypbZO9xjfHQCq9WgLoWHjxa1atZhcagQe3QcY3dzX9/rqz++o1C+kFf67KvYO1Zszg4fLeUJtNp871d6+WghRqVqxOcxS5iE4aiXVLbA8FAfdz7ZwmxpMTPTz507W1x+JsrOmoBITfj8BhUNipWqsqNGJhzMz+cIuqysS0vA6X6mZoL88be3eXq6yW/P27j1pMIpZ5u+SY9WG799Y50rk15+crfIB2/975x6fpTdt/4d4Utfp5I6prTzR4RO/iItzxjkntCSSIxXooBODNUW1eNrmDwzNCvrmFo1Or5Z7P5JmvUkxmaHSnETu8lF0yWcuzpmTxBDuUrH4oVWilY1hUW4aZk57I5hmh0DBmOJTn6Xtsxb5QRG7yCtQhKDQAQbQVommbcCNLGp8Gqq1WmajXoOr8vyvlnEEhijmd2lLU14XeMYcxsY0nf/eadTzmI0u+k0a3QcPqjlFZDXrOWxOLtpFrfB0o3FO0r18C3sDQuWiTeo5zOUD9/BNfgcHUsXrdxjLJ4onXKCttmDRWIFHbExxGnWsmAoah1fq2HCnH5AKb5E2zeIyz5ItV3BVMmCZwiD00arKBa+JhbpeqolMXimadW3MTujNJ09ELuLoVXBHD5Hx+Shsv0BjtCIyGW086tgCGEInaKeeIjZkMfiO0/DWsFgm4DcfZpVK5aADUO5TsdUx2ZyYp85Q+ngLv/ol3+Xd+7n2RO6bhG8tjYuW5suvw1vwCqXGc3KAWFPmGrTylrigO/+vWGGhhysP8rSrDsID9rIHKbIl0w4nEV24zaGx0KYG0d47AH8/VZ6bHYMPT72F3bZyTTJNwJ8/50jru022S8aCFhrDISdJOM1xkNVXng+ytJOEnPFwn6qSMjj4dZ2mrN9Lob6/Gyn87jMTqJDQY4Tx5RKNlbjRR5t5+jvsvOls0P0e3L83X/493GfPqlUZ90Q5tMUU1nqmQ6lzBzOdguz04jVNkzd7v60haCTwmyyYGpmKSX2sXrHMJrs1FNz2Jw2TJGnaBsddGJ3ITBCLbuNo92kE/0szdXvKCnT4hqmMP8tnL2nMQVO0TLU8IbHWHp0g5On+iB0mpHoFxkbi2DtFPA6bAz2urm+kefLkw3+1//xJJ/c2MEm/CajTcnt4Yhft39CixcAX5f2BA/x+MGCUmwHp0fJqG1zlPn7jzjaLTB9ehS/x6a51FCwWzOT+VyGjsHEUy9cJbZzSPIoxn4syezMJIljIQonOXH5khLHs7GYHmQNHRONZhWHz6uZ0mq5gMPrIyfWILtD1VE5LAkkTBRXeVDLgUQyvj51JxhZXdljeqiXcI+XK78xj9nYxWAgTyZjYbTHwvxOltefGeJLr7xKIhXHGw6yv7VPReycSYF+WLTn89JT51he3sJgaCrNW2q/xkdHVYF/srTBr/7zH/CZp/vIZOvqgLC7Kngtbs3nOyxmIpYSmY6Tye4OYY+NsmwljkQAcrG+kcMVtDM9NUh6N0+2mubS2WF+fGOLsNZA2dmPZ7lyaZDkYYFyLUe53GKox8N+qoDdKFDMJOdnu3GbPWzEE1SaHS6O9nNzcRczJX73t36JSHSMP//+D6jWqjzz/IvcvH6To8MDrj59Rbc38cSnJOK5xfu8+OKzuN0OGvU2/+T//D5tS+tTCniyxNMnBynmDjCGZzGJu8RoZXh4hLbJqPbY3t6IbixkgJRDu+Snpc1hfzeuh2Ovx6XkeoehxY8+/ITzZ0/wzre+hS1fJdVqMzvZy9NnJ4jvr/F739vif/rmML/9H/4z2ScPMNuGacXv0C5tYw6e0uaUanwOa7NE2z2KyVBRwCaVEq1mTjfuZmmMkNecTfnQGMt52hZxb0zQ7hRp1vOYKlvU225MYgG29mDo1Ok6N0Urs8+v/Mw/4MZSid2UCXOrpRbAdClPs9YRXYKQGxoNIx2zkUypidTVtlsmfba61Edl0QiPWwc9ow4kTVpYZXtnh363lcneANVSgZrUx5glSuHgOFHBZuuwd1DE7LXSf3qIoNtF8uBI74OuySE2Vtax2EzU2x2lhFdl85hO0dXXS63TIneU49zV8zz45AEBj137wG9+fJuQP4BBcreNpkZcrlw5i8fv5+HN+8ycnGFx8QnFXAFvOKC1cLIBWV9cB7NFXUA+j0dtllJZ1Da2SWcyelgPBkIc7hzqlrhQytLXF6aQFaeJg2alQVLqnbwuFQV9QR+VitSdHaj9WGo+t7a3tPd7Y2OPbDIL5o4e3MUi39MnQNEcqVSK/qEB7GY7mXxGifVDI4NMzUzzya2b2i4QHR3QrfjG+g5Ou5319XUmZieJDgxy//Y9vL0h5U48+tN3MdY7nH/xHGtP1jiO5xmditJOFchFHLj7BjG3qvpby/NhfHhUn2vBkJdaVYwcOYrlilZnmaxGPTzLhvYrf/Wr3P7knm5ihCAvG8KWOENqdU5eOMPauzeJ7xzTP9qD0+cmE8uSjWc59bUXSSeOScayXLh0QZ0WWxvrDA4OsrC8rByAz7z+Gjdu3dKu4kAwoHlnqTWLdIf14C62fzmUi01WBqonC08UNnjm7GkWnyzo5srjFrCei8dLy3rvSrZ8eDDK9u4uNrNVgVtynz68d1+bUYRuNP/gEQODUXVZSSNHPl+mqzvAk8U1Xnz1WSVoZ7I5fMGARgBkOyxVcSIOvvvuNYW6HcfjetCXrfdBLM7Y+Bh52frX6/jcDmUlNNsGipkSqXScqZMzxPYPMFrNnD9/hvXlFTpGOaQ3iB3u68AqdXWyTZPh7PpHN7ly5SJra2tY7AIflbo7g2b1n3rqKQ4ODxgfHVH3RiKVITrQx8b2JqdPndAKuO29Xfr7+ijkRWzwkUzECPr8BMKSeY1rL7pcr6PjI0iR99zcYy5dOEPi6FidQA0RtZwOsum0VoGFwl3cufWJ2rJlmyzOlZs37mjcYHhymN2NHaJDQ5q5nxzp19z40WFMIY71ugytA5ptHx4f0WtYtrvy+Xb397Bb3dos0NUngDrJuXdplWzsMIXBYuCMOEcODlXAMRiNKog88/yzfPz+h8RTORwOK6PRAQxC0DYY2FjfVbuzbNsluid8hv2jY0aHBpicnlAbtbRGNOp1mvWOChq1akXJ6lIjO/d4gZeefUG/44O9HZweqfST5qmmCkfnzpwhnU7oxlREuKmZGd3ky+LA7fZphEJiOPL9ynQkHep5cWBmjzVSsTA3h8fjxy0OmaCXzdUtxqekDcLJe+98yM9846e4/+ie5sjlr2a9idcvLpc+HbTEMSTODxmo+nt7yBbyZNMZBS8W81mNHo2MDqkoJmcJnzekroHYUUwFSqlXlfo9WT6IUCMtAVItKcKXNGbcvPGJAgzl+xB+gAhM0gt/HI8xMjSCyWAk0hfhRz94h1dfe5EP3v9YKxutbidvf/89has9feUpsvmcQhfFaSXXUr4gWWVxyXZwerwKaBSXl9Q+iqNhc3WVy09fVrBdpVLjzMws8VRKI0EiYMgDSYTAgC+gELzNdRFGJe/fYmxkmFwpx+FejGQmQ2+kh0A4zNLSIhMTo3TaJgWMikDZNjZZerykosIbb7yizw5xHXkCPl3giEgl3Jbh4VEqpbKKscJCkCH56HCfgD/EYexAI0bC1zg+OmZoeFCFIVnFCzTSJg1Osv1OJHjlpVf4+NZNdSXt7+3qsNUjy6N0RsGFR0dxPVf89Ne+xne+/V9VnHj6ygUePXxC30AvZ8+eYGV9U/+3u9u7nD93XnP/u7vbeh9ZbSbaHQlziZjiUa6FuIMjkV4FWA9E+8iki1rt9/obr2K3mFmYX8BotjE1IwP6of6mch+4PQ5lYy3Mr6jI8le/+iWerK5jbLf19xRxrlFraaRUzsICUHRItejqE3p6ByjkM4wIo6covJEKmUQOT8CrQrjJaFQnhc1lI5srMDs9SU9/L6uPF7l9+xEzp2c5c3qWGx/cpn8yyuH1RzTTFcIDAeXqlKoGxqN+YpU2j1aSzP36oEZ3lg8KtMpGam1Z6HaI9vqZW0gyNO7BYfXqGcjnt+H2OVm4t4/Z2iHc7dB750d/8ZhQyMG55yP88Pvb9HU5CYac2pSwuhzHHvBzcbDNP77n4P07WT43Jp1jXlbTRX7xs6OYLFZ+9Xce8oPf+UVe/6nniK/vEfLYabTdlHPSJufC2chQ7Bgx2X1ap94uH9E2OzCZujRKTyePse7E4HdD24YhN0fVPoHLO0Qz/QnNapGObxK7W5qG1jEVNiFygfb6O7ScYQUIm8tFGnYvjr6XKG/9AJsjisnjo9o0YLW3FfQsrhIqBSz1bereSxjr+xiaJv0sIuIYLSGMxjLNcgyz/zKto/cwGz3UDE0M2Y9/s2NwBFXlb5XiCpww2R2YsSllX/qqTfZBwdxQS89j8F+kbWrQqZaxmUxUBCRlD2DrukizckzHaKVjMWCsVzEIxVDAVjgwWBw0pVc6H6cTiGByjWCsFrUzWzSetsWrgLCOOUAz/xgMPmxOL5XYKmbvEPgHMRV3NBdS77R1wO/U9rE6uhQi2DKUQLKsTsnC1bB1ynScPgwmK5SyakdpVZIYHBGtH2tXD2kVM7QcIbyzr+MYGOU//LN/zN/8jXfAZOPCeJXZmX5KGT9mq2x+O2ysJgh7XWweZXjxqWmerOxibBlIF2r8q1/u5dlZH4VUhY6pyW4yRZ/NSdPs4qPb66q6jo93c7STINtsE7KbCYuCt31Ib7eB7kg/ZdnQOk3YWwIAMZDIe/m9723wZ6tVStYgk2ED82vHRDx1XntqiIjPpaTpMhbWdpocx3MM94c5OWtjdaPIZL+JZ69e5I9+dJ3icYmeE5P82feWcdkMeJ0dLj41ys995WWuTjtwTlxWNVCybMZyh9LhNoliGafYTMxubH2XqcXuUssnCJz5Gcqx6xglItGqUi83sUVPUD9cotNM4wyfw2r1kk8tqTLWyollNoYrPE1++wE4TNi8o5gNTb2RaG1icw3RMhZ59XP/hGJFLLRuTo75OTxK8PZCnv/tDT8/85KFTz7JcPXVExTLDbZX49jdbR36hfDrD4cV2FetVokEI2xu7+gBXxTzRgsuvPAsmwvz+jI1yWawZ5DtnQ38Av85d4Z7H99SaNHu0QEnT4zj7+phfXkDU6Olebau3n7S8Ti5VIrTly+ys7VDOZf/75uVNawmE2PT48i+s0EDs7R/lhsEu0Jsr2+r4iyOgnoHdld3FUwoanpXJICnJ8Lf+BeP2Su0GPfBB8t1Lo07OMyVGY64+I2//XOs7m6RKxU0Z+2LhHn95Vf5L//xPxIdHVXLa6tp0FyW5MwE6jIyMoTF2ObJXxKN/58/vMM3Xpsi36izu5aiRJ3J0ROkk8vsJjuE7VXqLTehgADXSnTqLaomByeHghymcyqsdQd93Hy4w0h/gJZB2uSKhAI2nDYz8eMUx6kOvu6giiPHuzmGxtz4e7qJhh1a1ZfYrmLxmSnW6xgrDSqlFruZFi+c7+Fv//zr/OF3vqcvxkiol0arRsjnomUxszy3ytTsJPfvPlTic380zMbaNkazkXylze/+l0+4eDpKrVgima/ywlPTrD5cJmu0E33+Oc3OG4yfOi9KtQpbqxtYHU4y+ZyCfr70lS9TrlVp1cv0RXo4SsQppAvs7B+wPPeQc889q9V5995+l2ifWwfM+Z0Sw/0RbRf5YD5Pafv3cZrqpG7+V4y+EdwTL5PZ28BiF6FIeldreh91mtJOYsLgjqg9nswmlXYBs2OCWnoO68DzNFKPMAXOQnaDauoR7hM/T/nJT3B57TStfnzdPhiZ4YM/vMZL3/yXCk57atTFyEBQ7a7Wjh2LqYrL5cYTclPJ1FmPp3jt+VOszK+Ra1twWY14rEauvPYMdz58yPLKKkcxMy+9PKv5/+3jAiG/k3i8Qr7SYHI2SPy4qRuhTqOmNX8yEEu/dTKZR3ziuUIBp91Lp93E1GprZlCsq3urGzRsVgZmhqkXS6pMiyX+4tWndGAKBrqw+M0kq1Us7Q5Tp2cpNRu6sT5z6gwHyQylTFrFTel8DvdJx/gBAwNDdIe97O7u8/jxCo2y9HJ71bo/OzWph/fJqVl29nY5eXKWerGqQ5AcSJ9+9ipzcw+x25yMjw5z5/59iukCZy+dJ51N06zUaXY6Kqblilly+aIOnJJJlYFua2NfK+akWknudSGoH2ztksrkCYV8GDoGYocxHX6EYm80tHC6ZXv2qb1TOuOlq1xqmvKFMhcvn2N3Z49aqczs6ZPUDA2K5RpHb9+jWaszcmKUTqPJzt4RZrsJR7mD6+kJRk/McOvtD/nKz3yNo71dHj14QKSvn7m7DxgaGdbh+YNrH3LqzEnNIm9sruJ2evD5vJRyaTL5KqdPz1CtVZQJcGJ6nONcmfzimkKVTE4zzi43+f00jkAAhxCTu7rZerKJUfKoQ70KSXv0cF4dUXJoHuiP8HB+nqPduHapL6+u6+Ap0QiB2Y0ND3P73hwBv1sbHcrFOjPTExRKOaX+GzBysL9Pi7aKAM+/8AKf3LiNPxjAbrEqC8BiNWvOVbZ/e7tH6gITN5ZsDkByZgAAIABJREFUHmUYenj/ITa7Xfk5AmoTyKIcyLPpnA5dEuOQOrp0Jqv8B2mLeP+j60xNTlNv1DRbLnZkYbeIiNRs1rhy5Skezc2rc0vERrHwB4JebZ4QSKnd4VQx9jh+xNmLl9SivL19gFs2Xa0WHqtdh5hytUg43Kfvmoz8Bum03kfSiiA95DMz0yRTUmFbZUau//0dVpbWmZ0ZJ6j3m4g1TYV5CUTM43Lp1tgk57FqVfPlAuTaXNsmnU4zPDKklHObw6ybSdlCyuAvoDWTwaBxi9defwlvwMWj+7KFH+KTT27r5l9cFPLvkxpA+f4key7D/PFhSjfYwmGZuz+HzeFQHobEIY6P4jz73PPcvPER9VaL2ZkTxGNx/W1EoJCo3FEsrvl26SsXxku9XNHByeqwKhy2JQ49h0UZDE6Hl42tde2blyHo9NnT/Lc//Z6S9yUGUKo02NzdxoRJh0+xP585c5KFx090G7y1vaGQTtn07u/taLvTUezw06afgmT1gwQCPh1kdg/idAWDxI+OqNTrWkE3NDLEtWvvk4jHuHr1qsZPFh9/CqYUnsf07BTvvn1NBQ2TxcT8owVefvlF5h49wmy1awxP2ju8Lhd7+zEGBvqUpC/W8ka7psDecDii8YJ2rYnVZqYllKZ8Tlsq+gYGEKrIzv4eY6MT2ppyuB/TGO307CilYoWHD+a1RUTESLGfyBY7k00wOj5OMpHVId2Ekb7oEGura5gtHdKpMs88fVGZFTarRTfLArAUdsfi0mPcLh/9A4N89NEHfP2nf4qNjTWy6by6JkTAkqYAaRMRIcjtcpPJFRTO6vUJWd6qeXhxFoi9XL5HEeBsTjvxo5iKJ1L1Kjnm4VFxTK1rfahEPCTaJ84veUaev3COVC6tvAYRL6RyT6oSJafuDYaZvzuHxWGl067RPxDVz6LX/PCgXtc7W3vKIpNqvStPX1JmxZMnj5mYmKSrK8CP376m9Z/SyhIOSj5aIsgGjUJ0d0dZXV7gqSuXuP9gUaGuYuOXWIR0za9u7ignYmpiiEtXrvB7v/sHXLh4Wiv2WvW6Oja29/eJhEPMPVxSq7zJaiaVSOHxOLRiXNwRcrZ6PLfE+NSogvikpcLuMHJ4IA6EKb2mFuYfEenpZ3dnH4/XoZEoaZvJpQsEQyF6ekPY7A5WV9b44pe/wI9/9BP9TYKRIPVaS4Gm2UyW2ROzfPzhDXXCdQsEtFhkcHRYP6Pco+IiEidks9Hm3r2HKrwHQ928+957RIJdutASEUcyNNlshq5QmKHRIfKFEltb63z5q19k7fE6H9+8qcuaEzPj7B/HMVulBq+NT4j97z3gMJZnaKCL0W43t5d3GA/5aJnN3D+o8odf82IspMAbIuR16bni4VyKqRkf8eMaw6Oy6YaKVJUmcvSEnJy7PKPupuPdFiNjPhLZPOa2gdGTvXQqLX7w7hKjXX5KhhLd/gh2l4WBcJNf+/1DKr4eXjvt5yfX99iK1XnhsodWNs93F6r89v9wkl/9Z79OZnmPzOE+vbPTGOoyyxZ02y73UbuSo92pK7fO7HJiMljVYWj1hmmVUlA4oOkKY7T10C6sYnIM0Wy3seZidHwOarkn2Pu/QDv7hCYGbO5xmocfQNclWsePMRuyNH0TGqeymNo0CxWaJLHaBuiYghrJMoizNyXzUEQhncK26zjC1J1+7K06zeSS8rWw9WBEKpWFQZDDkLv1LztihZSLqVVK0DI5cPSeorH3EXVjCKu5SdPowlAr0kqsYJ76Bub8B7pxsHonqFfjYKpic56lXtoAs6yV/ZidLtr5PM3UPUxdV2mYzDSW/z/8w1+kGrqEMbtI2+bCGjhBI3WDTtkCzgAYqmoXlYxqq1TE4ghodV21bVDwR0O61U0GDNJZb/XSKpUwdvIYnF20im1sXh+1VgZD20Sn1sBgFwuni4bZSuvgtnZ7O0c/T2r5Bs7aPMFnXgTrAMHw31D75VMvzWA3xqnnrdidLjoG2TxW6A34SeXySk8+Md5NIlnG7nUS2y/j7fXw7g15Yec4OeHk7z3v4cVTZuwdA10jHuKbx6zEG/gdNs2M1Et1klUPA0FpFzAST6b0c24t5zA66rzw7Bks/g6NbJneU2MU43v8+VtLFG0DfPtmnuWNOsYuP5ZshTNDXjKpNSVtnp7ux1Qv8+goTzzTptU2MTHo5ChdI2hrMzEpPZ9tFg/SHO032clU6baYiZVaXOi38NMvRHnzs6eInDmNb+QMuKWn/JD2ToqKoUlldZ5qx09gbJLEvWt4e2douKXWy4VPWhgqSYr1KnazBCWE/OomdbhEIDKOUbJuYitqFbDWq7oBli1h02ihtL3DwEyAYsPNpdd/E7PLzki3k+3DEif6PVxbyfH9vz/MaE+HZLpFJn1IKmHm5NUJcrGMEnMzhSRWi5dmvUqtXNNtk0Cl6sKQMFSwuB30DYywvb7G6Eg/Gyv7ChRzuN1kUhlV1WdOjpMrVGjXK8RjSX2wZY5TZLMFrr58RQ9o+UxZ7b7SOiAQJaxG7f6UB/rR3gGJRIZwKKyHwUatSiotL5KwxhNaBoceeL0uG/lcBZfPRcdcJH9c4MpL05z8+m3KuHhq2s/mZorTkxE+mD/izUuDfO4zl9nYPtJcoAx2YhEUVdZkcegmfGVlha9+6YssLizx0Y2PeOXl16nWBPQCSxsJ3r/9mKA7gNlWoFQ20eqY2dnJ4nXb1Ko/EHXo3wdDAbL5NAaJrsjLo5KnkChqfn98uFs307HNHA2jBbtLrEkmzc2NXrxIIVegWilx4tmrnD99jvWdLXZu/oTCzgb7yTL1mpWBXgfJQo1Z6X/PHXOUyjE6GObb//mf8pu/8X8xPjbB0f46Nk+AvnCYuwKNGp+gv0dotS09mNUxEnRX6e2f4V//u3dY2trn7Hg/aR3SrLQ7blKpDZyhfl79a7+gh463/vjP2N/c5u/86i9z59Y9nn7hac0p/v7v/z5/7We/yXf+0x9y9txZbty4qXbMZq1CU6r/ogPE01kCNg8bT5Yo14uM94TZjSWZHhqkq8/K936ywb//V9/kK3/n18ku36Kd3MZuqWOo2yi3DrH7L+qGq9NIUS7EIXmEdfI52vUC9dhPcPhex+jvp1m+g8UwQ9tW1rpVU9tC/mCL8PgJGm0LlkoC69QpWtY2r7/21/nwdonpXhPdviCugJVyKYfLYsdAh1DAq3bsbKWO3W4mmSpqjZY4UwZCPRxnkpqhl8PI7l6a8cmI2ix3t6VHWUBjNSK9XVTyRc3ui3vi4CiN32+lJxhmdUOskB6qrZbW2PVGZaitcLiXYmSom0wpx0j/gBLh17YPGZ8cxO918cnNxzhddgYiAVLposLh3F47iaM8xUaHsMOCUWJHzTYej4hlda15KtfrRAb7MYrts1ghXytqV3i4p5+KqUHPUETp6sV4HnfAw+SpSe7cfMSrn3+NmzfuUhUq+3CUncMDDHUYGhkgW8xRL7coJDKEegU8WsDUNui2VBoIjrMZvE4Pd+484vLFs1Qb4tqQutuKbjg21jc5cfYUi48WsDoc9PV2ER0eYHVpjXxOqkHLeAMR3eREhwc1jtPd260bc7fbw+BwlFsf3SY6FMVkM6uQmc/kdCNfa1bVYlvaOFA7cz6b5/ggRaQ/hLlpYGMzTu+5PoxuF8Vs8dMOb5NZqw0jgQjXPr6pdualxWWGRqOcOjXF/PyyAlElUy/VbDIsChDqwpXzrC2sk8qk8AU9WOxOykuHVDJpTAEnYxMjrH7yhJKlRejEOJ1OnTNnL7C3tYHRZNOD/dzDLf7Kl19k5sQ47137UK3wso3cXNnWKkDZNh8c7OuQJcPY/t6eZvZl+yl5ahkg5VDfaRno7u1iYmxMs79HR4c8ffWyDupihRVx5dTpEyzML+lmTOBGUo/WFECVV1wPAlqqcfr8aT7+6IZuLKUSUP68PT0RFWNky28225iZmeTe/YeMDEXxd4U4OtwjnSqovXp1dY0Xnr9CpdpQPowAenUIQQCxIm4OsTi3TLinS7fMAl8UmF9vdEBdEWurqwwNDym5f3dvT2Fcb333+5yYmdbzi7g/TFabwo/3dvYUELm9vcPk+Djvf3Cds+fPqeW6mM1pl7ls/n0+P/fu3mdsbEwHLB2o7Faiw1G11afTOcZGo6SyWWxGI8fJjMZGxPYsg4oIBNI5LvVqEpHo7R9QZoDkqnt6wty6dZfxsRFSmSwWk3AlqqSTOb78tc+zs3PAe29/xOT0GDaTRV0Ux4mYMgPGJsbZ3dnG5fbhslt0WypRnOeeu6p26R/+8B21YhfKVTY3tjh1YkYPqTLACudFBnaBRsp7vNFs6lAo9nC97vN5bt+e59zZk0xMjvLR9VsqiL302vMcC7nWDGvrWwwO9Op3+vDePL0D3UxPj7C9I8uVHoUSVptVTp04ycO7D/C6/XSMbW0pEN6P/Hekp5v1tS2F5kmFmhDt+3r6tDJza2tHnSter1c/k2TsZfu8trmpMQK300+bBhaTDavdTKPaVCFueGJc+SJiZfcK9bzW5Mb1G7z82ksqTm2ub9JuC6sgoAP62MgoR4lj+nojKnbLdyDVpyI+iljU6Ajk0cuN9+/QMnT0mva4nJw5M6sCvDIqkhmt25ubX+Cpy1e0tnJhcYFz58/htFtZeLzEM08/y8L8nA7ZuWJBq/zk80jm3Oqwa+WY2M2lFWJ5ZZ1AIKhRIYk9ylAr5yVxvjy8cx+XOL7Scr2Y8Mvg24R08li5AjaLRa310tqRy2V1oB0aGtJB32F3qOCRSqSZPTNLOp3Hbbeysb6tolr3UFSfw9mVLRKJHM9+9SUyqWPSx5LFN2I0WvGFhKlxrODDp546S61cZT+WUEFP5pmQL6DV5fKdGC1yTpOFpIFgbxDZYAhMcGNlmzPnTinJX/Lofb2DPF56rHV62VyJQMDDyHBU6yrjyaTW4GUzKV54/jkVXYSjIu/RgN/F0pMVzefLIF0sFRXKPPdoXmNUvoBH2w4kLuRxu9W9ce/+fRVfBweiJNJJnswvKedkenpKRW2n207Q5+PJwrLCRaU5Q0STgcE+ytXKpzDO1RUcNp9ep/LudjocRKPRTwF9jao+FySeJGBIiSaUq2V9VtUqZa1IFKEzmSloJEtaLWRp9HD+Id2hLhXkpqfGWF3bZGAgqgKRVA4KW2RsOEomL3BQESPy6sAqZIq43E5KtQJup1vdFbdv3NGljojdG1v/P0/vHSRZfl1nfum9q8zy3ruu9na6Z6bHAIMZAhiAnoQAiRJESiKpXWmdFFqtqGVwGdylpA2JlIJLYrkkKBAgoCGAIcwAGO/am+ou721mVXrv863u7Qj1n91d3VWZL9/73XPP+Y64fSI483Xe/fpHzJ3tpVxJkypamB2PEN3PsJ2ucK6zxj885+GDtSLPnu6lVC1QrVsY6PPRqJnYiyXYWinhCzgIBsyUKjWKjRaTgyGNyx3uNTh1Oky9VWNntUKky8LifIbpiTamT7dz+1ZMY4mfet5DLAF//z+n2Io16XJXODnSzcFhAUebiY3VEtdO2fjTt/+M3LaD+MKfE3L0gMdEOW8i0D9HJZXW2cKopjHqLQx3kPrBD7E1fJh6z9DKCauugb1tjqbNhJE5xGgVwRrAZuR0IWBzOsE9pNd0q3REwxHAWkhqHNHm76dRTdGqlfQ1dgT6dC5u1LJYwkOYWk1apQrW5C0q7acwF6N6DjCJ7d/dps0EwsCzyCzr76YWX8fh8GB290Mziyl3+/eMZlX6BkWt2MHhbKNlaVEvHmDzTOsAbIhNR6oAbW0YFjf1xGPswTHIb2ANTdL0DGLOPqDVqGB2jNI0mxTEZ/X0UM+kMewFnOFL1EtFTKY4rYx8Q5LDM2GuFKkbNeyuQQwjR7WYw9omMYIKpmYGa+QSrdQyzdIShqVd67lsHWNURck2UEBJS2oPpH1AA+gNzO3PYy+sUzp+QN03isPno3qwhn3oKvZWlnLikZQMYp96BVvAz+XLr7C0VOFLP3eKOrC2dgC1JsVGg0ibVyFw5nKeusXO9kGSnk4PbpdF7ZVmlxu/0WBzq4loGMWsSbeagz0GPp/Bc5Emr152EeCYkZPt0BKadRa3z8fiagZfZ0grjUrmCvV0Cr8jzMZ+hogL7S+uWyx4HXX6hjvpaLeCL0hqaY13V2rcP4Q3l1tsZV1Ed4/xBe3MDgTotJupFJO4gi7aZQgv1ilbrXSFPRSzRRKZNP0dXmanenj8eIejXJ35oxalbJ1SEaSc69JgnRMXB/jFV3+B0y+ew+psQeDMk9hA6h0yi8uIuUIewsFAP4atitMdwuzso1lNkFq6RXDmEuZaiWLqHjbfkJK7jVKDqtWLuVVA/sliq64Pz/DMGVqNNk6c/2lODfhx+7wcHxcYHQzw/o1dfvvn2rn+XIgP3k0SCsLE9JBWvxwdZ+ns6mJ8coi3vv8hF6+fJ5dNcXwYVYup2e7CajOxtbKpVWJi/Yz0hPXQLJlbjyegef9yvaT2J9meC8gkcZyglC8yODZIy2Rlc2WNkYkRhZPlM2nNUcm2dXp2hsRenM3NHc49JfWTZuZvzzMx2YNXMrnHWX0wF8pVAj4/e9E4XpdFaboDUzMUDuKUrAKRMvOJX1tkO+Ph1EiLoM1D3WzmtXf3+Odffp6fe/k0P/ngDqFAWDOyq+ubxI8PuXLtGaymFjdu3GJqZprM8bECPIcHR3jw4B5PXzzF4+0t/uD/vcnnX57j3oN1eoYGMcxVjvYSqj47/S58FicJuenUDOJHBTraQ9Cy4bIbFKo5SgVISh9z0MfQ9AS+UDvJbJqjQomf/tyrfPu113n6hee0j/vHP3iLRi7NzKVTfO33/4TBCEzOnuLezQe6MRAxDqOszQq9oU7s7hJf+Jlr7B1luXj2NH/1V9/lb33pC9y8/zFHe1IF1UUds7oZ6rkikZ5eOvva+cpXf8itxTSdbSYCXsm6lhVyli21cJotPPfp50lZnbicQdoj3RSLGcrFHDaTDbPFUCL0X3/rOxxuS59wnr4BUcTLasO7dPEKkY4w8cQxP/7++/R3t+OxW9S1sX7/MaOzY+xvR7Ha5CDZZHW/RGLza7idFvL7q5jrMZquISyWbirHN7DWNmmFnsXua9NKJqNZxlzJUan6cbc1aRTiGLZeTCLGVtNUcgc42yewmg0KxQaeegP31FkKhSRnTn+Rw6KVZ8926EZwd+cxrZbtSdOI26H21Fy5otu+VtNKR5cAffrIl6qsLu8wOd5BuVgnFk/hk2iK2cRAdzvZUlkryewOr/ZwS6+ubD8lEyh5xErjyXsgJPVEVu7PTbXhCUzI5bSrhbxcFHtrU7cWkTafNpoMTvZgbrZIp/MqxijJvPDEUl2oFpibm6ZVt2jrwtnzs+TKGbY307rdNySb2GzgtttpqOUvpNnerkiEQ+k5LtXU5VUtPIE0dfR2sLKyS1uX2OSq+v91DXbitDkV2Pn48YrmP09dOIXZYwOnlQe3H+vWo2tQ7LM7Kvy2Kg3C3R16eJJD3LnTs4Q62nj8YFnjGr29ncowEGumDCTxozT9/WIPlto5Q+FYlVqTe/cfcvbcrMI3BYgpNPpCqciYAjvtHMdFyDazur7FzMSoDiv1ap3pU5PaitBck076pHZNi0vPEwhQLeQp1EuMXJvD6hIhsqabLjmASLOH3enG6XXhNjvZj0XpCPmVeSKDba6QUUZCQ+66lSbPPHuJP/6jP2NqfIxwR4f2uAtXIXpjnmqrSXtfN+ZGlbWVPcbOzjB4dpa7H91kZGKYtYVNXH4b7aEIpUqdUrmM02LH4bJoLd9xIs7q8qpCxxQ8abRUwBQHhccdJF/Ikc5l6OzsZLh/QDfM0hgg5PTF5SU+//lXtVZtd2+L06fOqogqTgJpZ5D7rfx7YyODeiBOJdMKoRKrcFd/NzaTSUFjg8MDChycmZ5SO67EixTitbGtINDPvfpTRGNRbty8z8jQIM+/8Ax/+Zev0dsb0f5w+XdlKJI6QVmUyOFdhlIZupLJPImEsFrQIVsdBckEvX2DrG+s0aEVkQZ7+wdcuXSZ7a0dfD4HeR0824keRDFbTHg9LhLJtIJsBea2tLzMqVNzugl+/Ts/YGpqSj+LuUxJhWqFFJZKWO3i0qw8EYXdXo0UbO9sMTI8qlszu8XMcTzOiy9eJ5MqcPvefc6dOk02n9FeeBnM7t2Srno0GiVb/l/58hcVXCZsB+FTHBweC8aVZOJIafUCNvT4vOwe7Gj2+1hy8b296nY4PIxpU444TeQ6F7q+/H1pZ+jv7aW9S8jhCSKRCPOPHjHQ26tD4HHimP7eAXUQiIgnA6ZZGnesBlaTFbtToI5uontRrc6V7eK1axIlbaiT4NKVq2xtPmkQmJoY18hLKp1kempau+nFtSMioBDSrz9zkWq5ztbeLp0d7bqUkJaQhUdreq//xCeuE9uLYphl0SR7d3Twl0ilPL9XNtYZ7h+kWCoqj0auHdlIp5IZlleW1WkkG+dUPEmf1OjJmVQkWRlK7TYsFhtTkxN85U/+VJ0qEi+Qn7soVZCBAMexI43FWMxWksljKhURiHYZmxzD63Hg9QZ5vLDAiblZfN4A9+/f14rBWOKQqbFpokdRCoWytheI9XtkRJZ0Jd3YShRRRBKBW8ogKjnv7p4eraBLSwSyaVY+S6PaoCW2/MNDpeiLUCjgyMePF3SAPzo6pKujl1gspptdORNJFGTh8aKKBVIlmU4m1Rm5v7uvzgvZlEoDhQhw8l5KNOqVl19mV+o080mMunBVXMSOjmmLBDXrnkgd0+/wsr92QNvskG6PG3UTq0uLSvgX1orUUa5vbjE2NKDQt2w+R4fwUWp1qvUGneE2Zk/OKM8jXy0zMihsgbjyL07MTDN//yENEwz0dXD1qav80R9/hUsXL6oYZxJ2Qq3OyvqG3h/rjRqRcBcmSwujaWizhZwVhL+B0WB4ZEQp+tNzMxzsHSgQWmooq9UKP/XZl7l39x7Li6uMT45p/ECYADubW+pgksiOCJKbW9vEj5NaM7m0sKjOR6dVHAzi+mnRN9inZ5TtrX2CIR9XLl3g3v17xI/TKlLJdRfuiTDUP0IiccTgwKAKibL9F4isCJoer59mvaoR0v6RYW1FsFutREIBnG6/3kfD4RBXr1zmr77xXxgdGtHzlvAb4kcpFQvFtSRnDxGcE8kE6VRa2yHk2ulU1lWDhw+XcDjMXLt2jbfffFujABWjysffeo8zbSFsIVmStYhFU3pGr9ukWM7M+X4LX/klP49WK+B3U8q11HE6OGTn7bcPVUB1OTx0d3jo6XWwcC9D1VJTF9vYSBs+j5Wd7Qzzj8pcOh/E47eys1lmYNCF2WrXe218t8GJM3a620K88Ht7+L0uRrpMVMtNTOLwMmokMg1KaYOVR/+WgqkLoygCdVb8flgdGWpbH2L4O3FaIrTMBTA6lZFmVBM0cvu4rRLXHMJkNfTrTI0cTXMEtz1EXdtxCjQqBjajhWFpYa4L82sbl38KTF4aUhtta8NT2qKUeEzL26fnoIrFjc3iVjA/TjmrFDGK4obvoGnxaWsfzTxmS4S6TSCME5gKm9RsXlrpLaxOKybXBI1GClP27v9tiELRNIewNlM0K8eYrH7w9mCJfUDF5MflHaJmpLC1/KqqtCyyg5MKCQsNa1CzL43irn5dq1bB8LdjEiJpKYklOE398F0ctjpG36ep7r+DuZLFHpmhaQ3TSNzRQcMkqmx2C6tvhGpTqp+6qOVSUNvHNv1lWhvfxnB5MDsDmOwBWlKpZXdhqdWx+EUBP8QlD+LYI5pWB6aB5zDX4zTTSSzNMsiLEurEYtipxfcxEcPz7O/wlf/9n/Dr/+51znUHGR50UMNFJpnj8vVL3HrnBuV8js7+Psx2C5lYlu3dJC6XDFjtCjsM+nvIFY5wtgdo5JJcmunjtY93cAY7MVfN3N7NUCub6PFZiASddHpStBsFfu8fDtIbaVBzejCOSgpO20pnqbecYLjIFnO0glY8RdTOXjabSe7H8DgMhoY7cTuquOQDJFmyMqxGi/zp99JkyhaWkx5i2TwBt8FMrxeL182D5X262q189kIf0USJ7763S2+kk3y9zplBO+X/WrH28aMo/+RXr2IYef7jf9pkt5jHbzawCwAFg1deGOKpK6O89LmX8Ayff0IaT21Qnv9Yq8sMq4tW3U2tVcAbCkMuCc4Ahq1FMXuAu+XWWh9n7yhmTyet2D1M7nHqiQ06nn2ejVs/5Oyn/j/+4ecnqTWFmlkiJHCQtRbjpir/5jcj7KVdHEjVnNtQa+VROk9nWxvlWlm7YQNhJ/lcmfHpCdY3NokEgmxv7amV1Blw0tvVw+0bdzS/apP3NF/QA6fL7uYguk8pLxvJECLKmbEqcVrs9rc+uIXFsOL2WPAGAgQ7u8lnkwpjEdhTMpHUrvPu3mEW796js7sfl9dBOpXEYrfh7+ykMxRSNoFYSDt620kd54jnE1x79Wnqh0cM/cwtzlyexJbZJpozMdju4sFugcsTIf71P/sV3nzvpvIzpHJpYmxIAT9qFa2XSR4n8AUD2gMcCgWV9L2/tcs/+Hs/R9Vs48pnfpef+cwYi1JN2YThbiuVll3ztPlyhb3dBA6Ph4OjIl2dTlwBj/5ZaKCfd2/c4eLlM5yZm+MgkefE6Rkd/qSOUoS444Mdujp78XldZLNZDmJxLl+4QLAtyP/y5X/Kqy9MUWoZxA/iSAn81n6GjjYfvZ0ezTIJfObsWIRLV0+qO+LjG3cYHhzX7UN/b4RITycPHy1SSrb4O194ltp/PZT92//4De4s1LB5G4S8Lqr5Op3DYa3YW1zeoTPkJZEqcvWzLxAYGuXOuzcZ6u/ko3c/IHqUV0VeLN9Xr84pvE2Iuu29nRgmM+V8SQ83ckgYnpnG47HhdntptCQq4VHqvMveYnSgj8N0gmKsb2g/AAAgAElEQVS2waP1LGtv/AsG5gapRtNUMnVyFgO/V1w5O1StAvDpoJGNYnN4aGRW8XSdoyLuquYxRG9jH/0cxVoGW3YPq72LqrmOx9dJJTpPcHIOo2+Myd5Psh+v8UvXx2hWCxxki1pjFgp1Ewl6icUOOTiSiqGAVi4d7B3qg1/yodJ1K5vGSi3L0X5Cm1DKzQoOu0cP7du7e/o14pwp5WucPjutIL2VpR06eztw2loKNg37JV9f0n+3b2SIfC7P7nZUba6DA126rSwU6rQF/HT3RHRg2tk9YmJyGLvTQiVdYmPrgI6OIKV6S+nDTruVqrmB2+kglU7gdYXo6AwqsCvS062H/Xq1pBnuVtPQ7GHLbKavs4O9nR0q5arGrOwigDQNrR9sCOk7laFar5ErNgh57FqF12wZSkBP5aArZKO7s4ONvQPNiwfbA5RqdUJeN7HjFFaxslptSqw3uWykq2W1uksOvq+vn3wpR2Sgl8nZCa0ZlGzo6QunOT6I0zEQ4cbbH/PSSy/ww29L9nRID1nLm7t0RsKaf5aYQd9ov/IK4ntSH9pNXarHwn56OnpZeO1NsmKbnx6mo7uLmx/dUfiV1I2e+vwzZJJFEtEDQoEIU3PTJOJHrO/ukY5n6Ono4exTc6wubPDG997mhRcuU61XGBgZptVs8ujBojZeZHN1PveZT/DVP/86py6foRRPc/RwRV+Xo2QGl9OC3e9n4OQkznY/jXyd9HFKgWtyj5PD+EsvPsc3/vq7ZBNpTp86xdFxlK2NHc6dO6/b55WNVVzWJxbxZ5+7zv17D4kdH3PhzBkazSr37t4n0tGhALtSpfEkb+uyYzM7KOSzevjVvLxF8vIHnD93WmvVhKo+NzdLNpuiv7eHboGHRY/JxzPcffCQ6dkJrVxKS/2d16P362xOKuVs6taQqIFAW0WokKHp6Wee4qMbt3ju+WusLG3x0Y2PlMJ87uwZtrefAMDks3L3zh1+6Zd/ke3tdZpNE9tb2wyNjOh16g/5iEUPFUoo2e6nr17VFgapwxwcHOHOjQ85dfYMC49W9ND6a7/6d/no9k0+eOsmzz13TUni8vefv/6MVu+JQ0LiJ8l0lssXzrG0tkVQrKZ2C929A0rZzyazWO02qtUqjx4+0sFuaGSQ997+gHMXzqijRr5HuSdHwgF2tw8JhcNk83FOzp7k7t2H+INBXA4zmWReK+DELeDx+BVeJ9wD2Uxuba6TENjgxUtEQkEWFhe1N102oTL4SRTigw9u8Nz1p6jWWqwsr2j+/NGjecKhIC+99An+nz/6Mzq62nUYFiDcmXNnVOSRoU+AaB6/UMet5PIFrGY7vb0dOoTfunEHp8PFiJDTd3bo7ZdGhxpry6tYbDZ1mczOjDE/v6jcEPmaZDJBmz+oouP4zLDCy6QuVIjqUuEmgklbOKL2aRlkTp+Y4+vf/CZnT51RwU3itYaw50xNnC4v1UJFvy9fQCqR60r+F6hctdnSs8b+4ZE6XCQykk7n1A4uYEdxZEnWXGoaV5dWqWq+fUDhdwUR1t12Hj1cYWpqVIdvETOk7g2LITF/fH435UJd4ZW3bt7m2rNX9TUSp4rEIFaWN9RJJJBLYWzI9l4G1eOjlNrt5f76+OEiZ86f0Zq/K5cu8uM331LWg2zCxZHR3dPHUexAT3vivhI2wNj4JBsb6yqEBENhms0GD+clJtKrr6W4IaVhQ0BtMjRKVlv4LM899wxdnREVXgSSLEJyqVzFabOp0HH75h3lJhwe7CljQpoO1tfW6OqTIcemINlqExzxPKV4iqLFROeJERXERTjq7uvjh3/zA85dPMvm1h4jI/3MP1igWCxx9twFcumkCj4WhwmXM8DB7iY/9dnPsb+7q8DPydFJEskjIp1dKgKl0im9TlPHKbY3dzEsJi5dOkfs4BCP36dslC6pJHz7XZ5//hkeLSyo6CcRQnFn5Et5jUTcunkXq82isD0Rc4Xv4w369Wcrl+rKj/H4nLzz1nv6/JB62QsXL7CxtaEcA6fTo8+yvv5udrcP1GkiwMbtzR0cdjvdvV3Mnpjh3TffZ3d7h6GRAdra2nm8uMDlS5f09d2QJhQsWisrcMa33nqL2ZlpZWz0D/Wxt7vL0OCQ3vd+/JN3lCtw/fmnefx4WZ0DslAT18tgv7ggUsrYuX/vgQqSAui8+tQV7j9coK+zXflZewdRbWIR14fIfoeHcSwmOZtmn0RxHsyr02RqagZ/u4f8XpzDdxfw9Hjxu6z43AGKhZS6mT7eLPDShIv/9Ath/svfbOKKeMkV6lgsdqYm27lx44CBIQ+TU0E21nPMnupna12iJE0GBto4zskwDKGIR92aHpsAHVOcPC3tDzl29wqcmQuSjFepWyvMhHz82nfyWq8tTlhxQ/i8HszNOr1hLx+vJllc/A9UY1GsSai5bVizWVLWAI5QH3ajTnH3R7hDU9RK+7Q8/Vh8E9SP72NxebG6nLSaQvGvQz1Pw+pT0Z7UHQz/U5gdZqjlaaR2sUcGqReOcVay1IL9mGxOjGYdI7ODuftprPUa1WYcSyWD1XBQqu3jtIVoOMM47GEq0Y+xBrppSJNTM41VZht/L7XaPubCHmbfWZpi0CrFwNODtZHHlL75u4a5KUdqQzOdhrMbc/OAJm4sQhFyBWnYA5gTtzAMG7ahF6ltfo9W7gDz5BexlPahlcfuDFCpW7FU4rpRMrk7cFSzNJxuatENKMcx+qdw2PuoS92f04LJ3Uu1sIvdZKblieBs1qnVWmqDsIUiNATi1Ipj6f00teQDJXZa3F0KUWrVMjjrTyp5rLY6tr7L1KpuTGK1Xv596Hweh3eYusmMQwSOzAKGUL/c/TrM1xtxPB09eIb/CZ+4PIarXsJwyebKw60Hmzz37By3P35E3ePmxU++zN7uHk7pL80XVF2viC3L1SCWaOEOi4UuRKsi6qaDza0oXZ0hssdpOgf7FRxyd2FPqauucIhHy1nyqTKvnA4y0u+ESporvVZm++pMTQZwjE+SuH1fEm20XD42Y3kadRsdXVYeLu5y5cxJduWG3yF/btdM1tilWRxuK+XFeVJ1K7ceNDFcZt6az7IStbK4Z+GwXmU4bOPskBeR9dOJY3r6wrSKdbo6/ezuCSzQhSEDpej3xTr5UpNYsa5AkKXFPDWByPis+FwNfu7lKb70hU/Rc2EcU7ATEjlqeytU4wfEMw489hqO3mlcJh/58h4Ol1jjA+QOl7G6Qtg8sjmx0RQlcWyKf/srX+YPv73M3/ql0/zxXz6mK2An4rezd1jgL/7FEL2hGomch/JRnL39BKcujOogkq+VdSMoD1UZrsXOGds7Uj7C2PiQbr/EZheL7hHwBNlY3aB/aBCH287K4gqjk5NqX7eamtoT+/DuApNnRgkG23l0b5G+/rBWb5ks8oFs4XC79GBhFV5Cy0p7b5hipky9VqJQqWldkOQtt5aihDtCSuUWeFG11cIi/eE+J+6wwAsLuKSxs9mikKvxwr875txIP35TlpLJQofbyRsPY3zhk2O88vwFvvH17/Kb//g3OYrvsbdzpJkgsQ7LA0gyjcNjcjDao9WsYbM5taLqU5+6yh/+6Rus7Wa1v3Zt54CungDd7RGWNmKE/A7aIu0UMjliyQNOXr6ELdSuUC67yYHJ7SMoB0OnQzc3kuf7zmvf5vnnrmvGudio0u7z09nVzY/eepNSJsOLL30Su8vGD77+LZqJOFNj3axuH9LX3UO2WMNtMjh1boSPbz7E5XNysFvlT/7wVwmaHfzZ117j/NkzvPfhbTy+gFL5JW5kMzc4c74Pq9PDL//9P2agJ8T0dBvbByVykpU+PsZi8uB1OHFaK5w8f4IfvnUPs9vH6acvk4vGWV9fVt7C8MiEbpmSB2IFa2jm1+aR+s02Nnf3mJqeYHB8nIX793j6+nOMTI2yd7DLN7/xAzJbO1w5PUw6doBd4yNVnn9qhD/65iKfuOjla29/k+x7bz4BZBpZ7Xp2RC5DJatRpXI6gSW/gFkqYLouU9v5azyB81QsHloeL+6mQ8Rfrbes5Y6xhMaxmaq4zl3in3/xl/iPf7HFK1cGKeUOsAWlLcTA4/Kyd7xPV0eQtkA7B9G4ikT1luVJ3WmppkC2QelZzqfZjVY5d6qHQKCT5fUVzZ3KVnt6Vg74W7SkQN2MKv5D3T2USgXsVgexeJL+oV7ixwdkcjXGRnrZk0aB9nYl9m+s7dLTHcHt8fB4YV0r5kJhn24NxI4uB6PYUVJcz/iCbnx+n1ovg36vEvflgGhqmQmGvLqlkNdcIg0NK+QyFTpDAXUZhHxe4hmJ7TQwO6x6MOnt7mNjY0v5LzJAyEGlu7ebUjpPpd7Uz5/UO7kDTq3vbFTqut2PJwvIM1jundK8IjU+pUaVrsFucsmsEsWF2+GwWSiWhX7twSZWPsNCIpvlOJnTA6u4aAQeN3JyjIeLKzisFvrGRsAunbNCrK4xdWqWdCqrxOTJ6UnWl7fo6enkRz96h8uXzikJf3FpUWGAuUKB+Y8e4IplcZrtpPMZPUgK7NRtc5MRINYnLpCJpyklktrbLCC0+w/m1eLZ1dvJB2/foj0ive4hXD6vWlxlKJ+cHOVw95g791c4eW4Uu8WmPAqBM47MTZNaihLf2KZvsBvDbmCrmpTIPvLMeR4vzKsgPTQ1rhV0kusWgJS4CmRAnRifYHdnl1j0SHvHy/UKbq9LWQt3b91Ve7JsfcWGPjs3x/5+VK+DVCKlIpXNZlc4mDikZCATiNXZM6f4/hs/oSvSoZsiyTmX6mWl25+aOcHr3/shL3/6U3pI3Vnf1Nyy22ulu2+ArfVt7aqWbHK9Lk5DlwJABbp3+tRJ5QkIVE4cQMl4mpWVJ9DBnt52FhY2mJka07ysWIp39w9kHuPylcu8/9ENDvaPOHFqEpvFTCmX1953GdZn56apVhtqjZVtZyaTI5PJMjAywPHxMc88fVUr0qR9wGK1ao3amXOnqZVq2oggP7vAE/P5rHaRy/P95VdeYnlxgeTRMZHubiqFgr4nEtNpKUzOr+62y09f4Rtf+4bWJwqRf31jh4PdPTLiWjh3BpuppR3zghaT9gYBXQpMU2pjv/jFX+avX/ueugEuXDjP0vKCRpf8Xj9/+1e+xG//q9/l9JkTVGp1jqMHPPfic+ztRDXvurm1xfjomH6uBf6W1q57Q50YIsBI88Xx8RFrK6tcunRet+JiqZbKO4EYynZchjuh8YuTprtL6vCS7O3tUhJHzPQE2xtbWK3SOODH7bGytblPWySsz/mXPvk8lUaTt3/ynjYzDI+MauRJHBuxo6gK07LhNtuslAXW63LTrLXIZCVz3cXk5AQ3PrrNq59/mVs370ncXKNHjx4sMHfyBIVKkcO9KM9cv8p7b73D+QvnlVVRrhSftCRs7XH1yhXefvtNunr6FCT64Xvvc/niZa2c3Fxfw+PzqHgnLJDhwT79fcn5y/ebK+QVPNpoNZVv4nD7GBruxdQway+8PHethoX+YbHTZ5VhEU9E9TkisZH2rnb9ecQdEAwGVEQSW39Z2iXaQjrk1hoNcqm8imjhNjl/5GnvaKNpmDiOHuqQNTTSx+7ePufPnuXGx7dU+HjhxU/yF1/9urZRGAbKm5Da01q9pewOoeWLs8PptimxX4Zi2aAPDw/w8P4yoaCbgaEhHtx/qJvyvp5+GhZDwckiHg2PDvP44UMVry5cuMTa5ho+iVhWoL62RWo/TsfksC4fjYgfu2HRz78I+OcuniJ+nFGWhgy1Yr/P53N0d3WxsbXD6NgAx7G4PodaDdjaFN5CiAnZ/j94pLWGEpmzWW1aQ+vz+QlHhHuRolTM4/W4lc9x98E9FQ9FqBCeh91hIxLu5NbtO5w8OcfqygqdPR16LQsIT+B9MgtIHERcHnJfqNRqCjqUZ0lKoHrDw1y9fIG33n2f7q5ubE4HO5u7ykkZ7Ovjwfw8bW1B2oJt6uxwOP20hXxYZDrzePVaEiaP1F5K9Z44cmdnZvnRGz9R4a7ZqjIxNcn29iaDfcMaH5DqOXFBBUPBJ2eEphCbDIZHB7lz5y6T4+Mk4mmWl5fUjeRwuLQiU2KA5WaZp5+6xsrKkrJuaNTJ5AoKatza2ee561eJJxP6Gr/0yovKwBDRQ8CV4oZYWFpVx92vfvFn+epv/SEDI0MM9Ni5c3+fNo+Jgc52vvXwAHu5yv1/OsKN7RSVisAmTYyOejiM5miLuPXsYakbbMcyDHYEifR58VqlJSZPvZnHYnfy+H6Cc+eGddtfyTWYmolwcJRSftT6Sga3pUXBKHFpboi/9xe77CcNzg54CJharKVLuO0WnFYLN5azHD/8fYqNmop/NquPZlOim/M4IhcwuyNY6gVqrkmM3E3MLQPDasVUiWH1jlE1+3Hk7lCzdWsLh8BWrZFumtvfx9L5aYzKHrXMlnQHYmufw7AatDJpTF6BEhdx0qBaSWg9u1T/2Vwj1BJ3sLdFqNOJubxNyxbCVKtjeHqxEqdaLIAjiFni1hYDwxKmmlrC7h+hpkDpA+ydF6lnYpgyt//AEKu9WNXE8ucUsEBuhWZ6F+v0K2rBtLTyGJktKs0als6zWDN7NMw17I6IfsNSs2OWjb81pIpHNXegg3S1sI/NPUjL7cBWK9Mqx2h5BjFKx1jsHqzlGDVvD/ZqEsPdjoEHoyYWSBlu2iDYrsRi8/ESUMEamVNF3ZRfx+zpwuzqolpKYRPQYCONxTumsMLS3i1c4RmqoUEcuRSGswYt+eAWsLUq1AsFAjMvcPjoawy8+i3+7vUenL097EaPKeaqdHZ38dabd/nH/+NvkDNalPNV0qUKo6M9+lAe7h3kW6/9F/KpCv6C9O2WlLLtd1to2aykMwWlYYtNtGWpkM2X2NvPK6FyusvD5nGLmsnDQTylJPlCpUWby0Y5W2Co3cx0V4Pnxq185pVJzVzbqwLIEXGkSVVybktJ3OYCXlHO4i1MditBdwU7VvYPizoYDZ8ZorCzJzO55olbbjs/udngz280WSzacIqV11LlfK+PzWKNPreDE1Od3F9ehZKDcIeN1FFONzJiccw4zEx0tGFpVLm3GGP+qE4iXSNihs6gg9MnO/iX//wLjD91Ri2j2Bw0qwaW6Brbq49wtV2imNlSlc/lCWD1ebF4uqkfbZDbfEjfTz3PV//1f+B3v77B1QsRNnazDHSHiB+miOUtfO3LQSbORnjrnWPSiQTnTo3p1qxlMzE00EcilSKZyOD1OHG5vawtLCv5d2RyEI/Pz+rCslbojE5NsL+1w+FRlKHePoXtyMFQekwL2RT5vPSJ+wm0d7G3ucbudpKR0S7aezq0L1sAkuVGS2ubhFIrmdWJU+Mc7EQpZjME/B7CXREsdhd7B9u4rW7dOmqlV73K5NQwa6sJIiEPJZOZetpM09HkwpUQn/qNDYqtGl1tXmrlJzbqm5tZ/uXfu84zZ3p5uHzI1uaO8gVEWf3ovY84f+Wc2rDu3ruv8QCx0ErNx4m5k2xurXPt6Wle/MX/wGCvk4sn+ig3TThcPm7evk/v0Die8RPc/+gRXb3thKSezOGibjKYGJnm1u1bBH0+Bga7sZpsHB1FNT/rcDhwe3zsHGwrNCtxdKhOlMtPX1OYzdSpGR7dfsCjt99iaqKbxFGKgV4vxzkTj+ZXuTA7TEdfGx/cXKIz4GNhP8XVuW7GIvL+RBgcnGBzNcpRYoeZsXGspiqzM5P8+PYG33z9LvPbKS6Od+O2VUlny2QbZqZGuvj4xhKD3T4+/ekLfPv129i8HkoZM3vxI1xBO7X6k9xkIpFXaFitXtKBqn2gm76+YSUjHyeOFObyuc99lqX1ddYlC9rXowAzsR3nCkn2b98n7LaRqzTVdu5zNDlKFEllSyzvvUFp4Ta1UhKryYXM0hZ7L+Vmg1Z2H0/fOexGmXpyn7onjMkepnV0m5YpjattimYmSb1exOSfxOpuUju8T/j85ykW0gQG/g6fvy43eQc72zG62wXQmKLekjovUZhbGkHIFCs0WuB0WqgVWwTaXApakg7hgcE+/H4vj+4v8eInn1J78df+4usE2ztIJGJEwh0UMil6evvYP9gjm6sqjEv6gufnd2k1zXT1uAlKlVqrpbn/RqWiQs7Wfg67rcnoaL/mPWUj5A962NuKae+y2FCl51zswpLHNgypmIpp571RhZZJbJVBqsUy8VRWqcxSwbeytsXYyIAeeASeI/dbt104D2k9QEpNpJD8ZbuZy+cwDCltapFJ5CgbTUJ+tx64BSDWslo0BuX2uTRzKtnzg2iURtOsFGW5Ptrbw+zI1rMBHR0R/b7F3ePASSaTYWc/Rq/kXaU61WKlvSvCwUEMc8tELCpEbAtnr86x/HBZwarlWpWJ8SEWFtap0FL3iaggxUqDiVmxaxcxOxyYbajIJrn98TNzWCwGlf0k0cMoYamislmUjh7y+nQzSFuQmadOMb+ypkNW32C/xjWKxZzWpImdWqzFxVyRc+dO8P6PP2JguJ98tkghl6WtPaS1cRLfETDhiZNnuH37A1K3D3E2m/RNdRGZ6CO6dMB+LMn5n32W+H4Uu8OjedDYwR79QyNkU2lWVtc4d+6sAjJlC16sVLWizuaSnO4B48ODahWWhgTZesqQUKvVlK8i2y6HzYHb62Vnc0ctx7KVkhqr6NE+pWJdlwqShz85d5r5x/M4PFamRqdYXFwiFo9rl/vxwTHhNp9auXsHxV7tJJ8pqxAq+fdKuaZOgmtPXeG9D9/HbJiRkqFCuaQQtGeuXVWyvBC2A74AiWyafDbL6Pgky8vLTE+P09/fx3e++10uXLqg9wupiRMApVts/IkkJ2ZPqIARix3o/ydWe2lqEVaBZKLlM/Wplz6pPe5i4R/o79FKU4fHqZ3l4p0Xe7lcV4apyVOXn+LO3XsqDJ08eVotwzLETk1M8OjRgrJ/+np6lZ+wur6mcYqRkVGlxEs+WIa+q9eusvR4iUw+j8/noZwrMz07y3dff51Pv/opsokMq+urDPQOajRR3A1nzs/ptdTb0088Eefu3XkmJ0dUDBG7sWTExdmRiEV5/vnnSBdyHEcTTyr+ggH9GRJHSdwuJ5MnJjAZBq2GSbfDl69cUtbK2bPnyRdTCvqTAdthsXLh4hXee+8DcsUMF89dJJlNMDk6oewDqZIU9oEMVWURuc0WWq2aWs3l/RXr9PDIgApSd27eYWpaWAN1jSKE2iTOEFPmhcvj0QFqdWWRV37qZW5+fFPvLQKs6x8e1nuIkMRbJhEec5q3FpHMI1vxWOJJxe7hIeVSlp969TO6UFheXaNcqWqOXxwC8voEdPNtV7aEvN5iu5dIgt/n1yFP+DlDwwN89O6HzIgw1pLYSuy/xYokTy3P+sTRMT5/SJkrAqC7c++uMhFGx8e1AaBeq6twYLU5JGTE1s4OfT09VGrSBS9iQJE2fwf7+zt6v7bYnCwtLvDzP/czPHz4UO/N0vol8GSBhT68v0C5WFDhXzbOcu1Ji8WFi5f4+tf+ijNnTxJqC6hYvH9wpAO18D6Oj5JP3p96jfv357VB4zga49lnn+buvdu4PH5eeOF53nnnHZxOB10dERYXVtXJMndyTrvnHy8+VmHAcFgoZUrYY2kO4wm6xwbJ7B3SdWaG5bUNhbzOzc7y2re/zcTkJOtrqwrSlnpYuV9ffuoKG2trCtqWWkOpyBORubuzD6fbomdCeY/mHy6qE02aR2SQFqDjhx/dUFhlV1ev1neKa0oG6c21DYaHJ9jaXtPXy24XSGVa77ESyRDImtQHOu1OdYeICC2uHDknypLB5/Pq0kciCm6Xj/XtDTxOD5vbu0xOjWoEKZVJc7i/TyAYxGZ1cn/+AdPjY5w7f47vfOf76pCRZYvwAKRdRUQTj1cYK+3aBiCD9vTMDPsHh/j8Tob6+lUk2j840ErS46MEuUKO9rYw+3uHXH3mstZFyyKkUi7rkLq1vcNnf/pT3L87z6WrF9jf3dN7uAA2w6EwRqNBWe7xxRwDUkfa3cdHNz8mFAio60XEkedffJ733nyPhtHCZJiZmR6kUKsrG8QT9JH9cJugx6r8n8cbxwx2O/DZIWNuY2EjwdrvDrNwe4ujVpA2v4X9WEmr0Cdm+ukdbOPmO0uMjXdx957EqOoEfEEe3U9y6rSfy8+MsbUdZ3crqwsuifNIs1Fsr8TIRIBsMkf8sMLYZIiusJXf/16KN3abnO6Bkc5eorLhzzXo7TLxzfcr5O//Fs6Jn6X88dewBTu0Fr168BFGawOL+zQWfwRz5g71Vgd2fx/NepmGuYnV6gV7F9ZGUWdrSmuYj9a1ttmwB7FVk1DPYNRt+uxXV7s/jOEcwFTdx1SOUW+5lOJP6whTfAVTZIpaw4HTF1K3aj0fwxzox5Kep2FxYQqOY0usUDc7wdenLSeGsw1bdoGKvUnLO4NFzkj5HZoWC6b8vX9vCLlW1EyTDarZMtZQCFMlTTMfx/B3YWmUqMbm8Qy/TD1+C3NoErMrROt4AbMjRMsRpl4Rq7NBy3DgaJRpuodpkMRuljcgSK28iyP1kJprFJO/DxpNyKxga5uhYViwFZepVEpY20/ozbyRj2Ju1amX4ljdfrUsiD3eZbFRLx7S8nSo3VeVRG83+fVvK/jGCJ+nJVYV6dkmialQwuJxYQnMKnyvkb6lD7G205f5Z7/+f/Haj3e5eK6NdLmFLxLheGebeMrGqbP9eAeGCPvbNLuZyhYUePNg/gFXLl1S9c5wu3j/R29QyRRxR+zc+snHjIY7KaSyFJ11ZscGsDfM7CYySts8c26M6EGCYiGjwCdrw6K00YIADn0eiiWDR1tpUtk6vf1BIq4qI/UaF07Y+dLPD6vNs5qM47SmcVic3LydpHOoj914FqNcYbgvRPwoQ65YgYAFU6mhhNLsTpRQT4h2b1MhHjXDwvdvJ6kQ4avvpqfudCEAACAASURBVLi9XqO7y67gKiFouu0N7Y69PNXB9k5J63VKVlHMDfrbJZZjom6E2U3FeHq6h4WVff7mfg6nzUyjaefkoJtfvN7DletnOP2Ln8BcD4E5RLOaxhzdJ3O4RTldolJtEuwLknrwISN/+9f4vf/pK/zZf36HZy+2c5Ap0+ZyYLfVeeNmkdd+3cPwkIPDeJDDfAKXxYXDXsfpdijt1Wg1uXb9GouLj8kmEwSDbQyOTrC0sIDHIyRelz7QUwnJWlbo6uzjYPeA9q4uevt6WFtZIJsq6ns8NjWh71cmmWRsZgCzyaFbTNniCPl7dKhXO4XFwmh32yhmUpjtDj3IOJxB4ge7ygOIRuN6IK6KcFOokDxq0DfVQ61ZoHaUYurcMI7SEY6zHaTjNq5/aQWnp0WjUNLqIHkPktUWXW6D/+03P0OmaGNp5SHtkS5Wl/d4+oWLutWMxuPkM3nNXYbaIkxPjrK9s8dxMsH1cxf5/b98nXdu7PHLnzrNkVQJhrtIH0ktZ53I5ZdIHyfUXfPpz7/K/XuPOD46JJdKkdJYg1dv6pFwCJfXruBDyfRJfldsxLIh2lrb0M2EfK6ih0f0DciQ6eLBj95VwUSIuVZx11h9NMplBrsDvHtji5nJED3hTjZihyzv5JntC/M7/+uXCAWsJGMJnN4AH964rfZ2aSL4d//pbUIBszI4otGcWukkJ762F+OpizPkk3XKlQad/Q6+98YiJ8d8ZCoGzbJBI+Dl+U+/ojljc6vG1NQsc6cv8GD+PslUgsMDsea7CPi8Kq78+K231LL8eHVJc4QT09M8e/Uaq9sb/MG/+j3mRkJYTV4C7hbRdJlgh5XX304Qe/QH+Ab7Obr1Ae1OoW4fYQ1MYzFSOBxZDM9lMscruKxmnIEuqtEVzF43Fn8H5ZwTV3OPcuYRDdso7q5+WtEHBF/4B/yjTz7HH33Q4O+/PMr9R9sUK3XCES9up4fDwyRBv5tixWBiYpDe/j5ihym1sh0eJfjsZ57njR++hcVmpn9wiLXFdbU8zs5OcXB4qLVHYi194wdvMjw6pOCokZFJmrWqHmqqjQalfIVQmweH20MpV9BIjVCAzQL/0Zy0m4PDqApQQZ9L7zNGq45HNoLFpkKw8pmSOs1KpQptEa9m+Z3SWV9v6QZLhAGL2aSEd2E5CNxS6pAE6Lm4sK5bzKmpCQ72Y7i9drX3pQolMvEEgXAAq1nEnaw0sGuVWjyd0e9fbKEdHe0cSgSlJZKf3L8a2qfuddsU1JZJCxtC4J4RVlbWVbxoWEwEPZIZzGlXssDcZFstg4wA86YmRjk8PCLUHqAqW0/toUcHj2qzysrdRRU8vVIx2JT/D8KRoA6epXIeo2HWDWBbZ5j16BHNEoz2hjmKp/G6HHrAqzttWB1m3dIKpyCWkENDi87uMLVqSbeIDZeHk1dOcefDuzRqVfxhv0I6gwEn7f39bO9tK1PgOJXFIj3shQqh/naiu/vqehA4lRxce0cHmToxxjd+50/o6evH57Ko5XpjfpO5Z8+z18iSOYjroVA29sLwSW7HmZmbIpVNE9uPUshLdahLO7hz2QJ2jw2jaqWtPcBRMqWZ34uXLyj8MV/K4rA5tXKv2Wyxuryum1/MAowtq42+ratT4bxi+04dpzXPX6s39J4tndxer1c37tGjQx7cW2BmdhYzLd1yeQMesjJcFksqdOxs72o0SqrNllZWlZnQ3d9JtVjRw5Q4EGRTLRwHGVCkHi4ZS2ksRmz/i8uS8Z7VPK1cHx9+dFOHYiGKy5ZMrLvnzp3m9q07yrAJ+cT6u6FRCmlvQVhKDTNbWxvKmhHbt1D4LWabVrZJDOKZZ55i7vRJfvu3/g+GBwbp7O5mc3uTzo5uOrtCHB2l1OYr8MSF5WXdHgsAUZw0sydmNe+bTqQ0Qy6uAMmWSre42HiFrG+2tFhYWiEUCtPRFlYopFDPZbMrUazFhccMjY6oRfrh44f6zG9rD6pzZO7USdY3NpQJINvgB3cfMDk1zb07txifnOBg7wiHy4nf51KonwxY+nwulNjc3CLc1q60fakIlA2txWRoDZ3d4dAGiPhRgu72Hg6O4pilW6NWobOjR5/dqWxG6e5TU2M6oAvboCMcUVt9q9FSd4bUu8p2fObEDNHdKNFYTGsuBcbb0yugtSStRoP+Aak1KzE5M0ns4IDVpXVOnpzl4cN5RiZGWV/eVpaNiN1Ot0u35e2RCI8eLWsPvfwSF0s40MaRiMsOJ+EOgaYltIO7WMgzMz1HsVRiZ3ub9kiHvkdyL5M2Kjk7yIAZj8uzsp+9vRgd7W3qyhDHg4iQp0+e4tHjBXwuJ4vLayqArm9sMz4xpiKAyWJwcu6U0vpLhYo2Rsj1OzkzpbGKtY0tzfa3tfnU1SSxp3v3HnLy1CwzsyfY3NykqJ8/EZ3EIVXXz7TEYKbmZnQYFHFW4HYi7gt7pX+gl3t37lEqVXX4FfFUquhymazS46XNQT7L4tK4cOGsniUEtNzZ0aGiQN9ArzohZFXdqDe0qrWru5333vtI+SRyZqtU8soKaJphZnya+e+/ra6rUE+YjcernH3+KfovzvD26+9ht6F8jq31TZ5+5qo+06RO78L5C2xvbZIrVOmItFGpl7GYrLrkkUrax/OPtFLy6pVLCoKVs9Zh7FjbH8QpIcLuhYvnef31H9Db265uFQFvCg8jlTriwqWLPJTK0b4+tcvfuzev7+/M1BSZnFQAiqgobI4mRqOl57BzZy6ooCfcGvlsdHR0qNDV2RmmRxpkdnfUdSnNA2ZTg3Qqp88ls93A623jcHdXAbLC0ZHPutStYjNp+5XP76VaLemiSYSKeDKpIvJLL7/I7Tv3CPqCCqUUfoYwKkRIejw/z7nzZ1lZ29QYyfmz56g1q9pKJaLqT7/6Kg8fiStDhIESU7Mz5LNpFdnETSsLB3mOy/NsfXOTy1KRXS6zsrKqDQLiEhHwYNDnJhZP0B4I6fZfYiRnLs/w9d/5KuW9LOFehz4vJEpSKQjMDx4dFnn7fx6lq9VkJZplaCrI1nqDXKlIbDfF+Fg3Lq/B7PQAP/nRY4IRD71dAQ4PsxQqTdyuuja0NGp1zIaTQNiqz97jowxnzvazt53S+NDexjGfONHOv3/3gN96s8ZIoEaHx068XGe0vZ2OcIs/fyPGg5/8BiNXf4HcR9/UpVIlWcPp78Hi7aRUWsHiH8dIzGNzDQmmn0ajSL0Yw9Zs6GBvcgRoNAxl85gNL4WK3DMCKkxKo5LZ5VOBolY3YW/kMCHcvR6EVtwqrmINjWB2jlLL71HJPcJj9dFydavLoOnrwGrpwCjs09x7H0vPc5hc4hTcxtYUOTBL1X8Cj8NPOfoxdk83rfAoRjGHOb+HKXvr3xj1WhpTI4vJNYa5cQxGAZOtj5bZwGhZcRgCndnG0n4aI7tPvZLBsDmxON0YxSg2fx9mk5Oa1YW1ksFkluHOhV1gGbWEigQ4/TQyOxi2CBZbC4vFTbVuVvVR7DJG6YDm8QYWr4eWq0/rBBvlGC5nmKa7F5vJg2EkqWbmcXpHMZz91GuHsjbCWk5plqJaK2BzdGK0zVCL3cTeiGLp+RS14iHUrLjcTSr1Bo4KuM8O8IVnf42MvxOXtchxtM7M+ADBsI3vv/OQn//Sl9k9TFMo5BTAs7ayxLNPP6vgFTk8yO/du/+I0+efYmRsnHxin0f37xIU5TWe5MGt22T3UnT6xQLqUOhDsWIhFPbS0+0jHUvjCNuFekEoaONgJY4/4Nas9OBAiI3DIvNbWdqHu9jbTlNMVRn0GXzudJhr19t4ZsJGuN0C1TK1lhV7wM93v/mQSIeX0aEwjx9sceLkgDyqWN0rkFpP0Nnhxh+QqkEbg8PyXldoecKszR8TN7dx63aKH9xfoejuZ2kzx2CXC3spxek5J9N9Hdx6kKPlsWCzlmkWm6wfl7k43cP2XpROf5hkNku8VKJlWHm001AiKIUSn7nWxrMvn+f6lTN0DI7i7eoHe5XK/E9w9l+GwCyGPcuV0CcIhR2Mnmjj9t04wYgVp8XGOwslDv59mMN0hccrOT7z88/w4fv3odLALUqoXzq6Dbr6O9hdj9Hd+aS/2+0NsbG0qoTUrr4n2xq5wUmW1mo2s7K6ohU7/pBs/DY4ceY05VyO6OExuUJWb/qGxUY5lSWZT3HyxIw6DVpCGj0UO7SwIVo8vLHB7IlOBas5RYWLBDnajVNKHBEMdYK9ychUELccZOJJgj4btbIFf0eLv3k9xUayyV++nSRriTDR6aRlKlIzCZ/PyeOtJFP/Nc/+G3/nHPvHFc6cOs/25ip3Ht5neHiEp65c4K033+Tqteua8RQrq1giZUgX+2mrWOD//M/vsr2d58JsH+uHe7o1EhBh1XDys//o17nz4ceaSS0Va7z99vucOXuWxeUHancbmRpTG61XhmOPl5v37ykQSLqWI50RtX8tLW0rubvZrDA9Nsuth/fAqPDRaz+kzWpmcKpLle+taJGZXg/VWomlbYNrJ7o4lGo24YaYLWTzTZa2kvS1u+jw2xkeaOPmox0SiRahkInedp8SucdHetg9PNYBsFJpYLe7sXmqPJxPUcXMs+f6tFN+YTdJ4lBymG68XX383f/hN0nmC7zzw5/opmB8Ypzv/PXf8NRTVwh3der1MdDfr8PIx7duMtDXx82bH/Pf/+Z/xx//yVcIhMKcvXqa1/70W8wNttHIJ6gXKnRMjdEo5vjT7yzy3l/+A679wt+muCSRIxvN9CPMTel7lbxXHaoGxb0fYLU2cff/NJWjjzG3T9Iq2TFbilgiYayFnDpLWiYXNn8XDHYyG7mE+PL72704fQ68Lhd2l1S5xfXB99wnrhLLlFWoHB/p0yjA0sryk62HHP5LZa39WdtYVUiUbFjX13coVyuMDvUzNjrK/mGMYEg6jlN6LYlde3lhiV/64he4c/cGuVQBnDbihzHVb2VTbpeqNQOlX0t9mWwapB5SQFNimWxvD3D7zl3GJiYwGy2iBzHNyYrdvzfSpht5t82sdnr5/ExMDvHg7gaegBWP20E6WUSiwh1tLvKlOuVSg1DYg9vro1WrqdW23hTITgNaZh3OJRIg249oNKm1phLilbYPl9WmWU1xLsh1I/Zyj9ehQ5DUyZlMZj3cSl+0/CqXi/T39bK9s0Oz+oR/OjjUTfIorQd5ESbiiYxmQaWhwi6ijkAVm1WiiQLdHQF11chmUIBxdlNDa85EgBDqtQwVZqdAEWsKJhz8/2l67xjJ8/M+86mcc+qcw6SenHZm884OuVxyVyRlUZYpWZIlWQ46QDYOxhmQDFh3MowzzufDGZLl88lBomRKNPNmbpjdndmJPaFzjtVdVV25K6fz+47vDwJcYENPdf3C930/n+fp6WJrfRuHw0P+IIM3Eia9s6spCn93kMNiheJBHrPdoVyFoPzZ6zW2kxXG+kK6cc5ki4RiXoW+mYxWrEYjFdlI1Dp4wh6yhSIGm4mxiRE2VtZoWEwcnTqu9HNRthUPy0QdLv0MZhaXdMh0sJygaDfyxq//DfZE3SXJknxFo7hbyX3djFpdTv13HBarFEXRZbYS7I4wf+eRHsSF1D88Jg5kJ8uLK3TJoTiTwWh2cJDc5djJk6pzS2cT2IVAL7Uzl43z5y7w6Y2nLnbpwO7u7uJ1O1Vjd1goEolF+Oin73Lk1BShUIiVpSXaGPG6nNpJzUoCsN3G4XBr6uTTTz/T4b3owJqNFn1DPXzw3ifkC3k9OMT392mUy/T09mBxWrFZbXRaLaWZT0yME0/sE4tE9Z4o16N0ovt7unF6nOzu7inXYGiwXzvP8h2riw7Z0NbnjVRj0oW8VpweTz+m2TYSiwQolir69wh4U9JGMiA4NXVGGQbHj06QSCQ5SGX08CyAO1HY9g/2kjhI6lJDLABCwu/tjpLJFnC6bFTLVb0mhQcjh5DN+I4CAL0Br26ZZcg1OjZJNntAOpng5KnTmqSYn1vg5RdfZnd7k2QmjcMmus8ml69c5c7dW9SrTaLRGIXSoQ7VxGogW9Sl1WVNJcgQZGNtQ4FgvlCQbDZLLBrUzz4pi4TKIYlEmmevXlY97+ryulLbL54/r9tP0cvJtv7VV69p8uCTjz7T63l4dEQPpblMkUqlyJGjk/i8AW7dvKVxfl9ADvp1LA47lVKFXrmWNjf42je+yvrKOgvziwwKAG4/rRtd+UxDwZBWfERbGol0qXr22vWX+OS9j7F77Mw8XqC3t4tYX5TKYY3tjR1NDzQaFf1nJeq/sjJPrdHi+JGjJJIJ4lv7nDp3QoGIAoITDoPAEmdm5zl//rSygmYEBDcySCKV1u+QHP6On5yiWCjo4Dwa69LhxebWLs9dvcTCwgoW81N7hqQCZXiysLDI0tIW0WhI2QtOt00HLHKN3L53T7WOUsGYn1lkoL9b7QfnLl9SOr0kVXIHWeweJ71d3RzKJndwALfToUNci81KOp3R2kwmV+H86ZPcn76PxW4lEgoSDUfZ308omE7SO5JAlJ/xyNFxtXVIf1yGz6VyTWsANpuo0QyqY5RDqs3hIp1KKjdiaEh65gVyh4dsLG8yMNirP2+xWsPbFWXrk2mqOfn5eshmSywvbfPmP3qT/f0CiY0dXrr2PP/1O9/jt3777zA/O8/8wpK+n0iCa2Jygps3bnPxykXsDjM7W3EdyJw6c4ZOp6lpXhMWZckE/X6t5wioulor0RUM0ZRhtNFEMrmHzezQg24oGlT941s/eo/zF87qVl/SI7lcWhclUiGQ2HkwEKZ/QHSPKa0IyaBdBnQH2bQuVgQ4KJH7l156gY8+/oRmvc3582d5/713mVKGSkIh1CdOnaDZrjM3M8elC5eJJ8RsEWVre0/rGVuilezuxW636LAWo0GTmpLcPMgd6kAme5DHYjYrC0LMKjLIkQSfVPI2NuIMjfRr7SPgdun3MFfI8eDOQ9U5ypCnVhVwqknfh/X+OTqhphqpfMT3kvj9AU5MTfDjH77L3/3NX2N2dk4HBXVJ9rU7ePxeemNdqlB1uNxcvn6Jn/677xLKNhg/PcjaapyyKDAxMRD08M5Mnt89W+cfvN7H9z7apl1rc+pUL2bB+8gyNlXU52jAJ+ldiIT93H+wxZmzQbY2K2ysHTI+GmFzPcvwhFPfLQ1tCzupFJND3WyuSlWgqnaeC6NW/vUHJb6/Z+e4o4rPbiJTN7IfLzE1YeF7nx9y969/jalr3yJ19y0ckgzKN+iYWrRbXZK3wWB00rb2QHMbQ6OMwXOUTn6NlkH+/yBms4dOUdKTJszeITq1nC5HOiajpiAb5Txu1yBYyzRy2xiaNVq+KYx2E+1KmUbhMbaGj3bpMfajv05JBiypzxXc2HL2IOT6SlN4B2KtE5BnFoPUAkQ53bHSTt7DGHkJg9tFffcdzJFrGFwByGxhyN363zqag2s2lGBYFbosLaz2EA1Lk07lUNMBJnOAZm0TE05qzaJGBDvBXox4aGaeiIiQltOLuSFofjumTkXJhbbel5T43a5kMTVMdKgpGdXYOMA08iU6h1u0mxbt4NSKa1jdYYxtVC1WN7awGSxKyG7lVrH2vUJNVFatGtVqBrM7gAkf7coexpDoieyQfUy7vIe99zLVYgqbZ5DW4SKHqRXsvhgOSzd1Zwvf8Rf4x6+8wY+fZIn2+Dh+foo1UaPUjLQtFs48+worM7NMXjpPNBQgn80zMz+j0RmhEMuqR2KuAspaX4+zOD/Hi6+8Qnf/EHuZHax1Izu7+1gMOeILcbLpDKXDPA46+FwmDuvgdTmodjo6HbI4XIzG7GSLJdW/bGymOXMkxNZWAVcgSMVg5u7tTbomRpienscR8DDqafG3n28x5LcwOWYn2CzRfWGcdKJFZq9IX2+MGz+6T3QsTF1uaoEYBq+He58vMnXcg8NcxGD2YzeVsJkbdBwh0jmD6jiSVQufLVu5tV3iyXqNSNRFvdji2DEfAzYDEVcbd8DLF7d2SDU6HJtysfY4x9Spfg7Tcb3gQhEvb99YIxJz82CxiKUFPg987dIAb3z7NboGevFabRgadu7/6N/wb3+yiQMX8XqDwYgNm8NAsmplxNfkD1+HA1OATt1EWSjYnQ6GWpne/l4q7SZrMxt09QRJ7+eYunKCdFySFkU8Lr/2mSP9fawvLiiUZ3drh1A4oC9I8tJfKtVUHSjkbultOtw+BSvVy1XSqZxOpS0WpypaRo4NsbWyrpuJfKFM9bCG3WNhbyfLsfEeWo0cju4A7UKGUFT6Qgbso0c4mF1laXqDsmhymlHen82yGC9xc9mMP2bkpTEP+3UrjvIB5maHdEO2Yi0ebJT4X3/jeX7jF5/hj/7je5jEelHO8tyLL3P35i3dvEvnslgq4nJbuXDmIrfv3tGeZKN6SM9gL//Lv/whPVEHgwNh7kzvMdgT1GhbYPQoV1/7Gv/pT/89x45Pce7CWWYfLuD0yQHTrZvDa9euK9js4f37Cko6dfYc1cMyxbx4cBe5cuU5bn32OT6vm/6xEZ2yFpJ7uJ0GVj6/g8naJua2YHLFmH60wZ//0S/znf/yAf/2hxv8+s8d4/HiJv3d0r0vEAzadKCzuZ/CZ7VxkK7QFXETG4yxu7qtWkmzw6Db72KxytGJftUaVdse4vEcf/Qvfp6/+sENFjaKPHvpCA8ebeE1d3T7UPK6SWXLvPTaVzRiefuzz7h88RKlep1z584p6GhxboF6u0FvzwA2l1u1nstLa5w9d5ZUOsnm2g6DA/0YHRbm3n0Pm7mK3eqhbW7jdXr54adr/NOv9fAHP/oe8Q/eJ+SL0DDVFOrUcXgxJJ7QtjmwuoepVRK0ay2sTpdOp1vNJA6jC4xiRwFcdmrpHcKTUyx+8Bc8++0fcf25AZrlNImaGWO9QyhkY345i8Pj4Nqr17VrKdR5ATlFYv0KwpOYtRw8/AEf2VSKWlPSPn1PzRg7m+qrD7h9ONx2soks40fHWdvZwuN06garVulgsskBu8O5s6f54s49BnoGMFg6rC6ucerUcQ6SWTZ2tolFw0T/x8tXqViiu7uPnr4oW1txEskdnrl4QQFt1669wvziIve/uE2kux+jMFpMRuq1inapRdMlyjiJ715//VXefesDDJ2mXseBYEj7tjRrFItCNDZrB1e2VBo/9nk4zJeIRPwUyhV9wR8Y7uEwn1evtMfv0Zc9ARdKnSDgDyr8UOo9Y5PDJPYS+mIqKq5sLktYhoPbO7RaT4fVojAUUncgEKVUlK5nU+nVQgxvtOpUiyUcYrqo1lSVJnWGhtlE8SCt3W6J6krKQX4n+/EULWMbq8WG1y6clEOy5RqjXWGwmRR4SKVFvlzW+pkc4uP7KRx2GVz4SSUP6BmNcbCXJuQP0N0XZnV2nUA4wMbKNiOjQ3QM8qIruiFhj0gNro3VaWV/PUl3NEhe+vGNKh2ni8RmWp/13pDlKeAqEtLDkdNsYy8lwFMjbbtEod10bBbKpSoT506ws7mD1WxS9ZMc0O0+Px2nQbeXPm+Q8SOjvPWjH/PCCy/q1lE4JaJ/FSVgXbzhXhc0DArtCgUdnLlwntm5RT0Y2Ixmrl48z09+/J72pGVoNzYhfeLH2rWUoY6oqAwWA3vbcXV93737QNMdUoXyBKIK65W+s4BvfuFb3+Tu9H3mBVT24nPcvf/oqRXi9Any2SKbm2ucPnOSTFoqZRmeffE5Pv/4ph5snnvhArMzC5pyGps8yqnTx1leWNED+9TJk+zvp8ikU+ouFz7Czp5UX+zqvRdmg1+i380aIZ9fgXuPHz/SnrYkPYZHhpmfn9N0yH4ixZnTUxTKh4ihKRzr1VpDX0+MJzPzmA1W9X5v7exRKh5yYuqIptHEbx6JRXVoIZBmeYGXfu/S0sb/GGq1qNVajI8M8fmtLxgbH9Y6l9hTKuUCXl9AFxwyvJPhl9DpxybGNNFgszroinVRb9VZXVnBHwwpS0FgaFK/KBVzCq1LphJqkSjKllrqm5jo6e9i5vEsYV9Aad6TExO8//77Cox75dqr3L83Ta1epb9vUMGPEpWXNIIMJ0WTdeb8KT3Eu71+3ToaDE3cHkl35DHbHBg7Mizt6Lvr+QtnNCIvBzYZHAwNDnP7zl01ZVy9ekGHoLdu3dbrb3d7TzklAver1ksaR27UO2oukJSAV7rsm7taORIo5bVrL2v/W8wDkgqRNKjVaOHSlausrSw+fU82GihXqlQOqzQ6HewuO5ViSb/LAb9Ho+fyziHP1FJRBs49FMuHeH1etnfiDA330dfbz3/9i+9x6uRpDss5omEZrrfIZPM4pSpaqepQYXVthaNHj3NYKj3lLAT8Wj+J7+8y2Nuvn9Wtm3e5dPUy4xOjvPfWu1htTg6SSb2G33jzKzx4cJ+NjV1SiX2uXr2q7xHSRff53KT2DtQKo/Uko1HvaZJ0efWVF1laXdXajBy4X3nxOd595yPV6fUP9VMrlTRp1zfUr+nRmxKpjwiozMLIyKAOU+Q+vLmxo7DEEyeO0m4ZVJksZg4BGG5sbOCJBGhvpcntpPVz9Ee9HKwW8R3x4giF2Frdo3dUzFoditmKAp19Pidd0v9f21C9odFgwWaXd6kOBoPcd20UykXOnbmocXQxJRTzMhwP6bXk9ftUcyc6QmFEVQ5LvPqlV7h/9z753KH2/IUH5fNHiG9vKshP2DPCrRDri1xvlYocfFtqWRAm1anTp3n46KEOlSePHmP6wT0F7Ik+UZ5xdqcM/y2qly3Xy0QjYSwGKx6/SwePUkmVOkY+k9cUqqSPhPeyub3FzsY2L7z4Irdu3cQpg5VMVu0ekhaYnn6kSSz5PIWDIN8RkwjaajU1hwj8UjgH7TbsxHc1OSI/j1zHkiSSoYL8PuS9Tz6T17/yKre/uKdGFH/ITygcY21xkYGhQeVMzD6ZUz3q4WFer4H+nn5N58RFvYuByROT3Lv7LQFdaAAAIABJREFUiGBXgJDNzdxbX+C324gNerD7XKzMbuMJeXi4VudXLjZ4c9DC/LYJt7fD6TPdrC2kqBvqDI3F+NH3t7h6NUhPxM/NL5Zx2n0cOxZhZzvJ5MlB9nezbG4mcXv8jIy5mHucpF1v4HBbOHN5kLkncdotCxeH2/y7Twr888/avNBjZrLLxVzqUBcck4NOvvP+AR/8p9/k+W++xtrPvk/vxDVq5Q6lvbdw+EcxWLqV5k8ticnkpePqplXNKPpH4nYduTfVizT8k5gyc2oYMFm7aNkstGUwn5/FHr6qkGFTaZOWuwtLTcDu+7TtDuzObuqFAlaxwokNzzlKJzyIvZihIUmBhtTbc2AfwOyOUM9uYhYtpEGU8zXauRItu5wvBzA2SjRyi5gDMWrZfawm91MLQLtToUkUK3maySc0mhXsPddo5VeU6G81VOmIH85iAvcQrVwco006U3UcTgdGm5dq6hGdpgub16eu947FT8s/gaWQoN7Yx2QPY2mbKCWfYA0foXK4jdPbj0nc7c06BpsTc7NOVRIDbRtGmx2L1aVbnkp6GSd5Ko5e7EI1TE5j9g7Tdo3Qzt/DIGC/usQvzZilJ1rdpmmJaYfG2MjQarsxtxO0HKM47X4OKymCl07xG9e+xY++qPC3vv28vlQmN+LYbWDzBRg/eRpfaJCDdByHx8XY5Em2E7sUklkO8tLhDjA+OcrdW3d1e9DV06+6FoFwPJi+y/MvvKA3+MnTU/jcbgX2yENteXlBo/KPPr1FLZ3D7jRSP6wz0BOj1Sphdtno742xuZflxPEpUgcHFHJpnBYz7nAQj8PKR7fn1CO5m0rRsLj1YG6otHn9GS8vDlX5+eciBI3SNj1gN9WglbWA24nF41Bv8/LaHoODMeZX96hXmly9NMH+VgKzzUDiMMXJYxNqGGgdNrRztLZV5ce3q8xnjKwVW6QSLfX9fuWCnfh+BaenhqVVYj9noV21galGX1c3jWKdnVKVF052sb5/wNxqljMTAT64v0/daMdgNGBqV9hOwYmok59/yc1y3MDH90u8eslKvVJlNe9mypHit17zEhkfZmNpF7fVwpGLR1l8vEhLIHzdEYzmJttbCYwtAyNHx9lc3OAwXcAdciqoR3pIiUyBiSND+sCVF/6R/gGMHSGtu/nswy8YPjKB3W/j9ltPOHVpHJvNRL2Yedr3cnlZi+eopPIMDkhfNagxxUrpgJ7JMQIjPkg0Sa8u0nZHmV7NcmO6xOq+2BGC3F4tk2laODYa5fHCNkO9YeqGIkM+E5aWjbW9PSI+6XK52N1I07bZGAjbWVjNcP7MKD//8jgHhTKJRJFsLsXQUI/CuOL7exw9eoIH03c4f+Ycjx8/prt7EKO5wc7OOq9/5atc+/YfEnK56Y2JSsyH0VhnazfF13/7tzh58RL/+U+/o11D6dK997Of8ezVqzxz+by6rH/ywx/y/AvXtE8s3b3u7pg+zC9fPs+f/qc/58XnnmVzZZkx2S55HPzp//FHWBptDK0KxycHNK5YKDVwea3cupfk0+/8OrvpAr/6j37A1bP9eP0mtrcyOGwWjVJ6PSZS2QI+jwuHzcydJ1u8cvUIDT0g5EhnU5iNLizWBofNDmvbBd58doyubju/9ivfYPrODL/3r3+Cy2vD1uowOBiliYXSYY3Pbm/wd/7gtxkbGOft996hVjwkHAoydfIsf/7nf8bV565yKMONUl6BQhLv21hZZXBklJ/+9Kfq1w35PVi9Ad7+y7+gsZdnYnKQUJeddLbKB5+u8rvfPskf/pf/wM4P/gibvw9zeRND/1msRhcNuRcWD7CHehUoWc2sYJfaklf6pj6aB5/i8p/WRFQpM487eBLXxTf4Z9+6zP/1kyR/980LfHDjkXZFjaYmxVJH+8Bfe/N1jEaTdkXdARfLEmk9dVI3pLlSSVVjFXHc221ayTIYpZ9o48L5s7z91geEo2Gl6se3t7DYbGxv7XDx3Bn2EkkSyRS1SoXTZ06r4kv68h6PR7vU4i83W0TR5VZfeyAUYWR4mLt3bmGx2Dh5+hSJvbhu+ES9NTo6oCT05eUVgoEQZqOZ3gEZpOXJ5wqcPD1FQvqyR08yv7zE8soiLz73EovLi9SrDY4dm9BNhBwypYs9Pf1E4XXyktZotfTALXW2xw9ndDMp0eNWtUzbhBLkJZ6Z2s/oMES2XgKFks2QbJol2isvqHJglxhvSziIHZPWoqSTWqmXsRqtepjxuT3cvz/D5OQQOxIXtwk3IKqHZtmoRmNRlhc26OmP6RDSapODsFvpyBJ3lq2MRKPlZatVaZErH+rGUg4amgwQaJ/bzvbGnnZ2ZSAR6fLTqXeot2uEIyEq+QomuwWj0aAHuHwhR1DYIdU2xXKFUCCI1SZMggPldVhsRoJer/Y5ewa6Fa7UoU6pUNVUs0RSxWNvd9uJJ4TILEPupppQHHaLfu931nZxeDysb+4R9XixSJfW5aBWKKlidbi/W5Mc1VqDukF6tk495BdFPRgWn7kkA6tEe4MYjGYiPV3kD9LYvTbSyQyDQ+ImNrC9d4Ap7CbgdFCShM3YIPG9OAZJWjTburWX1JcwOdI7SY5fPq1aKolTSx1kT4wULgf1ToNmQRgfXRqZvfPpfaX824wtPn3/U3omh7AYRI1VZ3R8kC8+voUvFNYN7OzDx6qtk0rY6sLKU72bzczco0VOnT1GrCvCR+/foKtHNqABduJxHSxVKmU8AR8um53Dco1QV4DtLRmId7A5bES7ojy5/0iTZ9KVF21YtDdGtVznxNFxHWhK37YnFmFwdJjPb9zUgYJ0vWWLvrq+jl2UXZEY25tx3AEP+XSa4QmB1vq4deuO9r7lgJjJJfG5/Wyub3LpmQtaf5DNsvTy3/jqa3zws0807XT52cuszs1zf/oRoxPH8ASdFA8KmmT42Ucf8eKLL1KulvTPIfUKgaRtbW1pBFoYGffuTmMwm1SZJj/D5JFxbn5yB4tD2CO9ev3vxrd56fkXeO/9T5SB0axUOXv5rG6s52eXNFEhh/NIV5BMJq/coYXFVX7ujeuqZv7g3Q90yCKJC9mqb66u6TM8lcrqvaspiyGLRKtDygZK58r0dscUQCapBGE4CBdBGD+nTp9UZoJ8psK28UakloMaIeSzliSHwdDhIJXm2NFJ9pJ7ytcRtdni0oryAF5/7TqLK2tMTz9kcHhQD9CNWlOvfYmzSwc8mdijhUUtLWJlEDaAHJKuXL6M22Pjxo0v+ObPv6nDqaXFJZxWO6PHnmr3pu9Oa5dbGAQzc/McOTKuFVnp2sfje5o8khRXLNKl15fb42FxfkmHms9cPqceeQEWyzBSDA7FYpae7m6Ns8swy2k3K0RVUj/yfdje2dcUmM1i1gHZ+Mi4bq4rtYomAbp6e7T2IDR6YUwszM/S09NHV0+E7Xhcu+FiYzDbzIwNC7sjwcFBSusGoqxsdVAloNQE5blqNHZ0Ey7POqnnvP/Rhwz09uvPIpUtuU8MDA+S3NqhMLdHJObHHHGzM7tOo1IncuoInqhX60wWmx1jp8VBcp9Ybzd7O0lSB2lGxkf199gdjbKwtKLfKZfPTn93L4nUAVsbOwSCXjVpSLVFjjdS/xGo7bPPX1Z9p0TpR8ZGWZyf19/HwFC/Ku9kW708N8e5Kxd5cHuakyeP8HD6IUaLTasp8kyToY4MF30+P/lcRocKcjB32J24vU42NjeYGJ3UzvhuPKXpB0kmvfvBR0yMDevQQqo+u7sJ8vmsDlhliKGptlZLk3qjEyMKDLyvQ8+21j4+/vgzLl44q8MMqc3Id+jMpdO6hBQzRyZzgNfpVtinPyypERlIpXVwIMuSQj4r/3q6u6K6+Nra3iDx35Wuv/RL3+KnP/kJXk+QVCLJmXPnyGYzBHwurfMtzC0zdea4KqTv3XuolQ6nzcrKxhbHxsdI57KatPH7bNRMBu595x0iqnE3U2uKZtiA12NkZumQaNDNn3+zxW7WwuJ2ide/NEC1amdtc5fd3YbyxSZPOMmnOpicYDVArMvJ3EySySPdChC1WNxgrhGJeMkW6izO7DIy0a8p6OVHTXpHOsR8ZqafVPiHn1v48oRBh3WFhhUaTYJhBx8+KPMf//F1fuFf/TK5Dz7HHrtE21SilnyAyeQCc1itQ3KNt0w1LBLs7zg0NWUob2MJn6S2fx9LeIJGtYjNO6a6v2p5HRL3MEcvYfCGMNijtCoFjOUd7fJjNGFsFqinN3D2P0/HaKPdyGOVQ34+i8XlUYBju2PA3EjSru5poszsjOm7jMHixCTXndNDqywAalF7tjDY3djaIaqWFoZCHEPh/v/dadWqdA5X6IQnMJtDVNb/CixhHP4e2rjpGGXqasVgcWicsrryIdbIOI7gOOVSBbOrj3bxAQZ7LwbHIB0hE7bqCi/oVGZom3sxWcNUc49weQcwBMYxVlPUigkapaRGZE3WCPgGIBenYzdiNMtmzIWtkaBe2MHY/xwG8Tvk0/oibes9R7vToFVMgiOMoZmhba6B9Sj28iKlWgaLIwaiJixuYrRasQcGKKfSlCop+q//Bv/sb77Gn7wd58uvn+P2FwuM+Ny4o06erOwrWffilWfY3EvpTURu6n1Hx3nxpWvc/uKOOj2l3yI3fLlZXzx3jr19eQH3ab/pIJUkEA7p51Ap14n29mJstokO9DHQ28PK5qpC5rwWJ/du3YdOmXKhgKlhpD/qZ2Vjh6mLE5jrDebX4nroGhnt5eanAv5x8sYbl7j/cFXTEJlSleSh+JUrbCak5Nlh6FyQK4EUv3txkIGhQ92U2Q0WPfzbBby2ekh3wE2g10km22BjPs65E2PsZxM4TX6S5QzdERPZjRR9fTH6pvo0vXH7owVqxgDfu9Xhh7ezZNstQgEnTo8LGyXVpfncLQztLKcGI5gdbv7q7S36xEXuDVI53Kd3KMD2XgZj08DyZo1YyMH4iSgLjzLs1Uvqkj4+EGJhv8jCvoHvfrvMySMRZg9aHB8KgNnJxmpc9Ye9g14w2kls7+F22zUOF+wJKIhkbzelkSyh37drdewhFy1xlNvdPLk3I6cCKJc4df4Yjx+taV+trz9Kq2rG77eQXEno5rZtPmDqylmc5harnz5k/NnjWlGpSB2gY+Thgzw/Wzuk1Aoyvdjk4UGekNtJOl3mVJcZi0U2UXY2NuVgGVM/qEUIquUyVkeApe2CdoF8fgudtl372JlCgbGBCK2GgKoafO3FKaW8VxsN9rYTRHu6sFgsSr8fGuhXx7S4uAf6IiQzWdW/zM3MYHNH+Pd/9QW9IUlawF6pStgBe+kKv/77v8/3vvvXnL90kUsXz/Pv/v0fc+bkWT79/DOtSfi9suVxsb6xQaGQ50tffpVqtcHWdpzf+Z/+Hm/99B1a7Qr5bEaBTz/7wfv4DTBybBhTq62HR4fdwMRkL48ebepL1sd/8U+5/2SRv/7xbWa3DjisGbEYGgx2h9kUp3RPkJ6gn3hSGANV+gQUtLxDrQEenxWvL6wvCJlEXrfZl05285u/ep3F9S38JjeJXIb3P9/gwdweXmMdY9BFPl9ntDeItVVhOdvib/zOP2T28Yxu4vZSCY14R0Jhrlx6Rg9e77z1Fl29A6p3unf7Nq995XV+8P0fEgtH6NRLHH3mKvH5WZ58+AEDPV2sbcXpEw3R/Cp9gQA3Hv4Vh198hLV7VGOrhk4Lo9FCs13DXJij5Z3QqLrhMIHV4aZsc2Gy9mGrrlHbX6HhimEih8nWTeDCFX7/F36HP/j+LN+6PoCn0+CjR3neuH6GPr+J//z9m+of7h8awOPysLYRV5q2bIsE+CXRZKfTxZ0v7nDl2SsKx4zGYmxsb2qMVfr93dEuPRzLi61Anza2dtjb3laY5ivXXya+E+fB9DSvvPSi9qjTmRTVelNBWnIYbVbrT4FXJvHtbmhCSg4Jq6urTJ04wXZ8i8ReRjdEib19lhbn1a4gm2P5rkuHWrRGsl2Rl0bZcATDYT1MCYtDQEdd3X36cigHFgFMyb9fQHZHjh9V2FXQG1D4l/RH5U1POA7J/X3tyAtJOSAd3kePnwK4Dku60ZDkm2wOm7TU/S2eb5fTw+Lioh7+5KAuAyyHw6U9Utk0ptM5srmKbppiMZ92a6XWUyo3cbhMnD51gtnZJSwGMxNHxtjZ3dDDg8DlymoUkL5zlXQ2i9Xy1N8u0/+wENn9ftY39rBYjCT30wRDISJBJ25/iL34ljSecFgd+ucs12qqhkvtJnDKcNcuMfssPV1RCvmaHqJk0CHfZwFVmYwmTRjI5zE6MsD25i4+r0e77UJnl+2ldMEnjo5pp/ggnqJtMTEwIM+3Rbp6w3hctqfVjcE+WtWGDpo8Abce4jomE0VhsRiNBLxunA6z0vd3VpMK5ZIah9vuxKuu7wxur0u3ybaWCZvLyc6edO0D1Op19uI5BnoDWKxW1vYSxEJevKJTk65zvUYymcMbcOIwwcCJEbKpAvGdA05fPU18b59Sqc7kmSNs725zmCkwcHSY5MYevUM93H78mF/59rdIZfN88MMP6RnqwRcJ4HRZ2F2P67BMpj+leoVYV4jB8SH2N5PaXR4dGGJ4rJ9bN+9RzBY5efqY9tEFgizJEalSZDJPIV79w0MUM3mNi19/7bqq06bvPqK3q1dtDAbRGtpsCksUkv/dWw/0s/zStef5+OZtBvr71LwjZg2318Hy+jL/4Ld/iz/+4z/l7Nmzaj/a3tjSzvrRyUk+/fyORrVvfHZTYYULS0t4XV4e35/h9IUpvAEf5WKBw0IJl9+nkMHPbt7h7/+9X+Ov//r7DI+OMTrYz/SjR5w9fZKV5TU25B7g8ODxunBYLPQN9rK8tKrPG9GASbUjFgrT0xtVzo2AcdfX1/GHgmyvb3Hk2FEsdqMOdaQGs76xooOLL7/6Kp9++jEtGlRL6GBE7uleh4dS9VDZEc+9cIWZ2RkFSsZ6eohv79BotpSrsJva1xi6DF4kUSNx54X5VV0oSA1E0j2DQwPcunmT7j6p+1mUhi9bZ5Oxg9vl0UGYVBTl+hWF4OBAr5p92hioFmvkykUalSrd3d16OB8eGtHD4uef3dEKnbwT9vX2MH7kqXawOxbTe64wEORwJLiHkeFR3c5vbslwo0fTNMJakOeKaNsmRkdZ3VjTe5mp06ZW7bCxtcng8DDpVBqXw4Yv5Cexu6+qNxlWSm1RKiijAoGcmdVtcVSenatbmsiR4YtQ372BAJ1mHY9X0n45TVicmJjk1r07+jsQ5an450UbKPf41cV1NlaXeeGVF3j0eJaZx/N87c0vK0BTkjFGo5lKo8TJY8d4990P+cpXX+PJw4d6jUoy0mKwE+oKatJDDBay+ZXEkxygJQlw4ugxPvv0JhPHhIO1r5F0gdGtLm3T0xfj0oUzuuxKZbL6LN7diXPu8km2dpJsf/IAn89DcKCLndUdgg4vdUub/rPjpNMFHUb19/dTq9S5dOU8b/3obbxBD2F/RJN7ooZNK9DaqYOITkvgnE5aTVGam8lnclrhcAddPLw/i8VqxOf3YhcGS6ejnftnn7nCzZs31aAgxhOrXbhQKc6fP6fqP+nhC0slkTzQM5JUJGWY7rDY9Hni8fm5euUy27s73L77UPk7wjaR+HwqdcCQcHuS+0RiXaQPsuRzYhB6Wmd7yowp62Aymz5AjptWk0nrLlHRyYqNSWxoogWN9bOysqzAVUnJ+EQ9PbOAL+DjyuVzfPDRJ0RDEYU9vvveu7TrRr7xza+xvrzGrXsPOHH8GGNjQzx89EhNN/VKhRdeuapKwvv3HisMWBgbwjZZXFjml779C/zX736Xy+cu60BWrt8jY6OaUpEBw/nLZ3lw7zFjk2M6tJhZWmGwrxu718m9739Or9VGy9GmmmoSGQzSFTKQqTQoFW1875fN1MxObswlKO+U6DgMxKIedjbqDA1LH8BJupQns18itV/nK98YZXs7zdJCnlNnwrSaAmnM6+d1/uIQ92+tEIxEGRixMnc/Tbpc5vlzAVaSNn71r/O81N8kYDbijYQwd6o02h3ev5fmF18N8s//4j+w+dN7+HwNzGYDbYsfHGIOMmIxlvU9uNW0Y6gXnpoCugYxpNdp2YK6lDSZXbQP12i5/VhN8u5XoGF0YnP3USk+xOwYVOaJcftjTL3P0/EPQXkPErN0rBE6gV46uRWM0aN0Nt7HZO2G8DiImSw3J9QbzC6pdbfotA9pGUx0ynuYQ5M0DmYwm2zgPYqhkqQliX+7HUOzgyH74H/vIJ5CISWW1jD7jmE01mhtz6iuoG6O6iGOSpxGeh2sMUyNLK3SNubgOG3RT7QtGA1WqOeo1Pdw2LrAFqCR28DgjGGxhakdzmNomahn1mk1DnFHj2MITlHZ/hhraJh2o6MeaRrigzZjsTlplLaxeEdpHW5BvYnBEaJRXMAeOEfTasGQn8do8QoTSTVVbdn2SMeyXKfjjuhUsFErYi6u0nFGMViiWFtJsvEleq//Jss33mHyq/8nf/OVIZ0mrs4nZCdCr/SaH2zi8BnYXM9x5Fgv1VqHJ3Nxrr/xksbfGkaD1ibCsR4M5o5OIevVQ+7fmeb6tS+ztLqkk6FEfI9TZ04Rj4srfZD5+SdYzXJjaesWrG+4h2bHoD3FnaUVGoYGqY1dgm4nK7OPKebbdPf4iHUHcXn9zMzM6gtHb1eAM1Pj5MRnnc3icpnIZMqYmlCoWri3mlM7wIkheRFPE3IccnXKxm8/O8DJkw6wZ2jkQ+yt75MrVjkodOgdDCkpuFVt4fKI6q6kkDXxcc88WafROqQnHKGvx0utXaJSN+A0Orm1Wuf/vVlhYb2kHVq730PusMhQd4Quq/TnW3gsFfyhbnazOY51u+kYTOynyoS9HX3pXkgfsp875EQgSsfcpF0vsLjTppWrcuPf9OIZHGbm7i6GloGV1R0Ge5yMXzhOs1xifmFdI5AnRK21uKx+eoG+dEVj5HL7eINeTG2BBckDdIvh0RhVg5WI10C74WJuaZXx42N0uc3kczksgQ6xkRjVZAdrpMnB3TVqdQvWaIgHjxI8WGyTqzn42aMUVXuEhtlIfC9NVQB5gx6GYx6yh3nG+3ysL2wwNtwn60SKh/Ji0cLuNeGxuygeHFBu12ibQtg7dbwBB/lCG6fJTLJ4SE/IwWYyT9Bt4n/++1/j3R99TrAryrWXLvP5F3cUCONx+nH6hd7ZIpUp4fWY6e0bxmZsc1DYZGurw3/4/gNOHu3WmGazY8ZmMZKIZxm7fB5DIELY5eD4uSmePJ5n6shR8tLNXF1VR7BsT0uFnMadX//a1/n8ww/5/MYN7Wfv7R1gaHXo7wqwuryD32pUX3HLYiJ3kCfgkmizHUfYytJajn/5D7+O0V5nd++Q1994njd/4Q9IV6ucPyGbr1WOH5ODRQ27zYbFbVJaf08kzNZORoc1mYM8NqODTDHPaI+XN748yanJcXLZpwe/6EBE6wniff/df/EjHYZUsgUODXYGY1aGB7v57KNFnOMBfvE3/gHFdIHVjUWsoo70hVjf2qC/r0dhZMdPnGB+YZ7RwSFCkTDHjxzh0ZMn/PTtnzB05Bjp1W2KmxuMjoV08DY8GGVxbZW5h1VStR9RWV6lUSpSyW7hcnVTld2L2Y3JUKFtDmE2m2hm1mgbmjh8o7RrSaoGF9b2IQZjjWahiMU7jufS87x2+llmliucPe4n4H06KAl6vCzvpxkaHmWkp5v9dBaMZtrNxv+I/ho0IirRXYH/SMxYYs0C15OBwaNHD5kYHaNBm0wqpddgrdqkVq/oC+qCvLR4/ErTlwGU0WzSe6zL4WR4fFQBWbJR83qDLCzNKxwvnxU1X007qgL3kheRMydP02jWVWUlz4j9REIBqOJJloOjdGJlgyZdYEkTyFbv/MWzPLh/XxVoJpPEePsVdPn48QwXLp7Rf6ZHoGg9MZaXVjT9cOH8Ke7dfcDK2gZTx4+o1WbmySxnL1xkc1P+2x2i0S6le3966zNeeOFljcIm9lP6sjw+PMSDx9NKbBeIokDPmnV5oZ7QuK54uR0251M9XTKJ3e3RXmerWsFiFT1ojURK0kJG+nq6lCi+vJ5Ui0Ek4qFVr5PJiH7JQb3ZwGl7ag/Y203SqjeR5lyn2SESdWt6olAq0RuLKcwokYpjllqd0UShkNP4uJDQ5eVPqOKipRVfeldXmFwmo8+iRqOpYCWbTf65jsa517f2CEbCOnjYWotjsli1wyud3eOnjrK9sauQOaMZhvoiOtyRVN3K0ooOF4N+j24QJWZaEpCZy6kvS4n9OOFwiHJBhiUO3ZpLrUE+m5ZJ+vdWvG5hfzT1eygd2eHBAVZXtzA7TZjNdhrVCj63l+X1LR1cdYeC5NsV2uma+szFTiKDHYlS2602LELYNgj7xsbBbhJDw4jR1iHaHWNudoOAy6GfXQPRjvXyZHGNnv4g27sZYv0hxk8f4f6NB/T0dpEXbdhYN+efucyffed7upl2BXx6qGp3ShyZOMLG6pYeokTtKAfi9dUNTBYbrohX//v1fJmd7V0FnV25el4J/UaDSTytzD4QIvoQg4N9fPLhDU5dOMv87JwmSQYGu7TX77O7yUn6xADxnX0dCC0vr2G0WejuDqs/vr+nl8fz80paF1NJtVqXq5OQP8Ldu3cY7O+je6BbN82iZ5ShtyQtJFYsNp9hAYCurBCOhfQgL/U4qTxlMwdcuCBgxiIHB4eEIj7SB0nVnIWCYT756IZGt+m0mZgY0X54udbUqLy41wU2trK6qFYi+d4VsgdMHjmiP5vJIs/Uovbbe2JRBUfKdvHunbtcvHKBuSfzjEoVwe4itZfUwZAcxOVg6bS7SR3sazdaust/45tf1wPs4uySQg3395OcO3eK2dl5rFaTaulisTALMwuYrGb6+wcYHhtm+s60GjSa9Qqnz57l0xs3GR0bJuSS8s+1AAAgAElEQVQPkS5kNab98MFjnrn0jLIN9qQC5ffj9wU5SO1zauokd+7fffq+1tfPxuYaYX9IFaQdY4e5h/NcuXpR9W9bWxtEuyR9atN4eyQsFaNd6qUmZrtBbReylRcWy+ULF9VkIlt76W1L0lBUl5nsAR2zDNJ8uiGXwfn6+raCTkXt+Plnn3FWtq+pDDa3VQcvt794wK/87W/pd/CTzz5jZHCAk5Jm2NzUGtvR48e0+nDt5ZcUFjg/t8TE5LDqgre317n+6nU+vXVLUxxjo2MsLc3rdlF65elchmFRY/Z0Ed/dZn19n9PnTxJwO5lfWtZr+qltAQXDRmMR+aoQ64qq9lG69V/56ld4/OiJwoRn5xZwuz08/+wz3Lk/jdPtIuTzabVCIvkuu/ToE2A24AqHcW6kSCcytD0mbNJprja03tX0mDj9/CXu37lHV6QHj9/BmTNneOen73D9tS8zuzSH3+UlFA0/ZUVYXdjtLnbiW8TCYY4eO8rNm59jNJgVFC3f3UgkposVYWFIIqx/ZEirJdnc0wqHWCxefOll7d8Lm2RkfFAHMvK8icsw1ml/2vu3WtWUUD6sq13B47br4X5rc5P8YZVTJycoZA+VQ+D3+XU7Xq811TrSFeumUCmr8k9+xvv37msy4LBQVguNwBZHRgbY2NxSsK4YUcQ+IZBcZaqJEKhV03OG/Fmnjp/m85uf8er1l9lY33rKnmi1tebSkQpyraHDmFq1Qv/AkAJuVcUaCOj3PZ1O6HNKUg9TJya4ffe+WhsE7BkNB1S93h+NsrmX4GAvpbU4qRtUK/9/VUcGth5N5zx6MMv45Ahmt435d+8x0RXUWP72eoq+Hh+JgwIdl4mNNfiTrxvxOR2spouUsnWOne5md6dMMZenq9uD3SALxDJD426OTPTyzjsrjA8HMBlFalzG4fGzu1nUv+4ddrC/XSC+W+LMhQFMzQb7u0ViETvxKvze+w2OONsUah2iXVZatQq5vIG5nRa//EqAf/HDv6T26InC8I2uMA1DAIMpR6cmQLkwRmsI7CGMmce0JGFpj2BsWKg2khhc3ZhbYktKYjT61ABEaEzvD9biNu22TU17TamWW8MK3W9VtjB5htRo1Eg/wBo5pRBzQ82DoR6nIUMHYwSH3Uo7H1fOC13nMbbTtKp1OpUDDKVdCE9h7rRp2I0Y6jaQRKos2htmmi2BAH78e52W04XZ20snPk1DMMHeI7TL26qfqzeKGE1BDBRpW91YHdL/tFNJ3MYaGFXoXiN9D2PgAm2DDVNzk448mMxSgnBissmU1UQr8wRX7Cxts4X6/qJ2ICxmOQhWMNsGqFVrGFvbNAtpDHYvdquRqqMPiwwS9u4ouK7T8dKu7mLwH6VdFriGTy0ABptbVRftUgpztQCuAcq5+5gcIxiqm1hC5+iU01QOizjDE7TKc5hbDuzPfYPf+eZX+eP/tscvvnmKnY11vA4vgS4H89MJfEEnjVaBdsNA30CXHiwFwiSHWFEUyV9Pjk9SqtRYWt3iV//+b1EpV4nHt0lmUnSFuinXykQDQbZ2NzlIpjh54gSLi8sKE/H7fGxu7pJKJjTSKl3klt1Mck9it2Ulb0sX+vatG2ytbDPRH8bvc7O6to/HY6avv4dCy8jm6irDfd1E+0Osr8YZ6osRcQoYosLHX+zRsDo4aBmI2iXX6mRjYZfBaJ1/8tUezo0IXK2IPyQvTE7qNRfr6wkwuticTTN+zkGpbWfhs21OHusl2SjSKnV44YUx7jxO4W+XiUWs+CJ+ytUqP/til41iDzNrkg4w8MM7ZV68YGR9t8pkrJvtgwSmuhG7qc1gn5NYxMDDhTRBQ4gqNTyuDtvpmm60socG/u3XK4xfmmJOgDduI7aGk/3EPkavg8Go0OHF19pkeCJEfCOhdN8Ll0cwesMszWzQH4w+7ZqJ5rICBmuD/qgdl8NCZKCHZruIoVWjVbXosKhlgq25Fg8TVWxuJ3/2YYZDXMzvN0imCgz1eEmmJIpjIWhycvZ8H9NPZnh+op+Qx8K8gGJCfhpW6ZAXKdUdFIplnc5Pne7D3Gyp1zVTM5OLJyikcxjF/Wl1Uq8W9GEqXIFMqUU04qZcMhIIOfgnf+s8N+7M0ewYuXjmKG//7HOCfp9yHiRaPDY+gMPuYmZujtPnLrAyO8tLz57hJz+7z5+9s8Cx8Qj1epmGMBQqbYJeA2dfeZ7AxClyqSQ//smH/NIvfF0PuJcvP0Ot0aZaKnHz00/xO51kkimdStfKTdwuG0ePTSq9WGiwAhRqVGTjEaTYauAzNnH6HXhN8hLUIl9ocG81y/f/5DdxOdp89zvvMNwT5JkXn+fjG9M8nFlkL11SwNDaTob9XIuOoUG7JS/9dUy1FjabRJFb/Oq3rtDlB6c/iLVtUp2hQH0Wl/c0inhkcpBvvH6Jf/3//IQfvrfF2IiL/tFu1jcPyB/k6fZaddDkivRz+c3rbG/EcTuc2smbXVwmlU5w6vgx9hNJloWOe+mibotUedPTr8OFS89eYX1lkY/+8i+5eOkkt++vMhYxkjiskt+uMrvzDvmlR2T2VghFhhWYKkpUe+A4pnaNSn4OkyWIwRGgUozjEP2KuUndYMNi78VsaFNL3CN8+XUaJSuu7q/y+pUghoaHxwLnm4jiaHd4706KL331CuN9XWzE43ofkp631+3WiHkxV9IOoRDTxcMuBOLjJ07qYbxcLjE5PqEv80KjPSyJyz2gNogN8Yv3dOnkPBIJ6sFLooTLC8vqB79z7y490S4a7SaVeksfOFLj6uqKYbbayeaT2jmXCKBsRKSjLJHy9995n+euPsvY8Qmmv7iL0yvpowLNRl3/N9g3hMvv5dbN209/FgNP3cteD6VSTgcEEqkX2J1soD758H0FyeYkhugNYJY+uEfMARaFsZkF6lerUa5VcLk8GNstPSDKxjsYjOr1IE70L732ZU0FvPv+e1x/6WVSmQPtBwsMa+r4CWbnZ3UDdurkUSVjhwN+kumMRpu7ukJ0jGZ9eZJu83/7qx9w5YVnWFvdJLEV59LF05jsBmZnl1UrJZ1j0eBJT3ZzL47X4cbjCLAZ3yQW8+u1VMwXlYycK+RJ5SoKtMxnqvT0eWiU23RMYkhwET/IMBCNEAwFWNnY1ASHHCJaDbFh1HSrKacH8dALdb+/u1vjv3IYl82pzSlUYgMHhSxh/1NXuFQphKUgUdBm1aAWB5vJRkbYDE47ZodNBzNCve7tCpMtlJSsLnHXQi5HqVLRF+LltQ1cbpceAvKZtMZRhUchcCih0XuCHn2WVQ7rT69ticxL9LdSVwaGz+/EaXGQPMhyWK7qVrfTNnDu0pQCWoV70GqZVbHY0xdS2JzVYMYfDrC5s8vF0zLQ2FMOhsTSU6KMLTfpiYXZ2k/gclnIHRxi9nhwWI16rfQNR9nZTBINeijVazSKDWVTNOtNzG4L/eMDzMxJ73qYo0cn+c533uLIZA/ukA9H0EOl2eIwX8Zghmwmz8S5I6wvbDF0dEJfyFutBk6fX60pPoeXvqFuDAKmTKeYeTij3u3dVBKHw4ux3qBab9AVDnB86gjvv3dD+Q1iNZg6fVw5JovT87hjLuXeiEJsaz/O6Pgoq7PLDA/1KRfh8LBOOnGg3xF5zpixYjBZmJ2bYXB4hK5QUB3mQ6ND6s9+++2fceXFi/iEY9GosrC8wZeuv6Jqs5u3bmk6RH4nJ09N4Hba9bqSwZEc8qWi0DPcxfSDRzQqHT0cy5Ze0gOf3bitWuUffO+nasB48xtvkEzGiW8nlQFx+84D/UwNbYNurH0RLzaTVXVnh+UiCzPLhLtiGnf/ype/pEO0D979RN/DPC4nT+ZnGRsc0wPw5ecuKGl/7smsQjmlJlOuir1njJtffMHo0AATRyf42QefYHFZ6O/tUWDd0uwK5y6e1YGZKEDFRCFVoYsXz3P3wQPtYUtfXCoxUuWRzeulZy6yurzGwvwSNptFDznjExPaLxeGQTTcRS5/oHFpoa3v7QnxP8Kp01NMTz/QRI/AFyWxINeGRLMlidM/OsgXn93VA5bcR6UGJc76q1cu6kBhd3tbe9VSRZH6qnAfBkf6WFxYZWJslFwxq8/m6UcL/Pw3v6r/XYmCe9xuTeqIdUUsSF6/h0TiAG/ArTYK0cSdPHVM4dfVcoNWp4FkzovlHMcmj/PgwV283oDyCoaH+yhX6owMDmmKTuLuchAVa8T8/LLqZoXZIl5ygcxJGqKvt0/Bdndu3lWzw0svXGV+YU45WJVqQ2Poy4vLePxuNYScv3qO//z7f8JQX5jwcDe1QpGNjW0dXJbsJnqGh/U7IgnEkclxvvuX/42Xnr2M2Wrk89v3FLwnliNJv73z9k8ZHz+mdZbk/h7nLp2jkK2oJULqVw63g5GhYT7/9FN8gS6KxZzeo4TRI9WRkZFeAqEoa8vLpLMZjkxO6u9ubWVdtYzJVFqZMrWa1KoM9A71KmCzUYVQwEs6n2VxYYmXr72i94iF2TmEXStGHeFeiFFhdXmTF19+QXlhou2VtK8MU2VwffPWbc5dOKMR/omxCf1uH6QOEN6OJ+DVz0XOOMenTvLowX38oZCCp00mA+22kcT+ngISpUJ4eFhkeHxIU3jpfFpTeMKamHsyoyDIvp4BCrkMo+MjrG5s6gBRLBjHjo6RLRY0uSBJwifTjzh2/CgrCyu4PQ5Onz7N5tYWB+kUQW9YAYZGQ5t8vqxLxd7+frW3hEe7SH6xwMFighNnB5hf22AgFCBbqClUc3qnxZ/8nJPnj1h5/3GJ4T4/kZhdD/D9MTvzK0XsJqP274WRMDoe4MnjFPlMhWPHo+ynRHnq5/Agy/BUF++/tcJL14QxYmFxNqtDmPEhK2eODDOzdcCrf7jGiRE/rWpe3yP6g27hs/NkM8+vffk0v/cf/xXF6bcxV59WNhvlTZy2iDLpzLLdL23TxPp0EW6qaA3A1KpgksGA1USrcoDNAA2jFVPLQNM5SGP3PWwuDy3nGJ1KHLNPOHYVrdJbTA1qhwlM/ccxpvMYsvdp+c5itFbolEq0TR067m46B1uYHQ6MrQ7Nxi4GWw+45Ny7R0viRpIgqVTBElJrQNtkBIMLuz9GbecOhuxH/6TTbuWxhCdp14x0LFbtRXXyC7RbZu1XtAhi9PTTPlzGbPNTrlext6FRL9Ix1mXITaecx+A9ilUeXI0s7cqBqhKabRMGh4N6YhmjqwtrYIJq/GMsoTNPWQHVNOQLNM2HOHtepN4qYCjugvQrTHacBhPl8gJW9wmq4ZPYypvUC1u0GiWcoTHqhRTG/Bqm2HnKtQyGwhae6BSHpW0M9ZrGNepNO9b/rlJrV1pYI5NU8hlMmUW8R49gGp1iNPwGiWKTn7s2hl80fgdpSh0Lu4ks9YOUOrU7Fgsup4nT50/w3od3/z+W3jNK7js7z3wq59hVXZ1zbqCRQYAgGIccejhJ0ijMOCqdXWt3bctjySvZOl4dOezRWa+PZR+ntbWSrWCPZM2QMySHmQSRiJw7566ururKOdfuvTA+4QOARnf9w+/e932fF4/FqDVzmYOYwpxefv1lUtmcPlR7Jiewe71MTE5rRlesbL2hXsxOO72REKubG9hMJpx2O8dOnORH3/8+RoeNuekZdQJIRUmulOHUmTOasx0cHiAYcPHwzn0+/PFHnDk+R71U4e61u+QzLcJ98OUvvcinH9/AFfTRsZiwtFtqR85V6zi9JqrJElPTA9x6vMNOvobJ6GZ5N43f7aTH7eVoX5mXjzZ57bSJHoMVR8RDTNSYAVkGVWi2DJrzqyRi3FnJMNAbonuyl+TWISaxUjWbBAN27IY6IekBf/yEQsfKrRUT71+q8kio/MEA2/EylWJDlzb9vWWCJis2u4Fc1kTIYSBfLBK3WDFlbfzy8Qo//9ckr+pmIyrxiCLVcpvJkyPkk2USuzE6BguBsNTKtMhkOoRGu8kUslAQiNoOM6fGcfdbKG/m6JsapSrZ31IZiyfIR5ces7rZwNvXz4eP9niyCTt5I8l0HZfPRFgcAWnw2CsMdNvwhaUCrc7sgF8z5UtbSV55dpRHWzlcJgGU+Xj0ZFdtuGa7md2dLMemHdjNHh5vbtIpmUnnq8ydmOL63ceUijA/O4zdUmNpTTgPMDMzxtr2Pl1+py4mirUOu4c1vnIqwG/+vf+Nd99/T219l6/d4eK5sxTycUxWl1qwY6Jm+lxsbW3Tbtg4uTDJP/rnf06mamJ4wEG9ZcTldCjwyGqwkq62MAbC/Mr//ndZfLDOtY/f55XXLvLmmz/EIApfVxhru8rG1tPDhs1oonugRyuHEok0mUwOfyTAsVMnGR8c4L2332Ti6HEchgI9wTAf/OgDitKnOtbNZG83r74wRbkiXIkOtk6dvpFewgEblz6/y8TkGO1WmftPdrSpQxZEEvWIBL1q0e2T+jSDmWI6zsbmPsW6UevC3DYTU3MjanMbGBzk/Y8/4X/9pZ9lez/D7/7eX2C2ejEba1TaVaxGt+aQj56Z5PblZU5/9UtqMdteXWR0fFytn86gj2aliM3hIZ/Jsx/f5Wd+4qdYWd1gLxHTLPTzL73GnevX+eEf/gFBn1XpzJFIgNWtPUqHHRZX/7tSX0tlUeD6MJTXMFjd0BR7aYy2MFa8QUy2HlpGyZsltSKqZTRCtUzTMYCxHMV7/FmKy+8RXPjHvHDcwuzICF882KRttzLbE2BzO8H4idMYygYOUvssLCxQLVVZXVvVQ47RaGNYAGTpDHanXSMCklP0B/309Pdrb7D2ho+Psry0pG0KJ44vaKOGxAZWl5fV2i0HuXqtis/r0/yfVK5l0qmnQDlRQd1uAiE/jx7cx9AxM78wy/r6FsdPHuPtt95RCJJYGTPprELCas22ZqRrZVEeshw/vqDP6dhujFpLbLJtzVzvbu8pqVhiNplMlr6eiB7SNjc2qNTqREQpSaXU0uZ0OQl3datNVqrAfMEwbRlyLRZVjOVXrdFgNxpTl4LkUWeVKSDGCbsC3yRzefrUMT3MCpRKsowHqad1mFI3J8Os1CrJstbtdFIuF0jG8xSree1Ylp+lMAlE2RW3yPDQkOZmRamVKjBZokg1koBG5c+JOioHZMkKC+F6dESyxAk8QT/xgz0dpPv7+vngw/c49+w5trYOtKUknYtjNdsZGx9mY3NLYVMdg51I2E+tVmF395Dp2VE6jSYrq1K/5tZDvLhD5GsurebpCZsZGQpTqbZJZaQKy6YQsZbBQL1a0YaDePwQu92pVOhGtaG8H7NRDpNCdg7QELaK0awHebfXq9BUYRYIDVws7slMHkOzQTKbVSq8tC6IhVYaExx2m0IIHy6tKQld8sbi/unp79GffbFa0H+vbjRiFwL1xIg6dqTWUpRko8XAruQ8aWmbgkQ5ZHAUwJrY+AeG+9jYiGGxG2hWm0xOjOigJO8XOeTvbW3T19NLvV0UniTZZBmLzYDTJ7yQKiFhKFjNZFMSF6kq+FPQesJLiO5LDa9BWQb7sRzFfJ2ekAuf18HuvjgwLDgsUDV26O5y0Gx0lI8hNbGlRg2v18N+PM74/BQr+3HOnT/F45VVHGYrPRMDDM2McPv2E5wmgy69TKY2e/Ekx04scPfWLY6cPUkyFsPWNnHi1Al+8Oc/YnB4mJXFJc5dOKdWZWksyJXK5A9TDI0PK/grrxnckLp6DC2LRnGkTUOGX6mZE+X95NEFbt64IYEQMJjw9wR1qSiK/bMXLrC3s8PQwLAq7BI/CUa6KZeL6kJcXlziZ//yzzC/MMff/+4/VBeVOH0kJiHDc3QrSrPT1N8LZG55ZUUz3L/2G7/O7/7uP9chdm5mlrWNdQUIuuwC1zRhNMsSpq4NFqJ837lxXaMBJ06fYm19g0AgqNWMAz09qogLbPHuvSc6IInNW3gnw6P92vKysbZDSJeaZrVmd/dKtHJEHQpCFJdFr4BDJZLgD/n0PCaK+GH6kEK6oA0XFqOVuSOTXLl2k3CXn6NH5jWWJF9PrPriApA8u1SiPlp+QpffT09PH81mRRclicMkQ6MjuB1ST2xjY31DYx0C+H3rv/+Q/qEBAl1eOvUWxYooxCFlR+zvRlld3qC7L6KxEKkt9gVdCiRcXFzRZ7Q0KMwemeGDdz5keGxUSefiXCoXawwORJStIuwTaYcolUv6XJWF0oZEO0ZGePRkCYvxqQVeXDeiEkuzhtDjxAkjbAFlN/0PkOn9e/fxB2QxUuTowhEdlBPJhC4QTWYzoyMjOK1WrZsbGOxX91axUODkyeM8fPRE+TJSjybvB6HNR8IRvUcFyCpLlZZQzQ/zONJlooUUwUBQXRXyrghND1G3SdSophZ8YRUk4oecPbPAnQcP8HrDmp23mE3q9Ln1xT1mZmaotWSYH+PhgyV16cg7RqptJZ8vFZXyngmExYGzqT8LseSPTgxjlgryRoNMKqVxrXB3RKO+5XKFfLGkX6O7S1oZZKTJsbe7y/MvXGQ/Fie2s4/T51ZAbVe3OLfy+sw7fvKoLsfEVi+uOqfLy/7+Ptl0kv6BIdqNpkZHvD4fzU6LE8eOsRvd58YXN2gL42h0gHZToiMSkWkqrPf8uROEuiNagS3ODVn2ZfJVJsaGNZ6xE91VaOze7j59/f3YHCY++/g6E2ODyscQfoPc/lJ7s7KywfjYCLlclqGREV0CWxw23n/vE8ydFrPH51l+tKLgxa6uIPuJOAGvV5cC7//4I70Hnnv+OT567wM9H584c5z/9t++z1f/yte4+l/ex1OoYe9zEdstMhD2sX9YYmqsi8V4jl971s53nvNw5VYRPEbS0Sy1pukpJyrXIRICh1vgiBl6en16Bn78YF8rhsV1ocwHu41ktqrvPrc0NCRyTM92qdPJ0GpjsjYImG289vsZXjo2QIQC26UqYZ+f6GGSB5sNfu07x/kH/+43qd58Qt3Qpm206DJXGmzkl9kzTLtZpJ1+BK5ebQEwFdZBrPm2MHj66dSkutNN23CowFtzq0PbKJH1PoX0sfcEU3iaTmYTQ3AUoz1AK7VI2zWJqRWluf4ZTLysQoSx46EjkcSWuLgPMAeO0rE56BTWlceHoYTBFKJpd2KnTjETw1KtY+keAXuEZmYTI1katQaGzBf/oiN1N+1UmkZ7D2fkIo3kJrWDzzDOfQtzvkS9k8YqL2+rX0C6tPL7WLtmqQjQytTUjZfIq3ZvF1X5wch2oi5gv4geBLB5MdRjNIqHYLZgFkdBYZdGeBpTu4mlXqHczGPrGsHYeErtlmVBc/VtLKMvYmm1KO6+Scc+hsXZS0M0WXEiiBWjbqBdFYVGYBIBraRqlBNKO220TTiCw5S2Plc7k9UzA61lytEYwf4ZqrUE3oE5GHLwC1//v/nT9x4xErZStzU4dUJ63LdpZMu4/C4cgRArD1cZmhzGY3JxENvRrGFvfy9ti1wGBhxOA/nDvD6sXcEgm9s77MULvPjy83pjR/p6uHrlC/KlAseOHacqFsm61OZ11AIqmZ31JyuavREivSwJ1jbWFEIWCYfZi27j9vsJhrpUFbv8wSeMDQ6otfLyO2+TjNUJh9109Xg5PMjpgeT0+QWS2QIZgSz1uckm4nglk1otYmtXyNdt3FxMkMi3qFudtBomRnvMzPcamQ6UeWm0xciAjfkLCyRiCRzmNsm0lc3lNMdO9/HF9S1cxjqTC30UDotgdrO2cojRUOfCxUEQ+GLNjr0rwO2bKTZ3y9oFup5u8ObVPKVWk5rZwONEmTGvh2K6irQj/uk/DGGpFoi3gkwOOyg1GuSTFXaXosw/M8NhvIDB0sRtlrnKQK0gVXujmNtZaoUKvi6r2mqM/jDVQpmHqzl2Mmb+8McJtnMmAo5ubm6msFi9qlqdGg1i6zIQtjVIxwt09wTJFw5544VhkvEm0XicoNvNndUSobAPg81CtlTEbTBQbRjw+oxkpBrLYaOeK2EwmxmZHOHGlXtkah1V/qQu53A/SdvS5MSF8/T2DbK/vUh2aZOq2YrNZCaeSGn1ViEvADsfif0chaaVX/jWPH6Tk9v3bnPmuWcJenw8fvxILUD5fIHp2Vk68lJ2ujC0pGtYln9VhUD+qz/+SJs1RNmzeax06rK8a5ArVbEZbFRo8zd/67t8+NEH7K9E6RjqGGpN8vkqjVaTl770HI8WhWBq04OHy+3D5/MyPj9PpDvM2XPP8J//wx/QalVoWWxc+rMfMDs5SF7ULI+D1e08P/+Nk/zNv/oyl7+4x/bWASa3l+ReVLuMrQ6DPnBX1jaZmOjH4TAxOnKUd955C4/dof24sjgpSA6uq1ctqtFoAofdzODAAGubWxiaZXoHh7jyxX08Ni/nT4+ylyrx9/7pW3i9FiaH5UBjZWl1n/GRMX3GfPF4lzf++k9y5NgxsqkkB9E4CwtHVC3KFUucPn5Ce20FIikq6I3bt7QWa+HMMf7kP/4hrkqVIwvDxGMxyqkqVQOsbxXYvPtvcAYdpFajGK1NrOZ+GqY87eIOhqYRu8NPU2pjrG0MxaRyFZolgRDZ8Ad9qiwXTTP0LJzh8Tv/lJe/832OzUQI+Gzs7cXo6+tT2+7KRomf+8Wf4MnDNf1ZSFf9Rx9d0jou+RlJA0UymWR3d5u5uXmtjLt7/wE9XSHq7aZ2y4eDXq1lqjdKOOwe1jZ2tWpKhpQD6fx1Omg0agS6u3BZbQqNEmu53MPNeotaWzL2IcxGNCYyMzevlW9bW5sMDA3pYUjiOf/tz/473/3VX+HBg3tsbUb5uW//DLdu3lRauyjyUqfkFvp/TJSlQQVKiSI0Pz+p17eobTJ0u/0+XnnpVf79f/j3DA30MzoyyObmlv4f9qIxrT2V7HsylSLg8xL0y8J1HTPCGphkc3ePSG8Pxk5H1RuJvCyurlLIC/m3hc1opG+wn1B3t7oPpJZM1D5VkeMCY8oyEBmkY0YPeKFwt1ZeiTwRhtgAACAASURBVP1S1EsZRpKpBLGDqELL5NrY3Y9x/NgJ/buidjfq0rstFXF1/TkrEC/sw2y18vmlK5x/9rwqgZcufabW7MdPFunplThTSQ+EZmuHI0dPsLm+wsTYDNFklCUhMA8PMjk1y5Vrn6v9eXNtTTkPob4uVYkF3Ojze6jXKzidPvZ217W2TOyrAZ9EObYxmY3Uqm16up0KpnN5nlL2k4d5ynVR0P3kikV8HrG3lrVGUTgCwpCQA6BYVCX7ajPJde5WhoNXFgs1WdBmCUe8WlslWedWs4XN5WN7c4vhkX5KBeGguIglpD3HhNfto2FsKTBO2A3yHt7Z3teObbfZjtPr0AYUiajYJJIUTzLW36/Z2LWlDZxelw6cMgDYTSbsXjeZmAwET5t+tLIrmdIWh2QqRyQcZHi4Vyv3Esm0fla1Yk2hdRaLgUa9rTVLwpqRbnqpqXM4vfjdDlbXd+nrCyqIKR6N62K9XqkRGe5l+dGqVIPrUnQ/maC3p4v0QY6OqYNFzjsmyfraODws43FbtOVBeOKtRodqq4nZY1FL98bqFnavHZvVTstqUECY3Bt7yztMz42wGz1gZGGaVCapcR1H0EdXT1gjK0/p0zZtUZE8vFSz7e/sc/r5s6SjcRaX1ugY23zpa1/hyiefMD89T6aSY+femh7c5d56/ksv6KBoasHyyiIWswOb2aS5+emFOTIHaZ48echzz52jt3+QWDKqLkZ5ro6MD/L40TIBqUcb7CO6v6dD1O7OFg6TnePnT7G+vEq9LmSAJqFgF5tr29jtZq35E8u/NE0kUimlxR8eJPj5X/6r3L/3QIfikbEhBZmJq+fo3FFWN1Ywm+xalSsDtlnOra0O5XpLYan+YEBheXfv3mV6eorl1TXOnjqpz59qpUWxkNOIkzxLxDYtQ+b5Z85itVkp10rkczm6QkHu3n6oefBnLzzD5vYWFossdDvsRfcQzOaxY8f44IMPmZ2dVQDj0SNHtfpLFHJRRCVfL5GXmdkprZUuZQssnDiqolHQ62diZpx4LMHG9jb/8//0S3x26araxGWJks6lefbcM3z08cd0BUIKZNzdjxIKRYhFo08ba8wmPvzgE4XXSW3Y5OQM167fQD61qdlphXTKsCpDrSypgkEf6VRKB+PEYUKt561mUytIZaAXCKu8nwRsV8hmOXL8iLp39/cT6n6QBgZpgRCAdWw/plb+vv4hLBYT6VQSl9uhUSlZCEq0Ts4hQt+Xs68wT/L5NNl0lVTqgKMnj2vUZf3+I6yHFUwepyrXws4QV1NfXwiD8A+iUWanpsjmUwz1DOHwevnkk084duwo8cMEJ46d4MmTR8poELfH4PCQZtTv3rjN8XMnKWdyZHLSguHS1gAB0y49XtLazVy+RDwR44WLLyoL4M7de5w+dZxMLsv9O4+YmBrV3LywC6R9wWa2kkyKTd+gES2n26H5/Uwyq0viWq1Ds1PTZa/FKAynmLrFpL1kPxpVgJssiQYGhqnW5NnWxu32aWRk4egRBVeub2yoNf/U6ePcunFHa0oFUCzxGVmwS1RSKPynzhzjwb37TE1MUqrVtbpPgIZra2scSGzKbGTuyDSmDqxvbut9KYwb+bxfe+01Prv0qS6+xTkirIVjJ+YpFIoqMty6dZ9nLp6hWSrq8uEbX/sa6WyaW7du0N8/qss9uf7kWSlRwLDEicJByoUiJrsdq8dGdvlAsi00vE7cNlncOvQdcWQwxFv3D3m9t81v/Wwvl+/GSaTanFgICU6Gnb0400fHMDSKfHE9ztCYR2PZa49jhHpcek+1KkbCA16MpgapeJ0Lzw+w+ChDqZzH6bRQr1k0em0x5Dg308Oz/2Ifj9nKV85KDC1PqtxhLGLmR/fy/NVzYX7vvT8lc+l9bF1TVIr7mN0eyoUktkaZpm8UqzOEuV6nmb2DwTmAweqhUYhitnugdECtlMQ5cJZGI4+lbaRlD6mDzUaSesOkLXtWNqjUnZhK8uxo6SKhHbuKoasHowzwfedo1MqYikvgmaReEVfbBhZbFybnsC7ma02DcqYazgBWi7QOSZNAhWoxr5G1jszk9Ryt2CIW/zCGzLV/0mkaHVjawlKz63+6QxGzwYvB3E0jJ1mgOgaLBat/jk4tTaNRwCIUdKOVmtGHXcyi9RSVehGjtQ+jpYrJEIR2gXolisXkp1EuYjS1MXm9tBxHaK39Z+i4MHi7sXZqtH3HaDeSGK0+WhXJIZrplAsYgwvUU48wtPM4gkeoZzYwG8u0fUNUy00MzThWax82h1lXVo1qlWazjNE8gNFhpJK+j9MzAfYw9cR9rFYD5p5jSkFuS9VCOa7dju7ec+w8/JyFF/4+HqdVLdiBkI1Xnxnn3oN15uf7NXf4+aUnDAz04Ovx8fGHy/zEzz6H2dAhurlHVyTM5vqOVtcMTY4gvuh4PKuHXLmBxqYmsPq9DI5MaGZNqoQ+fvcdenr7NTu0tbOjG+uTx4XAvqywlrsPbjM/O68b6rbBzKmzp3n/h++q6rq6ssT0kUklcJeSSQaGe7WqrBQVUmaCWrmK22HG4vPhttuwex109faS3Y1TLqYY7e4nVy+patPrd5MRdbZYZH2/SqZcwmjp0d7S8GiQSDXGQreNr5/wcuGon46xTM/IKO1qkmQsR7lpYmu3RK3a4Py5cRqNIo1ig+2cg+6eNpVMAVurwUDEy8FWgnCXHd90hINkhbd/FGMg0kdvlxGLPUuPz4h/sou3v7/B2VfGeXQ1jsXiYfJIkGKuSrNdIbmf4cTJUdLlosJ4WgeiGpiJ52tYfSGu3K3xJ5cr3HySp1hv0nabVOmRz99iKHF8qkc7Nqem+skd7JHINtjYKnB8NsLZoz18eGUFs2z4rC0dJGLpLGODISlT4ObdGEfnp6i320okTx7WCIQjLN7f5MzpQYrtNg/uR7F3ORkdGGVqYUo3o5KzFYp1sdTEG/SxcvcBtmaFrYeLT/Oi9g4Ok4BXWpTqZcYHexWyuRHNMNLr5Od/7kVdEty6+1DBUdLc8O2//G0++fRjUmnpZXUS8LvJp8tYTFWOnJjnN//ljziMlpnoC+BwmqgZjOxsS1fxBO16m1Imx+5OkoLFyM//vb/N+soGn7zzHt09IbpCfdQaBbWkCjTrF37xr/PDH76F39NFqCdEuCfC+uKSHgT29vZ54atfY2xqhD/67X9EM5tnem6ccjXPB58f8uu/dJznzxzhe+/e5OuvniGZypLNpHiyuq5dxKLOCIZ3cGCQ61/coK+nhzOnZslnamzvxLA6LHpolA7cs6ePsbq2QyKWpHesh5XlHdw2Kx6fW2GCVo+f9cXHTE+O8NGNNf7ftxZZGJEKtAbFWgOP06H94esb23i7B/j6L/8y1Uqej956h4XTJ4j0D5NKx7n8yWfYXdJhbNTMmxy6RLWQ7bjN0CZ2/zFdAbcq9wFbh83YAdfvpnj3v36X5994gdhnb+PtHqNQKmJxOrGb/ToIVOOfQc2GNTymqoWj6wiN5E1a5gAmv5/S40tSJkTvT/4q//pv/R3+7r95xMUJOyanUR0hbbGW9lpptN0snLzA4UGGtY0Vxkel/iauSovk7nOFIq1qB6utrQdSOUiEurpYXl1luL9X6+AO9zOabe6OBJT6PzI8RkmeNVKR19WlPAaxrjpcDvLZIr6gR9U5s9mmGUTpjhbVVaBOcjDbicVwu9yEu+R6c1Ipl5SsHOryMT4xrqBUyaBKTnSgr5dCrYHNaGNtfU3jUxeev6ALOUOnw95eXIcv6RDe2dnUn53PF1AqsdwvorYIfX95ZZUOUtMncr5UcRlVCbdbzezuH9Cotjhz9jT7sV09pAz1D+vw9ODBQyWIy8Hz1q1b9EZ6NfculW0SA4jtJxkc7tW+67n5aVXBpbZOhoAhAW9ub+GSz9VuY39XnlEmretqt1qqTl6/fo2+cC/VelUPgpLtF1q8KCsTYyOsbmwrc2HhyDFyhYx+nQ5tHcZn5mZ464c/Itwdwm6yY7F11A3weHGFickJtQCvrKzwzKlnaZvaGr9YfrKoSvLk+Cg+r1drzGQxIX3Tr77+Gutrmzi9dr3+/QGpTJJ6pjbnz57m7bfe5sSZEzroeL1+1tdW8Po81GsdhaDJ5yD07mzqgIREabr72FzfQDbuFlEljG1mp6d48PCxgrPcVrENN/UzSGeluilMJpWhVGppFZXTJRnRttb+ydJLlkkywMshtNnqKOdG4gypZJyh4QHNOyezKaanx6lW28rdqTeb2hEtjo6BgT4FFEZ3t+iL9NKQrHmloYNvT28Pjxef6LKgO+x7ujTc2MTpcKryb3MZFeK2tLSBw+3E5xHbrFmVN6nwlMiCxNuefeY4H39yTeMmIyMRorFDOmaDHsqSubK2/Qibwe5y0dcbYX11XfvZRdXc2nm6pLI7LNplLwC9dlXwkx0lacsBXtwfMpj4gl4OE1m9jqWCuFYsq2uiWGlw8uiUDmgH0RSukEszwEJiN7VNpPLZp8T1dlvJ76Koez02DmNpHXjLrTqtisRh3NQw0rGbCASchAZ6FN7XrrbUpegb6FGqvlRh9Y0NkkgkFWqXSxcQkqxA8Lr7BxmfHCG+t0uuUmFzY52wV6CiYrXpYEdqkHf48k9/lU/f+Ug/h7GRIYXbub0BkodxXaLLsBiPxhgeGdBs8ujwGHuxqF6DtYa4YkY53N/n0aNFhgaHVJX3Bbp06BGHz8rqujp0ZMB2e5xqgRc1+fxz5zQiEIl0k44fKpzsq1//Mpcu3WBwsJfo9i4Gg0XhjwJoju7GKRazT+MHfg/Hj5zg+vUrvPaV1wh4/brwOExk2I7uMTE8gstrV7t8KNxDLH5AdGeX8fFRzU7Lu0LcMwKA9fq9HCYz+o7b2xcnnSzixeXUoL93UN0OAoU+SB1QLdbp6e2lfzDC6tomXpeHqZkpbt+4rVyA6ZkjPHr0gDOnTvDgwWOQazvSpT3q8j3PzYzS6VjUYdAxovbwdr2ltZmi9H5x7YYqtQKbkyiB1OYtL63pO1WAZ5FQF8VSQaNBmcOUAi1lASJDoPAhhgZHdMkirguJmIjrQ5yA87NzZNIxzGYn+XKJoD9AT3cvT5ae0Kq3OXJ0ms3dKEG/m8HBYf05SN69KxigUioph2JbYgwOh7qC5L56/oWX+PjDDxmZmsbcrLL44U3lDjWabWZOzLK3vqXP3MlXTqg7V3gpIlb84Hvv8n/8n/+At/7iB7jtHjLaMFPk4sWz9PZ188d//F+1KlOiiRLPkDYGY8tEOp9VflUmn6daEpfQiA67AlPeP9inmM3pMmJu4Qgra+vqkJFnszAPJE737Lnz+m5ZWlqhJxxWsKQsSiRGKW6pWDSuar04TOScKi5KcePJu3psdIJQd5Cb128zNTdJvVHTJaS4HaQOd3x8SmO+Qv+Xz0KeUU8jWL1srO1id9jB3MHvces7Uq63UjFLX18vNrOdfLmssSOBFEpUa3Nrh6HBfj0Lp5NFjYNJtaE4lfxet0ZChkb6uHP7Pt/66Z/g/qOH9IS7uf7FLf0eLEYBKyexKucgSDgc5vInlyk1pHmjRyMw9x4+YGZyUmOdsowoFAsacZGmGbk2HF1OEptR4h+vM/fcKJVCmvhehYWFfpKZQ+4vFZke6OJ3XmgRbznVkeNWpIrtqVPLaye1m8MfdOIN2tneShI/yPP8K9PEogUS2xnylRYDI156wh49d2/t5OjucvHwforZBYfyjPp7PUQCLk782j0C3S5GXUZy6TzploHjkyF+8HmC10518yeX/4jMpbcUZi8uRXOzgMnipOPohtyu1gDjCdEupjGZrBhtfqq1DFb3JJ3qBp38PkbvFB2rB0NNYr91jKaQRsxbhT2s7hkqyRsaCag5hzDXUxiawlII0KhvYDJ20bQNYeGQpkEYBQV1UVuKB7S7pugYunHWn1CKLmHtf5FWPYbRGaBePMBq6cHk66FZjCE+NplbjPYm7VIGQ/bqP+sYits0pdbHMkKrFcfctmGwd9FMP8AYmKUlckcji/CSRfoQ+089tambHKEYyta1bhRAR0PzJk2zD7uhSbmUUIp9y9uDpVGjUcvTamSwhM9gbDdo257WLVBY1owCzSrm0BFq8esYykkMPacxOwZh+y+oOLyYB76KcedT2uL+bVcxuHuhmKFh6GANjCh0yNSqgbFG22xW2ILRHKFSSWG2WrCbgpQzK2D34PT1U8mnsHekouoQ9/gspuAxCtF3cXgmefsH7/M3fvtNjva6qOc7Cr376k+9wc2Ht2hm6wwODapNSG76K5fvs7Awq0AmGTLE8lWqlPQw5RR0hsulLxG5SBYfr2pHrtPrJTI0ysLZU9g9biyiYlermpNq1CvsxBLYJIsy2Ed3KMLVzy9rTY6pY2Rpc12hgPPzCywtLqpNTWqRvC4//lCQ7dU1BoaGadTa7K8tEnu0wkH2kImpXlJ7cRweNyabmUh3kJX1PSYGhVZbJbr5mJMnRlVBTeYP2Unl6ZSdlAxVolErpY5UZBmxOzsEC2KFN/OLX3Jw8ohf8zjOLum8rbKzU+Ph42263B58fp9acBc3tnG5rCBVFGLLxUxEcvjDNq2G8Qc8JCsmiskDDnZKNGs+KuYCL31piuvXdpkadipgrtSQzV0WX8eMdcjNzXe22CwZubnf4cqGme3dLNmybPjaHJkO4fA1Ke6kGemSeEtH/z/JdIrZ4SDpqoU795MMh63UDB18LhsHWYMeZkd7XfisLYqtptaO2G1N0mUDbgkmC0QvW9WHayaR0UWT1+cgEu6nDsSzMeaOnyIy0M3Kfobz556h2ekocMwokKRkgtx+jHK9iLVcoFZvUM41cdo6DE/1kzmsqMW6VqpxZLJPu5Ov3t/lW28c42dev8jGxi4H2RSVUp5nTpzj8eIi0cOUHkTPnDyKsQULJ2f5J//6Td76aJGzc0ESouYDfR4H1aqBL3/zWT59/2O2V2VTPMWjtRVymPmV3/gN2u06mVyBweERomurDE9OqHugkCmytrpEOpFm9tg8hVwei7wKHSatMNrdPmBiepzP3/we8ZUNhkf6SGbLrOxm+ff/6Kfo9nv4zz/4MWdOHaeUy2pOM5HI8c1vvsaNG3cVODQ62sd+NEaxUNJtuAzdQhTe2FjXzmjpg//080u6zX/2zDn2DvaxezyMDYTVmlsqJRmfnqWSzWO31Ql1+fmPP7jB/ZUsQbcRp9GOI+gguhplYmaWy1duYesJcv7Lr7O3v43d5Wakf5DtjR0e3nvIX/rGGxRyGc6ek+1tRxUAOUDPzo7we7/xW/QHu8EihGkn+WyFyw8y/Pj3/xavfOsia2+/T/d4L8biPkbXHMVOCYfFR4sazdIhHSGgSwVgLUrHKPekn2axgUlbNJp4Z77O2//2H/Dtv/8mF4/1Ui0WaFuMeCwWipUm1XaRiy99hdh+nlt3bvDVN17RoWZpaZl8oYQJoQdXOHpsQWsVxYK+s7HLwOQg6YOU/jlR1aTTV16GklmVQ19AVGmDQdU3UeElWmKWfKu/SxdPS4tPCAS7lV5sd4hbIKgHm+5wt+aBXQ67fl2zw4zH5mZzP8GpYxM8fLSJxWpibGyA9ZVt7A6H5vPDwS5tjBA1yOt1MjIyicliZC8mlOoq05PjFCsl+vsGqJbF4r5Lf19EXVBLqxtMTY4zNzPNFzduqS1SniWj46MsLW9gNZo1xypKkNvmwu5zKtOhv7dXgaFCqJbBVv6eDGJiH6532hjaDYqigDtkvc1T6GHHwPMvX+T7f/GWguXEJi5Wf3GoSFOAZG/jiQQeGbDqZVWThDS+v7OnmXJRokPdXVQrZUqFKs8+d4733/9U3SgTE2N6qBT3gVg2i/miNiiIWihwqt6BXtalgsxmZ2N9U1sJXn/1ZR4+WlMnwqlnTipPoN4QyOMw77z7AV3aAiDgvg7+oJdquUrsMKHWR8kBi2q7u7bJ9OwMV69cVtVHAFYCJpPMt6jNwoMIBgI8c/4ZrZFbfPSEhWPzrC6vYTC2CYXC+u4IBR1s7R3Q5Q9pZlviLmINFyaDWkmX1xgfH1E7rWSgM6lDlpZ3CAWcuLxullYTHJ3rZXklRsBvUyfV/o646ZxaKyg57qDPRaVeUaeFqFfthgAGXbi8ZpLpgh7wZTHx2eXryq84fnRKh/hHj9e58OwpVR/XJH8a8Cvs1mqwPG2/sNt1WJB+e7n/bea29sRLpdlBLIVdqrASBzxz+ig7m3vkCxW8Xru6Rqamx7UKUo5GbptUD9bI5ko4rRZVZGRgEU5LNHGgB2a/203sMK1gRKfNovVtUuclrglZEnldDr0PEocZfF6xqtfx+YIKtBQeg2R69Ywg1vSpEUpy2G80KGWreriXeru+gV691g73D5XyLiR5gUDubMdw2+wYRO2pG0lE03RsaCxgdzfJifkhjdLcf7imbTUmp4OsQJRNVkrViuabpebR7DTTL9Vojx+pmCGH+3qnSnh4kOGxQS59/DEjE+M0i01Onj2uCzqzxazwtkqjTjqfUHeM1ApmY3l6+yMaX3A6vfRGushk5Wsan1ZXBsIKj7NaLPSEQyQzaSJacSjvj6bep8eOzuvALI4K+XOZVAG316NDrMvr1MWguKwkBiWuE4mMiPtG7gtxNKViKRwOG2fPn+H2g7sY6kZcMhiazdrwIQ4orbFoNBWmd//+Q+U3ubweWrUGjXZdP6tcMUsyfqgK6sj4GLlcSlXecCTCrdt3mJ6a0EWMVElOzo4R3dmjXm9o9aBA2IrZAt6gX8Wghw8e6/clkOd7dx4S7PL/D3L9U8CaROYO4jGFgx7E4gwO9OszV/7NcrWm94KQ54WDIoDOBw8fchA90MWlxKDmZybIl6uqqIsLSqra6pWyxp8Wjh9nZGRQF3/dfWGKmaIOeqKiSwRDnhEHBwc8c+4sG8ubLC0vcfTYSfK5rH5fi082ONjdZGJmSiME9+88wGyzaZ788b17ZDLlp8wJQ4ftrV1m5icJ+oKqossyNZ1IakxNFlASq8jniyx+couJvhCZQhmjXLPBAC65Z4v7DB6ZI+STiKCJTz+6xNTUhL7P+ga7+d4f/wUXnn+evdgOdqM8fwfJFMStEKGUK7J3EFNrvwhvDqddXVSiyB8/dYrbt28zNjysy3OpXywVMhTyNSbnplheXsTYMnL0xDGufH5N35fCJRA3RdAX0oXZbmxfQcrb25uMj0/SkOd+pUSraWBseoTB/iE+/uAT/F4PNrcFk9GqTSfFXI4jJ+c4TKS1jUPAokbJ7ZeKuhSwO626SNre2VMmiDQApQ6TOntYrTblTYnbbWNrnanJSfbjMfq6IxSrZZYePGFibpruUEgjfru7cWbnZ7U29Nq1K3zt66/z6METBZNKZK5ZqmN1m3nuwjm+uHZXoyOPHy5y7uJZXVZaLUaNw+7s7vDcxfNcu3xD4yYvvnqBpUePyaTyvPHNV3W5mjqUezfC41sPmb94XHkv6fe+wNnXrVXnPqkXbhrJp+IEA07ubze5810Xjw7NrK3n8TuhUG1xYmGEaOKQdrWtrWuF7KFWwLbqNV3ULi9nOHI0zOpKlpmpIDZrizv38sqbOftcv0ajej0OHq8UODJkwxNw8dLvJel3lLWR7MhokOX9ItKOd2WlxMUxB9+/+V+o31miWoxiDIxRrzSwuyVakweB0YfmMLm6abcKGCT23rLT7BxqBE7SFGZ3L/VWE2s5R9vuokEZQ6OGuVqm4/LSadY0vmG0hTE6HdqsZGmnMDp7qMUWsQ49Rzt5n1ajgCF0GgMNrNUsdUsIS7tAo5GlVWnStjcw2kewOQJUk3dpp5/gHvs25cq61o3L7NyppsE7QaewjCF95Z90TD7pIMxiKscxeWap1JNQ2cYROEazJv9wGZOQ68vL2Hq+TLsUp9lOYGrmaHdcUM9j9EwpyED6Cq3BWaUYtpo5IKw3g6KFCxvg7KHlGsZY34dyHFyTSiKtpe+qMmB0TlIqpfAYcjStPjrOMOaWkUY1S9tQxmaboN2M0qoksPqPUbaZsBZytOpJ7YKULZbUYHW83VRit7D6JUPRoG1s0nSPY0wuYXJY6diGaOe3MDg8miczF/e0dqrn2ByZnV0CZ19h84MPOPWtf8df+9lT3L23SdVhpV2EjaU0Zl+ddgmqVhgOm7n4zHEdRGTzmysViSdqDPYF2d87ZKDXp9UuD754rHY+sTNmBb7VgmKlTqZU5dQr5/B19VJIZnGHvIwPT6k1UfpzZXM7Nz1NtpBlc2+PC+dOs7i4xOzMPAPdQbYSh0roffJ4hSMzM+zHYuKEZf740aeWnVoTo7HB4u0v9EZ02Sw0CxXCPid93SHd/K5trpPK1yg3G/R0eTRzubayTkt6JoU07HWyk5F6qaZ+n4lyjnKmScshluUqF0ccfP28F19tnze+PIijViIVi2sFX7VppGa3U6/ZqRdKWAxNUukyyWQdb5+JsMPB+m6GStlCJOQml6rh74PpkQAuR43cfpWqwGqSVq4+2OFuNcL2tomlxzu89tIRHkXL7KRynD05ysHeLuVUgoun5yhVGrTrde0eN5nb9PR2s7l7QL5Y5fTxCR4v7eFxexkeChPP5PRlKqrovc/u4fPasbrtSE9Ro2bA6hJbfoVkpUj36DDR3X1e/8nXcXpDWl/2+NE64xPDPPfMWf7izTcxdsQdcEjA+XTwOnXmuMJaQiN9/Pit93FWSlRycTx2u1ppRb3e3t6nZfXgtbbpj/jZimbo8TjxhUysbxd1IfBLf+VFvvOti9y4dpfHSwnKzTKHsTxOj+T2unj23DStUps/+P4XXLm9ztdfmtHspNjw7S6zWiGjOwdMHRlSm/HV65scmY/gtgW4dO0u7kEv3/yFX9F++oePFukKhilXC+zt7WkVkgxtApqRijUhJj8dsOCnf+pb/Prf/XX6BwK8fOokH737IZHuAA6/lcx+mZefrQ5+tAAAIABJREFU6efEsUHyObSP1uVz4XY5NY/oDwS04zi2v68bc7HyH2ZSWlUm9mMh3oZC3Vy5ep3jC/NaFSfE+hdfflGXj0I0lkPq5vYmp04c58rlq/i6gnR5vfgCTiYmhvj5v/OfqHako9hBp2VkfauC291kYmqGG1fv8+p3XsEdGlfy9skTR3j3g/fpDoY42Iny4muvUilWWHzyAL/fQ6BvmFI+TerxAx3KJYLTH/Ew1tvHf/ngAX/2f73Mi9/+bWIPbmDMPsIS6MLYtkItTd1gx+EcxGh3UClncdhMNDMb4B/HrJbfOE55eJccBKbDXP7R93j5F37It18PsxWrYZBcu8nI4nqW86cH6R1c4OMrV5ibnGKgP0xs/0BBow8Xn2jFleTR/T4vb//ofbXJinr8ZGlZY1sDgz1k4zl9xoiNuyUWGakeMtswWFpahybQnJHxYdL7Obb3tvSw1NMToFIXBaebg9i+gqUsJoPW/7XasjBI6sJBLGfiDJDsv+QehbCfK2R12BbVdnhogEw2S1FgU40qO3uHnDw5z/LiqtYTBoIeHaqk3ilbrihgrbc7oDWBm9t7TEyOc//RIj6fi6H+fuw2iw4bff0D+oy7dX+Zn/uZb5DJZ/nk4yucOrmgmXxhV4wPD1GuVnB6fcT3D9S2f/6Zcwp/lB5wUd7EhZDOFUUr1brXtbV1VdplM/X40UO1M0/PT1MpVxSsODU+yYfvv8+F556jtyes3dMydMs1IwNpMiG91y11RkgG3uXxcSALLIdDHS9bWzsa6XF5/DhdUt+XVViUVLcJkXpYQG87O2SyJY13pdNZjSNduXybiclhbXdIJ+UwNMKVS1cUuCWDg7hzJL8vveBSj1r9/1syRM19+pkY6BhaGss5c/KUZvRv3vqC6ZlpJd9PTU2ru07uLTnwOSwOBSkKcV6iCanUIS6HVxd/lWJZVb83vvwV1rbW9Z4WN4RE3SSSUClVOHn6hHIUDO222oBbBqvGbwzGlsI8nzxZxWw0qhPjzq17mgUWInm1VMPmshHsCmsUTSBcg8N9xGMpFuZnefjwibZx+Hx2Vd48Tpd+PYksivozOtij8MJMrkin3dIWDpfLRrPdIZUqMjAQpNMQYGkJs8WoNv1EMo/D5yTg9hCLp9Tt0ayXtRJYFG1x78j3t7MXY/bIBMV8jWh0Xy3dpo5JO9RlISMMn3wmp2yAQjav95Tb62Z9bVdrICXfPjjWQ106ze02dYw0ay1anaYukZqtpmaPpV1DzgCymPJ5nBSyBSYnR9nc3MPvd6ul/smTZfwBpxLrHz/c1iiQ027DH/IQ3T0kHA7ogjeeyEgtiToIxka7cQlDZj9Bo1ymbbBidTgp5XLYJH/faemA43U69Tqu1UpUyuJdaOGzuzRvnMkk9byym0gqOFSo1Kn4Ib7+PuxWC/lKEZPFgL8rRLpexhXw0DMyhNsllt2MtGjTN9bP1av3qGUKyoKQw7077KKWr1Ktl6nlaxpxa1VqHCQOsTifRjPEFixRijpNjh2f5+GDJ1q5+NLrr2Bo1NmX6KLbpRb46F6UUHeYwYFejVRIa4fwP86ePaHRkS+ufqG99NeuXcfr9uNy29WtJvV+MlTKUlS4J4l4ShtcRoaHSEnMKnbI7PS4vptC4bAuARYX1xTE6fb4yCQzSmR/7fUv8eb332JyfBKb3cnK+jJffv3LbG1u6lBXqzVYWV1VS7ssR7OZIg67SSMQAuisl2t0zMKWCKu1XPruBRKY2N9XMKIsY4XebrHApUtXePHFF4ju7tE/NCiGAXWHhMIhPv/0U0qlJtOzUzhtNrb3NhnuH9LFhTjtHtx7Qq1a54WXn1NwYq+2tli0HvjOjTtK7hcA4vKTNXWEyX7EbLBy+/YdHcbE9SItJw8fPMBktOnXWV5cpqc3rJESbcHwBqgIsbzT0WvK4XJpvWzA56FYKOpzf3x+klQyy+GDFVwtsHhsConzdnlJbMUZOT5LjjqP7zxi5ti8Rh0PYrvMzM5jNpqIiePE59B3VKVY02Wbw2Wmu6eX3e0dfbYajPD88xe4duM6fT1DFIsZUvGMKvUut1XBeeV6TRlIa5ubOmRLY0lXqOtpK0oqrc86GW4FHCzxIFHxx8ZGcDk8es0IfHV3Z09BjtKmcPvOfc4/e06Bt72RsDqCxH33B3/wR7zxlVcZm+jnz773Ns89d5779x7qckIYM+sb8vVNVAt1hidGVH0XF8Xly1eZnJxgem6Kh/fu02rLMyyiLJePP76ki+yuSBcT4+PqypMGD6kNrJcbugwenx/n0Z2H/MS3foJLn32mjAyL8CMcEnfe58KFC9y+e5tO06hAQIHxSnRMlmtyvpbn4Le//S3ee+8TXcSPjgwpzFyeI26Pnd7ebgwdIw6XjU/fv0JwsJsLrzzDvT/9gMpemq6wE29/mM2dBGGblUTDwGGqwOq/PMLmnW02Si4GwhY2DyuUChXy6RoDo24CTo/C2KObh5w508/DJ4dMTAQJhbxsbGaVJ/HuO1m+9ZNDypQJ9TgoiYvYUOL27RrfeKObRsPAT/+bBFN9ZjxWE8lyi1S6xgunIvzwUozhkIPLa98jff8B1lSZ1uggBoEb7D+k3TFh6B6Hhh2zqUEzF6VpdWAV13nmMbVGGVdohmpdBF2fVvJ1XENYPDO09j+gEZjA5h2mFpPmEhMGq9DbDwArbTkTtvPUdj8DxynMtiJO3zDV/DKtRh2rb5ZmcQVKh7Q8U9oEJAB9bc1zdGOUl5/RgEE4e8IEaOQkH4/B1qbjHoOyMPOu/lZHrFAdV4SWbO5bZQwuP9WDm1jtw09r9RLLmCNnaRvrGOoHmFzjNM1eTOlV2haxSQdot4q0Cru0yvtYfccxh2XATtKs7WAJnKSaWMdsyWILv0Qzv4uptUO9I+0DfVBt0KpnaWHBWo+DN4LZ4qJWzWGtmQVjIOxaaof3aXaNYcdKxxGhRhGHsARcY1rd0XL00kw/wkoTo/coNOM0dj+l5RzENvgirYNrCjej/xmNLLSs8j0fCh0Kj8NEze7HUk6ST24TOX2GP/lX/4q//TvX+dqrM2SKBfKpJKvbDX71fznPX//uT/P+f3qH7/6zyzSMDUotM3Zzi/PHRjl+pJ8N6YauNGhki/rS2o7Llt9Ml8v+FBQVDmiWMr6+Q75cwy3dkmYzFpMcigyMLZxSEN3Fl77On//5m4S6/WqFDUUiCtD6oz/7ryxMHaFtaKtl9ZmzF7hy+TN6Ij2MT4/x4x+/pyqD5IobnRbPP/8lwt1Brl26Qjqxz/bKQ+UzxPakcaCOxw7BngE8LiuZZJqmdFTbHLitTrWKFXJphiI+sNooVEsKsRAgX8RdYzXWZDVtxmTxU66UmOoz8ZVzIcK2HH/jhS6shjZWatgtNgrUKFXMbCfyOJGqIiObmzm6AxYGvFVGzkZAlPWdIv/2syp1ay+//9Y6dq8HPDbWtqo4jTVee3ZCO4F/+Mld5iddOGTzhplKqakAN8lgbu0cMjAiNHEz6WJVH6rieDhMZpXxkCvm6PF7lFAbExqx/J31NKUmDA8EKDQatA0NpubnWN3c46vf/Bq5SoFnTp1V+7gMLLduXmWgJ8LPfefn+PF772rlzs9856fxymcuB3qHk1t3btKs1ZmdO0oyEcNm6JCLb5OLHqjqV6lIlZ5HCZ2LqwdMDfcwNx7kkxtPaDSMTE9O0GmUKNUqrOwlGAz5+Yd/+5u0mhW6PN24A27M5iadapsrVx9wdzvD7//JDc6cCmBoG1neyOC2mOib6GH50T4XL0zjsJlZerxJsiYPuyrzc91Mdwe5t7JDIxBi7uhJhvq62Ywn2FldxeX16Ub4xPFTbEnm3tThzJmTOMwmYqlDXW5srW1ysLtLr6hb1hbJXElhlTv7OU6fHOcf/+o3+PiDG1iCHkYG+rV7VpQZ2SJLFVg+l2difBizTTbhBbr7ellf3OAwE+OZM+e4cvWagqHOnn+WH/zg+3rQluFpbHSUpaUl6pKXszqYmBrH4wuyurqMy2pRJfDSzftcuRnn0cYGo8MhugNhlja3yGWbBOxtooUGf+VXfpGu4RGuX73GcN8g21tbPHfxRc3+N2p1jp44wgdv/5hzFy6o/fI//M6/4KuvTqqCubuTIuCFP3xnj//nNy/yN377d6ndvUrdOoihvopRoIV+H9hCNA4WFdxoMvlpV+O0mhms/gEq2TTG4gMsPc+qe6h7pJul2x9z+ht/ysunwxwelBmZkjx3BpvHTv/AOF2RIcxWM2//8Ef0RvroioRUeR2ULLTFpPR5t9MNRpOCKW1CihfDvNVCMhXlyOyCLp4EnCZq6Onjp7l98wtltYyJGrK1xuFhTqn1kb5eas0q0kcjPAGBAPZH+lhdWyGeKPJTP/U66VxOHQLCSpBhQcjIw/19em/t7O+p3V4smW6Hh1AkoAA8eVHZPS4dqOMHUTxupyrLEj2wmh1KfZf7SJoGQsGQgqi6wn7y+ZIqnjIYYWiqhVy65qVC7eAwgdnuVC5Bs1ojFAlqtEZia0LINhsMDIq9OB3HZDJSylcUpiWKrQwX8gwVZV22W0ODwzrc3Ll3j4nxUSKRHs3H1lsNBWxNTk+Rl4YMgeMKN0Cs8a02s3NzGNpChE8T6ApoVEtypK+8+qrmgaPRXabn5rEYjJonX15eU2iR1DYepg4V2Od3e7E6rDy6/5iZ6VmFw4qbbGd7D3+Xl7m5OTwOO7t7Mfx+Lzdu3cLj8GJzulnZWGFhdpZSsYRZBstaRW3JZ05Jk8NtHVyOHl9ge026yCO66JPMqVQHFnJPYxrx5KH+XMTdsb6+SrPRpFCUIdaNoWPQ2kypMXv84AGNdkuHHem3lgGg0aprd7VYasUGKi6idOaQVDLHG1/5CrVajft37zK/MI/XF+DmF9eYnp58mjvN5ymVpXiqqSTvg0RSIxcCJzO0jEqYHxrq16VEMhmn2TCSySZZmD+q/AmxE8d2d3VYt9gtxA5iCjKVphSDscPuXlQBkV6/W6MX3V09hMN+llbXsTtcpJNJBYu5XA51Y+XFmWPo6EBYr9XpiC3L0KZcFgCllZBfhmOJb1Uxmm3Y7RYd+IVFIUN+vVlVtV8GOvn7omCKBV662iU3Lofq6EGcQqGibRDtdpNUpsTU+DAWGSCSOYWNynUnrhhZGAufwBu2E9tNMzk+pvVbK0tRfB6bAsf6+4Ncv3KfYJcPm93B9l4Kv/fpQLOxssWxU5MsL20zMtIDOFjbWmNmYlTBe8IacdndOtAemZ9he/epWt2qSb2kRR2V8jyR5oiisCDsVl007m3sq/vB7LCo0JLbT1EzGHD47IxGhnQpd+LkNJlcTpcqYjmOxjJERvzMz4+TLNUIhr0sL2/isNjJxVKceelZjQWIEj8+N6lKp+T+3W4nz3z5OW7euEffQDebmxJpgfmZKS5/dgNvKMDYQA9ri1ITbGR6ZpLLl6/wtb/0l7j6xQ2yQsMPBIinkgqHk9z47MyMtmjYHTZVdDfWd5mdn+G9H7+nrJv7YtseGGBifEoV05n5aa186zQ63Ltzj/kjR/U+r9ZK2J0etWSPjvTrkkaicnOzczSQ3HtZWzOs0gKQiDI8MqKL23fffV9/Lw0/GxsbTyv5Vlc1snbv3kOl5M/NTfPejz9UVVocW9LyIgpuvlCgWqsq4PT8s2cVJicVgRKLWny8TF9fWKNPch1WK1V9foqTSP4fF569oPC3Tz77XLPm4iARRoYs32WReRhPalNOPHmgCrMMfpL5Fyu9vAskRipKtbSNyPcmsR4xS8qiRIbXbK6o51HJwTvsdvZiB3oPiHosfCvJwouDQZaIfQMD+n3YrKan0YRImIO1HeL31jHbDMpDqRghu59g4ORR3F1uda8NDvSwt3dIty/Ak+VltedPTs4Si+0xPDpIu/3/sfTeUZLe13nmUznn6pzzdJyckEGAAEgCDBapHKjg9Z7jINmWw9Hax7uy7GNLu7ass2sd0ZZNHdESLZCCAIJIRBxMztPT0zmH6uqq7so57t47yz/B6VBdX33f7973fZ8Xbt66w2tffZWFhXnSyQzpTIahoUG+8PxFfvDDH7O8vM1v/O2fIRo90KWNMDQ++/SyAlI9Lh9ev0uXO11dXdy6dVfhvdPHJ1l4+IhBiWbtRfRz6PMEVJxYWd2kt7dbyfviYhJHkiyRtza2dMEVjRwoEFEWg0urq5w9fUpjVOE2P2PDw+qOvXfnPuVyHV9AuD51hZMG/MKuKmsVrURgpc1lcKSfq1dvYjVZ6erpIp1KUChVKOZFwDVp+5TP5+H67VvquJiemdD8/mHsgPPnL6gw02hWebSwis/rVLEglU5TKzc1gic1uhL/kYW3xHFmHz1keHCY/V0BQ8LQ+LC22AwMDjA/94gGj+sVRXDy+5zaGiC1ptHtHeV1lY1GHvzZR/glQtnnJK2ViVX6BaicSrAfN/Nn37Sytlmgt9/HibEAn15PU62kOT7dicHkZ3MryvxsnNOnAxrNFP53IIC251Bp0NkvDmRI5USnbuJrhft3Upw769fIkMNpodsN/X93nScvBHFVy+wW6tTqJp7vc3N7q8Dt1QT7yb/CtHaXbK5T4xblyAcYLQNYBl+mkV2m0ZD7fgBruUBF+C3WLBZDu86bdVMOs7mNKiXqR8vKXBL3UcPhpbZzFVtwjLq3RYV2Y81O0wlmcTc5WqgWSjjyS5R8PVAzqTO02WjScElrhwMKRzIZU08cgK0I4QsY4g9oFvawhJ/B4DJSy67TRFhPPsqFMkaXHawtNAq7GLLXfr9ZN8g3NWNqVGk2EtTNLoyeMZrpe5jyDarBduqHDzBUHRjCQ5jzOzSsHrC4aHj6MOa39MK2ODq1KcBk7aXhC1KOzmGwuLA4XDpsNu0+zOkdiYhplkLgBaXEXSUeimO/bGnBkU1SLi5haDtHM7WJjI6N4DjW8h4WTweVwx2MUi9WL6mqaypVqId7aKb2sHiH1TVA5CoGV5BaJa1kcbu9l5LFij13SMURwFYvUK0mqFu8eK11MpEDzA4nlnAPxcMINnsr7pPTfOXcz/Nw/YhzF/q4d3OXX//Z03zw6QKnp/382x++jU0KN0u3NBbxwRsL/Pb//j+IJptkEjGsviYXT4xo92cyvoXLIoNJP7ev32X7sITFZKazLfh4o1muMDjQwucf3FUirdiBrt6aY2piiGK5Su/ACL0jx7QH2uKW197EWBPY0DoP5hf50pdf4cH9ewqqknjBqemTRA6ifPLxp5w9eRqnzcpaZIu52Tn+6e/8jvYJf/jh+9qjnC2lCQR7qGSjvPfmj2gPBZSSXy1VGJ8cYWdvl2y2zvT0BLHYPvliBotYHdNN7R9tCo2710P68ICOlj5W00nm7kvexU8sWsXZrBLwG/mlcwZeOGOmx2Gjo8WHo82CyW4ku7pPU2yBZVhJWvmL97P4ujpUEbi9mGcv08BirjPe6WdyKMBBLM/m1gajA61UpF7SasaMiZW9Ai1hL2F5cG7uUTEK0MtMZ0tICchbqzt6A6ZS1a2d0HPXdhLkZCHUhMERqcyqc+ELL3OUKZBJRJmcmaZQbXDizHE219Y0G5UUUjkV8hlRNBycnJ7CG/LrQz+TzrInIKbeXlwCuUscUS0WmZgZ1+xjuKWb+fn7HAqUKLVPLl/E6RarWhfJVIyl1STRWJkrP/xNvvPfPuXNKyv0d5toGJ34zHZM1iK5bIUbC2l6/U1+8ZtnmTrWw6P5bcw+Hw6jmf/+3c/INmt0dbiwGG3EjjJKfO3p9HDl3i5iO0kXKvR0uGgP+TRXJjb2j27MMzHajt1YY2E9xcTzL/CVb73Ktcu3sBib9HR2ar7yKBHXm/7yypJ29opdURQIqcY5dfqsQnze+O+vc3YgQMNhZqCrn2I+zvLWIdNDYYa6g1y985Bf/plvsLq2rU0H7Z2dNAxlPG5ZIBUUFiQVWLl0kdGxMS59eomR0UE6OttUOQ23tXL1s+uqyvh8Pu3pdXgk2+xV1UR6k+NxcSkZVaUZ7Bqiva3Jjbtb/MkPZgn6nRzrcVGzBx5DxKoZtjeylO0Nfukf/SbpTJGr77/L+PGTDPYN8faP39R88TNPP8P1W9f4J//bv+DR7D3+87/6Dwx12hWUNPvoiCcvhnn3swjf+/df5tVf/Ydsvvsd/GNPY3WYqZQFQpXBWHWALYshlQVrmaZ7lEo+gbmwgzHYj7WQJF+zav431GHkxp0oT/zcH/Plc+3EIymatibiSO1tC2Ay26hbvQRagsTjEdoCnWTzSfZ2o0wfn1LlJxAKK8RQnAOhlnYd+iQfLtnwI6kzHRpkc2NLLbHHTxzXA6VkKSU/OjoiVko7a5vrdHZ2Kdm/t6/ncZVbvawHyXQyQTAUxO3yMjf3UN0c4VCLksUTiT09EIY0J9jKrRt36O7q0EVAa8CvKmK5LkOzQ1UEUX1z6RTZfEmVh7Onp7U+KJWMaX+2/Jzl1XUkbie/j+R4x6en2N/ZJpnJqSJhNplUgXx8b8tTypb0d5AM/+1b92lpD9IqS4uVFc1Iy1DXEu6gVC2QF6XdacPt9moNVvQgoZlZOfAIub93sEet+bHYEa1tQQxGC8VCmlrNoDY/yaRLd7fEqwScJNZMyQQnE3LI7FP43340ojRiqS6UZa0MppLnlOyvsA9OnjzFzvYOG6trnBHK+eoqwbYW5cqIGpxIRBW49Tu/80+5dOmaLm3EGSRk54nxUe2xXlxaUvVOYgViAZf+aFGcd3f3GBzoV6uuWFNFyY8cxLh/9x5nzp8lHtlXp8+rX32VpfklHC5xJW1RKpXJ5FPYzW6tOBWZbXBgiEuXPtX8qgwDkzIk7u5qlv/Rwpz+jWUpcvbklLIHHi7O8aUvf0kPjh9/8qk6djxOG+l8URdSPb0DOmhLVn98bFydGFIdKbZbgTaKvTGdzyqH4djkONevXeOpZ55UjoNArF545WXNJgsgTd7vltYWujsk275D30Av25ubqpYeGx1iZzfK0NAQ+WJO2yRafAHy5byCGeXA3BLwKVVe1NL92AFmccGZTBrZagu3a8xD6PyZdJJcsUi4NYyxUieby2udWlniOWWpx21DGqmX1jagIvb0xwqYVHL5PHayxYouZAZ7O9mNHLIXzdPWZtMYgCyexM6qCo6hyZNPX+T1H3zK2FBYM+piFxXo5+LaljaTrK2t6uLi7JmTLC+sMre8x6nJPoXsiqNCnFSRfXG8+XVpIgqSMD6cDis7O/vqKnDbzIxNi1K7okOZVCtKDZkClC1iny9r/aA4SeIHKQV6Wf02XBazNgZIVEOYGsVSEYssHK1m6kYIBny6hFtZ3dK8da1RVWeWoQ75glS/tZNNFIlGj7A2m3gDTnVVCYxSMr/CTPDJ37Va0ffL5jQzemyQzZUNHcbKjSY9Y4PkS1Lz7CcSizIyPErHSBux/ZS6PNJSeybXvjzbUwliu6IUDkvRlLolxK2wsr7BF196nhvXrusC7MSJcZoGB/ML85qZFteUgATFtSTVZp2d3RQrFT0rNesVXWLJIPRg9hHPP/ek/t3/8n++ya/96i9y88YdWsItGoGUe6w0oTitRtqkjWX2oS6bhHWxurjG8OgoVz+/xuixIZ557hnefedd+gb69frcWd+go7ubeDyunIqOrnZ2t/f0b1Ov1FSFFheY1+dmZHSYN998h1/5lV9gfWVNF6i7kZheWxJ5EJW6tV3aUhrs7uzrICwgQXFIyTJTIi7SRiAMl0w6r8C7lmArq2sr2hAgz2pZyO1sbqnrQZ7H4VBQQZmbK2vaFjA0PMDG+qYutIVftTC/qEwsm92I0+VRsUlcAT6Pl08+vaxwPIlJmQ0m9nZ3MdutmITvY3NRWNxVdsjd+WUmJkcxpErc29mld7yfZ199Ts/WlVJJl37icrjy+WUm5L60tktR+Bf1On09PcryEtaVLICFH7G6sorVauTkqdMaPzx7/gSbWzsszS1ybGpMF2/zj1ZwOBy6FJKomDwDens7dfEqUST5neVzkjyUqu8ZokcHbGxscer4NBvbO2RSeSQnJO4viRDK/UkgiSZZk5uMbG4K98LNk09fYGNti4zwPMRhVKvRJ86uo7g+N/a397TCUg45yXhKIzHyTF5aWKCnV9woR8rnkSWn1+PCbLJhs1vY2tnWys5sKq1/G3lGi3tL3Bej40P8+XdfZ3h4QGMqu3sRrHYzySMButq15eFg/wB5ysk1nkrHmZ6Z5OjoiIcP5njqiSew2q38+N2PGOrrU6FRInMdXd20d4S5fOm6LsYl0lOtGwi7fWSrRf185mY3SS1GCXU6pGqNw3RGz5UdDg9vrWf4R+cdvDxkpFiy0zNq5/KlKKfP+CjlTdy+u8v08TB7+0WmxrrIV9PEVmq0jdhZX0xjsTS1/nRy1Mz6bg2bq8nSQopapsrAsSCReJnOtgBneyv81H/NcD9aZToA4TCs7lZ5fiJAvGDk07txIjvfw5CKkoobqDYj1PJpHKEZmoYyzcwOZls/TUdd743ghNR9TM5uagXhKR3g6HqNSnYDQ/EAg6WdRmWZpn0cI1GM5naEJF8rLmJ2jVK2OzGntzA5vJhMPupGN2RuUzGEsRuTVN3HsReilAsR6HxGgZM1iSZUkhhsfRiwUtx9G4urlabJgdE/QSO3g7EWpW7qxqYV5VFtuDAkb/77ZiUfw4IZg82FqVJRRcoUmFALZKV8iNHRgjE5S6OUhL6XMBVSmnu02d1UBdgnWX6B6klnt7cPY0OqVI7UqmqwhGhkhVo4AKU6ldweZq8Lg6MHk3wo02vU/WdoluM0sts420+QW/wLDOM/g6VuwFzYxuAfpZ5cpVovKRxBDhm27rPUCjls1QyV4FkaqStUUxs4ul6inLqPxT6M0VKhaW6FzA7V7G2MvmmwtFAvbGFrGcSQlX6/KpXsHSwtM9gqUvMTYW9lm4Fv/lP1r4MvAAAgAElEQVT+9He/zT/5j4u8MNOGzxOmbs7w+ewh7oKRe7f/DaXILPlSE3/3MObBE5CPkMlF+L/+03UqeRv/80dXtErCbjdoZtVkq6q17+Unz+D0W5mfXVIap8nu0BupgNymJkZ48GhWrZHHBRL4/uecGB9keWMDf3sLgbYODpN5Xnz1ZdLFPBdPXiCRjHH10g1OnjvO7OwDDhNJurt68NgsYHtsMZf6Jqkk7Ojs4o2/+iGd/X2cOHlc+5eF7Hv2zCmuXruOy+fE0qiwOLuoJNxmOkW9UlE1bXc5zuTpbvrGBonHcyQOZKg2a2ewHIxLWrXhweOwKK26ak5TqHZxZ22Pasmsnd3lQpb2NjMnAgaev2jWbvPdnQr2Phd//VmB7Wia8WNBXFYzpUycoN2FuzVAJZ2hta2HrYN9DrYiSroNBq3kRZFoVAiGWsmmDlWBjMbyjAz1KtRldy+BwVDF67HjCgXBZqPSNKgdKhzq4MyZSR7Ob2C0eMjGdxmdmsBgtRKPRrl25Y6kBBke6Nde9OXVJbyusH5t4ihGo9rkK1/6Mrdu3VDwzcLSht5QpJdWrG2icvR29/DRhz/hxS++RDSyz1Eiyf7iIy6OdBPJFYjvxjXPKb3UG9t5vvHcIC8+M0qy2OS3fu8NJnuDHGazhPwOYqkm7X4zZ0/28ulneyRyBXp6PKysiEJVYWjQwFHGwkB3K81KgVQ+yxMn+4hmStrisbuT4Y3v/kPe/cl1/sG/fle3qr1e6fA0spes0N8dJHK4T3drH5dvzfPUt77Ct3/t21z+/DKLj5Z48sI53nz7LU6dOEmhXCJfyDE8JN27r+uwclaqypaXefN//AUDfid+t43ewQ56usN89y8u0Rn28Ft/9yW6Q92sre8ofT0U8nF0FMNmlQOhkWBLCy6n2M/sOpiOHxvH5fHw4x+9xejYqFpfxWLWIeBMh5uOzhY21rd0gJGDVPwgTl9fp1bcnbnwhLZuiCIuNPmwL0jy/yM8//bvv8cTpzowlzLsFY28eGGcjr4B3vrRT/APjvO1n3uN6zdm8dnFEnoVu9PNM194TtWwza1derp7uXXtGrXdXSbGWsjlytx8eMAvfP0Yf/X2Iz5//bfpHW4jt7mFwSYwqzI27yDFzDqG/DZmdy8W/wwVaU3I3MPiuwCHN1TZsnlHaJgKlEpGwtMnqBUWsfX9c37+opfteE2HTZ/HyqOlI8IBM698+RtcuXkdk9Rvhtr0kGK327W7eHHpEU8/9ST1cpPPrlzh6994jd2NHe2fPzkzo6pL7CiO3+XXSjs5xItd+ugwpgOt5De3NiOcOnMCv8/D+s4uLpsZp92rTgBZXApZ2OPzcerMKe7fuqMU34axoYdqZaGUauztbDEwOKxgIrF4VislzfML2Vqs/62hVtKZFPcfznPx4mlddF6/ekc/Q26PVXOY0hQg6oNU6gmwSK73kN9LKpXVJZTEqur1Cslkjvb2FlVw3F4nqXSJqYlR2trDOizKwVgWdVJ1KwOZeMRrBvDabUQTR4zJoTCdVtK4EPq1PlCWUZmMXoeSXxfwZ7kofcUVrYwSu2U2l9CDl6hMYnWuV+p64BTlu6U1xMr6NmMjgyRTaR2oRa2XQ7zX7aZehZ5+qQ2rsrmxSzjoJ9zeTjqRoCmxOHmOGkyaDW3vkgaIFCMjQzxaWMRtl6y+W50CuXxB1abPr1zlmWeeUT5Mq5CXi2XS6TwWq1l/f4mAyNAtec6D2AFnzl3kzo1rmhet1CCXTijMa3xsjGQqSSqT1orFhlT7RQ/w+L1aldY0itvKraqPOHbk3i+VjlJxJQyKbDaN1WIlEAhRLOSIx2OEAiFVvEXJFgVSYKh2u1GHlvNnLujAHdnc5alnntDXEw772NzeYW19mycvnlcoVmu4QxceJ05O86M339HfLVdI6wFY1JGDg5hmbcVuW6s1aA36VRFbX97AYGtybHBCr31pDxGnioAYJWt+mIpht1hoa+vEZncppOvVV1/mKB5TsJMsEpYWlinksrR3diggM1Mus760xujYoNZRHSakXqmCRypx7W4dZOT9llqslZVltXpLZKJWr+j7IktNaQHaXNugtb1NO+jld4pE5MDvJBgOsvBoWaONsig9iu1qjENUXWmyyBYq+D02hUYK7T+dymjsoVw2kIon6B/rU2eVw2rlKCUOq35S2bSS1wulqoIiS6W8As3y6aJ+prUtxooqsQIMk2taGzjcHnYje8riMTfM+MN+tjd3VYE8lO+ZkqGqU7O+Eq8ZOdZLSDrjtyPkS2WsJhPh9latG5QqvvheAtne2GSRSYP4kdS8+ckIJDTsp5LKU5f4wFFSh5ahsWGufnpT3Utqh08XOX/xJPFYjIPIAVaTmXpVKiTLj2GSFiOr2xu69CvQoHWwR4fU/uEeXb4/nHvIQP+QcnlkOSiv8cLzTyiobHtrh462dlbWV9Wl1z3Qpws1gaklkxl1Q/T193CwH9WloSza3E4fAb9TcBCqusoCTRZxcpeJRmJ09XRqzHVpdUWbnn76W1/jzu27ytYYGhymvUsiVXGuXrlOSzjEwGA/h4cxXUr53E6mT0zz4O4DegZ6SaYyqty2tbcR348zMT2hgD7JjQsfQBYRmtWXfvmuLm1VkGHv4cMF7WsXYKEM659+do3XvvYK77//sVrBX37lWSXs37l5F0/Ar0OrZNpF1feFvXjcDtbWNvD5g0q2D4cCuiRsbW/HYXfoACpnWeHGuOxmnnvhOT78+BNMmPQ9l8+nOg+KRXXJlKpVDqIHnDl9ViMWB7Eo+UJB74cL8/MM9AwSPdonFU3gKtSViyWvw+CwE9vao623nbSIPYEAhv9/ObS+sctv/oP/lRs3ritMUpxqem2FQur6uXb5Bi++8jxXrl7R84vUAM7em2VwaBi/18ed23coVSq0tnawf7DLc89IlZ+0Q8h/C5CXutNsAcmehIOtuqjc3d3R73/n9j3Gjg0xMjLGlevXmDo2yebWGhcvXtT70vVrN+ns7sLndrG9u6vViZvr2zhdNj3P3Lv/gOdfeEadpBIr8PsCNMVG1jBq/EvaxFKJONVaXZepEmsVToy0skj0t6u3Q6/lF77wHJcufYLRZKenp4tataJnT1kESo2fAEtF3LNIHXQixeT0GDMzk7z71geUanV1YsVjUV1MCVC4r69PuRTy3sg5Q84LrR2t7G7uqjPB5XHqNd/X28+t6zf1HGezWynlirR3trG+ucHkxDgmq4V33vgxL7zwAjlTkZ1rDyltpakay8wMd1EU6OzWEc+f7+W9+wk67Tne+LUwd1cqZAwNOvx2DnMNbt/e51d/aZL7D2Jah/nKq5N89OG8fr7N5jrJeJmJ4x2sLWZIp/L0jziIHtQwlppcfLqdw1SFzz7dVTbFL77awusLFf7Z99J8ddJBwG9iO9Og32Mgsp/i8m6TyM7bsLtCPlvF4XFiaHopJR5i9nXRSG+DK0ijkKNZjmETNz0mCuUkDpmr3QHKlj6siTkMvhBlmx9XfpsybgyeIYz1IoW1t7D3PKn8AKqyoE1gqlWpN/cxeqb1XOawuNVp0GzkqCdnsfjP6TKC/V2MrcewezooHM5hcrowec/qEqgp8bFCAru7lXL6oTaFWUxBas0CFOsYsrf/sFkXO2rDQLMugApxeCYx1Ro06mLRjmIQtJkM1PYAxqP7IDAV7yjGqmTuY5gbDepmp+YHG6WyYO80R2oyl6gebWtFQsXbp7+009tO3dCBsRCnUFrH4ujH5GqhWc9iTK9Q85/DXs1RqxYxl/aouVooNiy4JXHWyNO02NSdUBP6YXpN+0kNjhB1sxdDYhHpo6oWk5jC49gsbdjIkzx6gM0+hjk8RKN2SDU2D7Wi9jdWseF0BigmFqmbPTg6ximsvEPbC7/BT/74P/Gv/8snWC15urt6GW018M6Vfe5t5shE/4jm9iqlahv5zRgVr5kWWwpjxzDWrh5wj1DeuM21jz/krfeXub1+yK0HWd2Cub0mgl7wtPVxYtBF2Onh9oNV7FYjR+k0XR1dOKxeVnZWCIZbKBdT1Es1rRe8f++h/m07B/oxO33UDCal8H7xlS+zt7+LqVmlr6ePh/PzNGQo8AqAaAe3RUBHfrWNSi4xchBRe3hPfx+rG8vUCzW1iv79f/T32d7d48NPPuH0+SeoZDNc+/QdWgIdZJKH3Lx6T65P2n1mPEI77msjlShg9BhwNOuYGk09aMaPpAnCQGeLkWS2TFfAQc3hZ3ErRiQNh0kTpwZDrEfj7Ev351gXlaMIY+1e8rUKO6tH+Ntd9PYNsL2xhddrI+D34QraMJbrCn3qPtbH7K1VisWUXovRoyqnTg7pjctgtZHJJ/nC3/pZkvkUkb0kX/vaa6SSh8RFNUsXVTk+++xFBT7N3rypN49Hs0uMTcvyq645/6nJKaXwiv1PDuE2O0qQPj41zRtvvk36KM5LL7/E+vom5UKFw9ihWhh9Aa+qYF3dHfzJH/0/nLtwkcHjx3nnh38DO2uEWtwkDquYjSV9gJQaFsbb7Hz5pQmi0SKTU8P85+++xb3FQ05Oj+AyCQzKS17ep2KKdA7NSUtntcNuYKR3kK2tff3QJwsZxBcxPNxO3Wzir99bYGrYy7kJH9/60mm6uvv46PIq0XiEfMXMX7x5B4/bwPRYP9FITusTs1Uo2z186We/pZAhqabp6Ojg1NQMf/rd/8bk9AwDw12cmj7Ox59d0SWCqDRyKPmbP/8run1mrVKbe7SKzWAkFPJiMFn49jfPcGK8m7d+dAmr08u5U8cxm8z6cPN4fOzt7yjoRrqjR0eP8d4H72r2ORlLKdfCHfCqk0OykAaLmaNUnL3tA1554Tnaezv56P0PmJycxuVxEYvFOH3xaa5+/B6uYC/F9A4/90tf4T/84dv88CdLDA96WV6JcP7kMfDUuXdjlUyixJnXvqAwR8lKt7d0Mj4ySjRxwEE0SqMCF595kr/87n/l4KGotAN4nUYeLB/R0xviJ5fWufKX/4CpF36Rxu42hfJ9aok9HP2vUcrFKcbu4XQPY3Z5KaSWMVUrmFul7qgE2S2s7hBYrOQOY7T3eiiXj/Ce/EOe7G5SNTvp6wmyunHwGPBXrvPK115jbWVJH67iFrp+9QaBljB93R1aU2R3OTSnqirD6hrBlgBWm4fVpSWOz0wr7f3Z519gYXGR+fl5Tpw6oYfWztYW7C47a+trj6sBpdM82KoW1KXlVdLphNTGcPL0NHfv3NUFQU0UqPYWzfpVGwZK+YxW5K1tbzHQ06vwLlGXzFbhUEToHx6hVMgoUKq9rVMfcpJ9l2qxYEDo2Qn2YzGtjcuksuSrRVKJFMdnpvjko495+rmnWJhfUsVp8tiYDjp7kT2MRqPWEsrXyD7e6nDoYdVkMuHxCgSzREsoRCJxpAqL0WTWXm6xrgtVXOrXpL5SBp5apfjYxRAIaedzd08PmbwcXq34vV6Fd4mdtq2llVwur2RyWXLIQVdaDyTjn88VSCeP8AeCakWWGjKJZDg9wgaoc3iUwee0KVj27v05ers7ZL5jdXWP/gEBS+XUbh/wu9RuLIuG3f0ItXKVE6dOk82lKZbK7O/t09rWoWAiiSkYrWZsVqO6KZomk+y6dUH8jW99Q/Oh773zAX5vUH8HBcvJw79W1VpCgalJxv/cE+cpFXJE9g44e+YMZquBy9fuqGvr/BMX1PkkFWJjI6PKQZBcbXtHtzqFxoZH2YtGtW9YIIIyAId8PqVJT83MaHzg9v07zEwc12YHyZFmC+XHy5xaSYGHQ31d2pYgjh7pWJdcbyqbYaC7j3Qxx+baFi0tIV0CSc3hytoqLzz/otpkxeUhQ4ZUrh0bG9ODm/Aeuro6FHQl0Zj+4X7u3pOqLLHQCxm8lTt37mktpSyChUQm9YaLC4v4g3JfKtIa9mns5CB+yPDoCHMPZjWnPz4yrvEPqTIUkOhBIkHq/88gC5W/3mxqA8FRKsHBfoTXvvzVx+ydRFzrCKXycX5unr2IVH22qjtJHE+jo+PMPbyDL+inmC1r9EoGDbGGi7OjUhAooQdT08Ly6iY9fS0EW3zk0kmKZROJwxQOs0EjUqLsCSuhszOE2+NWa7eAx+xmM92D3WxubulSSp4tdpMNk6VJ90APa0sbCpI8Onpcj9cWDuo9/yB+oNVqEtE4OMhw4tSAOrckmmWzmdjbP9SmA1lqHO7FFGDW3tOugsTCwpYOVBIVEidAuZRTW3t7ZzsLjxZ1qV4tl3B4PVSqBXLxx1VWQXEKZTKUK2VtXJBro627nY7OdgXsyQKtWMxTzdfoaPGSTGTJZYqYrXatbra3OLC1uugbHwSrhY3VbfzhNrUKzz5c4My502pdXl1eV9Uz3NFBLpsik0xoI8TU8ZN6b5NzQHtbWGtk5x49InWY1vdNLNh3Hj5QeN250+fwh3x8+vElYQfrAkQGcgGZCjNIeCmyOGpt7SR+uK998oO9/QyODLG5ucbOToTxyWlikT1yhZxGjkIKW11jYmpSFyeilMsySZxdcn+QZYgsCAVeJwvIoeFRtjY26O/vVpu5RDHHRkeIH8bY3okQ8Ad0aJeF5WEirq0eBXF2toUZGhjg1q3bhEKteFxOfa7ubD221C8urOg9VRx50kritDtpSqz04IBQMEw+lyagUNC8cgmkVlPgoeKqEtejuGgK+QyLc0uPlxpHMZoNk1YXSlzp9NnTbCxvYLKZaDYMWI+yRDa3GBoboVhusLG8xrnzE2zls0RTOe25r5uhPRzWM5tEFcYnxuns6eDjTz7j2NioulQEXiw8A4F0OuxO2jpaKRXzyv8RHpj03ReL4igz6VJjfW2NZ2QJEI1qU0Rk/0AXNi6nlYXFZV08FvKPo77yM+XakeecnP3KlQo7G9sMjvbR2S7CxCNC4Rbu35vl2MSwslgEeChLQHn2ieiRPMxx5vyM1n1+8MEnXDx3mr7+Xmbn7nH61AVWl5d0CeF22Xkwt4zdZmRsbEydA/0jfVqBOj41QrNWpyy1l8LEeuoZbTOQc6pslV/64nOsrAhAdo9AMKD3r631LV02XTh/nkq5zNrGJsfGhlhYWtTFyLPPPsvrP3ydcCiMy+6kYWgqZ0aeOz2DXXidPu7eu6eO20wijU+AgY+W+Omf+zrzjx5x5uRpiuU8f/2DdxkY6uGl117g8l/+BH9VquIN+ncKhsXlW6S3V+4fPq4/3Oa/fcOK1RliJ5nAaXAyMuNldTHNcE87V2+t097tptmsUJYobWeAza0jsrkG/QN+BrstLK2XuXMrhiNo56mLAY4iUm9r0HhXw2jXyvO/96crXNp1c3KwjssoMPAmDnOV1GGWzbqJ3ZU34GCXxPaizo7FTAp3x4iC42tH17EF+2kY26G0hqERpG63YCwkweVUPgCJm+Bqo+E5Sb2wgaWYwRg+TiV7j2b+CINrQGN7xVIKg9GB/egmdXMnpdIh1vZJLDUDNWkMMBp1gMfm11hwI7+FweTC6GyhUclSKx9htnTTdHox5hd10d/Ix2iEz2Ks1rVpz+btVUeMKXeAIXn73zdNBjOGmnQTp7A4gjQqJYzWVky1bcBNvlnDlFigHpikUYrh8vVSx0utuI7NPUS9lKBhNmBIRmiakphbnqF2MI/R5QWhXpdS2JwhSuUjjLUKJrsXJL9QKdIw1THK4beax+AapCa5/ZpA+SI0bS7MDtnqN7S31+L00agaNH9cz+xjslqp2F2YSllc1naKZvlj72LOlWi4/NSOFjEFpzA0omrj5GgRW8dF7aWuH61Ss1gwWaxYwsepZ1epJ/Yw+05CeQfPs1/k9ve/w8t/+weqRktGfaTFTN5k4dKdGKmVP6Rp7icxfx3MAmcI0xQ2ws4apcRlTG3nCXWMQDhI0+/DcBTlaOsu775zidff3+XGbIKDTJ6gx8vocBcmV5ET41OsrswyMCg06SOWF9fxO22MT46SFQtxpUBDFG+jhYWVecL+DgxWgxKm5QC9tLXNsalJekZHqRRrPPn0U6oira8schSNsL2zr3Terq5uFteW6WxpJxaNKSF45tQMjx4tU8pmsJoM1M1GbHY7Xq+X0YkxjE0jd2cf6tZ74eFdDHUTP3nrfZqZIoGQkb62HlLFBMlEmRavi1Cb1A49zhtX8+BrsZLdj9Db7Wekv4UrD6J6YK8YHfhdBoyFHF2trezk0jjdAVpCFpZXElQkAiI2XYdbrchmaRAw1DTPW6zVcLQGtTN5+MQM7Z09yk8QlfD02QtsrsxRrhlxuS1KbxZlXuoGP/joQz1Ilgt5zURJhvS3fuu32N6NcfvWTc5evMC9O7dJpJKcO39et7U/eOMttfAJOCoYCmOVfHEyxrFjU7zz/vv81De+oRvey5c/14NiOBBS65XcOKXjVqjFx0+e5jt/8B9xxHYxeF1YjVLrVtaD7+JWgX/87WkuzJzm0fIGgYCJL77wHD9++1N+/08/I5dvMjXqxh8Osbi0Q0+nXy2IqfgeR+kKbe0+drb28QhMpjfM4uIhToeJmwtJzk+08b/89PN6o/ybd65hc7p4+fwke6kDvvf6VfI1P81mCYulhgE7e7F93WLfv7OJd6yHX/qNX2dh7hF7m7s43XYG+0dJZJJ6iClk0hSr0g/ewcO5WX75V36Fg70oH37/+3SHHNoRfPbMONjt/PAH1wi1mviDf/FtFm/NYvMLKG0WrztMb3erxiZu3LpNq1rUArq1lkN2e2u7HpDlIPHSy1/UgfH73/9rXnnpOR2+nB4X62ur2p0rjouHDx7odR6PR/G6XPQO9nP/wQJdbR3cuXOdL736BX77995iLZrj3HSLWpUl9+z3udmb3cY5PsyXvv3z/M3rP+DciVNsb26TESW3LaxKpRx+mg0rn33/h/R1u/npl07x2b1VVUHvLCT48M3fZua5Vzi880hJr5LPq1V2sXiHsNm7KNUSGDPS32vD0nWScipCo5THbhAbcgGTT3KiNYKuCjVXjcDAv+TFi2F629qZXdiiVhFQX5lyzY2j1UMxVWXmxLhu/sdGBlQxFpiU1+MkHk/icFg02y5TpURkssWiHhQlz72/L9T1gNrQxeJaKzcItgWUwr2zucPP/uzPsLS4rLR7GRYdTpseHHu6+wiEA1TKBeYeLenSRkCl0naRSBwSix6o2iX9vOtbm4QCfv16yalKUFeyjaKgJA8zmqUWbsP62iZel52D2KFWFh47NqIVS1ub66pSRw+iHBwcMTkxqp3lAkETmNv29o72I3/xlS/qv//4k8/55te/QjKRVCK4VFrmhJ/xaIGL5y9qo4AofNJ+kEpITdQRW1t79Pf3atTAYDWp7fPBg1mS6QIvPneR7b1tmjX02SGvPxiQoaTBfvSIro6gLrckuiLE+PauNo1Lyf/v9/jUXj7YP6C5anHOvfKl50jF0yyvrqpdcmc3Rm9PJwuL6/QN9lIvVzAL3AyzqjuyUJHBcmSgn8hhXO2jlVyRfCFL02hSOrS0EmSS4lJwPHZjlQuqph7EMzrs78ej+p4HvV5kkxY7SugSSajk4ZCX+FFK7bd7kageXnu6uklnkljMNq2ok0Hi5q27nD17XAnREr0R1Ytag97eAa0dy6YLuvyVvPKt67cYHhxQmNujR/McJg+1lkqW26KWSlZWYHxC4D/cj2N2WLWKb2FxgcHBIX0Gbe1FtUtbgJHSGPLSKy9z9fJlPZhOTU/qs3B7P8LY8IASz/d2ouoe8gQCbK1uEO5s1yiLqGi1mrRNtLAb2VWbZldvH7H9fWxWq9qXRaXPFrI6FDRrTeUulAqSkW7Q09WhytmdB/dVQZTvJ1C8o8O41tfJtVIoVrh39y49/f309vZrHfH+/h7htnZdIMlhe2hwUH+Oy2FRgvTO5r66QKTPW4ahuYezDI2OchRPYqCm3BVxNEl2+uUvfpHtnR0++uSSWtcLxawKAaJmC4/g+pUbDAz0MT09xq279xkZ7GVnb4+t9T0Gh/rUcSOU+mgkqv9e1EWxeAvATFo5svk8q6sHnD07yc5uBJOxRiFbluQCPZ2tpNMpBShOTwyp+ik2f3ktff3DWrscjcY4OTPNTmSTWk2WpzUM1cd1hAKLlWiA3WbG5/IQPTyikCvi97uUHtfd28Hd6/dweB20BkJs70a1acrudmgzAg2pMnVSLeeUkSALvpZQiy6bA61B4smMukslky7ugaYkXoXVUJVIq5lqs8bUsWHm55exYFG+REkWHE4rOYOB1qFOXGEfZUycPD3Kwt05bl25w4Wnn9IKu/fefl/bDeSsmE7mqJbKuuSR1yEtAP2DQ7okyxcqLC+v8tRTZ/R6XVpaU5CaKPKpwxTFSpXeznaOUinNuIug0xlq5a/feIPu7n6Gx/r137l9ARYWH9Hb00M+VyR+lOTkiQke3J9TLkijXtP4kMDgZCj1ewPq+pKqQwMmhYHtC0vFY6eYrzI6NqwLr86eTl0MLi8s6zlBns12m1UdNq3C7KgV1eZfEngyJiI723T1dT+OH2HS9hHhdvT1D1KVCJjdQTKdoruvl0hkG5/Lr2fGodFBUukkSw9XFd4oS1NpLBgdHdW6ye6ebgW5zT16qG464S7sbG9pDa3EAsQpJc+J+/cf0NfVjbclqEuHprAiwl52t+O0d7dSzGZIHWQJDbRiaA/RNdDF/IN52lvaNOY0OX2Mu7cfkkwnOH/uHLPzUtsbwmq2aIXqyy+/xMrymmbuf/VXf5m52Vk2ttYVRirPeWlWkGv8/r05rHYTne1d5ItZhZqODEsdaUXfD4Oc47IZ/dzKUNnZKQuxA4YHh4hEdmlp7YBGnYWlJY3+ShRFoqKS4xcGjc3iUFfAo4fzvPr1r6ijRSqSt7bjuniSelqX20al0tCfIy035XKNWrWqYNJAOMidu7MMDQ7gsFo4ODykUTdo9M8jwO54jK7OVn2uShRPeE1H0h7Q3c6Zs+OLDswAACAASURBVKe5fvWWAgFlAf3xJ5cVzisw2WyuyHNfeJbZB/MUsllOnztFNisVg2VyGREzbQgBUlgDEkNYXVyhd7BbF5ZbG+u4PHYO40nOnDvD559cZjeyz8mTJ8keJbHYTZSokdtK4kweka3Lt6oR8Lg4OKxqs1JHIMDhUZo3/04vN+f22T4o4PZ76GszU8XJ/FwMu9ukboa97Thf+sokm5sRPE6LxtivXt5gpD/EuSfCRPdLVMoCDC0RSaRo5Gy4Q2ay5SYvzLj5P9485Pq2mZGwkVyphsdvoV4sEYlVWIjUyCz+DjVzJ5mdCBZHgLqxiN3cTaW+j7Fso+Hy0pD4aWGRhrsDg6UbQ2lbn112fzfNXIRi04bN20EjO08jvom56zx1rSt2gr2bSmIWnN0YbapeUDcKHyasy3Bj7ZCmNUz1aB6TM4Ct/SIc3aXhmqDWrGCo72hUQKLm8syq5VcwFXLautfwd+LynadcjWEoFmmWC1h8YaqNKobUrd9vGvJpmo6gVmzV0hGt98PfTbVmxFjIYzJWMVoa1NwjGCI3KRkb+LsvUJ5/i1qwA0elRElgNu0XtAZB7NSVcg5jdpt6dg2LbwhDaETz1/VyEkutSMnmxGr0IoHOenlfbywOZxfU8xjc3dQbWYxVIyZfG/XkOobcIfVAF5Zmmdza+zgGX6Zp7cRQTWJq2qjGXscSep661YehnKfpCULsDgZbF02LD6dXeoL3yS+/ia3zacyeLir5WSwNGVTreNp6MBQaVMtHFKO7dH7hq8x9+D1e/KX/wc+90s/9+bjW8NWp8tZn22x/9Pdou/AlDm/dU0K8/FxjJaqvuxI/wD50kWIqTqgZoyBkXVcL4ZEnKUduYh85Du5Wtn7y51zaLPBvfvcNlvYyzEwO0drbwvL8AgMddsZGe0gkigTDHgUCrSxt0N4SopSv6c1gZLyPjo425m7f0CFZuto7ukfY3T+gv68Pp9+vB5JTzz6thze52DYXRDEv8JWvv6Yd7qLGvPDFL/DRJ58yMTaq8C+p1zlKxolti/33LEaLlfZ2+RAd6IExEAzhsJi5c/82DqebVPSQeDTG4eY2JpNszursLifpGDAyNjrG/cVVwi2dhJwm3fSLldTuamIzlDE5fWxs5Dj3xJQqO7M3H9HT3oo/aGVpbp3EUQOn1JFZDZyeOa41SwJkcnV0YjDa1I4/2N+j6lXkIK72YK/Li8vl5NaNW7zw7NN89tlnqs6fPneWTz77lJdfeVEfmG6Hl8NUiqWlObp7Bjg4ipOMHVLIZzl18ixlQ4Xo1h4Wl11Jw6LeeOweNrQxIamK59DIqB6kxAYoPdwjE2MKGJx/8FCjFfG9Ldr7B/RhMPvgHrtLS4x3h9SmmEtnOTEzyspqnJWtLf7o936K9GGV+7OLupkO+3z4PQ5cPivf+/E95ncyWBsNSmUY7HbiEHWixUsuk6RucRMMOvnw0qIqL/3hFtb3Y7x4rpPf/Ze/wM3ZNa59vqgHhJHhPgymGpV8nR9/Ns9+eg+n1U8+WeLU2UGu3ZjHGWpRRWH/IMc//rf/krmVDa58/KFakKdPnCB5eMT68rKqxEMDY9QNj6m3/+WPv8vxMyf47IdvY85nGR5uI+z3cCiHrkKBW4spfvGrZ/k7P3WGtz6+q40Cg0ODOGwW3RaLXUy26GLB+5mf+Sk++vAjVYTE4vzpx59x/smz3Ll1V0nvFoG3id2zt4PPf/I5fWP9qjhsrW3hFQXX62R1aYOnXniKhXtzeEJe9ncytPiaTF04zjd/7TuMT3QQDLjY34tpl3K5ABanjbLTwoknntfDosAi+3sHcTvcLG2u8tqrX+YPfvcPcOYSTI62sbkeZSeVZaynnUtzaY5W/wCLKUx8S2ypFqqHl9Tqbm17RsFZtdgCWIMKeWlaHBiT92jYvZjq0iNfw+npIVuRPnA75sFerI6v8eWTYXpanMyvZ+ho8ZDOJygUzJx9+nl29qLUpGbOYKRhNFKpSG3nHiPDx3R4ELv5vgzkiCK3q0Pz5NSEfk5kSMgVC3g9HixmizoBWoJBHZC2NzfUTePyuXXgL2TzuH0eXSAuLS8R29un3KxpTankhaViSsBVAVG6jSaFbglAqbevj+7Odu7fv6eqyrmzp7hx4w7+lgB+p0cz5DKkfvb5VY6fPKFqld0pD3gB343icrhJ55Ls7e8rTT4eO6Bdut5rTYqlHDNT02ysbyBRZJfbx4PZWZ548iJUG1y+dkP5FUJXj+xtqY3X7nBy7eotjgtAyulUBfny5esMDg+pFVsaEcbGh1VlFSaL1+FnbnH2sSOuXtGv6ekbYGV1QYGIUrOWiMfx+fw6qCutPZl6HMdwWikXahqZkMFFbaW72zrgSF2XVAzqvUW67pNygHQ9XsxEIgwOD3MUi+vwKdV88r9cqcjUxLgCm+SZKTV7ra2tqsJLJEeWjwKUkq8RuJ03GIRGFZPZwl4kRn9fu9at3b0zR19vqypiqWxerb3i1pCDoWSRY9F9JbYfxY4oF0oKBNw/TBAMupiYmOK9dz6lb6BNFUmzzaQcgkqtqVV01Zpkpeu0d3XT09mhVVCHqQTxWFxp9QJHFPbBc88/q0ufaq7CTnRPB3NRhmUR6Pa79d+HAwG1rvo8boU3ej1BYjEZim2aQz7MJGgLhrST3O/166H04GCf3e0ILqdHbddCeU+mD7l44aKC1E6dPM7i/BIGs4E6NYWmnT51RiMYi8sr9PcNqHVSMszy95B7QFtLmAsXL/Du++8pdVt4JwfRfc1zd3d2akZ7bz9CdG+f3UhUF2VtLR34Ay4mJydZEev40SFBXWhUaVaFE1DTukOrzcrI0DBXrlwhdnSozJbjx09w8/YNZmameetv3lVnzfPPP83Ozp4OhOKuk7723q4OjtJJYnsH+EShTyQVIBfytfJocZ5f+/Wf1477T4XsbWrocCcLBFH4MukcPQM9Krg4HGbq+TrXrl1V4WBtfV172oUj82j+oQ6jUnkc8odY29oglS7gc9sVylqq1yjnxZraoFipE2zxaL3o3nYCt8+C2y3VhhV6+weI7h1gszY09hbw+RWEXG3UuHD2HA9m55VvIAvZ9o7HoE1xKIiyLJ+nyZkxHb7Saam9qiGAAXFVyHUj9zhZUlgcTg6jhwwM9JBOp4mncrjE9kyDRKFIe7sft9OhLT1yvhTCf0kMriErjrYwLaO9rC+tMnViSuOFpVyaw1hSSeYD/QJF3dM635MnZqjWq1y9fJNA0Kv1oR63T2Ml0vrR1dGq7Tjyvp88M6O2egHlBTx+PVsVCkV1vsl5SZZih4cJre+8Ivb/lnblJMgCV4B5y8tb2svucrgUKjk+PsrlS1d1QfPsi0+wvrGpC2xhuoT9wmMRoFqKet1IpZTn4pMCL3ykhP5Tp4/rQjpfrmIRV5ChqQuihw8WCAb9GleS1yuLsd2oDKkBWsIBUqmUOgBl2SqLxN3tbc29y3ND3GXCRMrmcoRCIRo0sBjMxJJHuKWOr7tLGwrsFlExzWqxFwX+9JmzzM7eo7+vn86uTvZ2I5o/93icmCwWwsGgNmDZ3DYGxyZY++g6LSG/1g3L8/3cxdM8uj+v0dm+C5Ns7wtQb0bt8Q/v39N6V2Ek3L/3iMnJcVX1fV4fZouNxYcLDAz2cunzq6r4T02PK8y2WKgwNX2Mvd19jRtIq8xzzz3NwuKSOl76B/o1RiYQP1mey/dd3dxSB9F7P/6Qqekpjdk8nH+kvJVPP7vMiZkJ/Rwtrq3QN9inlckry6vqMJsYH1OnhgzS4saoNWpMT4/T3tLKD37wI37jN36FD977QBk5HpcHg6WplYziaAuFA+rYlmVLV0e7VhoKS0HiPE67naWlZXVyyNJhfGqUOzfvaXuL0+tn8dHcY+Vf1mXVBt6AT5sxJKIgope4knY3I7roLZeL6hba2txTh6nwU2RJkckkCWodcEwdP0G/h4GRQT2nyfLk9LnT6jCQFixpkxLmgLh6hInTM9DFw4VFpkZHuPf6B1TzVcIDIV1IxQ5TlLMNzky08sMHEf7oRQ8vjoe4vF4kXxF3urCfzPR2SXy0gNneIB7Ps7lR5JVXRzg8yLG8mOHYWIDrl7d57svt2uj0/rsrTE100jCWGOjz8fDOPnfWs/zzn+rn17+3zye7TYaEaW9u0uJ1YHQaWdpIEN2XevF/haU6QHzlDvaW01TMZgy7N2g4rXo+qVsClOMPMZRqNFuHoW7TdgyjoYaxUcfk7KUh7XoS/8pvYkivgn0QQ2iARnyOej6BtXUKajka7jaMTQf12F2opTGaHRi6L8LWJ2Bz0XQMUs1vUW+UcRqaVIxmzPYB7L4WKuWsOq4aDQsWk59a8h5mWxtVm13jbZRT5Dbew9z1CiZjGcPhlX/XNBtyVO3dWKs5qjmx3HRgsrhVCW/aOqmWdzGVjTRaTmPJPMJwtIph6MuUCmsYs0fUvGNYKWEwVqkn0zQNaSy956jG1zEUEhjDIxjrcqkZMVr9j3tVK0KebmAwdWGoZ/SXrBidGGIfQ+g4DamLKm9ic/dQMzsxSiShCXVDiXrkHp7gDLVwO8XDOKbiPHjHMcgCoRxBOlAMSFVPRcGGjWqFitmIxdqHIb8J0ljg7sAkNUEON+ZaTDdqzUYem8tDs9jEPXKC/bkfMvW1P+dbL06wtBdnNCRWCyffeWOeB299m6knnyC7GqdRzZHPO7Cb9rF7vNRs7bh8HUTm3tNDd61Sxd06QFPaFpolTCapiShg756kUjXjsDWpxXf4zp+9x4eX93m0vMd+qkmw1U3QUmBwsEtvRlaXFWPTzMrqEk2TgUquwvjMMbWI5lNZBdF0dXZSyad14FrfiHOYN3DywglGpo8zOjGqqtz8w/uaP4puH9A/3Mtg3yAWq0OBdQJ/cfq8GKVPV3K0dge3529y+txFktEUd2/e4dnnntJscEd/mN5jp4geRohv7XHx2YvMXr+tCjCVOvHIEWFPgej2Eem4VBZ1cCgP/KwQt1vINCp09/dz6+4iTqOJ9pATh8XF3kFMH/JTUxN0T01iaQswNNDOvQergIWx8XF2Its4vE7u/OQS4+NjVEsFDjN5KqUqPd09XPnkEp6WVi5eOKnwKKmv6upu5+bNO7SGAiytrCopXW5K3V19vP+T91Q9mZ45jcPh0YyTAFvWN7dIxGKcO/eEbsTnl+b55V/7VQ529ykVczyYndM+coOhweLDeR0SM5k4pXyVTDqB1eIgJJVS2wf0DHWwt7HFzPCAvj6P08TEeBfvvv+Ab37jDC+emmRxdZ+cAKnKJVZX12n1efjGV75Aw2Xkxidr3Nla1pvdym6aw2SN7rBF1fdb93ewmhuUmkaGumwMtlkZHx/h1376Zf7sL97W7X8imeWlFy7y+l+/zemTZ9jcfsSpU2cxGS382//7h3x+c4+nJ9uIZtO64Jl+Ypq337hBvNTgP33vT3hw6zZBr4cf/fhNzp6/qL2mdVER7E4219eZnDmuh5GJmUlaPH7+6k/+mLDfSq2cJ7J5SLC9i5r0ZMfS/J+/9wsk9naoYSMQalPV89HCLE67mxPHZ3jn/Xc11yZqp9SjSdY6Ghdwk4DNiswcn9K84KcfCiBwlO2dLe0lzmbS5HNyyB3gzTf/humJGWw2CwdHSZxOG2dPneTO3Yc8daGPu4ub/LN/d5lnnxgmHY3R0d/O7OIWgRYX7qoZ57EpGlYHr339K6TSGX7wl99naHwCn8vKd//wz5jp8zA8HKKQKZMomtTOOL+WY+/Gb2F291DIFzGZXFjwQy1CXYBxLh+msoVaJYPJ5dPu2kathFmAdNgx19JUgl2UEzFsh7fxvfBVBof+IdZigelJH1v7FYLeOnuxCgYL/K2/9S0e3XtItpxT9URo4tJQINfh3MOHWrkn17WoYXLYHuofViVxeXFBbdnr61v09onLSnw0TYrFCtuasxaAWU3Jx7IknJwa49hIPzdu3dG+ZYfDrUAwyclubqxrNVJUhtbRESLbO5rfN1uNnDg+zezcAtVyjYmZCbUvWixGVVEFsibwshOnTukhZX15hVZVsrMMDEn+NUkhl9M+drvFiNvjV5iUMB1E2ZCBa00tzz2MSQVXLKatA51dPTis0qixRm9vH1ZLg1vX7/Obf+/vMrs4rwsGsdFKW4FkOAtiPW7r0uXW55c+1/uJWEENFhuR3R3NQQ4OyTLjM1744vPURNFd21C76+joiFq2y9Ua7YEgDrXIbuHzhzUDGdnepCYUdLtF1WgZHiXX39vTr5E5UffF2rv8aJ7xqWMsLCzrMkRUdhn+pO612TQwOTWlinIuLTDREJVimWQ2q0poOpumkBPYqlsVBxnmd3cOHlcvWUya95bKQYk1CQBOrO4CkpUIiFhCReVqSGqxaVArbP9gn1bAWqx2rWmTyIQAxEQhWt1aI+wNiaClw4MovQLUqtdFjXL8vyy9Z5Rc+XXdu6vurZxzVYfq6pwTgEYcxMEETiaHYZgkeSlYoiXTelr2kyU/S37WWrIoK1GPWhpLlERTJE0OhxxqhhORBpgBBqkb3egcq7tyzrlu1fM5ML7gC9Dd1XXr3v/ZZ+/fRjpVRBNN9Pm8DP+ibmuTSQsjNTOEIpxZFeUiIglynunYokr2Y8r19nT7ePDe3NvljRLR5mORCMcrqCqONoREQCeh5q1/eQsDA4PQiCLKzSbTypeXHkJLTIW2HH29XVh6sIIz50/jk49us1AcDoTYaUFDJDlQ9Ho78oUEb4lJCKCGDBpiDEYjQ+8a7SpHj+iZSDA+ubyFyckZrKws8zBgs1uRyRTY8WIl9DRlLlvgwXlocJgBjg/mlzifncvmWCwlUFsinWKI3/TkJFY3N5BMJXHx7CnEaIOop4xvkl/H5sYaBocGsfhgBZNTk3y9UVNGOhVDOktW/CZaDQEOp5FbM7LFPFLxJGdyxbbAmWBfnw+lUh6xZI5FaLKZG3R6RCJxGMwGFgEzuTwLesM+H+RqObyd3cwWKJTyPEhQS1SlXMDh2SkGgVLOnNxlqRTBLTsRiRIjgXL5bXR5XLj90S30DPSj0aohGaGGhhbHZkgYMhp1fI047MQdKTOQrdYCLydIFGvUW+jsskImqtCoUAb2kVuB7mlmrQ7ZXOHRVrpWYScLMXwJGiaXyZFJ5WAy6iDV2wz3czlsfD+ga5XiE9t7AXRS5KApIZLIwmjTw6nWYXM7xNwiqkXcChYx/vgwnv+ll/E33/gr+Pp7kae8d7vN7/f+9g66e/u4KtLpcLOoSLwIH8FRQ3HEk2k4u5xEfGUqOVG3/cEAbGYr318e3JtnhxA5TWgYjceScLmdXB23ubmOepVAcRpYrQQ3C/J9LhGOYXhsEDa7nUUNEhLNehNu370Dp9PBTgKKZZFTJxVPU7qIh/NIJMnclUOHZ7kGjwZhouirRDWLK1SnqtcRQb/IzyqKhpFFO+APYebQNJQUG2k0sbmxidGxcY6BEfdEqdDy7yObS0OQCUjns+jpegQ8pcG4o9PN8D4S1ui+devGTVgdTlhteqQTGXT1+Ng9SD97qyExZJH4PvR+Uo02RT2NZhODN0uFPOxdnbB4HNj74C6iWwcYnx3D7vYO0iVqcTAgnSzi7FefZZcAOSpJAKXMesi/h8HxMfT3e3Hr1m0WCOPJDIsY48Oj6PG5EQrHOIJJVXtEqe/u7sbaygqffw/NTCMciz2KbMnakCQZigX6jOoBqiQksSmexGB/DxPzP7x+ix1LxRJV5Em8KGu36ggH4xwHo/9HjVP09Wjp0WxJeLiwwnHRs+dPMYSWIlMUUxocHkYySS7ZEqYOzTBpPxIK4ey5x7G7u4Nw8ACDIyPw7xOjQ2IXU/ggyJFe2r53dHWgQrWiSgXX5e7599FsVCGKCqhUKsigQLNV5+dBV4cH2WyOBU86x03OTuHyBx9hamrkkZOAeSpGjnLZ7Tbkinl2mRk0BjQJc0oDrgCO2FDcgPgQ9B5Qm5OaRNa2jFtk2lKDnRUUubh55x6ef+kZuIc9+N5vvwqfT4dstAG3S4umSAvwMga9LvzLfAKvfs6Ip/sF/O2bEXzlq4ewt5/Hg4UtTM12oVYWUMnnobeLuHcrB28nLUG0KOSymB53Q6aSIx7LIRhpQN0WobW0kUw0MTFjwcN7FTz9hAODQ0Z85j9u4X6xgsf7jDjI1VHINOFxiXA7LHjjih/rd/4cOs8wCktXuEayTOl+tY1gH2hRtkcmg1BvQm7pgzxxC7VaETLXMcgyG6QuoqX2QMxsoK5UQKn0QTIqIeQPIJOZUG+3IEsuQNB0QGFwo1bOotUIQeU+hWYxiJZI1a0ChMIGlM5jaFb3IM8E0FRpIYh2tNpRtMmFIJOjUYzASGKu3oc2RDQlclwagVYeqOWhMI0C7Rpa2S1ISgtkqY/+U7tZCkNtGeODiUxQQa5VopUrQ06APK0OzXQEckEJOeG1FVWg0oCg8aAlGtEqb0GoVVEXjFCLTTTNTihqapQy6zCYOlFV6CGUYpCprY9u8lCjoapDK1pQbxQhNgpot9RoKZqQSmHIzX2Awg2hFEadQAWFMHcfNvQ9qO1dgtpzFDLaUmc2IdM6IS/H0IAIpfsxVIPvQEagQuM4RI0G8vwOmtRVaTuEavY2FJIScvdpCLU0avR961UILQltkeIIOe5TpGYDeqrou+TIZ4w4++I3IFMCFn0bTg9VMol453IM//Bn5/HSL30N/p//PWy9h5GrS9ApCf3QhCRTA5kWZHo5pIYEpc2NdDAFdXML6o5TEPUqFLbfQzUVhWPmOGpJGXQdbqh8PvDVX89j/eYiXrv2EH//w6tIFQT+EHkdNlgdSsydnkFw1Y92OQfPRD+ywSi29sJwmm3Q6bUIhv1sDxyfHcHGg1Xs76agUGmhMQvo6xmFrseDPm8vqBQ+lEyxq4LqmpYfrmN6YgrBRAR6oxGZZJwPrOQe7u3sxtrONsx6M6LxILy+PhTKJeRSWZw9fRp7B364bU7cuHkT586eRr1Rx/5BkHO/NDyRoubf9iMRPGDoRYm7dbWQ9AooNCIE0QCbzQWrm8i9EcwemmNlmbpju/t6YXWYsbGwBJfTwzm0ZC6NQqmGyO4u+oaH+RD58ce3WO0nINnK8hqmJ0exuxdCu9Vgixllr0gd0+sedYsrVEpuN9jd3UYwSHZxI2e9SdWVtRVYebjI9S0Xn32SO1zpgFivV3D/kzsI7hxwS0NZqqAWzyKVyHL8gDKZRAC3GvQwuamaKAC1QsmHY4vdgWojjRmvB0urO7wVJIBcLCnDD//7y9g+SGF5dRunj08hmojCRlbWQJztmY8dP4T5+WWcPX0E/T123JnfxD98/xoUeitWVnb5Rj874cEXn5/G9MgEAuEAdkJpFAslbO74US7WGN5Eudx6C3g4vwjfYB8+deE4gqE8VNoWfv9PfoBCRY7p8S4erDJlCVaDCYJOgc6RATj6B7G/vscbXYIwEQ345Inj2NjaZBYB2bxp+0wwSBKq0pEAQveX0e0xQON0sF2yVJYhlgrj4twgvvTsSWisFly7fgNjgwNwd3u5B/crr3wWa3QwTpeQjoV5WOvr62E6Og2OZGPVm/S8CV1cegCj0cJ9vIHAAZPsabN1sL/LEDA6fJNt9E//7J9w/rEZnDp9DH/216/i3//2r2PQ140fvfEe/uBvruMLzwwiHq3B5bXxxlIhNDG/HcTUsdOQqZVsK8yU8nwNyaoSfv6d73K/tU5DdYgDiO4GcWUxC4uowN3l/wpjQ0Q9Xkfd1o12eBWV9AOIzpOQa8wQpQBa6l7mVgh6AWjpUcnuQ1TWIVB3ut4GuSSHUopDfexlvDh5Cjc2RJwZU6BQU6EptBCPpyGqFDh58jT8u3soNWtw2WxotOTIJxMM8NNpzQzyTOVS0OkN3N1LtVO1SpUr0Xq6O9k5RNujQDjIULNUOgdBkEFUiNxmQRvQ7a1NHgotRivbtwkKZ7EY2R4uk9E9rsYw1HI5x5ZIu8XMHcmiKCIcjvEmnQZ6GmzpgEebz+4OFw+r8/Pz+MIXPo8b12+ynbdWqSC4H8JzLzyD9fVNzE5P4vKV67zV0KiVWFhehlalRk9PF5xWB27cusegONoGE1yOMvtj42N4971L6Opw4Zd/9Zfwve+/hkq5CrlURzxfgstu49z//l4Qg0M9aFYbXOlHNU6LD5YY5KnVUZtIgP9tgzpJKHolCuw0qhaJju3krSP9/OcvPI4b1z/k5pWv/8bXcPnDa1y9RkIX3W9oOJPaDQbNbWyt49SJU1hdXUE+Tz3rSih1aiZIk0hAVmr695lMCoMDfZienMZHt27CbnHwe0lxG19PF+7ducvMh1gsyrTyPX8QA719iMQSKKbTUKo1MJoI8FbhbbxclCEaTnDmvVUDMpk421Wr5QbkSgFmk4nvu57ODv4sUYSgUW1CSXySaoOf/Sol2Y9bfMge9Hr5HkP3u60tus/b0K7RJkmPYoncDgKqJLDLZFBqFOxWIDdB/2AvixYrq6s8cAmyBswmKyoNCdViHkpRCZ3JjEwiziwCnUWPbCILlV6JcCgJlUKAw25nWy+B0vK5HNPsc5kCPN1urtGlaizaXNK2tN0W4e1y8aBJ2zCa0Kn9YWpyFPP3FwBBBZe7g2Fr9PpoaKODPtXDUWa2p28ANocNH165wgMKgfqStJXWqlGvShibmcStmx/h7JkzsNnN+PGPforx8TGEAwGOUwwNj/DnIBAIYmJyEguLD9BHz3mZHA/m5zE2Ns4Aw5GBITxcXWN47uThWRbTyMpeTBdgMBmh1Sux9nADqUwKh+fmmPOzOL8AV5cL2RRxNRRsAd5Y32BXHr2nSlGOO7fvsMBKYEZyAxlJJLQaEaRav0YDXS4PZILIz2uihI+M9iFIm9i9ANxeN2QtGYuI0UQKjVoFL7/8Mu7du4cYbf1UKnbv1OotOJwWHD96RDKx2wAAIABJREFUFJ/cuv3omjebEAjHGNRJ7hu31Y4N2oD6fLwVpME3nU1whj6fqzKvQxQkhBN5/hwolRSAEZFOF2Gz65hBQ9eDhezP1TJHCgjGRxEZqoMVVWqGuVHtnFwhh1apYpGhkK9AYzDCqFOyg7Epa0GqShwh6nAR2FnA1toBOt123sjWWxVsrYRhH+jGoc+eYXDdu9//GcwuB7SCiFShiGqxhItPnmPHAoE0M7kMC1jVEp0pBBQKBRYZqJedIHc0YFIEhJxttHSg4ZAaAqhBQK3UMCxzlKBryQwvHULBEEeTjpw4+qiFo1xBb18nw0bv3L7N72FPLwmbCnZ7Wix6vmfs7exxJSM5Z84/fhqpRA57BwfshBsZHGJBiICVY9M0FPdxA9DHH92DrFnHuSfP4dK7V2Gz2BEK7UFqyOF0WZgtQu9ZNp9lwabD7eSGmo3NHfT6+jgeZzCauC55ZHgQ7/z8MkYm6PzUfsREaUvMjKAt++bqKjweAmyqmVtAA+Xc8TneYFMb0v3b9zE1M8nwT2r2KFTKLFwW6Hk20I3tpV1kH/ihtxnQatdhcNoQ8ofRLLYw9fQsTP0dCC5vcWtIsVhBR2cnM7NIyCbHjMPt5vgKuVDUagG1poRubyfT9wn/nSnkkE6RmOHj5QZVltK5zdvlRbVeZTfHY4+dRjIRw+3btzEzdQjlegmrS2vscqBripqISHEqVcvop0YvgozyeeshuxYoEuVyubC+tsOCLQ3eBwchZg0QnJFcHgfBAwwPj7IjjAZmE511piZYlI2EwnB1uLlRbHlpjdk/FOMhjsmJ4ycRDPj5GpI40l3nHD6JBOQKIodORydV+TaxuLCIo0ePcc0fufyM5MTT6iCKBJxto1ZuMHSXBPpTJx9DKBxgJxG5JO12C/RaA7/eMLVe+fqwsbGKkfFB+HeCOHHqBK6+f4Ujk7UmAW8tUCtVWFhcxKlTp7CyvAK1WsXVmZJCgDKaQiNTgNmkYyGamBJbOwdwakUc1EScd7Xwh5934sZSBDabAwd7IdShhUnZRE1SoJFv4NDFDqwt52BQEAi7iFqhgZmjXaiUa7h0KYTDs26Mj9sRTxRw+2YAsWQTT5x38d9nB3X4nZ8X8P5KES9OaLCfaqBJgmKhjomBTrx2dRfZ5D9CkHuRXL4JjbwEGWXuBQdQDrNYSf++XctCbuxDq7wDWSEKTedJVLMRKIiNp+1BLbcEeS0Ble0wqu02xEoMzVoRCqMPco0J9fhDwOSBnJYnxR20PbNoJCPszhdECuGUIKi9KKx8CwrLLNSeSYbwN+MrEAQ12kon2ioDNGIN9ZYJrVYRQrsAUdmDhrIJsQk0ZC1mxUilPbRbCsjyn/xpu60xg+hWLcGAVi2NRnYdokyCTGOGAD1atTiUXRfQLO5BrLdRF3QQZQVILR1kCiWk7CpX/Gm0fWhGbqFl6kOj4efuQ6KRU85LaXah0RDRTKxB5R5BS6aDvJxEvZWHTNBD0aa8VhEy7RBalSjahYdQmo+jISghKdqQE2gwtQHBSL3XnWi3dyEVmmgpdFCbnChu/JQf3pquk2gqbEy8r+2+Brm2A6J2FMp2Fa1aESAxIbkAuXUYQjqAttYAiB7Uq2HobB6UE2tcy6B12iATMxia/Y/Q6Vp44twI1heCGBjuxOVrO/iD3zyOV37vd5FdfgCZysB1hLJaEjB3oC3XIh24D7NxAOX6HjTKHuiyQUSrC1B3fwGqhhwSImirTIClG+kb/wMG5zQ0lK1eufSoHrD/GCAm0BJ6kdlexndfu4a3rz3ApXs5tKGASt7A0EwPpHIek4d8ULYUKCRyqCsUbIuTSXWYacNYzUMuiUzvpIF6/SAGPTlBKg2ujYLZCYvTjru37+DLv/xLSGdi0KnNvHUhZZbU4kDQz1s/QSVnW7E/GEaxmMFw7yArixq9nh9yZDGhITMSikGgzF69Aq1BCVdnNxPUnSY7dvcC8Af2oJC18MyzT+ODK3fRO+RlCNHH125h7vgJ+LwdCFOGTafH1Q/ehcvdjXwxw0RXss3R9vLkYyc4Czrg60NLLsPVK1fw2Zc+zYeZN37yE7bk210ODPqG+AFNFYg1qYnz585xV/DC4n1uMDBrjVhcXcTJM2dx9vQpRCIxXL3+IcaHR5hwfuPyZZw5exJv/PBNNOt19HR7YDFqOdvUaDRg0Kj4+xNBuVquQ6mWo6VQwqBX8yFHplSgZ6gXcqUB9K4LxTTMooRiExgb9uH9d2/CYHLgj3/zONJFEfObK7BoycFiYLgRqbeFQglGrYZvMtFQFPfn9/DkM7OY6OvmbVW2VIVF14LR6sD68gHCqRwKlSLioQxaUhGPHT8Du8vONrZao4SBwUHsbm+i09vHboxXf/A6fuWVc1CZvfjV3/42rBYZw4x0ghwapw6Bh3HcO8jhP//3/wBRa0QoeIB9fxAzkyOcLffv7zNV2aBTQ6FQ4MgcWWUvIx70Q1VOQy+XIVsss2WyXRfQN9wJ/14Ufd12fP7pMVy9egcajRkvvHieM2ioyXHk+CG2ntJ2RJCLkJot3lyfPnUa8w/u4SAcxdnHjnEF54PF+zhx9DhCkThyhSxncinn3m42OXYwe2yWAU0ra2swG5wYm/QiEozi9q0N/N7v/gr+nz/9Ht68voUzJ3tRKyQRzMjQR93CzRJe+MVfx9ruLkKpFG9ILU4HiFl968dvo2/QA4NYg8WgZCv3Gx/7MdenxY8/+TsUH9SAchAwGtBIJPiGq+mYYIGkrTRCXq9xplSAAsVyBmpZEVB1AZUkJK0RjRbZVpMwHf0UzvScQKKqxYVjNly6EYbBKqLHbsTGXhwjo5NsodzY2eTNMNlnKftNh75yocEHZHJIBEP7TLyfX5jH1PT0I2BRtYJkLAaz2cwD2QvPP4t8vsD2VNoKUFf9xgbVH2lx5Ogck/E3VlagM5ih1qqZeTAzOY7NnV0EgjSA9jK4rFAq8iGIDn50GCFqvMNk5X7kTz65x7Z0j9vK4lo4EMHE+Cjm5x/gwhPnuAf6/sIiMukkL9E6u5wY7B/C0ipZVI0sbFYbNUyRDT6XRb36aDP97ntXqMSAu6rdLidXRzo8Vhj0VFuUh1lngN1tw9s/fw9feuULiMciDD2tkRXZ+gjyRv3snk56FlAd3xH87M03cPjwEeYLUJ/29MwElldXeGCsVyrwdHdi+cEi3J0eTEzNIJVI4Pr16xxbUKvJCXCAkydP8L3xww+voaurk2FPhVyRt5bEK1AJau4z7+nzIRQ4gCBSA4YK2xvb8A30YHxwFO+8+zZXDvr6+lCulFDMU865BYNey5n5yckp3LpxG2cvnEI6VWBhodkG2/0pm04VTpRXpQPp3Tu3H22fJCAY3MeJY0eY3E2Uazq0N1oSv2fkBiM7N8G8QpEorCaqRiyzq6FcKsHltDCMjTguJC4S3Iw6rSkGQttZ+hr7+wfwdXVyXp5o8nR/SkYj0CiU3AsfDifZyj8+PIhoIskbYiLVE2uF+CiUZfV2dCJbKHDPubzV5ApJlcYAUUYSlozzt3SvI+FkanQcwegBvzaFoGD7fTlfYgExFIrw5pRswJ1eL7dVxKMZOpqwhdxg0kOrMfBW3WixQiuq4Q/ssvC0vr7DlXsedydXLJJATJWURO92u0hUrmFtZYedRidPn4JOY0AknuDPxOHpCRTLBa6AJBp4R2cPC8vHThxnOKHFpMXjT13Ej/75f3GnOA1ygXAIQ/2DiEZD2D0IYnBggPPCVEFHVlx2XLQlfg2xUJwz9MQ/6O7pRCQQ5nsmOQvOnTvDhH2CDhJMkOBkzaacBwGyWdNwUi7X8eH1K0ywP3/uDF79p39El9vFLjpytlgsJqgUauQL9JlucQXi4FA/i0TkPBFkcga8keibp8aIbJGvf5VKyeITiYQU7en3dXF8MJOnqOM4DxSD/f3Q6My4dv0y+n29mJ4cwY2bd3kzTRVkaq2Gr3uimR89PAtPRwfu31vkAdRkNqFUzkIhahEN7XO1IgnlKoXIkYNkqghBKYNKTj9HlXkDTo+bHQkkSqko/18solBvwesyQSFTIVkpYGp2CMmVFO7c24K+R4mxZ84gm4zDbjIjEoijZ6wPAX8QMu6nd7MA2OHtQrNGdbYe7O3s8Hml1Wjgk9t3mBf0pa9+Fv7dwCPS/FAv8xPIObXn97M4p6N7cbnMNaIkutIwvLSwCDm545wmFnLIBUeveWZ2Bu2GxIMZ9cDzHzm3+/ImmeIJBIerUu8sUUTkIg90+UIO585ewIOHS3z+obgP3fOIN0WC0db2DnN/KENOwES724r19W3eaNMQT7ETk97ANackdNIzYu7wEayuL+PwkePcdERNG1T5abeZYaSWgHQCvT0+mG1W7O3u8nOc4k3RWBBf+sVfwLX3rrGIePHiGQZ8fu97P2QnALkIKMZAFW6xRBaFVArHzh3FzsY+2v4IDBodwtE4i4mRRAqyCtDWKmCc6UEqGIbNYsXo+AhufHQbLanBTBKX3cG8jps370Bn0GN2ZgK3P7kDuVzJFvyLFy+wYBjcC7Ij7sHDRUgk3qi0vHyg4dXX14tkOM7LKHJAlKtNuKllpVSDy2XDg8UV9PcPIJ1JslOFBEWtTsug2E43NR/t8CadnnebmzscW3vx0y9iZ2uLz7LEn2HLfb0Ki83CnAhaOhE7olatcA2kw+FgPkCX14tmvcqCAkEuqQJxcGwQCoqWlUtwdXrYkTJzZIYjceSqIOGVKv3+6R//J86ePwOFKGJjfR12u5PZLdTsVK8QfFXFbgX/nh9ulwvHj5OwdwdlamVxOjjm1+Fxs0uDhE1qOKP2EVocHDsxh2pVwg/+5w9x9ORhFg8p/tKQSjg0exQtWYvrgnPJAkw2I/MLFNkidm8uwO5xcV1iQ1bjJZ9dY8Anm3GoUMF3P+3CbjSPVLUKW4cRqIjodioRTDbh61Yimarj5s00fuO3JrG/nsHaVgbnLnTiwd0IRBMgr8lRb9ECClBBha5+I/PR9oNl/Na/GsLn/mQP7+5o8KmBKpwGLXRmE356bQsdThmWd9uI7f8dmjI3pF1y6aygZfRBYTyNevJ9KLS9kNfSqGdWIBONUNsGUclHIAl6CDoLZMklKC3DzPoiir9coYVE7q1mjqMBcnJPFTahFCk+I2NOnqRQcoV9u5hC2+iBUu1FS6VgAUEqlABjF2TIQyyEIbeMQmqWGYovM/ajValCNJggpXfQVuggKOqobr0PdJ2ETi5DXhKhI0ZevQxZ7s5ftlutDMRWDVV6E/WAQn8EUi0LiCW27leSS1B4zjNRWdVKot3SoLj3JgzDX+UXQVU7KrUFzXYBLbJsOkahqNZQb8TRii5BalUh6Vyc2RU1RrQNg2iXg2i3qc5GBghayOt5SMltyI0OCAotKrGPIBecEK2DaGvskBUjgKAhQDYqqU2OCahbcpRS99lioXPOESUP1TbVJchRz+0DKh/kyADpHcjMI5ALedSaIsRy9lEdnCRxNU2tTZsBEaJhAipZBKVkHJLKCfeIFV98+veRrpfR4VIhnazC5bXjjXc28Nf/9yy+8PvfQPL661CgC3JTjQ+89YIEu/cxSNo9lA7yqERuQbR6UZeZISuFobVPoNnwo5TLwGJ8EkKHGfX9y2iVM5ArXVDavWi1afjzw2hSQGMCtB4lmoajEOmmXk3g/TffxYcfbeGvvruAUqMJlVIAOdhOTbowTLCYhXWYdAIcbg8OdoNMby0Valj1+2G1KjDsG0E0nmFVXalocMVhslRCpdrEY2dPQm62Y3VtHV985Ss4COzwQ3zPvwe1SsH9vqVKgyEhBHshYnYqneSDlYyAe2Y9552mZ8fw2us/4y3BM596Bj9/+21Mz47zIYusZUqyi0azUGpVCB0cILh/gJ7BPmytbqB/bACxcPzRQ+vcOdy9N8/Z31u3buE3fu1XWBmlA2XfQC+uX70OH2WSYgmMjQ/yQ3d25hCOHzmEn/z0Tfh6Ornr+vDsYZT/d8/2z976GcaHRjAzd4RvuAdk619dZiiNzaDnw//PfnIJJx87jHq9hIg/wPkoyls1ywVEYlk8/fTjWFycRzaTRzxdQLMpwd3lZoLvxXNnkCJ3AW9b1DBZbEwr7untRySSwA++8U143WoYbFbIUYdUlePBThJ/+MuHMTA6hN1dArjUkCuV0eWw8oaVHBLLSzvo7Hbg5c88hx/84A143B6uxFtaeYhGizZpMqaNT06M4Sc//RkuPnEO46P9yBUquPLBJQgCZfEs8Lh7sL6+Cm+Xm7eEEEW2H9Pg9+UvPYdP7m3jj//6OkYPdcKhbcBkc2JzNYhEocSD39iFc0w4L+TS3O1KMJuh0VH4ur1cl9ZoVHHp8iVcfOoibt+8D6tLh433PoRFp0Sz3eIMXyiSRpn4xVILv/X5Uxjs7UI638TCwieYnJri7UkgFEGDfm++PqxvUZ1ZB5x2KwrFLD9wJybGcf3aNcwcPoLl5VV4XHbuzW63mqB4KG0JqXaRYiLxRAyjAyMIRxMIh0P49Kdfxus/+iE8Xi9mhnuQrNTw63/wU/R2udBha/NmT9lusV0rXmzC2tONs2cvMLTISj3rN++gEPXj2MlxPFzaQyJRxaGpLvgDERzv0+Cb7/8IxcUI2oigns9Aa7ahkM5Da+5ArZ6DSudFLbMGWSkGpXsK9dQmxGYFbV03asUoRK0IwdgNmbwT2vFJfOMrF/CNn+TxudMeLAVT0EKBY1NduHF/DTq7lzcRmXwCO1vb6OrogdVsRi6fxsK9B5BplXDZHHywpI53lUYFl8vBWctCtgi1hkCVVq4grFWr6Orq4IEql85Do9PxAV9vNCAZo7pKibfgZKWkYbuQzyOTLaCr08MNGdF4nOGXlNWngyMRwl968QW8+fO3ecMsSTUeciiDSVbEcDiAfLGIkaERaHUa3gzQgfXlz38GK0sPkU6l8NTzn8L1Kzf4+zx2Yg7+gz1Uyk1I7Truzy/jwrkziCeIZJ7jHDXV2pEIMjI+wYPdgwfzGBoew94+bR97oVYY4PW68Lev/gOOHjsMhUKFfDqLqtTA6MggYuEI0pksH6a7PD28hV3f2OTsOtnGoxFiKwzh4coKenqIOWHBvfv3mbpN2y2KMZDwSJ95grjabQYG1O3sbvO2Nx5LI5uKc21bLp/D1MQ0dnZ28dHHn2ByZgxOu523oQJ1xmu03Gl9/cMbDLqkDRvZV8mWK8pEpvLT1yVbOw2Oy2srPICpqEWinIdaUMLxf5gaJKi+8NyzuEnZ4TrF9YDhoRHcuXsPWrWG72EMtqpVse/f52GWKqoWF+Z5YKasL3Vjd3Z4cPPmbaZ/k+15a8uPfIEyqB3IpbPsKqBMN329XK7I+XCPx8ZVapVCkWN8/b5OtmZWCg2m1wcCUSRTacwcmuANV6VUYTK81KYIipo3eZtbG3yfJ74HDTCUu5fTZj0YZm5Gf/8wb4CDgX0WAOneRBDWRr3JVmpyxtGQRARyaiughgGTwQyTSYeHD7d4GCQLP9Vt6dUKWF2P6grJdZIkvoDJiPMXnuBu8f1gACadjr8+Aeuo6tDhJEdLhcWRYCCD02cOsRX/7u17/HOazVZ+n4gH8E//8B089/xzTCf/8PpH/LvV640csyAbMFlu6RwzOT6JRrXCQjTVatH9x0SZ67aIQOgAh4/M4uate/w+UGsEweaCoTjXyhGUc3l5Cc996lncm7+LkZFhjoIkksTJkbG4MDt9BKFYkHkzA4M+VIs1bO3ssBVakFGLk8SbXnpN3u6uR/Wi7SYPRsQ8IKu4TAQ63R3YC+3DorMhQK0X+SyeeuoJfHj1BvoGfIiFk8yJGBoexJtv/QsGB0Y5+0yiwu3bdxjc2uXtwb1P7uDk6eNIJGPo6ejhmF6H180E8Zc+/RJ2tnexurzGdnKCkdE28b1338PQ6DBzFQhMRsP91OgIVtZWsUT3E+q4qIHtyLRVpz9upwlGh55hcORykSnk2NwIoavDxlt4ql90dzhxcJBGopbBxReeQrycQfQgzmA9qtC7S0KF24OR4V5UGg28984lzJ2Yg0pOEc0dBr3NHTuKV7/1Km+1uUIzlWKHClXclfPUTJRkJxu5ta5evopTp07wvYY+O4+fp5q6W2yrJ/AxcUpoAKTha3h4iKntqUSSO+EJjnr86DFcu3adK0IPH5rh69nutKPdpNYMAugWUKu0mENBwyFtlQP7AW5DoSz7yOgEu1OkaotSlvC47Xx26+zsQKFUwfr6BjqcLnYRkJhIjSa0DabtplarQSAc5/PI9MwsC8fUCkDgRrqHG806SDUZV92pNY/A0vRMpvsDtUOQ2ykUSuLMuRP8bylOs+cPIRwIskhFAvDO/i50LjPMBQmBJT/qtTzKtMHvciIdTqEpCNCN9/DZgZxSfX29WF7ZxPjoMLRGHbY3/XC5iYciod6UuHKPYIjeXi8vWLp6XEgmUqjXGgyopM/y5NQ0nE47Ntd2EIgGMTwwwGIyDcjEgqk367BbHTzDxKIh5As1WMxmHtCJsUPfs7+3B5K8jcWFJebi0OLq0ruXOFZGLAdijlDUlZo5sukUX3s6kwHxcIIbBEhAoIip1CR2FpiFQrwTn48AgyE47FaGwO7vB3hoJ14GtVdR/pyE7dWNNdhsZvR6e6HRqXDt6sd44snzfJan+xiJviaDFZFYFG1q4TFQrLGHGQzxGNVrRiEqRWyv7+GJp86zIHrz4zss0ClVAkbGRuE/ICs72IF25fLHcHfYYHOYGSjcliTkigU+M5SLJZSbNRw7egThcBiVchkWtxUPP1pEbTeN/j4XMsUy5HKJBc9KvoispIGz3cC3vmjC3b04xsb7IJWKuHU/gKEBG2RNAYUSVUnWMDjsgCCUsL5KHBUHPwOpAlJD9bzyR3W/3X0idrdKGB4yIRdtoiTl8YWnh/Frf7WBd5MGPNtFYEctrm+n0Ocww+dV4XtvBhHY+gsYalVkE0UoPIMo7H4EpRiE0nAKMHRBLrXQzFKu3w6Z1ohm8QAKNUWDrWiH30NL1wNBMEGqpCHTqCDVG4DKAoWOYntaoLgCtc6FZmEfbVGAYBzmuDZ1BEsoQ0YzsX8RSlUL8s7HIVX9ENUdIOJqOX4fotYBhcIKqR5HQ66FPJdCW6+BaBqHINa4slxoNdFuZiG1ikBTCVlLhCy38OdtgvPJJRmaQpttDIK2A5KUhUKpR1vthZSli9eMuthAq0D0wyZykQfQWylPUIDQ/QwahQCaK69C3X0aMksvGrko0K5AZuyGvEm0V9rI1dEm8JtM96jPsC1C0JggNCUGd7Rl9UfQA3MfZC0N5MUDNPLrEM1DnGunLt622YZmPgG10sb0aLKwKmpZSGoH6rkQKx5yrQqyxB5a1g4oNA40izEo1J2otOrQNDMQ1A7UajnIFQ7ImmkG1Kh1Jh44lPImE7nJeWA5cQp/9Nmv4b+8vo0nJ1yYm3Pi7nYMN24k8Uf/uh//9m+/jfTtt9AoNqGmLFUuifkrP0YedgwPTkFnFtA7Nv1ItMhVIJfZUWkeoCVzANkNlIoJ6K19kOv6kY4vw+TwoSGzcNZD7ehCs1FCW+hGPrqMajWPnqEJKE0uyFUxwGBB5SCN7WASeys7+N0/+WdsBQSoNW0Iogo9/WaY1RJMViuqmRKsegH5CjAyNo4P3r8ELXW0u30oNktoSxWmiQb2Y5BT3kGlQatWRiRbxL/7g9/Dwq17fOM/d/ECctksVh4uw+a04WD7ALNH5jj3Q9stUt5JASbr9eDYEPa3dtAzNIhUPIbYQQyLG8s4euQI02crlRqWFx5gdHqch0/KlT3x5DnM37nDN1il2oRo/ABnTp3B3YW7nBGmQ2aWaMTZHOf6rUYLW/5p40VEb7IW02aoUCxx5zfdaMhmp1JqsLG+Bp+vm2sFd7c2WZ2mrPC9j29ybCMZz7FlzetxsuVyfWMXp04cgX93G225kpXKeDQKjUKFpfUI3B1GzllNHp3FQF8fGjIRUardqVV5a7K0tIZPf/olBHZ3cfnqVZw4eZTpyO++9mMMe3Qwa03Y9B9ADhGxdBP/+vPTOH9yDOvrewhFsujocqLb7cau388k6USC8nw5bG360dnZCY/bCZvDAFlLhWQuz7yAfDbGAsH2ZgjBeBBD/QNYXt1gZ4ZSFBHPJvHip56D023F5touLl+7xlU/Z88ch0Jlxes//RF+6199GX/4rdfws0v7ODVrQYW2Tno9svEkFlZzeO4Xn8eXf+Hz+JtXv40jh49jdXkJ5XINWo0KEzMzPJQ/fv4cUpkk/HsB6F1u3PnZT+Bz6NjuGEvG0G3zYWFzDRPj/Sjn8/hP/+Y5+HcOEEynYdBqMT09iQcPH0KtMSMVC8Lh8HA27fDcEQbbkBhDBx2CcjqcTiSjcbbb5gtZHD0xh3yaKupEJjEPDPfh0nuXYXd7MDwwjGAkwP3eBN7q7uiGzazG2MQgFjcP8F+/8Q6Gh3SEr4BJoWe7uMHiwpO//BV8+y+/xdbcqRMn8c3f/s84NuWCya6DP5BF/4AHDaq3ecuPP/raML72rW+j9mARxfwWtO5p1DM7qATvwzj8PD8kmpUiVAY3b+Lk2k4o23WUq0mIFi/aMgtq4Y+hpXYTGaDp8WLlX76N079+Ey892Ytmu4GwPwNBlHHDRThRgm+oF3qTGUN9Pj40JdNxOOzknBBgsptx9+YdPoQSSIiqjkxGPWesaXtOtmHKQdIWhAA9lO+TyUT+fFjNNijUSj7UlEoFzvX3dHdz5VUqneKDKG266cBFGdSzZ85yDV+jXuUD6+5uEGOjA9hc38HAYC9imQz6e30McSPhMBg8wNzcLO7dW2RwHsEryT0wNjjKUSKy8p4/dx4//slPYdDqGHBH7zlV60UTafzil1/Bx7fuIBzcx7GTx3Dlg6s4e/Yxdt6USiWUK2XIFQIfiqjFJFPMQqNU85bVthSJAAAgAElEQVSXDrHnzp5CJpdj4BMduilL6fP18oZifGIchVyOv4/FbODDXiaRxOHDhzm37vdvw2J18GaZNpsbW2s4fuwoH2poQ18tV2GwGBDyh9Dl62GL6cbGOsel7t2dh6eL3n8CPx1gcnwYgqhENJ5g4rbNSdnyR5Vj0dgjoBnFGoi2vLcTRJe3k+F5tP2m+x/dG6hpJJNNobPLB6NRy5Gl5174FNePkbBDnxOy9RMTgYRL2u6QvbVUKXGlFf2uqMrKbnfB7/ezdZQGvmqlzHV5OqMO4WCY41N6AsFtbcFsNDCEcGhwALfvzmNidIx/DwfURqKljm8J/b392NxYx+z0DJLZBBYXH2KcWmUIShiI8EAgSVUoBDXDpgiuSKRwsrZubW1Aqku89QrEwgxaC4ViDJuiuKKOXGc6E8rlPPC/xcRUpshb5/4BH1v+k/EU14nRs0NnfHRwJrgWnau4Uk2rRiFf5do4lVqDerPCYFdyZeSreY54JONFzrdKUh2pTIEr8kQRXBFo0uqQTKRhtlvZEUKVcZQVppoxiG0oBRVsHjcfouk+T1EcYnPQvZKqsiiC1q43kckVmKFwbG4O8UyCrxXa9OcLJVSKJW7kIO6FRq3n1zN96BBikThT8NUGPdcChg/CqDQq6OjqQSKZZEsxXUflTBYjo6N4+533eFCYnpri+InT7UE6meL41oVzF7gOc2VljbPE9P2oAvLffv1reP31f6FbKUYGh3lA/OzLL+OTW7e495sAmLTdI3AZDS5UoXl49hBzg27ductchoGBYc6kFwpFvPvOu3ji8Yt4//IVzM2RwF7hurBenw/Xb91iYY0qLKmu8YknHsef/9m3+Fp+7rlnce3ah/xZIPeAoBRY8Hd6HPy+E2yPCPXD42PQKUQEolG+txEo1GCm9oAKpqenueZsb9/P98h4MgenzchtAblihesRSfBJRtOw2/Swex0Ibx2gkmuhYBAx8cwc9NDg9dfewmde+hSGxkbxd69+myGhPT1exBJR1CoUEwKLlSTi9/YNIJfJcgNQJp3GZz77Mq5dvsH3UnLhEPAwlUoinynxIKehWFUbCEZD3Cbi6XDwc4029DmqT5XLOcpD4hxdMwQIpM82tVY0KQqh1/JGnxwGhWIBu9sHSKYSeOrJJ7li7urVD6EU1XB77HC5Xbh79z76BweQz2UwMjyGWCjAw9rFJy/i2rUbCIeC/LPRVpcsyP7dfX6mEmug1qhBIZdDkrU4UkZnMmoSWF5chtSScO7Caf7ZSXiLRgnkqGSrAol1BApdXHqIxx47A51WznFDOtOEozHI2xK6fZ2IhKhyr8qvle63ZGkfPzSCzTurKGxGoTHKodRqkU3mOepEwpl5rBM944NYX1zHY2dOYm1pDf5QCC6Hg1kyJIhIzTbXFdPvLZcpobuvGxtrW+jzdWF7dx+zs9N4/93LOHT4CLIZyrObIVEzSLvF4MlKucjw2enpMezt7iCdyXMtHsUDyHlG1xk1HhDMjtyk0UgCrk4nGpUab8xpSUNn6TPnHmOxleIDJIIUqyVmQhBPgsRsYrd4Pd3YDxzw8NyUauxCI/BoV28v0skoC+lGrY7bp0bHx9CU5Lh95xPYHWTR1+HM6cfw8c3b8Ha7sbGxi0q9jNmpaW5UomWV02VnV2u51AR1xBKnw2E1ol5rwmAi10+FxRBqL6FnNsErScCnLnlaMlD8i66HhTsPMHV4Ao8dP44//4tv4tDMLFxeF4NYOzvIoZBmKChl0tc317laku6TwUgcz754Dv7FA9x77QoGvXaUlS24zCYchJP8/HHo21jcTOK1X+uGaBRQyLWxvp2G2azhukiP3YAbtzdhNFkwMGiEw6bH/Tth/px4nGYoNS2UslWIGhkvL+qVNrq6zbh3Yx/DE524dHsLXzruwj8uyfFfLsXxQr8SUktAuFDGtMeIdF6Gd1YzKEb/B8RMEelQBXqfk6/J3NZHMDuHIYlqCOUImnT/N/ZybEpOLvZ2GQr7IJplSo+lIVOZ0ahmmPPUNvajXYqhlfNDtE8CaKBVlaAQq6hBh3aTAOkutMnCL2rRruZRLfkhF23QiCbUK2EodHY06NkpCWhRJAMWtIQKFM0WxNoeahAhV1jRrNL7ZuK4m9TS8Mwumr1oph5Clr33F21SJ9FIQTBPQipsoJ3dg8JIkAolyql1aHQmKEwDKOdD0KnkkFpKCGYvJIUV7cBlNJsFiGoj1ObjKGY3oFAR9XAY9dhNCAYPNKIWNSXRJMvQyFpoKlRoFZKsTNRkRihVOghSjruRWzVqNhWhMftQFyuQYg8hN41BbNGbRz3c5EMoQGGdhVRagySaoZAJkGppfoNbxTTaWiUEoRPV1G2oOy4SKgat6F3IDcNAPYqKWgVtS8OWVLqxEYSr0SpD1jRA1HrRUNah1ZugdTvxq898GQ/3k+josqKYTEJh7MTCwxC+cq4D3/jR36G0fAttrQelXBj1bABaUweKmQL296O4du199Pg86HR6MH70KGwdA2hKJSgVVqaxB9fehkaSQ+bugqpBTQxdKIaXoLZ50JY7kVy7gr4zX0YitAlVswjBpEYlGERb74KpawZ6O9k1RMBqBDIbSK8l8PaHl/GjDzZw406Oq6SS2QoOTbqh18oxNdwPi8uMrbUt7kle2QhBXqvCbjcjVZJgNVlQo5+j2uRYQKnZ5kNogQQiukaUKt7Q9o2OckdwWyvgg7fexqFDRxjMFotEMTYyzO4B2iRcfPw8Q1fee/8d/OJXXsHQyDjefetN3tTOHjmM2x/dxPj4FFe2PVi4A43SwDa3tiBxXm9qimAkV/m6OE4VJMUqW1jHRgZRkRpYvLeIL7zyMg8Lep0JFpOR1ezBwWFUatVH1rdcBgaDFbvbG9AKSt6mUI1XIhJnyFWpmOGMUqfDiVgshnK9ztnSBw/2MXGoE+V8mV8/bfU8Pd2w2h0MAyLydyoag9XWwYPa0gplh92wGM24d+8uA9moFszmcqHEdG8jvAM9uPL2OzAWCNKYQ38f9aLXkK004DDI8UvPHYVMIUOlJsexw2O4cvkaH1Y7+3q5H5cOysQq8PtDOHv2KNvyHCY7soU0rA4ruz1WF9fxqZceh8SVMRkEIyl85tMvcMsD1VG5HGasb+zgxU9/Bj/5yU8xOzbEecBLHy3g+o15vPjcHLydXvzx372N/UgOc5O9yJaKMIgKBA7iaJpteP7LX0Auk8bQyBD2/QdMD156uMz5N4KmUU6etiJ6tQpFqY7wbgCKRAijY91Y3w/DotEhEcsiU2whk6vhq8924Vc+dx6hZBtvvHkJx+cmudLJHwjBZrVBqVQikUrxMKDWK5klYSZLX283/v7V7+DrX/8alh/cx+r6Ll754uexvvIQW3t7DHgbnRhlK2S5WMDDhQU4PA50unuwsbsHbzfVe5mws7MHhaqJ77y5hGKxDbOxDaNKxbl2ytKGIzkce+4JZiY8pHaHD28yrMbicKBQyKLDoUCmLmFrqYhrb38drr5hpNaCDNWhTa6ikUZVEKAUvGhrSAjVQ0Id8mKEH1SkwteVPVCU99AWjJDr3Wjn5tEot2AfG0YmU4Rn9o9xakBAd5cZ/kgGxZIEp0OJZFbA8597DlEG4u2DKl3bNBhSTWWlgrGhQaRJDUYbvV4fmo02ltYeVfrRoF6rlVAsV7k1hA4kdMignL/ZZOY8+NbGJttJrTYz5443tvYYeNnp8SCVTDJFm/KoEg3ImRwP1LTVpuGeamakGom7DdgsRphMVt7QLVLdWV8fHDYr2i05VtZXGJzW19uDUDTB2eieXi80GhMPqlQbRUPwwsJ91EsNuLspt6mB0+bA3t4+2xpp859JZHH85FGsbm4ydIjsuGTh9x/4ebjscLoRisY5B041VuFwHCdPHEE6meeMOh0KqWaT4IREnyeLLFkgyZJbo9fRqKFQLLOAIMhJYyKAK23JOnkIiUTCvPFQCCoWDBOpOB9cjx0+iqXlJX4tzzz/DPa29pAtFPnr0RaPGgeIuUAHQ7Je7+4esC0zk0mys4auIXIJkBWbYG2zh6dg0BvgJ0ZBhxu7Wzvo8HjgcNl4IEvGwvB0eLG6tQXCRJP7ibZUJPKoBBU2N7fw2c99BvP35+Gj905qcp815app+0buDMpgX758Ha4OJyxWO+eeNXotRJnAB8dwKM5xok5XJzMhaq0aCzcLD5ZgdzoxOjqAYCDMv2sCHQYiYcxMTnDV4fTUOOLJGK5evY5zZ84hlU3CoFYxPVypUMEf2Ie30wcT1Xvu78FOFWXVCjS6RxAtH1Ul1snd8YAP8WcvzLF49cYbP+daVtrAce3YwCBqzQaL1vTa3B4XQgf7vHls1OockzBbiW4dx+hgL4O6djY30DcygPl793mDVirU0ZDV4ev2YW1lFR63g5kZBarBUquYUI5aG37/LgvKVLGao3o4qQ65XAaFRsPusg6vhyMiFAFpE0pJLkMuV4ZWTy6FGueT69UqE7Pp/kuxGqfLyVvYWrnCUEB6GPBnXAQMOrKw5iCqVcx/IXgiDRe0XaWoyPbmFld8ESOF3jODxYyZqWkcHByAHlg6jRo2p4MBwgSOM5n1/LPRmpG2o5F4DMV8HkMTVEsYh8loRTQSQSAcxtyRQ4jHojxkRkMpHD15FOGDEH92D02No1qrcSyM4nrUPEDZ9/HREXZjjIwO4a333sGJI0eRSKcZPJomG7coh0GrZ+iYw23H0sIDuDq6WJQZHhzE/YUleDzuRy0A6f8DQGy3uQGE2xdiSZw4dhjbO9sMO6XriK49+pvsxGq9Cv7tPQwN9D8StLM55iCQg8VoUGJidBC74SAaxQZsNhPS5SK8BJ57GEJVJuDkl0/D7u3B8u0FpEp5XqpAIXDrEBEHJ0f6mcuSzmXg7fJhbWMFUxMT2Kd7T73FIhmJgysP16DWqvjnSCRT7C6ZmR6Fx92Nf/7eD9Dr64DJ6mAHpEotslBN13ijWeet6DG6v62s42BvFy++9BmsrSxjY8PPoFSTUYN6TYJWq0SOxGu9jm3PxCmg6yUcCUGnMfL3pQgIRcXIVWBzOtmJMjk6jHAozAM/Da8EiKNnI0WH6H0hDggxXlKJFMx2ApNJDJ4meCe5meheQv8vFk3CRoNkvc4RDtou+7w9fJ1mcykWBOjrkbus2ijAbaPaNBnsditXi5qY6dOGRqXm89jGyjoGhgdYpNt4uAxtsgpPdwdfr8RAIDYDXbqu0T7I3EYs3r6HwaFhvrbIQZCMpRhYSyIacVNcbg+2NtYxOjrKZ4ifvv4mA1NHhgdYGHvzzbcxPjqELf8u1KKGh/vhkSEM9Pdjd28boVAQTz/1FBqNFtZXV5lTQMfjgxAJGR4eAA/PzbKri0TAjk4XV+AR3DiVjGF9dRdmu5lF3CNHZvi5cWzuCMfc6uU61x1TDTK1dbz7wQcY7B3g94t4EEfm5jjOSm085BCjKBg1epC7kjg3xC7R6HXIJtM42A+ymEbnu+2tLX5m0L07m8mxg3ZiYoKbD0jkmZod56jC8blD+OD9q1wNXijWCQsMjdqAXlpyNRpYWJiH0WDB8eOHWHigtppe3wD2A1QRWcdTT1xEKB5ElWpqaxU0KlSVG+ElWXd3F5ZWNjleSvclckPlCgVm6mTu7sBnM2LxII7BETv/3pKBNBoyATvJEl59xYUeQwUf3M3B6zTBO6BHNFGHXilAZ9FA0WrCfxBHh8fAnI3vfHcRx47ZCduCbp8WpbwcqXgGu/4GGu0GJkdtkLdkqMjquDhmwZ9dLuDdcBuHrXUsBhpw2USYBQXW9lPwF+TYeO+/wdDtQmZtF61iCIaJzyArdEEVfZcjYCKMaEgZKFttSEIZMnSiXboPUeFDy2zjuly5VENNZQYKASiabcjEBuSmcUiNOlrVEARRh4bGCUWrikbugDk6bZH4JlbIagVA5YRcqKFeIMeFCEFO4D8JjZYAOWX7qzmgVYEkGACuJZQgyDWQN/Oot2VQiFmAAIQ5itL3QyZTQ5a5/cdU4QsBBtRRAhpVyPIbkFn70NR2QFFYQS0UgDBwGuqGkuu+WgRAiM3zFqpdq6Gey0EwutDuGEMzewCtxg1Ro0M1G4bUSEDUGYGmHo3SGuS6QwARc1MPoZT50BLSaORWoTI/BqkWhSRXQaG1sMKh1PejlV+HpOqG1uhBLbfNsBtBUKFcTAKZNUDh5FiBTGlmd0GrrQTKOSi0nai2CIAgB+pNtFpRqA39qJfKkKmcAJKoZ0JQGEehblRRNTsgRW9AY/KiKukhSm0YZ3vxa6d/C4FGERPT3Zj/ZBM6pxHLKzH82hcn8Dt/+U0U3vr/0LbPQiYVoTe7UJLkQGaLK+pWA1mk99Y5V+/pnUAttY9Dpy+gXEqhe/AoZPU0mm0jBKcLzWQcxeA8DIIK1c45oBJHK76AtqCBqmMaLckMWSuJZn4LgmRGm1wVBhnqJbpwnLDTocjsgNDKAg2qAqshETrAd354CX/zw0WEomW2khP4YbhTxNScD31dbkhNOW7fIlBgCL5+F7RaE6KxDLL5FA4fGsInN1aZVj91ZJYt4wcH0UeHUYMe03OHMHf2cQT29mG1W7G2vIzl5TX8h3//f+HHr7+BZDKGmclJGOw2dLo9WNvaxMdXPsITT17kB/Lu+iY6yEZrM+Ph4hKigSCOnT6F0EEQiVSSK6QK1Spv4rzeTkTDccjRxuA4ZV7kSOZSGB4hq0wbW6ubnO0iGI1RaUAkGMbG4jJ0Jg32d/fgcLugVgjIRbMo1Uvo6nYxoDG0n4DKoIFBp+IDYTCawNlzZ9iaR1bmz//Cl/HWW+/gwvlzDIVKRLPQ6JTY3w1ApVQjW0gyhTwXz6Gf8vr5Ih6ureCzLzyP7//oRwznmJ6dxM7qJk5ePMm2u/nv/xhVSHjlq88iFfZjayOOj5ai+G9ffwbHj3jxnR9cYhtjsZiCSqlDLEGbN7Iue5kO/MHlqxgZ70e7Rsp/lfPxlEekvFyllOOtajQWQyAQRzaVwPDYOINbEvEkgv4dtsHmSi30DlBv7gL8fgKVqHDm/CwMFjvymRwebu/i//37RQx6FJgZ8nFdGG2JtnbC6JqbxfTp46gk81ztZrJa8OyzTzN1e2N1hWGHM0cOYWN5AWcvPIF7y+t48N4H8NpVCEVCkDUEVmdT2Qr0JgdWVjbx7756Ev1eD9LFFCSZArtrfsQTCYxPDvGGw93RgWw2zjU9dPOTK0WE/AEWGi5eOMM9tqnkI2gOHVyo3WJsaATzS4tskybBamxsFEabkaE7Hpuba4C+/4O3cGiqH2abER/d2cU3v3sTczNOtBoFoEl0ZyfuzK/h5d/5TbRFJb7359/E/0/Te0fHlafnme+tnHMVqgpVAAo5JxIEM9nd7JwmakbWjGR5pJGssGdXx+tdWRvOau1jbZAtWR5ZlmRJY8sz457UPZ3ZTTbJZgSJnEMhFFBA5Zyrbt3V93G2/5ozZ6YJAoV7f7/ve9/nCeiU8HS04OAwygdzitLvHlXhMUuYXfh7lEp1CLUIUDegJtMCBHTR+CiwhFpmDWoyjyg8qJRjUFn8qCaWIddSry0HaG1QaPxoFNehdF6GzliATKPGZNdX0dnpQqFZhFiVoJDJYbSYsboTxy//2i8htL+P/eAhXnzlGdy/P8++YJvFhlwxj16iAB8cMD+ChnUbwU3YTRY+QFEHNRKJwNfm45QIVTrod5lUoQN9fTg4POTDDakxCSBIHmGKnNJmhnzHBOqjC+CX3nyNQVcEHCoXKzh1+jRrrOgSLZPL4PH5cLC7i1QmhzO0XckkcByLIH6S5rit2+1i4r3J5kCbx82HxchJjPu+0dgJpqan4fY4sTC3CqVKxkT9FpcTR4chFKsiXHYaLshZ0bS5vs6dfErs0MFvi6LE7haOcB6ETziuSOo8+hqyRXLlSpgcH8Xy8jpv4KlbTvWF9nY/Hzqpn9vf/7ReQNuqvt4BKGRghzsRu3kQ57Cx1q+SrwKCiHwhx4YAiuxTXJ7AcwajGZtb67Q+hl5PMdImBof6GdD0yY3bfECjQ3tDrLBeiVIM1LulSwVBxmgYOHF6gqPQdIGlDvD84hJHh/u6Ovn7FDoMo9XXxlqorZ1tZJIp1jFVihV8fP0WfK0utHW0M2OAXPSUyiNGA52gSSkVTVC6To22Dh/HxA1aK/MeMqkMb4s8XjdHPslCYLKa+BBKiYnhkVHEosfoCvQwEIo0bqQLI0gUfYA8Xh9cbidCOwcQBZEvyHTYJhPBjZu3YDZbUcqTTacEq8OC4N4BBvu6YTKb8cn1mxgfH+GaSb1RhdCUwdniQjqTZpjj0+9FAcODw3xwvnvnHlS0PXI5UC4WUKs//X0xMIE+ydtKulTSYZYuErSFJ6r7yUmE6xP0fS6WS6yipCGRy2nhd0syQQkSBV/crXYTX5aIkE8gu0ZDglqvRiGTZkMPDdN1BiMyiQRKBYpwyrkSQMM1ggLSn1EuleEPdPCAwqTVYjMY5AEQDeLoz9Vrdfx5KJfzrNYslCs8eCLVFx3W///P1fbOPnfK6axDlQhKItAG0mwy8qCc4Iv+Vh+bCIioT2aVw4Nj/nrof0cVP4VWzsk9MiY1BeJNdGD28SO0eDwMQCUDRWdXF9bWNtn4YTDo+fef6gZ6nRqDw8M8WI/FyAigYBBko1rjStrdu/dYL0d8DupSD48McWyc0jtkydEplXwh15HlSE5MlArUMgETU6ewf7DHG8X79x+yDpa+Z2RXIEvDyMgYdve3sb9/gI5AN8NIadhA5od4MoLQ7iE/J6h6sLO9CV9rG+sUiRdBl7JqXWQd2v7GEW8U6R1QqJWggBwV+nka1KiWq6gWqhDVElzjvTwAkjWBufkVfO0bX8XDz2e4Hkn6uUK+wvwGYnz0D/RALpdxrcPrbeUt+crqOgZHRrl7G4nGUcyW+DlK7JblpWV87WtfR+4f1LI/fPsDPHf5Mv+sMrk8DDo1TGYb20WS6RQCHQG2BFFVydPqZB0gdcbpAn3n7iPWEI4MDiCWSHDSibrOSkqdVCpwWKwMX6bKV6VY5VqYp6UF5WqZhzP7oSPkc0Vks6S39D2tHtTrmJ15gonpSdhMZtz67A4C3R08XKH0GHVraAA61N8Fr9ePH/3opzhz9hTcbg/u33uIs9OnsbC4zJH1a9eeB+QE/KxxbJ0+B6R4tNsdvKEmrWZ/fy+nlFKpJJ/33vjCG8xEIFArAVPX373PdVOZWoCvpxXVfAPZZAJ1hQBXtx/9Y8P4wQ/fxtjoIDRaFYb7hzi9QsMjLSfWCrA5rGw/efBwEYE2N85dPofg1h52g7vwBVrR09GBVKbAz+YsVUukBsLRKKZOnUKxXMGj+48YCNvdFeDOPyULaEBgslkwOzPHQL9qpcaDBTIskOLYQzybnn7c+vQe1x3oGbC7swOX18UD4Fq5wZ8lej7T+5cSeAQ5pffC3bv3cebsaYTDx1xjefHlF7G1tYVCIcctaqqzko2js5MYFftsyihkC8wWOD01wZ9jqodVqpQCGsd777+Pa9ee40QkPZ9a/W1YmJ/H6NAojsInsNp18LjaEDo6gNPmwPzCMjxeBy/lctk8grt7rEclVTQNpqiWS+DwI7K22J38NW6sb3LSmGwtdMagz9rUqSlOvVFdyWYxIVmvoa+jBR/92TswykQoqUJMw+BiFWK9jL5+C9Y3S/jd87SsS8FusqN/0IwfvrcMnaDE8LgX4WCGK7MKtRYHwRK+9vU2bGzkeJAvSHIUCilodBZ4W7Q4jmQwPu7BSaLI98JosoGXTuvxe/81ineDCnxzwoaFcBaVWh2TrTqE63rce3yIyM6fQe44i9jcZzArovz+E4xWyOV2CGIG5VoWSu0opEoIjfIR1LZ+VAoRKHV2ju83UYGimEZT1QKZoggBNkiNCOqlPFCIQeZ7BspGFKKogKDSQCIzT7MIldqGWv4AcgOBNpWQcoeQCVbA0gKxUoDC5IEgZQHiAjWTPJQiq1dD6+KadTUS5ES8mhTRzRZIRjWEchqV4hFUShOE3MLfSWLlGDKxgKZCA0HrBUQ5pEKIDz/VpgW1zDwM7tMonjwAUIKs9xuQYmsQ0jsQajUo/aOQm/2oHc9DntuD4L2AcvUYKkENwTgMeaPEF1dJqYGklkNWVTHxXzB6ICf1oEIHtSOA8u5tVgMqredRq4Ugp9BQ+RiNepVJ/xqKW+SPoGDdXxSCZOOYhaCyQ5QKkNMPnNyLNKDIbEFSGyBW6gD12fQGyGRGSPUUu6vJxVmX9KhlgzBq7ag2NWikFplKXpUZgboC1nNX8fLIZYTjKpw+54FdCSSLDdx8cIw3J/X40/d/isTce5BKVYhaPaRyFlKuBEPvBSibpDysYP6zdyHp9Zg89TJ++l/+BLUauaq1KDea8FutmLgwhWw8CX3HOdja/Kimkyhu3ESukoTOdwqNTAE6mwZNuR3K/AFKuRj03iHItE1EIynoVAYYTCqkd48glzch1+ph0iUZOiG0dEDQyQGhitzSKv727z7Be/P7eLIWQyajgtPUhM1uhzdgwrlxFzRaPU4iRWQj9EDTgWQGu8EDhvzUxCoU8iYaVZEJ+X5vGz6/NwOrw4hoMoepa5cwMn6KdU2jE6fx2Y1b7EMtFkgLVcHuziGDYH7lV38ZsZMEpVFwsLnHKiuCLnX6PHg8v8CXXL1Oww+iP/63/xbPP/8iDo5CrCwaGR6CxdbCG4PZxw9x5twZ7O3sYGNjG2pJhmqzzB10eaGCg1AIGtXTnifBzujvRl5sh8eJXDLFWwGab46fmWR3MilZfvlb/4QvMHQYTkcTvElVG/RPiakTo4inU8hnCNZT5Yih0+nAy6+8hj/9N3/MU0fyMlOny2w14ouvv47tXQK9hPngdfbCOTha7fjJW+8gNTeHgW4fRGUDHq0Wj1cOISoUMGsE/MFvXsNuKM6bnEwmz2Utf2UAACAASURBVIMcp8uNqelxvPPjd5DIlDi+fWpiBMvzS+gbGuBuGMFcKBtjsZiRSxUYmPf8S88ifLyP+flN+FtcvMFTQsYDlLe+/xa8fjey2Rymp8+hXimgxUHx6gierG/g9edG8d0fr+PuwjbcNj2y+RKDsqrZHGTuDnzpV76JmQe3WYdFHWGKg0YiUQS6AtjbCaIiVjii2OptRTJbZmBcYmsRHTolk57LUhnGugBRVUNTZsHObhT/6z99Hu5WA4LBCP9/nXYXO7Xp50aqrddefxUHB7to9bXiwb2H6O3rgsPeguWVFThsdgaUUVrBYjBwrPnjjz9FeyDAKqa6WGCSfSSc4phtT6CHDx/Ly7PobB/E7NxjvPT8C/hnf/Rd5Cp1jA16cLRPF0g7xFIBCp8f5tZWfP6Dj3Fq0AiNyYq98Ak6A11oVNLY3i7Cayrgo+VPUF4Lo1Q7RLNQhsYdQCE2D4O2CzUxCUFuhqKefToM0HqgsLZAOp5l5ZjWNgZBq0H5eAb1bBFGjxeVXB6OZ/8xvn76It5fq+HyqBWyagOxfAEdPjseLx/D3+LG8Nkh+J1+fPd730NnewDDQ32o1us4CkVg0MtY63V6bALvvP8hhgZ7OZJLvVliKVBkeWl1haPWdNhQKFXY39vjjSzF/2kTShsrqpnMzs4j0NnB3cRMIo7xydM4CoeRTqZ54z82PIT5n1cstFotjCYicWdADFvaPBEUi54DQ0M9OImluFKwvr7OnnECx+0dhGC3mJlOTD1XOgxRWqdQKXB96Gdvv4fJU5PQ6w38WXC0eFBIZxDo6sLGxjomT53irVhbZwALTx5jdHKCI80bGxustCsXyjwgojTJhWcu4N7tB9AYNAyRTKSjiMUScLk8UCnl2AvuQ60ju4AaWq2SXd30NdUrT+GKpE7NF+nvRlAyE4NSiQMzNDCIuw/vMzuhUanhzNQU7ty+wxtdYgYcx6Lwef3Y3wvyUIM2yqura/C3tXH8nqoExLmgHnMxm0VXfy/8bi9vXENHYZjMej609fYS2TuGbDrJG0KLzYJ0irzBKr5oEmSNo5bhIwwMjmDm4Qxee/0lhrQ+uP+Q0zHEPKDLrtfjhNPh5sOu1e7Aowf3MTkxzts7er7+zu/8Jh9OHz16whcQooHT4IdgaKSEpM0yvSN6+/qYvJzLJHhgTDF6ojaXfn7B2Nne46rBM5cuYmVzC4lEgk0IOgPVtLYwMjaGXIYqUNQ5V7JmbHNrFwP93dg/JMe6nbdOGpWKAcTjowNYW99GOHzIUFfaQG/t7DKJnajx09NTXJGgLTF9hhOpDPd3RwZHsLe3i1qpiumLZ3lQc+/ePZyeOs1VgUZd5Ggx8XPEWg3rO0EM9T1NLtA27cL588jmcjg43EdnZxcWl1ZZQUcVApvDgbWlNfT1daIm1niDL0oKJI/DGBofx97BLn8Oh4ZHENzfglomR50Ux/UGJ1dKlRIPlk6IYaLVc9XBZDGwaab0D1Uj2izPzCzy8653oIu/bx4vqZvlaFSJQ1BjdoGOrDbhEzY5UN1IoVBx/Hlv74iTdvTZPKFBmvOpRnB7Z5ffaXSYp7gBpW6om0wQPaVCxkMJGhRSpJq2oNQDJwDwkyfzMBhV6Gyj1GiDkwoETCR7wu7OHhLpJHq7ezkJRNsutcGA1cUlOGwOuH0tKOXojAB43R6srKzw5d7jceDW7Qc4f+E8kskYWxp0OgPS+RwDRQmaSZd7gpZZ7Ta+6BGYjuBwTpuNoYdUR+zu7eb3OTEvDDoT8x/oImg2GxkW2T3Sg0algvd/+hFf9CdGuhmYqlSbURKr8PmdzOQoHOUhdpox/fpFbC9swKSzsNaaBhQXr15g/sDG2hYn8Y4PI1zJoYpJk8xa9afb4aGBIR5KkpGFOta0QIhHI5CpZGjUZVCqZQxS0xuNrDSkbW2KDBgqMgbUmXFSF2tseiArF1k7JqfGeKMe3N7Dl7/8OpYWlmFz2KFWqbCwsgSTzoAWTwsDVWcfz6JnoB8mPTnbzdjY2oGzhd75Yfh9HTz4JehrH4EKC0Vsbu2xwpO2v6QLpe8pPR/p30+RbpOFtti7GBocxNb2NqfQRibGuBbT4rTiJJJgPSM9d8PHR+jt7UPogAaiAk6dOY133/kQQyMDrPo8f24Kh1QJ0mg5JVCrV+FytaKYT8PudPPv88bSBrqmeyAclnA8u86AZcGiRKNYhUVvQknRgMpugae7HdHwEbQ6M0IHexjq64VSpUfogJJVNuwFQzBZjMybMTvs8Hot2NwMwm63Ix5N8OKBknCB7k447GbMzy5znYZSccT7qDdrvF2ndxlF81954Tl89NENOL0uFDNFTs8QA4DsHqlYgesbVBNJUu3U78XW6g7au3x8hqRBWjKV4fQZKY4pIRLo7sHu7jaKpQo8LhfDViXioeiMuP9whpWL6WyC2WsatQ4FfkcE+P1EdZpbN+8iEGjF1NlpLK+s4XD3EINjA5wUoKp1NpVgJhWpIOmcSdDDOzduwWK189Dk3fc/wvBwLy+bKGFHHK1YPM0/X4JQ0hCQhp/jExOcSiA+jtFo5krZ0xpbhWsgHf52HjrRGl6p0/Lwki7OpEUkLoOABvpGh5FKHWPvzg4stSKsXguyyRLKdQlKlRo6dQULOw28PCnHHz5vwOx2DZJGia3NDH7pzW58fHMXZrMC56/04+7tAwyNOJHLlrBzmEKb04pHM4d81xgfbcfpSSc++piWQcBxXMD5aQtuPdrF16768a8/zOP7yyIu+OSoQMY6XL1MQqxSx9q+hFz8b1FOi8jtrsLc2oFmIwad0IVsIwK5WIcALVQaC2rlOKjsUpeZ0IACSpsL9cNlqBRpyPSjqNRjUEQeotnxGlA+QWN/Bhq7H2Lr8xDin0OSjGjKqLLggaAxoZo7hIreDSYH5NTUqGUh03tQraagrpdRE3QQamVoLC7UyHKnqEDKxdBUG6gAgHp+D4LtIjTpOxAVrZA0alRraWhULtC9X8jM/7UkF+MQcwmIMjrs6FFREolYCyGyxn1wla4FufQR997IQ1sUrZAJJYhiGVIxBoVKjyZFG5oyNKtFKM1eNIjQKqZRSWxAkim4c6DQuFEthqFWWiBVkhBzu5C3DEKu8KAkk0FViUFWzqChdkJtcqFWTUGmd0FMxyFXNVFvGqCgp2kjjhoRia1eyJQaCFUJkozo2jaI9RyaMEPKPoRM5oSmpROVihxCdQeC3guZRKqoAsTkMrStFyBW0iidLEHl6odC50ejkYOYD8Po7YWmdQzffPE1hHMFmPRWZDNRfOH1F/Cdv/oIU8Ma/NdPv4fsw7uolUXILT7IyLOoESFXWjn+bXBasHrnFhLpGPyd/djZDHIfdvxUP4wWDxaePIBCY4NZA0yePw2ZlENH2wTEygkU3mHI1S2oZkJIr34ATdtVqFUGJJd/CE33eSjZJ65HnaY/ohw6jxu1QhGN/B6UDTeaOi2k3Dq1UiAoLNAPn4XcqOLKQP34BD/+wdv4znfvI3wYQyInoSwBXocc3d0e6ExPdU/xZA6nTo8inSoitHfI6i6TzcCKoFyhjLOTI1heWIfQqOAwnkHfWC/2D2IkXcG/+L/+JR7OLnDvrjPQhlgkypcxijD99V/+JXweL0fWr73wLHZDYY6DUU+NurZU5TgMhZDPV3Dl8jTWN3bg87RibW0ey7OLuHr5GXx6/SNU0zl+wZZFYKTLywARchM7adOSqyFFBGjP01+EjoEeJJJZjj++8sU3kSsVOQLX3d+PmXsPkUkmeUrW3d/NhxDaRrb523mi1t87iOD+Jjt5qe9F2pjVlTXuSRJwJ55J4eqV57C2vAxfazsOo6QV8vKmMpMsYHtnk+OLFO0iAE16bRl+mxGH0Qg83hbEIofwdw3hxz9+jP/zd89hYqID1YoeocMdmCxWfPLRbfYY06WfXtDkNz6OJlDJF+Btc6FcbPLBTaBYuUyBqlgDRAXEZp3BWC1eLzRKBW7cvA271Y5ypY6ONjei0TSMNiP01Mc9STyFzTRLHH0faDdh+6SM6w82ebptd1tQqAgoHCcRS+fgGRzG1ddfhUYp8mealD209WrzefBkcQVf+fIbWF5Yxu37d/HlX/g6FtbXsDO/Cm0yBrebemY5FIt0OKrB4dQjma8hFU3h//3DX8LxQRh6gx12lwPvv/chb8x4+0y1gN19vPGVN3H/7j1cvXoFM3c/RyJTwcuvXMPM48cI7R/DYlHizNQlzM7Pcnyvxd7CkfJcNoNEIoPJyQkm8s7Or+LyuSkEunwc7aNO6MJ6EtfvbaDdY4NOK0NwP45iXYK/04WGoECD47IySIKM6cbzjzbxpdf78PZ7W/hHX+zEf//vv4f4gw2opBVI1TyU1gFI5ShUlkGUkvRMskM0WyGrEdNUByFzAJXOiFoujKZtClJ5B8inIFOYIKfY7eoddH/zD/Hd3/8t/NofzeC18zbksyXe3Ab62rC8Hse5M2cQz2ZQzZexfUB+ZTs6fR2QhCYOj0J8OaZtNW1VKErY6vU9JfVLMlZQdXbRkKTCUfBIPMaxfTq8n8Qi0Ki13HOfPjOO/b0wtHots1fo4keQIhs5x9VaPHjwBFazAV3dvQzXyhfzmJubx6UL5xisRdol2jDnC1neMI2O0AGpCJ1ej6PQCdLJOKamp7giQBorjZbgjTGuMpy/cgGfffoZmxaIZExWD1JI0daQ1EE0oKDYMXUSaXDh8XiYpB87irByiewFcopJ05vBYkKOt0tp+H2tXEciMFe+lGMS+cyTRdYZXrl8EaGjIxzshiColQj4OziW6na5sHuwy5tGYn28+MI1hhyS3/r01CRSqSj3EQ9DYd4IJZNRWC0uBPe2uRZE0C3a6hFvjjqhNFA4PNqDXkN9ygYrTEN7+9g52MNA3yBfpqhqENzcYqYDPb+Mej1rNmmAR/A3Mm9sbwXR0dvN0c+T4yNkCgWYDSZ+hpHhgSCZtJWlzwZdYCWZElOnxvhAeHCwz8pBStcQ1Z8SG1RfIXDd48ePWbNpthmZgaA302XRxp1bAolF4yke9NJBkYY2bV4v4pkMbzzpmUT1IBpkMnguGuNtI6WzaSN9+7M7XBdQ0aDWouOOc7Xa4OjuwtwKLl05z9YFcr37vW4eSNHAw+W0c6SfOvTHhyF+5tLP8/P7T3DtmbNwuSgNFeHOL120qb9L2ypSUo6PDvMQhTbo/f0DOI5EIDREjlvKBSUSuTRXFOiyQNv39o523pYvLs+hp4eYRyITuQOBTv77E2uGLmz0M6DY7MrCMobHJiATRP6e0LqYBgQra2vMU+jvIhixwIMP+h0hpgU9X4PBfVZ70eGcni00vFPL5VzpsDlcrOj1eu3c511a3IBWp2cGDNWEiJVBF07aDo5TrHdvn7k4bT4vD4UJyHkcjUOllBEDDWsbe+jrDkCjl6FeAzu9qatN/9DFLpvP8aZdqdHwJZUSLfVKlZ/DlIxLJlKolKvQqBRcD0nE49xnLxYakCTaLJdRbtR5oEi/4/Re0ap12N3ZhsfnZfd8Npvh4bzT0wK3x8uEeKpYEJiZIsI0oGDmhMnAXeCJiXHcvHEDntZWPptQUok2yg6ni4fYw0OD2N7aQbmU58FMdw+BAWvQ6pWQN+VY21jji2yjDkhCnRkXNGii7VzfyBCUQgPXf/ZTXgxpDRoc7J5AS3pMux3FZhWKrITjehHnv/EsYpEMLxzu3LiL8VNDnH758ONPGOBJyZNAB8FDm0ik0lxjIa5PT1cAG8Ed2GxWPutQXZIG0C12Gyg0SiC6aqXBMFRKVpDdg1TF1J+mIUa9XkOjKXGFkTzqlE4iy0igqwdPZuegkFGE3sEgWEkSmJNDZwE2RxhI/VpHo1mGyepEMZ9HlH5mOh2bofoH+hiYu7a9y2cGl9WM1tY2tnJQRJu+/6TC2wnucjpIrdXwkKizs4PTNPQ1Elx2dHAIs3Nz/OcPj/XjyeMlvlQTmE+l1XBMnxSORLqnAT9ZBkxGPfM8KKVG7BaCiB6Gj2Gxmvh5kIymUG3Wkc2VoW5KGLoygvDdbRws7qO10wp3uwexwygSkSy8XX6E8lEMnZ7ktE82lUYuS916PSxWJ6KxIwaV+trbOdVFUfiJ8TE8uP8EHd1+PJlZYC00sVImJke4RpGKx5BKUtpGwQOmne0dTJ+b4MUGcRfUSkqqpRhmSUPSTz65wUmY9jZ6XwjIFYtw/hzm/Oj+Y/jaW3kxZTTrWe9IjAAachNHh6rYtUodKtJgqrUMpCYbAqXszl8+j/mZJTYZhMMHGJ+YQqGYhZYGlJUmllYWeCDR09eHB5/fx8WLZ3k4lc2VmO9ldzqwvbXFyyMygxAPiAZdXR3d/PwgJgkNlSnJRnwlShcRgJK+Xy0+N3MB6O+aLmRRY+uLk99/W5s7/DmgtNX8wiKzeig5sn90wD9nhaBELHLMLJRavYxkLIYWZysaROQvFqDSarlSeLgUhiwSQ+9YGzLHeR4IhuNZ9LdaAL0SG7sJvPttJw7CDYjyBlbWS7hyyorl3QJ0ajnaOvXYWk2hvVuHYlaDKnHNDCrkMjVMTNiwtppCKiXB51ZCoRFYrZ7NJFGoAL/+Qid+751jLB8p4TA1kKH+f4cdx4k6BAMwM5tHaOc7qGYySM7MQd89AjgGIIMWyuImxOw6moo2yCx2CHI1msktQo9CqJcgtwQgpo9YJSx39UGtMEMSS6jWSmwsqVdzDLdXyFWoJbchM3q4Aq9simhQjYw2+nYTJAIaNvUQZQ1ooEajlICgpBqbA0JpD3KLDZLQDam6CZmlFxRnLtz5n6HvewOKgV9GNXwXghiHWtsNNEuoNUXIqZ5XmP0zSSyHICmdkMuqqJMbUClAqNZQ2fsIatckBEs3JKMTcjGPSmgBKiv9Z6Cqa4fQLEBdT0MsVdCQVyEoJDSzJSgtHogqN+SFY4hSBQ2lHmqtky/oBLkhbYuimYXQ+hyw9w7yJ3dhGvpN1EtR9hcqLVOQcpuAxc8vKWV+F1VZGRq5HZLSgGaFBhZ1KAUDGtUKFGoDhEoQoswGmakdSC+jVC9BZZuCil5gpTCatQqg0UNnIt3XIVDNQrC1opGhbZcbStrM6cwMjRGKKdhf+SX881/6Nn72wQr6e+wIHRfQHXDg5kwYv/hMF/7dB99F6v4NaPR6VMQyVPkEynUNBCHLEzulyoWmQgG92YNyah+bG0soyA2I7+5BpdJBlNTIJaPw+8m9GgU0CrTYbFArBdi9HbCravAOn4FC24qCSoHqzg0I5SoM9nakciWo5SpUmgrotXU0Qg8gJ+CYtg0qUjrWK5AKK1BonChW5ZCKcYawWLwB6GxywNZBbx00TZ3I/oNS5b/81d/g3/z9QxzEy3wQ6OhyobvDgR6PFdk4cRWUWFnfxRu0VT7JYPbhHK49N43lrQ3sHqRhaWuDQw4c7G6hUW6irb8L4ViatV4vvP4M9EYHA0AuXryCbDGHwfEJLD6e42nw57c+g0FtQf8IdeGc3EElGBTpkmgLEgxuoEgxSY2OL3G1co2d4jRlJIDX8XEF/oCFlXiiTAaX28EETop1aXR6vlTcvHkL3e3tOHfhEh7NzyC8s4eKWMPaygYuXrrE2jGb2QI7eX8//BivvPYqIkcnOInH8OrLL2MruMke1qbYwCsvvYLbd++yvov0Thq9DhadnjVAM/OP4XG1sBLQ5/dgbnEJCkGG4dFRnByHYbXZsTQ/i+TDRxjtCaBAHlSdDIeJPBaXIxjt6cDf/tE1/He//z289Nw1dLYrce/+EqKJFH7xq2/+PPaqRiadQCFfht/n5qifQqViOvPB/h4zEJ6SwonXIfJFg4YvdAmskxYsGkVXdw+SqQhCJ3FcPDOFt37yNhSCBuNjg0z4J4or0bff+Cd/gUCbCQ6jHOF0GT76rG7FYGlz4h/977+PlTsPkMvQ4EvDkDhBbOLocA9TZ84inSFAXgc+vnEbXV43pi5exnf+/M/RXkzj9MU+zK4dwWczIBLLIEl+3kgTU2NuvHqpDUtbxzg7PASdVY1CtoRNOrQOUDQwBZfNjjht6cg1nM0z8MthN6HWkCGVjuDUyDhWtrbgtLtZ/UbbEbUSrObp7O7i7cade4+44+512HB8EkdXwIOVzT28+fx5PNlJ4T/+5/dwZrwNKytx1j5KagnxCBHv9WxmgKRCKh6H32dGp9+Fv/z+FvZD34VGbUKeYpHVMGqUPKqKaJQIJKmH2kif2QYPCumFAJmSe7LKepNNJCrTCKq5NbYFNOs6lJVyiEczaLn6i7j73X+FS7/9Gb50So1CXYm6JIdGrCNTazKngHr3sVwF7a023livrGyiRH15hx21Zg3TZ8/g009uoI8uibk8pHqDKy8umwMbwS3EYkmMjgwz2ZcuTARwJNMEXXrj6SSaDYlhkm63DwtLczxE2Q7SpjXDneBQ6Ig94pQYGh7qZ689dYj3D3bxxhe+gOuf3OQtL0XGW2xWPugmk2m+ZFG8endnlw+w0ViCVXcD/f1MiH/44DGnd6piFSVSHNrs3AEnfSJVCEg3Rpc1UgHSFvD4MIwLFy/gJHLMdRA6+HrIlZ7KosXlYBPI+csXsL8XwofvfABPeyv6uvsROtxnJgx1VgkuWq6RwkwGX6sPofAR1te20OZvZdgZpWRcrhZYbRb2q+t1Jo7nUlSeIHG0JXN7W7G+uspfO30Paasc6AxAkBpIpLIQBJEj61RPoPfNhcuX8IS87i0OqGQazM8t8HCQLtyH+7toNsgKoMFXvvZlfP97P+BDOW3q7j+Y52736voq+nrJeqOA2UrqunUE2n2o1GtM7yd4UyaVhsvt4i5mMp3maDClDwr5PK5cuYIPPvyI00vnz53F6uI6w1QpFh1LpOC0U9xRxgMCuhSnkimOHtPwkwajjXodPYF2lCoF7ARDrAedGB/h7evS0iICXR3M+tlY28DhURjDwwMM+nv48AFUGhWG+ga5rjM4RA5xgQ+WpNtb39jgiyTFjZ1uK9fAiOZPoCyCtdIB+egojJHhMRyGj3jjXs6XmL4djz/tZNvtLgiyJkdgnQ4zD76Ia0FAvWqxzJaI+YU5PvyenBBQq5+fFbHICQ+ALWYj+vsGcOfObe7eTkycwv7OJgwmKw+ElleWcebsWejVcpxEYyiVKtja2oTYVGBwsAupZJq/z3SpJ7UZad+OYydsX7CYzMiVyjzwblZreOXlF5nRQTF/unQUa3Wo5ASYPUYmQ7yNLv452t1WmHRmrCwucaLEZbXTJAg6nRqZVJyH56R0o+c+RbiPQkfMG+jsCDBHJh6PoF6T0NHpQyyeYgL6lSvnuC6XpeWKVgPKddPPlaCNRLanqhkNUje3NuBqcXJPl1JE1CPPFNIMVaU8ciqaYC4H1TVoGLa5EeQ4Oyk2lUrCUgicCiEDkIFSW+k8mpDQ3d3BKjynw4rg7i4nYk7CcVhtZobmbW8GMToxwcymfKUEl80FuUaDe7dv4c0vfxEfv/cRf11UE+3v7cb84iqDBicmz2BnaxM7wS2utNDFgGwWBB/eDx1zoobqYcehE3x86zZabFo4aVBeKkJGl4hkAXau4hSh8lrQdXkS0f0wmsUamio56rU6vJ4WhtgRC4UAjJQWVBLNWy5nBobRYuB6icfbyiYOOjN0drfBqDdjdWUZz157jpOuN6/fQq0uco/bYTVicHgEj5/MchLQ/fMUEAE4Bwb7ua5EwMFypcSDheeeu8JDp4W5Rb581WoiJzIIcknPIBp60HmJaho9fV0wGCm+bcTiwjoT4K0OKwaHevlcQcBSqvGUqzWchI94KWMyWziFQRVBHq5oyegi51TO4tIK17XofZ9O53jhQO9nWrLEo1HWfFIdhBYFKrkKB3u7rP4jSw9VLmjoSwDZ3r5+hPZ30N7WjoER+pkcI3R8wjWdFm8LJLUMQqWB3PIBWttdyFVqiAbDSGVr8LVboKEBlaqJ3sE+JMKUHEly3au/vwc3Pr0Fq9mMF19+Bgtzy5w2+sFbP+FE6UuvPM+qvJ/97F288MLzSCQT/PWl80msLmxwtz8WT7LxplqvYHhgAE/mFvjSDCiYX7NNasZiCf2Dg+juasOHH1xnMCNxbtR6Fb+rxsfHmPGyubmOy5cu4/PPP4e/1Y9Kg55bRU7B0XmGBjM0bNGqtcgWsnA4bVyVoGSYWqdEOplEoL0buwf7UMtk0JqMaGv1QKOlBEWOq6ipTAImvYUTriazjtOh6ytbSOVyuPrMZciaIqf36ExapdpRJIb+/i5olGo22FDqoqunHTOPFzHQ1wW5nJ4vWigUMn43xxMpxCJxDI4McSIodHDAtSKX3cUpv/6hfh5E0nCcVIy0eMgWMliZW+LaaE9vN5u+xKYAo06Bhe/f53Oars0Eu1yDlVAEr0+3Y2X7BJs5EX/5khZGmRzRqhypUg5jg+1QqMt4NJPAQJ8FsRMRdoscRyd5tLY6sBeKw27RoVGrIrhVwui4A7lCDaVCDYMDJhREOSolGSZ8JfzeDwrYK2jgdzZQqWog1YsoNZswyfTIxlK4OfsdwNCN+mEU1eQik//JbNJM77FtSGb2ApQsbIpQKRoQtR5ekJNWT11LoqbQQybXo7rxN9C2TkHSj0JWpbsuAS7zkLUMolnMP029q21ALY9Gbp0HlIJ1ClLpADKtEY1iAlKtApXZgmaxCUmjAbIR1Cv7ULU+A1CNvi5AbnSgFn4InW0SktqEYj4KoX4CraEbjdwBIDQg6T0QUnP/QUIpAaioO9DC6pdKbhvN1AkU5B3seB1CKY5GYpWBedSrkBkckGoKCGYH5BoTUBFQL4UgayYhOJ6FLH0PzVodotbNwD51tQpJ7UW9ugOlpReVyA6a9WNo7adQbVKU0shfuMLYjQp5DZvUhfVB1sgA1SRfVusH81B6R1HPJdAoL0Ble4XQXkBTDkHRhCB3QcyvoFE44b6lcfGE+wAAIABJREFU3HYRaEQYekVoVprws1KlHkVV20UtL2jkRZRih1DoXVAY/GjmQzyxl+Qa1DNpOF68im9f/RbeXcjj2bMeyAol+Aba8BdvLeKFPuC/Xf97JJY+ht75dRR3fwLJqIPCfAHNxD3UbB3QNuocM6qISZhsbijVXRCqWTz8+K+xuLGNbMmAFmsT/v5x7MzMoW9kEFq9DDvBPZQyKegUMlZXTF9+Hi53G29rJYsPVckJpFYRmfkhbL3PoZLfgVJpgFST8aZLo1GgpmmDoMhDLMYgVHWoqQBBZoNQTkGpkpA62YGssAvfpRd4WwZnO6shiokD/Me/fg9/984WTg4LSJcaODfdivODwzhOR2C2qHEUzkCvqENj1eP25+u4OD1C1xlkEg0ItRyMJjUURif8HhfmHs1hbesAlWYVDpOVXwi+ng48+8WvYGNnk7uPf/Inf4bf/a3fJtQyfvyTH3MUssXpQqFUwmFoB1qZguOG5WKJ40XUF8ul8nAHWvkFeOnZixDkSgwM9MPitmNpZYXj45GTI0iigI31FbQ4PXyQPAmHURIr0GnMUMjlsJNWSSnDx9c/wbnpC6wzZACa14Pbt29zp/KlF1/gqe3NW7dgt1px4col7Ad3IcgkVuTQi5AuXfF4lLeJBHIicBk9UF1WK5xuF7Y3NuBu86OjqxeP797B8vVPMDrQi+NoFD6/neE0zYYcT5b38c+/fRVjPTZ0dvayZq5E8KS+Ltx/9BjxkxOYjWaO87tJ0VPIcC2Donjf/JVvsKHhwf0HDGbp7u3E3bufY/rseSTiMWzv7MBiNnCfPh5Lwm62YmVjA/29vWj1uvBkcRWlXBLnps4hno6js92Bf/WdT7F+kMFgr4Mv96SGW9k4RD3fwG/80f+ISCoPRePpf09xtnt378Hb4kU6k0CpUkdvd4C30B63Fwbq+9UbWH3wCNp0BIqmCKu/hS9poXAcnX4HPrgRxC+8OYw//t9+Ee+8+xm0BqJ211nxKcgoahz8eYSbyNNaBLq6+eDQ3dHNGrrD0AGmps7g/sOHqJRr+NVf/WXcfXAfeo2GNW6xaBq1WoG33gMjI3h46y7rAMu1IjZWN9AbaMNf//AOVoI5DHjI4ypDRZRQLdQZ6tXmMGCfkiQyGYRqCa9cO42/evsJOq0yfLI+i9id/wSjvI6q4ERDIWOdVqNShc5sR7WcBap5qK2kTMyhWddDoZRQTS8/Jb2a26EUy6gURKg1BCBUI1OuoW34MrY//3MMvf4jvHHBg1Q2x6RynQHIFGo4OcrhD/7lv8Df/+cfIbR/hN/+nW+x6YASKm6Pn6s7BP1aXd9iHaDRYIbT40C1XMbuzsFToJ63DcsrSwh0+HlD2RAFJGJx/p1KJmLcJ6ef63ZwD75WL0bGRvCjH76D06cn2B/92c1bsNmdrIik7RApjiguSSRqV6uTLzAKpQZatRw9vf1464ffx0DvMJoQ+XeHhmXRaIKjlaRIogk5/07FknwxsFro8l5gkBpVkgrFElzuFv6zqDds1mlZb+nz+eH1+5nQTJ70S5cu4u7dBxw/HKbI9W4QlXKZ9UXkNaaDLTmZVQoV5AoFFCqBDQw6Aill0hylpZSRx+P8eUd0B+cvXYRaqWXgGMEle/p7UMxTXzcLtYYu1CUEOtuZGWDSGzhuTNokg8nMsXOjwcCasIX5RZitVv76lYKC3ejknKYUFG0EmaAdS+Ls2SlkkhlEjmngQVHsCDGFuOYhinLk8nGsrgRx6ZnzePLwMcbGJ3l7p2VIGdUfNvnSTmDBR08eY2hgAA6nhT30RNanSPTq1iYunT+PuljH8soG81JoG+d0tjBVnEnaxSJHeBW0wbKYsLm+gUtXLiC4FUS50kRHh4dTA6Tso3h3pSGiUsrD7XExEJBUerSRpCh6R6ANa+ursJrtCB3todMXQCR6DF/Az2A5irzTkIEuavQPqSlzmTLkchHpTBHdAT+qNUJbNpj9QbF42prq6ACcK6BUyvPft1it8mefKOREviYCu05j4AsRGRDogjsyMMIwNhrg0u9K+PgYnhYf9g+C6O3pQyYbByQ5b6mLpRyUSh3Xuqgudvr0JIK7mygX69AbKaXUwucPF5kLwofY3d7B4PAQcyWox394tI9KpYHgThCnT53GYeiQh1smoxkOGw2eaqzvJC/55s4WJsdGWQNHPvJqNY+PP7mJc2fP8dcu1ho8MPn00xvobg/gIHTAtQvq4tKGjZgecghYX93E2SsXeZCwurIAf2c3bP9QU1ucXURPVw8+v0cw3j7ecOZyKY7QMqiupxubG9tstiGOA737yPBAA1CX285VDmJr6PVmzK8sw030cYMB4WNidwB9fd38WaX4ele7j/899LX8zu/+Oj76+CbCB4cM1aWFEF3cCTJIqY5iJs/aS4JcKuVKeN0WRBJZPrxzCqfFygnVXJF4R6SX0/PvGKkPQ0fENjCxDcjX7kexUuGhE9HIA93dmHs4x8mo8ckxrK+tMxyPKjB0IaEEIFk1ZmYf8ABEKpaQrYpob/fy78XmaogTdx3Pn0UyEkGOes9WG4qZNK6SjjSW5IoBpYOYPdDfj1q1xikOqpPQkNBssUGlkkGpoJ+pmuPk3V39+NFbP0FPXze8rV4GpA30D6BQzHOiLhrPsrnI0eLggZTDTssOI1fuLpw7i5++/Q7S6TwmJyZRrhZYgUlDGbpIUoqCwJQalZLTTyqlgpcic49nuff/wvPXcP/RPfR0DyK0f8DpH6p8dAT8rG3T6kwoVnKQQ4FsvsDkfwJg0vmDNr9HoQPU6nT+pjRJFWKjgaGhYX53pLMFNi/R1lyt1fKzjepIjWYTh/tHmJo+jVQkxZo5p8vKw6LV1RX+OZKKtJcsMwoF9sOH8HrpQiXhOBnBeP8gHv/oEzRrIuQaBawOO+ts1xc3cebyFFIAtkJ7mBgawl7oGP52H79nKIFL1hFS2DaqT4cnxE6xO108qLaabXyOOQ6H2LxAVanxiSEUSmUeHFcrRYyPTzCbgCoPZJeh4SdDfOsia5CLuTwPV5aXyAlPFaRJLC2tssLVaDZjcWGJa2A0hKH0xPjoCL8naFjjdBJvRct2FDqvEdV/eLAPkdgJ1/RoSEV1JiOpEm12PJlZRGuHj4GizabESZ9Pb96Cz+PnobJCq0Rfbx8ePn4Mq8mM9jYfD3GoCtbx88EgkfR3tnZgM5vQM9iHpfkltPrdUCnUCB9R/brBgzudTo/w0RFzW+YW5nFqcgLRSJTfH5T+oWFApUpLr1bmrtB79SAU5uehz+PCkyezfK4OdLejWCrh5DgOnUaNYjYHb68ferMBj77zMfQWGUqNGvraPcjWaxhvs+A4UcYHC3Es/i+dKCfS+MHNKKbPuaBsKGC1q3Hv7hFsNiOsdlqGAnsHaRhUCihVAlwdDjy8d4Tz025URQWC68fo7vegXirz78VRvIhnh1X4+zkD/sP1LbQQV60qx+l+M/bSNTQLEvaieays/TkUjTaUk9toamSoiXpIex9D4x6FoG1Hs5yCrJmAoDBCVJgg05nQTO9CpIFNSw+qdI+ltDYl6et6yO1GCGo3RKpVHy5B2TIEoWkAyhuokiZZkEMpN0EUdGg00gwsVCkFNBoySIUw5CoV6lo9lMUqJGc3hNQ6J+AllRv1/CYUkgiF6xxqxN2rnUCh7UYDKjQrxMVTMVtOokV37tG/k0SFgcEcUjUNoVmFXGmGoCEiqwS52ECjEkZTkEGqFiEz+7hjUK/GoTVTDEaFZnIFcupEqQmQIkBSkfZPD5V0jEwyB6W8BrX3IsR8ELVMHGr/WShqCVQLIUjZBLTeMyhVI1ALAppyJ2QKkcoikElylPY/gaztPFQUidWYUSnEoSRQi60TldwWBIpCmIZpxwJ5tQDJPApUYmjKJQilHGQqExqZBcjNbYBmHFJpBzK9GqgVUJfZIc/vQZRUUFp9aCoNkNVJg6WEIBNhGJnE//3NX8Of/rd1vPZ6B7a3MzBqFHi0mMWloSZ+ePMtRG7+BaDog8wooV4qwNx6GbmDe9C6OqBsChA0FVQKDaChQKWRgr1nHCqZFTsLNyCrp7GyEcX2xiJ0BitfeqnDL9XrHO9p6+zB9somRqZGsbn8CCajFn6PB5NXv4p6JQu1owPF6BEiqx/AM/QqRI0CleMtqAweiMpWNCN3URHVMHlMaNZV0NrdyBzehUIyQ2YbQq0Rg6KkpskAqvF1eEdPoeK1QYMKoOhCYfMuZrY38ft/9A6W13LQGe2smnLbVHjh9VPQSzJ+kHV4nNhYOcCD1TCuXB0DynXshw6gbCrh7fahWK9AI5Ojli0jWcywziiRK0Gu1OMLX38DrrZ2HIb2UcqWcXIYxf7+NkcAaVKsN2t4iEObjehJnOMxRFRO53Job/PCanXh7PQUPrxxE3ubWxgdG8FecA9NSWSdYDaVZ+AI9dC+/4PvY2BoDKNDA9z57uzugUqpZJVJqVRE/8AQbn3+GfRKDV5+9VU8eTyD/f0Qerq7GUr28O5dvPzma/j887v80KeIK0X+OgIdeO+dn8Fhd+KlV17B/JM55Et51p0sLy0x44DMAkqhiZNEEhqjBVtP5hBf3cD0qW7kGzXud8qaMmSbDaihwtt/8et499M7FFLBYfQQ06emOGL5cG4WX/7ya5h/NMfkbeqM0mQ1Fo1yl4wOUgQEzGeTPK19//2buHhxmj3ABCnSa/XIpuOwu1p4O0eRzJX5eVy4eh4Hu0fwt7fh+vXPYLebMDE2xEaI/+n/+THqCgU8TgUMWjvMTiM+/tljGD0mfOP3/gfMzi2gkIoztZ229IDIFy2Kzrm9LTg1OYafvv8hnj13jnVcBCqKBffgb6RxQqR7uwVmg8CHv9n5E5wkcvjS84P41lemcWdmCQazCf4WHz6++Sl8Lh8qlQK8/nbo9ASti6Ipku6vGwf7YazMLbCukoYaN27fQiGXxNj4OHdS799/zN+H7s4AR+JoWJBI5viwZNQqMXHmNLZXl5DO1XF7KYNcnqCTMuiMGt620EBqpC/Ah/k7d9fw0qVJBCNH+HQ2hpXbf4Duy7+C0E/+HO6eTjQISpolIJeEhlCATOmHrJxHIbkKtePpS7shWCDpCUIWhTx3CGjbUCsdQlaJQemaQq1RgklWR1Ndg7r3Es51fQU6A0Gl/Fha3YYoV6FcrsFt1eHytWfwcG4FPp8Pu9vbcNkdODU1hu3NXQYMUV+VLp4ECktEokiTz1ipZsK93WbD3OwyVyzkaiVqpTIcTge/wP1tVFFJ8sV6oLeb9V40JLh/f4bp9LSpD27uwOlxI5lIsjeaBsUPHj7ChUsX+cK+tLKO3/jWr/Dmg9zcVBuQmiIPAiLHYR7oVOtl1nbR5Z62jdTF7Ovr4UEAdaq3NoOcSKBDLdUYHs3Mci1oN3TAMWLqyDcadWSyaVQrdWZOjI6MsFfb1WLjQ1foMMJ9xOOjKB9yqMfPiiWIHP2lGDfFdoPBIFrdLaxZos03AZjaKObocDBsUq818FDBbrfC7/NxTJ3gbUNDg9jdDaIuNjliSkYQ0os97YAGsLmzwUkESt+U8wW+8E9MnuJDV7leZWgbwbQ6Ar6f+5yJw6PH+tYmzp+aRrGUR10S4W4hrdM2b01Jq7i7F4TVYoPaoEXsJM7b3cnxSYbthUMnGBikuCIQTSWwuxlka0O1XGKd1YULUziJxLGysobBvh7MzM7zM3F6+jQ/H5qSHMHgDuKxKLzuVmj0Gl4C0OBFaDZw9uxZzC8u83aLklvkqyZatM5IfuMGX0DIyU3ArFBwj6OjOo0RyVQUVtoOb23z4VjGA5AQnnnuGj768DrsDgtfolOpHF9EFBoVOjtaGcxFsWHaatHmjuwUdAHYD+6B/EFOuwMalR7HxyFMT5/hpNDW+hpH5mkT7mvx8MEvn0lBUCi571stleBrb4PZbMLOzhZv2Sg63+KwM6CtVq9hfmEFv/aPv8E1h7ffeY9rJvTsJdsMXeYGBwcx8+QR11scdqpZkc8anD4wGwxsgTAYjdgL7uKZZ59FoVziVAlpbXu7etHV28FbM/oaJ0bGcHCwx3W2Y+IAaDSQqxRcCSFKet9AD1YWF/jyQQNcev6/+vKLvE0kajpB4wjcR8mCeDzGh3+jleqRdUiCwDBHqiMQGG5rfR2DoyPIJrPY39tlhkMg0IWZmQfwur1Mdk+k4njwcA5+jxcmq5Hjz0tLSwjtHDKBO5fJMsRRpHoE1YKMpqcX1ONjVGo1dAU6cRKLQadSQKVVM+Feb9KxV357/wAXL5zHSSSK7a0NvuQ2a2DNnEomR0egC4VSCoVsBQariX9vCC5Jl02yjhCElYY90Xieh1oGrY4HeeFwGP39/cySyOQyzJkgkCalMUgjOn7mDExqBfaOolBITcSph12u4gtffA3BvSDefudTdLaYoTAq2SVOmz2P3oLV4BGkbivOXzmHZrGEgyO6rKVYN3u0F+J32KVL53njvba0AYPFwAwIqgcRJLVYrfPQhMFrrV62pTSkBk4OiXGgY0hhtdlEMkqquCuIncRwEDrm97vdacXIyAh/7ml4JpOpOEGlkANDI6N8yaKNfP9AP5bnV7jnTmkTghlT9JsucMcnCfT0dvIFWK7WIJN4WsshRTGBNOnsS5vj7kCAN76U3DDbzAiHInwmpQonVe1y2QJ/5odH+nD9w0/Z1PPGV97A1to6n0OymQI/gy00jGqIcLmoT07ni1ZWE/q8rdAYtJi5/5jfVbQhpyoXfd7JDkNpHfod0qu0UOrVDJqjtObA5CCWHq9B3IygKjVhMWmg1KrQ0tKKZPgYxVoZgWenedBHfwcaphEsl6C42UwFY+O92N3bY1sIVVUK1FcnUGacdIw5+AM+KJUaHtR5PV5mmBDHij6fX3j9ddz8/A7DlImHQL33oYE+Np/Qs7m9I8CfIfqMN+u0lNnD2YvnkIxFsLy6DZfThO7uXjx+/ASvvvYarn90HSOjAzz4oHrL6Og48y5cbjfXZt977320tXUxKJASbtSBS6fSkASJjSY7m/v4ytfexOzcPCf25Ao5D2l/49vfwttvv8PPEtJtLiyuMDOFQKo09KWEDP3OUvLjmWvnsbW5jRdeuIaj42OsLi1zDW15cQVf/uqb3Penms/WxjrMBjNbLSg5SM+bDz78hLkdjVoFgd4AvxOymRxzP05Pn0I+TTXDJrp6A9jdPWRTyebmJkbHxxCNxRiePDYxgNX1TQT6e5G9vwaxmIVg18MhV0IUZNgPHkNnd+Hhegy3/lkv/LIM/vJWCr1tGlisOq6IUCJwd+cIU2f8uH8riWQ5g/52K8wOEzL5Msr5CobGKPGTRTpZhb/NDIWoxFEkB7XUZFva//FJBkd5Oa72GEDjLrceiMRykBtNePwwgq3jv4UsWUZybwfGtl4IogKVyCdQyltQsXawol5VrqJci3F1Ra7vQj1yG/XUQ+jaX0VZ4YdZTSnVOlDeR6nRhM5kR1MyQtXIoSzXAIUNqFVGBjPLVQ40lG6gfgSxEoHCMgQxuQ3B0gm1YEAxPQO5ZRrqxhEauhaI+58AOgdgHoGmsc+WnKqmD1plBVW5BrKju1C4Wp+CAGUySHonhMwahOyTP5MklYI3U43sIZTWXvY1CvUkivUSdCTBrWQgbxlHlXr9cgPkjTxQz6Im1aDQuFCpZaCkq5ngQDH0FisCta4XATEN1BsQG+RGPoLV3Y1KUwtlYhU1oxcyrQlSMQuZSgtRrKK5fx3K1stomFqhoJeVzvD0Ut8QIdGwIXwXTb0WWsM06rHbkJpa1Eq70HifY0K3kF4G9B1PKYjVPTSaSihMbZBSYSY1CkReVtg5qgRJ/1TVI+UhiHR5L0PhGoBUSKBejUFu7oN9chr/+rd+E//pvQW8dt6Fv/lhCL/9zWEEQwXkj47w4cKPkF78GLVaDnpZN5qKJiSDGY0iTefLvNWp18pQW9q4R1rZv4O6XAHH8C8gnwpBSB2gKlNgY+4h4ikiaroQDR+gLdABQanE8sYC3CY7/D0BJKIpkiMiEgmhKWVgUQIe/xgMXhmGr/4OGoerqFg8qIfnINTqkOttyMWXodS2QCG3Q6cFaHGpFOvQqKqotY1BVy5CkdlEQeOCLheGqPOgLniRjK6gY6QF5fASjIPnUQeBILex8mgVH9zYxHd/FsRBig5iKpRzEvqmAtBwd7yIq+dHsbt6hAQRuJ10CKyjVG7C5jLDpjAjfHIIvbMF2eND9qtGMiX84rd/nZV1RLUmCwE5r9fWFlEsVnDt+Rfx6c0bDEjJ5XM4OY6htb2VinzsQd7e28GLzz6Ht976ES5cvoB0PAWXy8mXtK2NLbYCnDp9jrcjR/t7uPb8C1hf3WCa9vbWJgx6EzRGNbY3tiFKEqanzuLG9evwtbXj+eefxfzcPMfmJqdPcXT23R//BFbH/8fSe0dJnl7neU/lHLu6q3NO0z05z87M7uzsbEZYLJYEAYIGCIqmdKxgHVqWIYumqEBJNi2RtiQe0gwSCUESgUVcYHOcnEOn6Zy7q7sr51zWvcP9B2fnAIPuCt/vu+993+cVanmYt9/5Ob29/brtF8aBHIziKpBBQmqNOpvDqhbPLiyovfnMmWP84Hs/4MILL1IplvnO7/1bTh3rw2SxqW0uni7SFPZw47MVfuMX93F0ZJBio0ZLOMz84yXNbS0tL/E3/9a3dAP15o9+ogOY0GTF3fIEYLPF2NhBzdodPnKMW7duMjA8opEBY91Evpzj2OFDZHMF3nrr54yMjmI2GWhv61B1WrZgq2tLmm932Nz0tgdZ2M7y7X/3HmPtbqgU8Dc1ky0Vye5Fee5Xv4WnJcSdaze0skrkdSNSezSiosnPfv423/zVX2FudomHd+9w/ulzRBIxzA4be7c+oV6zUsgmMRir+IOtxNc2aRicTG1F+ZVXxnnh1BgTj9dobuugUIwx2NPN0prYZ70src/qhV9gV5P3H+DwuDl84KhChBLpGIVcmYuXLnD1s6s4HVYOHj/Kn/3Rn3LhmWdYXJU8ox2rzc3pw/ukyYvk9h5Wt5sXXjrF+c/9JkUc7OtxMLUcZ7Crhb2dONFcgW5/iNn1PU4c6OHG7XWams3cXfmIxvYq0aUtXL4GdaNbWwRKuQkstg6wuJ5AAA2yaSpgLOxQlLhVI07dPoTFkIO6bIRKWJ3Nmou0m40kN5M4Gst4nnudLx95gxuPopw+7tGWkWSmxE4sg9lg5ezTz4gfCmo5wi0dOhQKLPHOrXuEgkF1PCyvbOBzO3UbMzfzmENHD3Pj1m3CwRAnzx7n6pXbuik9ffY0P/z+Dzh+/Bgzc4uEm4Nq6Rbgj2y4JVoi1ULhUJA7Dx6otVvssnabC6vDpOA0+Rzcun2H86efYjcVw+twcuPmXa286+/todYw8uD+E1pyW0sXfr+f9z98XyFGQn4Xun9TqAmX3UOumNcLVi6RI13M6abj6QtP6YYwm81Rq9Up5vMKRRNonGxiZGMnjh/Z6GVzIvLArVu3efGlSyo0vP/uu/ibAzj++mcXEUku32KzHBwa1IuMy2XXba3A+gSOWDeYtFpUtvN9fT0KVRobHebTT68pZ0C2kAajEbPkZKVGMiusgbi2bgj4VfLXTpuHXClNqVjDbKzjdvvI5J5UC0rudfbxgooJYp8uFErqtpibn+PY8WNMTT1S2rM74NPqNoElTs3N4XG41enw/gfv8MLLLyof4Pvf/ytefellbt28q/3w5UqRztY+Dh4Z49GjSXo7O1hYWaW1uVlf34WlNTrCrXh8fiXdS/vKnBLfDRw/cZJao655/oWFRd3g2ywm2rs6VFS8fuUqXr+LpmCLbkCFjC0iTEKiSQ6XDoLPPvcMaytrTzq9KxXdEIfbOzAZG1opmskX1WZrMhhYW9vSZhghgGcLkj2X17ys539PVzs721F9vfYfOqj1tDev36K9u4v2thCTk3NKsKdeZ2Z2llCoiVdefol79+5pe8LBw/tZX9ugtSWsom8qV6S7rY2t7YiyLYTwLUBKyXDKRUxqZKWWTDrTw+Fmnn3uIu+8/TYHDh8hGo2Qiuc0A3/8xGG8Xj8L84sqegmBWUQk4WdIzay4IOQGL0PF7OycEsVbmkP6WYrGhHw+QLFQ1M+AgNAS0QSRaIzBvl6S8SjFSoVauaEb88czUwyPDun5Ki6FnnbJZy9rPEU2uQIIK/11Zl+cIsIHkFYcEQOkbSOdySmEslotqpD0wqVnKFSkrksck3WtvowndhV+N/t4if7+bs6ef0pzzidPHGNjfZOFpXllG0idsTjfBgeGdMgS0XlX4yEZHf4l8iC2Vom6CAhN3rf5xRWaAn5SiTRV6mTTOaXhi+NkoL9Ps+3xZIqe7i4Vk4zmhm6+lDsitaU54U/BxYtPk0pK5j+lfAupmnf5fMxMzTO2b4T+4VGuXr5KqVzQyNLG2po6bnp7ulnZWMPttGOzObhx7ZYKpALVlHtIuLWVickpAm4bNq+TqQczhNulUaLC9mqCA197mu7uFvbW9tjY2cH+1131uUwar8vLTjyBxVDDGwjocL2+vqVikN/XpHEb+b5VSiWF/OVyFX2m/8N/+JvcvHGDh4+kUeMAezu7Cph8/tIlpabnsjkFJOcLea3CFLFABlMB8InwKfeYew8fKNRNhsf79x/S0yssoSJWu3BfwhoLagm1a/Wb8DHk3hAMNKmdX+ptj588xvrGBiePHmd6dkadMHIey1De39ergqOcJ889d0HSpDrMWY0Wwu1Sx7rC4EC/VpnKe1Ov1JXVYHc+gTOKWCW1tD09vVrPKvEPjSc6fMqhkd/p0KH9eo9ZXxfWjICgx3n3Zx8R7gnT1tzM6vIqI0f30+TxMvvBbdI7MXr39TA9vUC92KCzr5N8JkHX04dVfEimCxhrBvwBFydPnOTNN3/E0RPH8flcRNY3lQMlLQZCo5fWFamr83gY5gAlAAAgAElEQVTsSo6PpRLqGJNKWvk5m/zNWOxmvWOJICfxLxGUxH3Y29dPS3OQzz77TMUzEal3d3dwCuPHYsHvDirzYXCkT5cIsvWWTfzE9DQ2q0XPlWw2q88rcU50dYtTYl1rd6WdRNq0bDa3CjKRrTXOPX2Bn7/9tkZLuns6lX0hCzPJ3u9EIgwM95BO5zV2ls/k8AWD2n4izxKJZQpU99RTJ1SovHrtujotpBL7w/c/oLOrm7Zwi7IfpNVkeXZVYYZD/UMahfO7fZw4c1jPAHn2SgTBjIX+wX5lkLS3tWiEyx10sRfZIy7PKVmUWQVEKvn6DC2hZnXtyHP11Okj3LnzAKsrgD0SpbKdwOAyki5WsYuLYCdHT8hH3VzlxQEbv77fzI7Dz6O5ZXqCfq3vnZgtcvJMM9VchnzJSjDgpNlv4/LVNWKpGsFAQ3kFS4vCI6ly6kwH83N7rK3kOXSig0GXiV/4i22iNQ8v77OSTeb4dDrFiyfbScZLbG4k+OTa71K39JDejuJ05knu1Ql60xTSZSyhXgy1PBV7J7X4BIbcOlbPIFWL3BeC2lpXkq28xUfVUMRaytCwBLG6QxRKCYyJKeoyzLtDFPNxTKk16m6X1r1KG4DZGqJkc2M3main5mh4BjDkFqmVjRgdnVRpYKml9PtcqRcwmCXOb4LaLuVYHrxOSD3G3vMS5eQO5BewD32R4sZ9DIlr/6QBVqwuD+WMZBDKGN1eilHpxnaDu4fC3iI2Q0kzq0ZPiLrJiUFgfw43tVwCQ6CPWjlFffOG1tpZ21sx1RwUjDbtJbR4hzHu3qTmbsFiNFOIXNEtsaPrPBicZBJTuLu/QmPnXapOeWBYMIgbweSibszRqBkxmn1UkjPYHH2yTMew/jPq7RexOXup24pU1m5jDg1TF0DC3iMM3lGs8vMl12h4PRjrzfJqgjEO+ZrsfMBtpJbKYrdL93yVSmobi/fJdqq6t0Pw1df45it/i++9v8avfXmMmccyuBRwesLcvzXPUuS7ZB4vUcrWMFWK6iwQ60fF4MZoqGCuSS9rjsrONeoNI87QAaqCyKvuYHTvp9TYIdR5gHqhSH5vjURkk0cPLlMS5oHNQ3xXcqM9PHz0iDMXnmf18TQrkQ21r4rNf2NignDvITr62ticvcyJC1/D2xLE4PBDcppy3k46NoslcAiLJUdsbQ5HSzdeU4l8zUtld14Bge6eUQy5JLH8Nt5gp+bnU9F1sptxuvYdwWJK0zA3sIycwFAywd591ubXuD8d4crdSW7dXGclYSUai9Mc9hNPJzlxpJ9Aq5foxh4XTg1wb3KLBwtrnD22Xzuyf/rmB3Q1h/RBuLyRwRV28Eu//jeIZxPaF10oVvnuf/qvPHX2JKlsmpGhfn78g59qh+uvfuNX+P3f/wO54/HlN77E7tYWkd0oo/tHtWZPoEprq0tqwfzGt35Nu+mlnvDAwf1aVSVbsS98+QtMPprisytXePXFV3RQz5dK9Pf2EgzKgb2l9nwBQj2cnOHyJ59pT7Q8YGWz2NnVxQfvvat/Vqo1ePsnP+XCxYtEY7v6APD5A8w+msZgM+O02nRIOXnmjMKgbE4jbruLfDTG5uM5Cskso30Bkg0DlVyGUkmqqOL8jV/6AuWcdJv2c+fGPTr6O3WwsNktCgTaWd+ib7Cbe7cfMDIyjNkkkJa4QtjEkiUXObvdyvTsHB1CZQ54mZ9bpiigprwMBGHdQFnNdixOm15kZdCRyrZ4VIAhVkinOPfcJc599XfZNz5IPb6lW57O3i6mp5bJ2mz81v/1u8xNTCAnlgAKb9+9T09nj1r3i2VIZmLaA333/kPNgMtF1xduZ31lkeLiNGGfT2Fr4lzw+xt4fAG2dzPcebTF3/zKMV5/4Qi/9//+JeeefprxsR7+2W/9e7761ZcwOJxsbqwTbmnlyJGDCq/7d3/0H7h04aJWzhgtYoEbUKtkS1tY3SDye3X3tdPAriJSLh1Txb5aqmiXaiSWYrTHz/d//oD7K0V+4eXjfHz9LmubCfrC0haSJRxuJ5Xd1cjGu/eTfPiHl7jwzd8mc+8aJlucYqqM2dpJ3ZzFZJH6zgblvXtgD2B29+rwXjNYqSUfYCtnKXl6cDu7yRkq2NwBarE1ipvXsbceJVko4i7t0PTSr/Nvfu1X+cd/NsmZA04ODbWSzjgp17OsrMcYO3IQu72ZH7/1I86cPK4MCK/Lx90Htzh36jwb25t6uZONkVz05LuTkVz6QD/T09OaERdSulgLZdtiMdu1Z721s025Ae+99wFnzp4jEtlWkne4tYXNVSHIl3RIfOXVl7h29ZZmgGX4E8utbIqG+ntpmEyUi1UMBoMCkaSho9Ew0tXZpllLQ8OM1W7SfLkApIxmo+b5R4ZG+cGbP9Fhv60jxOz0EsPDo1y/8RnPnD/PT996V7uMBQ63vr7Oa699nv/0J3/B8NiwQuoWlld44eKzrGyuKbxTgJCtLSHduORyaXXd2F0OHYw6OjrVmmgyVFXcSyayOtTLsGs1gdPlJl8o6iAvFlaBoonFGnMDt9WrUaG0xGfOndWLl1S7OVxeujrb2drcVudBLlegmMtTocG+fSNap9rcJByBomaFw61iofaq9fThxBS1coWXP/88mxsRoju7JDJJDowfwGo1a13fuEDstraYebyI3W5TB4F03PuDAtCq4w341bIt0LXWTnkm13TzInRpEUbywuyo13R4Fmvs7Mys2tclelGtlrTXWcServ4ebt68qQKf1OdNTc8q9MlkNeEwmakbjfTLtu3hQxVAhSUhw35cKvHqdb1cSkWbXIgl7ynAzTd+4Q3uP7pPW7NcslJMz09zaHyMubl5Oro61TG1urKhnAAhgi8urWg7heT7q4Yyw6P72FhaomEw0d7WpqKLRBki25vU6nDo0CG13srgJYLTwuoi9XKdgcF+fS5US1Ul9guzaGBwROMgYlX2BgOa+RdBSHquQ5K1NIDX7dUNmwyp8jzyuTxMTD/WTL2ctUL47u3s1Oz3oYOHWJI8cKmM1WRUG7u0zty9fY9zz55nbnpObeqSp5eqMBk2XXaHiig93f18/PFH+p/CoIinMuzfN0okGmFrZZPIXlxjB5Jtlsv+6XOndWt38uQZpmcmNGbldvt5ND1BX08fPT2dPLw/ofDfUi6rwsfo2Ijml+UzPDI8pIOe2OIF9ihRMvk9RXyTQ2Jjc4unz5+hvbOd//wX31Mxa3dXoipDjB0Y5dHDaUTybWkLadQishPVYU+q1sT2LtE2yQbL90/gZn6fj87ODmWFxGJRjBYDXpeL+G5UI1wyjA4ND7O+uamwy7BCN5d1E+71uJWZUKqWdMsvzzAZ/Ld3Uhw7OsKaCMNOiUA6VdwVy/mVW7c5dfywulqkSHMnEtP3X7bM9WqNZ559hqvXr1MqVXQQ2t3YxOSyK6A4urWBv9mNqWHCKRDM3TT2ShXP6XHyEj3ZiCgnR1pGxInxxc+/SCZb1A2zx+7S1pzltU213UvvunznTYaaCskyAIk7TrrbdTOZymgVqXA3VjaWdfiTekuBW0pnfD6T18VWOpPEJ73ijSqBgJ+F2WVKtSLnnzrL7du3NGYlUL+JqUl6Ojt1ybK0sKh8JXnGiujkdNiVGB+NxVRI6u7s0EYAWZwszM09EUFHhlWAFIenDPInTh7XqkIBLL704vO88+4HylSRIe+FVy5pY8rDB8L6GCTc4leX0E5kj6ZQs1ZUvv/BBwrAk4FNXDL7x/cplFZgifWKxN1MCqkTBoBETbaju3S3d7AuA6bTzmBPlworpUKNhsCNd7NM3p7BG5KGFjduh01ZFtVCgb7nTmGwmjWOIuwLi1Hs6Gsq6J06eZyZqRl84ohp1PQuImwCEeWKlQLnzp5ndXWNXCaH2++jUilJXFobTgQ8K5WOQt/f3N7QM1dy8hJhETbF6tKK1vGO7B9neuoRT5+X+cbAjRt3aWsN6VAtr/tgf69+R3b2Ynhcdn3GFIoljRQJ+0NEs+jurp4Rwpg6cuSQQqnFtScCqXyW5a69f/wgyysLymYR8aCrq4uH96QusUR7ZxubGzGMRnFpndW4WblaoJCtMjDYrfwqEdKk2Wd0dIQP3/uUocE+urrbuHb9Ni9/7iV+/tN3OHP2BIODA8SjMeYWVsgmM4wfGOPKZ5/x0qsvkstk2d7Zpq1NBKZlBYRKZa7EU2fnZrXhIyTLJIlKiK+q3lB4r9QVXr96k5aQn7DWPxdYuXYPT9pAsN2rAlDAY2JjI0fAXWViLcfrZ8L85lkj/+XdBN29ZjwOB/FkkanHCUZ6/WT/+/0v1OyhlCszMGBjejHHsaNBbt/YoVKzcnh/kwKJQ03CbVkhlq4RCjb49a8d4Zv/zyyXNxo4a2n2NbcSbZQwlGvMLaYxOgwsb96ksjJNeuURnvZOSnUvBmnPCx2ilt+D9CoNhwjaVaqFFCZzWbf4Mt80anHqlRRGd4fyCCw1EyaruOuCVJKPVeSxtZ4lW4hgMQc1OlmN3dDFXKliAYsds6WdamldxbyKZxBzZpNqOY4xOIxJ7P/+AxjMZco7sxhrNaq2kC6SDNU9qntLVAP7sQS6MWy/TSmfxtF0nGIhgiF99Z80KqUs5pZDUFqlEt/B6unQS2q1nqYRW6LR/4vUF/4zLmuDousgpuI6FW8H9oaDYvI25uAJaqUtLKUo5uZXKcrwW57D1HBSTK6CxYrF1auXw3I2gs09QjG3QoMkDu+ogpGyK+9hCz+F0WKlZvBQj99Wy4vd3625p1I9idveSakQoW5wYDM5KRmSWMwequnHGPIpLF1folLOYcxMgSjHDqnPC2F0CxjGR7mUgVyUem6JGkasnWeoxSJYWKfiGqSyN4E1NIJBIFuxKZovfp3f/82/z2/94SNev9iFL+BkdjHK/EadfCHBRvQjqgu3lMxKo0wjl8befIDMo5+SSa3TdvZb1PIFqpU8NmuVUjWO1X2EUlpqZuyUCht4AvvZXX9Ek6QwOo7gcHmoZjNc/uxjCpEIWckWZXcIdx8nsjZNS3cvsa11+sZHKCeqPFpYxG4VhctFwOtl+sEDxo+e48Spcfy9w9RsTRRiexSXr2K1dlGyW6hndnFKLiXyQB+4ntbjermqVTJEkkncpRimegL70HkaDRPlxCaNxA4W3wjlWpKmdjcmexP426AWV/W8UTKwcvsqs6ur/NP/eI8Hj3Y0FmIXqrM/T9DmZLC/k7aQg6XFXZw2K+MnhvSi3sDCn/+nT2hptfPKL76uqr8/1KQgPelDFXvWxUvPMj+/RCwR0xq+SqlKKZfTg9Tt8ylJWjZnYl2U3P/+I2NaHyeH4/SDSYYOjCnFWsQBGRBkGyewu5b2do2tPHjwUC/0daqcP/8M+VKeKx9/xhde+yKry8vkSkXS8SRWm4Wt7S08Xh+nz5zlxz/8Ea+/8SXu3rmnQ1EqkSSeSKviuLuzjdfj5Zlnn+b7/+1Njhw/yZ07N3G57XSE2zXbGnk8z/rcPGZjif6xfu7emCLY1KrVP6++uI9f+8Uv8jv/9F9x4shxwm3NSvC+fP0uX/zSJfKJAq2dHfpw8Lm8NIwN9u8b4+13PyCTSejlRoi0d+5O8NILz/Hh+x/h8z7JYcnrtS4bwI42Otub2N6Ok0k9gTEN9Herwr22usWNazc5/+xx7k/E+Muf3aatycXJ0we5eXuCdCrObhx+/R//bRKpJCZsFPNZ3B63Uk1F4R0aHeHhgwfaJS9ZVtnYu2w2ZhbmeOOrv8yVzz7hwds/w2WSwhErw/0j3Ln7iOHDAyzPrLAbLfAff/838DlNvPX2xzz91AUWlhc04yr5bLGwX7t8g/2Hx+ju7OO99z7kpZeeU3v3p59d0WYC2Xa0drUx+XBae2sXZh9z6sx5tndWsdu9bK6sEWwPUcwWaGoK43MbOXFsmK/93f+Pve0MnV0+Ak0u2luamNmMEllaZ3SwhXfvxBj1G7i2/haNbJHsWg6roUyxmMHibqexs02ZZQo7j3A3n8Ic2Edh7TsY3CO4wscprH6Ite8FtdzXy1OY7b36ulXy2xiKBqqedgL1CPMrjxn6hX/Ezb/4V5z9xn/l68+0spfcZXnLSGeTbEcNlC1VThx7BqfbzsqqVDbZ1bIn9s3JRzMK4JMLqPRPy7ZBtnUyDOzs7ulmo7+rTy9AD+8+wuNxMzw2pqRy2ezLIFjI5zl99iT3b9/XSkgB2h07coibt2+r3V3+bqFRd7S2ksnKxkfcPyWtG5RL58rqqm42JAdrc1oZ7BsklZb+5yZ1wHzy8cfquJFu7Ap11paXtaJKKkdT2T2FJcZEYAyJba7K2Og4731wGZdLLL8NdceIJV82guOjQ4TbOtjdjbC3E1Nrq+Re5bMng/9ONKaZynIVThyTjuScWr3lQuywWZVwLvlQEfJkSBkcGpL5naWlZVrDT6opvdJhHN2jrTkkfF+F0R06PK5AzI8//oRgOKy5/fGDowrYMlrMahXt7Wjn0JFDfPT+ZUx2Iz2tndybeMD+sQNKhhZLfDYjcaQhqBnIFvO6QZcYzeLSmtLl5VIv9vqAN0BHTxvzjxcwiLMsJNnSPZLxJKEWcT84sbntpBNJvaxLPZ+AG2VQzRYKunUVmOHlzz7BH2zR761yB7Z3lPQvJHjJgJ87f0Y3X/KziJtEnsuyPRXezM72jm6f5H1aXl3B7rSQSeXoHeinrSVELB5V0fbhw0d0dHeQiqf0M9HX083k1ARBf0CBkVLt+KMf/oj+wUGNIvz0Z29z9OhhLGYDTdpDPanOMLHAy2ZahIHVzTX9ncZGZaC9TXOoHYfLRF9vP4VyiY8++pTujnYVANvbOvV8Xl4WSOqADhYj+/bpayWXaYvZRmdnm9pphV/xeG5JuSNOh5um1hAOl5v49h6lco7VzR36+zrwuQNsbYtjqc7Ro8eUf/Hee+8r6Ety38lkXC3TIlIKHMxktqljYXltg8G+HnbjMQIen16In3v+Od3gzk5Oa71W0O/5685vC7m8CIkmmluaEfiDPAPDoWa8Qa8O0hJDk2GwlM9pN7xsfsUKPDP7mLNnz1Kr1PjRj3/C5z//ij7vZUCV4Xd437CS8KXJoVBI4/c2cfzIMT69/Im+ZzIkixNMuBxTk5OM7h+jo62V1bV1tQ1LI0EoECKWTOnmX6pnZSMsA8ONu3d08PN4Xext7vLMc89y/eYN2ppbuP3gHqFAEyfPnJJVsT5rJD+fiGWo1ovq3CqVn2zIRUgQ0KvUsDUaZqhX1TFRq8j2VpoNTAyNDBOL7NIUDuF2e7QWUWIuwndoamnFYbHwcHKSSqmoxP5sJqnE9OmZObq72wn6PEzOzNHe0s5efI/9Rw/httv4+ffeJCFxs5Z2IvEozW4PVkODuNNO19kDpBbXsHq8KvY1hYI62G3txLWKz+d2MLJ/mK11EfDD7MUSBAIe7j+4T1/fEEajUaGhyVgKp4BFN7fJSQxxbEi/IzEBPnZ2a7ZeeuVb2tpwO63qcjKK39ZQVxCoxWJVJ9XY2Dh2m1VbF+S1lOiZ1LKJOCZNFXKWyrkv7QvyZ8Ij2dnZ1v/NwsIa+0aGsLttxPbS6oQJ+oPEEkk6O57UUu7t7Ckkr6Ozm3t372Iy27X+bXxslGmpIK5Lg4RNGQK70T2tz5P/jznpgne69AzV9oHtCIek0eHjT/QMGxodxNIw0BwOaRXqoGTWb97kyKHDrKwsE5KfIx3H7XBjMZtJJLNUjUW8yTqtniZWttc1S96wQC5dgHwZz3AP9XYXHpONva1degYHMdQrKjysb6zjdnrwejxP6pw1e++jXjOyur5Bf1+n0vhrlQbR6B5r69tq85fnqIh1IrhKVerw4CAdnW06UEpEqr93QJ8/a+urGoUbGhrS70PQ36QNMyLCSvRBGnnknilioIhq3R09PHh4j9NnTrKytsHOVgSH2/EEsFkp6ZAe20vQ3t6qn7Hx8WGuXrtFIVegrbVV430Cb7x1646Cx7u7ewgGAkQjcYzWui5Hrl29wekzpzDbrHq+dPcPMnH/nopoInb39HdQqxr1uSNCSHtrKyNjI2xvrasYJA6WJ3G8qi4ARFwbPTjGw3v3tdlBxL3u9lYWFlcUMpvJZpmZfsyXX3+Nmcdzeq4Wy0Xlx4SbQ9rqJUKDxEBmJubZ2Frhja+/TmY3ybW/fIdAi0PdVMZ6nSangXvzW8QKLvqDVd7+261cnYScI8fmYoqjB8PaymKyehSse+/OLgG/kVOnOnk8l2Jmukj3gBGnyYjRYsJobOALWSnmDOrQXtjc4/kTbXzl9xZxt3Uw1NLg9uQugYCD7iYbCytRohV4tPQzEndvYquZMLYMUYqnMeYeYLC5pHcei78FU81Keu1tGpYmXB1nqdht1Nc/VeG80vBiCz1FNfIBSDzU4aYSe4TV24uxlKLqP4SxmqeWX6Zu7cJWjlOumbF5wzTyEUrynY9NgasZe9txyrH7GG1hTOUq1fouNnc3ZZMbAznMwp0qJWhUs5hsrRjsHqqZVWo7j7EERjEF+sgntzCk5jDEr/3rhqlW0nx9Pj2PtWHE6OmmYbFRLqQwFBKQmsfsbaLScglzdRtT3UhFuktyMzR84wpQqqdXqRh92IIB6okNylWpXylibx6iklunWkxjKZUpl6NYW46pHc4iQ3xqHpOvh1JStlDNVFJTWNrOQeRTaH5ZupIgv4TJ5MJYqJJPP1KQoEEyEYUV3RiZsxnqditVqTCyVjFLXCCzQ8MRwiRwvFIcko9oWJtpiAITPk999wHYDZS2Fqm3dOL0D1Iv1KjUCvjsDsrlLTwnnuWf/cbf4c9/ssDoYAi/1YLN0WA7UcFcL/HWB/+ezc9+iivYT9nZjym7irmtj8L6PPXYAq6xL1PcfYTBYsbpH8ZSjIj5gGJsG2tHD/UMmMpbOLoOU4zcp1DxUClGaO4dw9HSRz2xTWYvohm8yz/8MZWAlyZPgPmpOfYd2U9bk4ONWJyNx0sM7h/D5/czPzOtA7FEHLY3lzn79AmOXnpFCZUVR4BaNEdh9SZFmwNzsA+LiCf2IRoS+Ujs4unZp9UdFZORcipKcvY6Hfs/h8FbJ72xgCM0LOKzgqfkUK5VChgNuzjczTjCg9rOYGwagdQyb7/1M9585zE/vp7Q2sBDfRY8DmjyeegeGWZyeo5SrsrIWA+R2Q3mtxK8+Mu/pJVmYjXK5ys47Wbu3rmrVThSnyP2ztmZOTa3tvn8lz7Hh+99ol2y8USMyYmH9PePsBuN8c1vfJUbN27w1o9+zquvvkJzSwuXL3/KuWeeJhVLcke6ygXScvq49gULDEWeYjIUrUe2WVmaV1FElMrJh1McO36cDnmQR6OaJxVhIhRuYXb6sVYFSQ2PVGdJV7eoyi3NbWRzWdaW5zTGIMThelVq1nZoVA288tKLfHT9Ux58epVer51MLEVTsx3sPlaWV7Fa3RSzOb79G2fxetp1M/32O+/xrW99VVXteCpJX08/qVSclaVV9h8+yN7OtlpORSUWJXtpZZn2DlFml/D6vJw6fpI/+7M/Zv/+Uc2i3bnzEE/Aj9NqUbCPEHKtLgfbm+sYLA5Vq7uamxgeEcWzxrf+wXexNwVo95qwGg3YHT4eL6/hbm7h3Ksvsrg4T0uohUwmTyK6x/C+Ic2miQXM53AreTQWT2F3iq3yEQeOH+PEi8/yB//od2itJmiYrCrQBHxWXG4fTovUsyW5fC/F//ilAwwO2rA0HDS1dhLd3VYwjwxB0fgudouDaqPMnXtTDA8M0tYRppgrUqlWKRYytLZ2sRvb1gt339AgH7z/ER6XW3OlYhu32I0kd3ap1I309w/SFTDyL//4LT56mODUWBMDHc3MLe2wk8rokJizWJmfTfLTP/wKl177+yQWvkOt2EQFK/bGsjqZ6iYHNvFK5jewhQ6p5d9YiWAwtYFRHEebGJ0eTOUS1dIuBlsQk8FDw+kEmwntqDFlMRbzeMI9bC/fYfyLf8pIt4+gU7aRNnY2xB7cUMCkVF+lc0V9cEaie8Iz1ZxnV3ubWgrFWbG1uYrN6qQqFvlwqwIkK/WK1vfIRsTvC5IvpEU/VXujUI+l9KCro5079x7RqDVoaQlSzFcUWCTZfYEcyoC0uxdVwJWIKJK1rTUM9A90a3OGiAlia5UhrLunh6WlVd0yu5xu3azIAC692ffu3mf8wH7cdgdvvf2O1qSNjA7pBn1+YVVpzkJon38sFHY3gwODbKytE2oJPHGXFCtYMEoJD4/nJ+nq6iUe3dVue6dNAJaPGR0dxmk1aZe2gMwkujTYN8QHH7xHS0s7h47uZ/rhhMIEZfgWMUO2hyKCCIV9cmIaf9DP1voWh08cZWriSb5bHDRyBjRJS45V6BEG/N4A01NTdHV1UKqW1anw9V/+Kjeu3qZKCZfVw+zyglonpdIsHkspXXh2ZgYDZg4eliFVhjOfZk8PH9vP8uKqNrqkEtEnDSRql7exODevtYEXLp4jlypw9dYtWsMhLFaHVi5JC4hsVEWQEauuy+2lUS6rtXhuYUGrs+RSKOC60ydOaJWb/IXy/gkBW8j7Fy9dZHlhBYvFpLWFkpEVB4lU9YmLpL2jlb1IlIDfTyaXY2VtjUOHxllbW9f61I6OLt1q7u5u0tXRQyaZplDKa+ezpA0lRhJL7OnFUrgN4niSAbQpHNTPqnAq5CJps9iVLP14bpax0VEdkuQz2NrZQpNfHESbmIxOjhwc10v7xNQ0bW0tlMt1/dxJHeCD+xPaBiD95JL9lwu2ABl7e3v58MOP1dUgmz5pwBgdG9Uz32K0MjExyaEj+xXwJnwCgXctr24o7fq55y9q3MxgMKmT5tbtu8oykBpEsWZLU8rG5hrDg71MP15Ut8zzzz/D9Zt3yaaymo+9f+8OL718UZ8jE9OzWmNbrjaoV8t0dLaqo0RiYVIx90g2vV39Cjnb3tjRrbDAWhoAACAASURBVGUqFeMLr7zKp9euMjk5xVNPnaFeK3Fw/ADf/+GP6e/px+oQ+n6Cri5xQ2nTnw47fT0dOH1utYTLtvP2rbsKCBQGyOr6+hN3ZEVI2RWNZAiYbOLhQ63pk5hEV2+PRiiE4yGfDXH4+N0Cf6yTLeTUsdHR2sza8gaR6I6KMVJ95vK6sDQsOHxOUhIhKBTUkn//0SMOHThIR2ubwsxW12Q73qs/k4h0wiWQuNe9ew/o6uhWhkZcIhPlPGfPnNPP/JUrV3jq3BlthfB5fRrR2Dc8yseffqZMg7H9Y+xsbeu2dXVrncP7D1ApV5l8KA0kboVvCbNIrOPxjQitg90U2gPkk1lOnZJozoRuy0VoMZoNjAyNEE/EdYtcqVY0c1uXzK/Lyfj4KCuLq2rRv/TCBeYWl/Qz7nP71alx/ORhdSKKa+T2jTt8/rUXuXnzng6F0sfusNq5cuUGJ88c5/H0rMLxBOYqsQ4RoEQwEFieNpK4PGxsbarrVh5Dwtppae9gdXGBQqWmZ740ljglCuGQaJdZ2wqkKUiAliIc9A8NqhAUjybpG+zjrR//nLH9wxptSKbT2kwinBWv26NuH4kmStOOVNeJS0js3lKnKowAcQC5HXZu3LrL2XOnWF1dVyFKAHYS+7LZzNqkMDw0RK1a46EA6bq76O5p596te/QO9yPZofFD+/nOb/8hzXY3iZJU17kZ2j/I3m6CSixDolam+dw4pnRVAP2srm5w5uRRjXiurW/S39elUSu5v7W3tvDxJ9fYNzSkDoczZ88Q2dtWIVeECwGmSTuDDORCuJeF0sOJR4zvG1eCvYg/4jgRS7zVblBmRblQ0Hrp+zdvYXd6lJovdYDyvRBhXlw2ch6LmCIuM3G7icjl9Lo5eGBcW5ok3iPCoER/g6Eg5XxZXRWymAr4/AwNDrCwvKy8KxHp3OJMSib0e7q8tqb2edkWy9ZfYl4CZI7v7tHW1aaxh1AgqGwsOT+rlTINTPT3dv+1Y2dRbf3jB8a1Jva+OIikQtfrYf/+MWU49fZ2q9vBZrep60tcU3L+inBnQerGJf7fYOLhNP1DPawvb+hdQGpfpeFjeLhf2RmVTAlfqx+Xx0o2UWDiv13G4YFgc5C5lbi2LnlMDSJpO5FMkQ+/ZSDf8GCyuXj3+irnj4SweV1sbTxh/8hnYWGhyHokzcvnw6TLRYKhJmZntggGvCT20gyPt7A2F8XkMPLcC/0kl+P8zb+IcG+nymunQ6xGcjhMJtqDNiYWy6xsJ1mb+z0wBcmkS5R3VrB4/ZitzZQTa5htZiqymC4ISLiO1dpKvpbF5nBTt3ciGahycRNrYZeawYK57qRsquEopikGjmDZeYuaOFGP/CrVnSkMVidGbxelyF2t8zZYrRjLWWwy+Gei1CUmYPeo26cQXVYXgKU0Q80axlgtKiegZvJAZgGDrYVGYYNGNY0BO2ZHH5XyHhZpoUttYEjc/p2G2SJWpCgOq4dGJUq5VMBqC1C1mJUun9mYwNk2RLkof0kdi8FCtWHCXE9jcIQxmtxKQWy4g1DYo5bdw+ZupZrZxth1FrJbGJxBtYI2NuYo1bYxucKqhjeEmGjy05DKhEoco82hGRwSq9TaBqnGpes9gc1zgkpyEovVhaWph/LeMmYKlKlh9rRTc4UwZHcwlMtK9K9ktzDZg9QrZSqrfwXOXozh8xiSE1ojZPAEMNtbMcYfY+p+hvzuJsbaCoam3icvVCmOsyfEr33ld1hfizI01svlm9OcPzTMvZlVVreLLG39CZXZRdKbqzgGntIDLL01h8sdVrsWdjuVRpXq8sfa9Wgb+iLVzBwIDbxYw+R3YTR6FTJkSC5gaj+HqbhDLjqP2R4Aj2RH/frfM5u9LNx4i7WZ6/QPnOXavbusr+1y/umTCiyKZ2LEdhMEm1ro7GlmYyOJ31TjP/7xzzH5XPT22vjK60/Td/GblDfv4Kj6KVs9ZAsZDKU6psYW1WyZSq2s+c+W4Qu6VaqWE5STMSrZbZz+buqVBMV0lOCBS9SLaa0SKUdjpFMFTE0Bchv38QbCBPt6sTW1UmmkKaVi7Kxtc/L172im9kuvilU/xu5WDIuzhsfhp3+gmUyuxr3H6/zKb3xLQSUzk9N6kada03oTySCdOnFcD8LdSFT7cCVnKvA9o4BNEkk6eju4c/OOXm7Ehn/xuYs60ErONuDzcufuXQV+ybbg6JEj3Ll9X2GBfhGuqkU9sC69/IJCXH7wwzdx2J2Mj4md9D6BZr+CS44cP87N2zdI7MSUtO/2+rUibC8WVSup1eLAZjWrlfHe7Vus/vfs67d/69v87//gf+PpixeIJ+Nsb0TpH+9Tynd5eh6L38rdW9M8e2IIXyjABzenWVjO8ufffp7O3nZ+/IP3OH/xAm2tHvKZMjaXW8WHcEebWpjXl1a06k2yX2KnFmueDG4vvvwK/+W73yGTKXDw4CEc1rpSrNfX13Tg+NnbH/H1X36Dmzeuc+6ZC1qdJl3WvYOdzM4sMNjVy0YsSl93N/F8mX/5x+9zYLRFO6qDIQ/LE6uspCv8sz/9Az555wNCbWHcNjs/+MEPePriRe1x397eYXFpQV8PUcmz+axSxSO7CRpWE89/4UX+6B9+m8jsOs1tHh1i20LNhJudLC5tkchBKZnjtc8d5GtfeZFcLMLtB3M6wIlnQ7YPUrsWCvu5/ul1AsEwM/PzvHzpGeYWFyj99/fy4PgYyeSu2p7lQi2E9xdfeJH/9uaPeP3Lr/L7//ZPeOG5s9qf/M4Hl3njCxd498oU795eoSFDtcXAYIcMmbAQT7I2U+a3/+4ZfvH/+D8xYMG08BnSYVOxNsgsRnA4bBhKFYqksfpPUi5FqSZuYRGxre6nUp7GWDdjcxjIp7J4Os5QKEcwVRI07N1U87tY7W7MlmYa+QSVwizusXMcO/Y3WI/V+PxTYe1GbmvvZfLxLHvpKkO9vezGdunr7qKjt1sFHLnsyrAg1XV1cVRZbXSLVTke08vL4aMH+d5f/Zix0SFGxvexsbqG3eognkmwsx6lt79L6c9NQT/RRJTRgREdAn//D/4t2WxJt16ybW0NNyuQUOBfAkqTujaBAUp/dXOwCZ/k9fIFtWaL22Zq5jFdHZK7jHLm7EmtLSoWy0TjcVwulw4N4iBQXovFQDIW0+iFWMiFJC15N5fbpZcM6UaWbY0wQ8TyPtDfpXECi3QZNww8de6kZjkFpiVZ2Y4OYYSgeVq9cErPdrlGOp1UGJbA/gRKKnbUaqWo9WcSu5EtrgwRUpMYbm9VsJjQ2GXrevTYEaYfTRMIevEFQ0w8fERnZ7taosX+IjV4Ag/c3oioZVJcTlLddfzYER3iwqGQbqIXllf1O3Pg8EE215dpb+9mb29bozmPp2Y5cuLEE7v68iInDh7Umjixou5sbmjGtm+om/heUgnOA0PDlMt5tboLfdxiNbK5HsFqs2rUQ+jSksscGBzm8ieX9ULo0hpDiQK5dDjye4LMzc6qg0KqnsRhdOPOLdrauxSeJ69Vw1Qnsr7HoaOHmJ+fwmqzK7wwLlDSYACP38P83LwKk4GmJhUPLEaLWr4tFgc9XV2sb66qG0AiSRaTkWBrO3du3eDps+e5K662fcPsRKNkEkmCzWFlvEjOV4YHgbBKxlW228IpeDQ9rfZhaQSIRaP09HaxGYmqvVaG+Ht37vLK5z7H9vaW2rMlHiR8C6lvK5arKlRsbUbobG/TZpPF5RW9xGt94cg+hQ0K20H6q+UzkkqltBpNBKl7dyfVbeH1uenqFmiiW7uvNzd2qFZz9A+P6HkoNPXIXozRwQFqckco19hc3+DZl57lh9/7iUI4JW7mMFs0Sy/AuIWlJY1+BTx+7t9/wFNnjtHU0kRyL4XF5eDqZ1c4evIot2/e1rYPids4PH72Iht4fSGmph8reNHtsenPINZveT18TUGlzHf39TM7PaO8GoFjOn1OFb9PP3VC6yU/+PgjFZElNiKvk9i3BcYor3nQ71eHjnxHBPwmQrfAdeUzJdOn1LwtLM3R0dZBc6gZl8vPwuK8sh7KpYqKawJWq9ZruiWUJYZkzCWjXy2UyJVLyt2Qbd/C/BJHjx2jVC5qTbDVZMDu8lGvV9ja3NJGBIkJyIAlLJClxTkOHDzC7lZEbckyyDUFxC3g0Apd2bJK1drT555WoKBY06XC7vqHVwk0O3W43d6N0tnfQ3ozQtVgwn92nJxso0sFPQ+OCcxzYgKDyUBbSysZifIVitikNk2iceEWhXkKH0WGyUw6jc0pMTQh5jRUcLDbXawuz9La2a2fIaGzh/x+5RrIoC2fZRFrBSDYO9BLuVDSxcbunsQj5Du2qGemDto+L6lMmiafn62tTYX9inU8nUrpezC7uKhxHoklSe1qKpFQkv3Zp07z53/6l7z+C1+iWiuyOL+A2+Nj9vGskvElviH95dF4jHqjQbVYwenz6O9coaqxEgHmCVhWht1iRSzQT2zfdpuJnr5+5uYW6O3t1N9DnFuVfJmyoaJi78b6NoPDvRRzJUQR3N2O0tnbSmQ9oq+lMHJEWo3OLNPplGq8POlqlqawOPmitPk82INuXEf7KKQqdISbWFne0M+GgEidFqf+nDL0DgwMs7G6Ql5AgPWGgmS7e9v4+JMbOujLzyhQzNu3bqowLs4EcZAI80G2ulKn2dPdoa6Hyakp2js6tbnBYrIpbFeqGAUQKnHEphYRvZYxGKzqlgk2+SgWS9qicOrsKR7dn1IA7ci+AVbmVjhx+hiR7YhWP25sb2tFtcSjotEk5585w8baAsViQxk2dpdFzy5pUxLezcjoIPduP+SLb3yeyUeTFMt19iTSaTFy+vQpFpdWsVksGksJhwL4gl51ygk0UCqCR4aG2Vxb1+fs3/37f4cf/fDH+l4H/E36fBeBQj4b8u/yXohzxesVMGtK6wQNUnvoMCtr5cIz57C7vdqC1dPXxXtvf8grr7yoEbFYMkF0L8HB48JsSLE8NY8/K7thgZUaCYfdxDcTWKwV1pJV9op2Pvh1G1tred6bLHN6LMjZ09389J1p9tbLnD7by+CAkeu3YtQNJU4eaWVjJ8v8fJFcLsf+fe0MDzr46GPhrAVVKLs7G+e1Yzb+9Y0mZtb2MJqq9IacbMcLugSRcy9ZzjO38hPqOwYSmSj21ENKtiA2z36qjRiG9B4Gbz/12H3MUnXvbKWaWsSW3aHmMIJvHHOxRDHxAGfTCcqZefC0YDT7tXXOVPdQiE1idnqwefspJFewWR0Kem80ypg8A1BPQtlGw5ClEpvA4pf2AYd+9gyZDNnEHWyuEer5BDL7G+37aBjLNGwt1Ivb+noKVL9uNmHI7GF0BrRFxrBz7bcalnIdq6+DksD/iutYLM1U5Y1sJGk4m6mvX8Xc9ypkdqgZMhhsPRjqW3oxsjYs+pfWotOY2g5hsgaoL1+l4rBhNXdSdxswGsMUEjM4TE7q/nbIxsDVRy1xTa13tdAZGslbWBo+ykYx51vU6mWWPH06CcYsde8wNrFCVHNaZ2cqxKhWktiD+9SWXjdCPV+i0chAw47Z7tbqP0N4mNrmPerp+5ibf4m6y0c1sYwp1IExs46pEiG7NkettId3/+eoObrIxReUPuobeJ6/9wuv892rm3zufDcb2wlag16yZLl6K8Ve9D0M0T12lh9gKmexhwbI13OYK5LTKVBI13C397B96y1qoiid+hrl1Couo5VcNY/D34eAYwzFDNW9u5jsrRAQS4hU7ZhVecwnk9RL2/j3fRFPyEc1tguhbhrscu2P/4DHS7scPX+ByZkJPWQPHTtCoWYjI3CSgRGW5x+poi+X+MmHs5w5PIarqYnxsZPU6wX8Hd04QyFqO/NUjR3kE5tYy1uYXD4MJKk2HYVMknJsHlv7Qa3oK2+9jd3zFEWLg6DNTGb3M2z9X6QQmdZctbXJBakCBkcbZnmAddnAHKKa3uP3/ud/ybf/y2NOjnThCTc0GpDcieEKymXTza1b87QM9vLyL73O1et3tc6np71Lc3BCfK/Ihbxm0GqwvVhcc2+SdROVz2SwqiX4/Q/e5tkLzxEOh/nJW2/x1Jkz3Ll3ixeff4nFpWVVcI8cPap2VulBlS1gd0cv/qCHa1eu6WEqmyx52KaTOc2SXbtyg0svXdKavUQ0zpff+DyfXb1GR1sPR08c5srV6woCdNrMmoOTHm+pUpJtq8Um1vcm3UzId+bCsxf0gZPe3WN6cYHph5OcOjZEcmWJxY04AoEQ90Ooq5VaMcqb//f/xL/5D9/j1PlzzE3MYbaCx2vVwVfeDzmIRQSQrmQZfDYjEa1peTw/z/07j3jttRd0WL5y9SpBX1CBVJvrWwo63NnZYKBvQG3jUonkb/brJkNWcFJJdOvOfWKRBAcP9hBu7eB/+d03sbjqNLmaSBdSPHV8jO++eZ2jL1/gG9/6H1hbWuW9Dz+iWwE2Fu0DlkHoe29+X+tpBoYHGOzv53vf/wGixEn1TmtXO6lCjqXJaepbm4QDLo2GlBpVbOYn9j6/182DyWXsJgO/87df5dIXTvMX332bUqpBoDnA4uw8No+FseEDSrle29jGYqnRGuxhL73B+uoegXCAns4Ornxyi69//Q3y2RTXb05w5Mh+bt66x6UXznD96j0S6QLf+Nrn+JVv/WtqHgfPnurk7uQuOxt5TpzqZ3Z2EaPJRkdPM2VDkf/1y09j6xpldHgAT38nNFqoWnLUIqtkthfwppJk5VwzmjE5+zAIKdbXTykdwRJopZRYwlKrUvN2U85uY8ntULe3YbPVKOUq1Cq7VMoZ2l7+FX7ra9/iX/zXbb76jNSgFYnFs5SrRhLRHK+98RL+1nYWZhYZGOjl0cSkWj9luJbsZrVSY2SkV4cmqTTbFGu0WvZzmmuXOrdgUAbkDqVoS+5drPIy4MnmNrqzo+RtWbM1NQc1u1iuQzK2q981GRzFzivZXRGcZNCUAUOiGgLqEtdBMpVV6rdsiIQcL0A/oeFb7A7Ghsd5OPWIXDbDCxef4e79RypuysZDBAwBlDlcTnq7O3Tw3tnZo1gqKaH+uERk2sPcvHX7SQd2saTnv9iIZYBtCrXQHJZsZVK3ZJqlNFvUJivbMoGL2uwOdnY36Wjr1O21WB0FjCbng4gesiWWRoSDh8YpF2osri2TSSf1UiW1UB6nW7vppycm8fgDT9oXqhX6egfY2dtRgKAQpp9U1IXYje3R29GtG26pISuW8ji9PnX4CIhPstrLS6tqwbzw9FkmJmdZXFnDZbMwNNzLwPAwmxubrK9uqV1WYgKyFRdo7sz0PM2tcs7v4yc/e1e30AKju3/vLmfPPsXu3g75bFaFVcmWSsVjrV7GaBbRt8LOblSBbAIgC3r92lMtLQyy9ZXXPJNM6XbM73NRVYdHXC/U4kiolPIqjqxvbes5IrWt4v6Q+EnfUD8m6jhsdkwGM3VTTQX/jz65ytkzRzQzK8plVSjGMvQN9PDRh1cYHxvUjXsisUdrRyery+vsHx9V2J1kXnO5KiePHuLyZ1fxNwcVRCjPQ3FEiTAkroJ0vKDUa9nWlYtlveNITaDUYzlVHMipiyXoDaiDQxwjkrMvViu68RRKtsQkhgf6+OTyda1RHR2TqrsdiqUCHrdXL27CgmjUpbrWrTWRIeFhSA64TZgsTgVfigVcLr/lYgafR17fIsNDwxq5kOiJcDfypQpzc4+VlyH/OF0OvE63Ch7zi0/cA+JmkMiZtCG47V6aJc61saWCjWxXz54/weryJleuXtEYi1jJs6kU+0ZEUImxtbHNsaMH9YIseedkNsP1mw/4xi9/hanpKYXWnXrqKd55+90ntm6Xm1BLWLfb4gbY2I6oXdxiMWhFWNAt5O2Exju83qB2jwuQansvooLBvuEx/RzIACzi4LAwWnajKphL/7zNbsbrCSjlX8SE7t5OHty7j93hVAu2NO8IyDAWi5FKJZTzEm5q0cHH4fQoh0biAFIp6fK4GewfUlHA3+RVV4Hk6r0OD60drSr+zC4taCb4008+ZXxkjFQ+S1enEOtXlTfR3hFibTNKpVzBIL3gbhcbC3sc/MYzHDh1hB9956/o7uims7uXK1cv093VqQBRif7F9na14s4t0LoFqZnz0NrWTqlaUTaECKVIA5VJNvZWBgcGFOwnQo3Ur25syiY6ozV2y0vLGm+QLWxMhvV8AZSVYtPfRyI98lmQbbC0BMgZKJ+1ZFp4A7KhjjA+MsTq+ibxmIDsHFx68SJvvfW2Ov/GD+5XrkQ2myYZz2mcSd5Tya8LRFL66Yf6B7UhJZ0p8sLzZ7l65aZGyE6dPEG+WGB6ckabUyT6I+fgzNyc1pk5XcItcig7KJ/LYDSY9Ny12oRXIeDHAS5fvYHf78JusShjpKWtRX+HRDyNw23nyP5x3n73IwYH+3B4vaT2dklNreG0OkmkUzjcVnUqLM2s6l3QfKQbo8VIZmMPp0PEy1XlvITb2ng8PYPXHyAt/COrmVQyx9DoABXZkqeS+LxOfL4mda3JXa853KLUfYEEWi12deJIBZ5wU0Sok8rYtLRS9fYyNzPH/MKS2uKlyUTOSWECSIPC7ev3tCWpXCqqQBPfjWk9azwlvKZWdRqJ4OKwW6mLmVu/kxVcLrdGwq5duc4bv/hlbQtZXtzi6Mn93Lhyk3Qmr88kqU59PDGttaPrG6sKXPzks+ucPnVSq/mktWdqcoFwW5POF8I8OXRojO3NXXVvWR0WdWLI0lSAg1uRTT1jRBh49uLTFPIZ7tyawmJ+8p5KrFAFP98TZoEAXbt6BjRaIe4AEdbFAZTNlHSBIpFe4cu0tgXY3IwQCDSzsbJIuLNdq7TLtTqx2R2akjlMQRftnR4m7yxrffPnL/XxL95c5Z8/b+ZXn29hYqnG+nwEb5MJDC5cdiuR7STDwz5SAozNN7CZq0w+ztPRauHYyU6mHmwQavGwuZaircXB5o6RdCPDiU43v/1eidl4hX1NBraLNUaaPRwbb+ade0kq29t8NPE9SoszVIw2DKa6guUL+Qam1HUsHa/QaB/BklyjYg9gMRRpWMJUo3MYjMKGC1LLlzAYqsrhqTdK1Dyd2DCRTzzA5hjCbClRd/XTSAkHZQ2Xd4yKqUYtsY6lKUx5dxFTrUCjZR/1bA5jIYKp6ag2BNQMVSyySDe7aQjrJCmC1y4m7xD1bBQDRir5dapGD57ukzTSe2RTczjMDgyJD/5eo2JxYHXIpmkb7B6MVh/GWlY35fnoNnaHCWOgj3I+hsXdidHbQWnx55gaFhq+MPWqHXMlTpUC9rYL1MvrlLceYg/up1iKKtQgt/GR5hFMHc9Bdhq71CTEpsgtf4rn+DdpGJvURVDKzKtttk4FU8sxKoV1jMZ2bMYa5VqRhjgN/E3Y614qxS3xuFI3+DBUM1jdNkrpqA6rFgEQthzDJDxfdwi238Ps7OH/5+m9oyNNr/vMp3KOyDmnBtAZnaZnpicniiNmjkRSYaW1LK3s1TrIu9qVj7179uzKCpaPpWOvLJmkJFKB4ohpyMnT09O5Gw2gkRoZhVAooAoVUDmu723bOkf/8MxMB1R93/ve+/s9j9FgpRifxj7y82SX38bmCELDOOZykdThGnZ/gPLmIvnCOu2f+z95buRF3a5/9pWLfP8nd+loDdLUa+eH7xwQCv0JlZ0DUkdVbEfrpPNmPL3nKKfClMvi0s5TrVnw2IvUTDUym/MkY7sULH5qqT0CXR0Y7X009p6lUouTioSw23wYa3nylg5slTC1kpH9mb+kceAKOXsAY6mEu6mD1PZD/J0TZCKbOK1F5h/cIpcBl9+tECGLw0m1aKBvbIJUYo2Ll1/lxvvv4An6iWxvcndyi2dffZKJsV6SeQMdve3UNw9TNaYoF63Eo2FM2Ty42rGlp4mnEzjaz2PKl6mlFzHanRhlgLG/isHkxOYMkA9dw9Z8knx6H4u1AaO9QjJaw0oWd9sQAV8Z2ur5i6+/wz/6J9+kp9OjL4q90B4mu4XmBj+R2CHhjQK/+bv/BHNzN8m9MHevX2Xk2LiCc9KplKqkBPDU4Pdy7eNP+IVf/mXeffcdWpvaNCJ648Z1Jfm+9OLL/OZv/nM+94XPa0RpanqGkeFREvGYUs0lFi2WgnPnz6kK6G+/+yaf+fRn9EE192haLw/dXX06ZRNgl5BMJcYlgJ3DZJKffeML3LhxWz3pZpNNu4+yBRHy/htv/IymZWR7JFAbce6Kvkg6s22trVoV2I/sa8TOIVqsyBb5/RBzd2a5cGFM/y6kv/9nb87y1//v52hp9vH1P/sR5y6cwmEz8tFHN3n19Zf1EiRatAeTM1w4d0Fd5HJoFUJtoKGR0Noa9cE6nb4eJmIYa9Dc1sH9+w+UYC7kViFgi45MyLLBgJ/hoSFVtnR2dPKtv/oOP/OVL2u8mWqGWzNh/vInC4z0Baim84we72dufpmkwcpzn/sc6URKO3ASE5UIdT4nl88kVy4/zZ37dyjnZVL7JEtLj8iUi7zy3LP83u/9Dk9ceUbhWd/+5jfYezDHcG9Qu69O+Wx5fGyFxBHeSsUovIZdPn+ln9/8Zy9zEDXzt3/1Xfx1bfT0NOrP9dt//UPGRgZ59tlLTM3M09joZ25mkaaGJrUsCGlXBjByoJKhUXtfCwaTleX5TTKZHV5/8UV+6w//ktXNCOf6etg9qpAMh7B53ETzWSh5MJWTlEzgNnlY2EgSr0GnD3qabQzVmxk5O8RLF88y+PwVcJTIzWxTMJgxWAKQnaPmGsRgr2KhkZIYWBL3MAf7MBUTHG3dxtn2kna/FLLW0k1sbZv2sdPc+e7vc/nXb/LK6Xoa6qpMz6VoaHZrZLBYMuPwN7K5sa6HHokhC+l7dOyYDlpu3bipar652Rl29vY5c+ases3z6QKtHQL3OtAt7PLaKgODQwrvkot070CvXprkpHmPjQAAIABJREFUECyayOxRmngiroc6o8lMQ71fe/PaxTObtX8s/WYB1gmrQ5RVogkTCrFsAcUTvRfeVxCRbKsSiRj1UplJxzWhIUBGOSSJkUIsF++/9wGFQk4Pb4aqQQ/LcqmTjqTEZ4V0bjbU9EBdrZRwOH2MHx/VqO3G1roOEB0eh1Z1TKUqH1y7isVk5tWXX+PqJ9eUKyCplFRKuvei8lvSQUNne4cOog7TSd1StTTX6WXM5bEzOS2b3kaN+QsISTbscjE2WSDg8T7molBVV7hfoKKRiOoKYwcxPeiL83xqeoqm+kZGx8Y4iIY1fu7zBXUbI8MSee7k8nkFa8pAMrS9o+R0qVHMTD9U+4LTaVbvd1Ao1RYTN27d1AO9w2mlZjSTz+VUWSfgUyHih0IhPcytb6zT3dmFzeXi3s17nDozrupOSUCIMWI/sqffDznkriytq97PYLTgcEqP0qRRZ6k66IYrtMWps2e0Py8KJElNhHZ3uXBhgng0pdHtZ5++TFdHD/NL86w+WuXUmZMcpg6JHyQUpDr9cB67xcjY8TFWVjdpbqxThdnNG7cINNRx/PhxvZzIcE82+RJJzpUy7O5EGR8b1pi/XHiE2C0Vh+mHD9WC4bTZCDY0YjDWyOeKbG9uky1mtdddM1WIRRIE6nyaBDFLJ7a+kY6uZoUOzswscvzYIOMnT7C7u8++mG38bo36C5fIbjfhkK1kpaoXcKmESORbBiGb2+skYnF6enoUgii6S7EcdHa28cEHHyvo99KTF/SSJfo42fKPDg1y8+4klUJJtVrCmPC6fWoEkY6/P+Dn7p27ei6ToTKUcTvddHV3cu/utCZK5PJdKVbw+n0K9xMrRWtTk5LZA0GfRnolqXaUOOLyE+dZXHxEtVzi+OnTJGKHVCplXD4/mxurjAwOMiN1F5/AJbN09XbqkPjWzesKgB7qFTNPguihcAc69B0ptRD5O5FBfEdbi1ZapLoiQ2C728n87Kx+hkVnJ7BPqdfIZV7Au/IzlMvq+mqIjs5WHay43VZNA/Z2DyuoVxZD8mvKZfNLX/qybvgfTN7l/PnL3Ju8r1FzuTBIcg9TjfD2DnNzy6pAE0vE3OxjmFpPd5detGQw9cIrz5OKZxSCKp+vJy6f5c0fv01kU+Li7axs7NDe2qh1urW5DRxeG/b+HsLZKB6bS7WIUptJZhKcOHGK5fll+ob6WVxY4JkrT2v/eW19k4b6ILdu3VO1qFy4V1dW1ZtuEnqO08Hb77yt1ZR0MofL59ILZzFXpm+gX/8cUtHyyrAon6Wrr4t8tszhQZREMgpGsyYcA8E6ff+7vR4m797j4qUndLAjznmB/7W1dzC/tIjFIBfMoiaWhN5/99akprSEM2AwmnU4I2k94U4sLa/pmclX18D2+oaaFBx2M5FwTJNPwuIQpazQN2WY2dzRhN1iVeCfgInr6ut1UJnOZBgZkQRclc3tXQ4PDlW7l08fEdmPc/LEuAL4+vvFwpJkZWWFM+fPKsRQzCyJdJJCJq/Lvnwqx86DZerdLrK5Am6fE7/oCh9tEUkU+MxvfZGHc+tsLy0z0DdAZ2uTfscFjivvDDFMWKwmVlZXsJhdVAsFYvEodfqsqBCLxgl6/GoKkMqS/N5f/+lXNWG2ubFG/+CApiYsNgcHkT1sFqf+zGToJgOOYqWohP+tzR3aJQnkcCj/QIZ8jS0BVtdDqicVeOeSDIf8Hq1Wicno/NkzrGysqA1EbC+yiNE7VOaQWCyjbBZRNXo9PgUYynBZuBkyQJbU0NzDRYZHhzCI2SiV0vrp+NjQY8DkRkj/HakpibVFakqhzQ28/jqsFiPL66u6dDBazbzxxhfYWFslpt/hff2sUobBYwMsLizrs0KqL067hfDevr5/z1+4oLWpxoZmqkVJgxzqr+FwWzThkTnKMTX9QD//V9+7yhc//1miqQQzU/fok5Tm0iaRyXU89WLdqVAum2l21rBaS7x9v8Yf/VorL7QXub1S1POC1WykpcnPdrhAc6MNg8FFmSMySaMqbE2WLFaDkfVQhYF+P+0tJh4tHtLe3cCDmV2ev9ir6Z9f/sYOsQKcbfVwdynNL326T6HlH68UaMDKXPiPiU+lseaqlD0ZzIWYxMhJ13z4Gro5Wv177L42jM4uioe3MBibMXnd1KryvUhjsDmpFmxYPEEKhSNMsQfU3D2U49NUbS3KMqmVa5Tj+1ibOyTfSKWYxmwpyb+OoW0MEptU80kIdmDMxqlZ/BjLBWq+Oqrrn2Csa6bsHMNiFJJZAUcurkaGdDqEQwx3hkYq2WUwVTCZmkEWzfFbv1MTQF85dhODq5GaOUA5tYPF20UxvQrZPUzenseavewhhooNk9NEzVCmbKjDWkqSLefwNJ6iuH+LSmwJ6/BnqIqKSWYPDh+GVAKDtYKxnKJaMlA15jHVgtScAUrRVYzmJEZTEzWLEVMpRcngwu5opljZw1JzUi2nqBztUWu6jCm3A/ktqo5OTDY/1ZIA+GwYc9sYXY1UcvKASGN1j1NOXFUFjMV7DKv3JOX8HsX1H2B19WJqEBfzBhabiUrNj4EstfgiNe8AhcIh9mKBuhd+ls+e+wyFXIKxoR6mQ/uMDnRz694sd1ZqZNZ+F1JV4lUT7lSCVPoQd72PXPwIs6sOjAVK2QR2t3jZ45Dextc9wd7WI1yueiwGG4uL9+gaGcdczNM0OkEyPKsHydbhMyTW1xRkWD7aw1qxkBOloPAX7PWPKZP2MlWbD0vZj7O9C3JpSK6QL9sJx1ZZuzPJwsIaPdLF3tqhYnBT5zHQ0jOOkTTZwz22t5IEGlqIhB7ROdrDUHMA38BTNHc1k8kaKcVDmDJHVH1BHNiJ7s1isvoVWFVMWTnKbxFs7sNcrZKvpDXmaMjVMDgC2o90B+spHUlXyEc+a+QouUrvZ77C7b97iye+9AdMjNTRUm8jU7Thb2igu7+VH//V27jbG/ntP/73/P233mR57qEqo9LpLIlYVCNT21vbOiHt7erG7LTp5FQ2RxIrk62Xw+NiblpcuAJKWuanPv06s1MzOL1eJk6d4vf+7R8oPMjn9uDxeh9vP+JJ3Up2dHZqJPTCxYt8+MH75DJ5nr7yJO+896E6Y196/nk+uXVTO3MS9To+foLUUVojxRJdz0unyiBdxLj6VoWU3tPVRU20VskUsUSMukAQj8fFsfERvv2n3yaSOGCgsZ7QzCwXLp0gkzvi2o11fQCeON7GH//rr/DR+x8xMnZKu5OxWBq3w8H58xeZnZ1k/tEiPZ29XL95jZHhEeUUHKVTNNY1EQ5v43X59RAsl33pu0vX+egopX+n506PUyyLw7msf4/y55H+tziN5c8ktOWNtQOefnKUZMXIv/yd7zPQX6fwtN1YmvHhHm7eXeGnfvaLuJoDJA7inDp5ig8/fF8vodJhE1qybM7FgfyjH/6AX/21X+HRo0Vu3nlAV2cnXqeVs+efYGl1mcUH94nem6R3uE0v633dbcyuH9JeL5pBI7GMkcmHu3S0+PiD33pFCdrVcg6XPUj4MM6d23cJ1rUxOtzH5NQ0fUPdzDyY5ey587Q3NWj/T8wIv/4//Q/823//h1gtATq76pUu/KXPfYZ//Yff5q+/e5cnTzazf5AgW7HT0GDG53ZhKVe4ubbH+YE2fVbZjFlWd62knU5C2zEslPn0+Ra+++MwGaOFoNfAb//WM3z5N36XSilJYfpjyuU06YwFd0MzBUnW2KEqFaVSXpVJNumMZtYwN4yRiYZw2JLEUw76zkxQPpojMPpHjI176DRX9VCdFoNBzcyjzQhPPvMC2UJOY5/nTp3QvrAMq0SzJx7qkeFBrbssLizqz0Q2F0Kx9vm93Lxxl96eXsxWg0aGV+YXaOxo1bqG1MIEqmkwm2jwB5UvIZdwu9vO8WOjWnMJiru9sYm52QU8Po/G0G02E0PDQ0rrFl+wDpIw0dHRReTggNm5eT712kssLS9qGkD+fy92ROJQLll5PZyKcqy5uVMrBaK1WliYZ6hvUOPkHrdTPfTSGRfGxGD/MVVPdnW26MFZBlznL5zhzo17HOzHGDo2jNEgBwqbXmply3zq5Ekmpx5oKiKTz7O8vMzJ8RNK5F9YWaS9tVUvSXJxKOUrDI8OMnlvip6eNibOTnD14xvKJBB4m2yjJbWyfxhVuNj2zr4OPnx+D7PTs3T3dilYyenyKLk5nogppG50ZIykHmgExHWgtaRapYRXuvS5LCvzqzoEkC66xHflwCgAL4Eq1tc16cbw9p079HT3YDZb9CUvl8MNMT84PRplFzVVOpXE5hDWTFbrLqHwLjYZgnW0E96PENuP0iUb5pVVZQN4nE5m5uapC9QR8Ll1M762vMFLL77A1WvXSWbSHB8d1upGoVRUu4Ckkb7yM19VOFlTm5CRjcwtLGiK58b1u3qxOHP2lOr7BP73aGGZ/pF+Ju/c58y5CdKJGGabTT3ao2PjzM/Nq75q4sxJpqYm6e4fJLSxo25xu6qWZAtUY2trm+deeJ6DcJR3P/xIgVnbmzucODHOxvoGx8aHuHP7Fp967dPMLszrpj16EKOlpVUPyTL8lCrB+sYOBiqMHBshfZRUvoEc5mWQKYaCLWFOBEXvZNQ6l8TJH0xN8/SVZ7Q6IaYX+cxM3Z9UKJbBYuDKk0/zd9/5nm6vBaopwEnhawijRA73cnGVBIJsy51ON+tS0fL5dKC/MDOvsFZJ2Uh3WIYfnd2darw5Njqk8Nf93bAOKQQ+hnAcZJhTKHHh/IT+vRSlF242sxsJa/VLOscCXZXLhcDhdvd2cTv8xPYPeO2nXmBy8iGRvbBevCqahEurMi4S3aVYqNLYWKcwNOlqy4VQOB6SjohGwmyHIxw/Ps7y0gIuhxz+7eSzBbUXRfZ2tVst3XypgPR0disw8PVPvarKXVUjpvN093Tohl8sH6H1kPaaBVgmgxCJRsvQLplOq36utbFFK2uSEPS4fPqdEthbb08fE+fOqL4wsreD3x+kvbmVQqWKsVbjIP7YTiMXbdl8fvTRJ9jNNt544zNsbG3x3tsfqB3K6wpQI4874OFwN/nYaBJwYhpoptXnZ2ZmhqG+XrVkbayv0dzUxrHjg8xOix/+8dZzZHSQpUdLDPT1s7y2oQd++d5L3Umgad2dHfqdN5oM+t2Tn3V3Tw9T9x5QVxfUgY8MqIRXU6pU2A/v6VY+HjsgdpjihRefY3pmVgHDpXJNhxsSMRdYpEBQs+m8DlxlCXD6zAR3796lo6uNfCpPQ9vjSt+jlXUKYioRTaehquwem83OwtwKV65cYj+6p89xUQI6HA4+/ugTzl04RzaT4v33P+bU8ePUNTWwtramdZxnnn2SH//oXQW9yjAgWBekQzroW7s6FJUzhvBNBJjs8XvJJo401Tlx6SzLc490QCTddVPVoOepmrWCzxngQCB7wwPMvH8Nj9GB22UnshunsclFKl3AZTAz9toFlrcOOHX+OFtrIRbn5ygVDfjrAjpQTSRTFI4yWOwWHG638nLkXSVJ3eh+VBcrYoCSupVATiWxNjg8pIPwSDjM008/pUrEto4WShXZNhs0NSYMIzlntXd26nlT/g7l9zc3v8TJE2NYbWaKhQrJVEbV01eeu6yXaRmCy7Nwe3dLk1EywM+ls+SrZa3GiHJWng1mo1VZGsJxWlpao7urldWVDcw2i7J+ioWy2gXqgh6tlAUDQVbWVunp7tRL+fLqCj6vm0KhrO/lxdk5ytWywnNlAD1x4bSeg5XXI0nR3W1VOkuCWCCKq8uP+NwXPsv7775PIBDkKJmgob6RkbFjTN6fIpY4VCCu3WBVzWzPQB8tTTLcC+MPBEDqYqFdzp07r8BbqYmEdx4vd+L5PB1uL1N/c5XG9gAlm4Uur0P5XEtLIR5GjXz6uJX/8MUGvv5umMH+BmLRDBaXhbkHEZ5+ppOZ6YguNF55rZv9vQyLm0k6G12sr+foGvTjsZf56MMUJ04bKZZcOpCQNNbfrDswWisMuq1cW9kj4DXR6vUR3jnEV9/Id2//EaWQjczhPDVLPZTFfhSjVAxASWp2wnJoImuyYS2VsZRTlFxBTXTaDWZw+HRAVtF/torNVqNa8WIWjlrVRq2wQSV7qAsuq7cTBL+TX8fuaqBka6CS2sDs8mKsOLQeWhXdfO4Im9WntbDq4RoWhxmj1UNBrF6OQWrRDzA0PEWtKuYBSR4UKVZymEtFCtYA1loGQ3rq39WK21cpebuxN5yifBTHUUsqRMWAFUM1QQU/FodD+5cUE9QEZhA8g7W8S7liwGz1Uy7uYzTYqW5c145+uftpDKUixnIRY61CydaEIb1DzWrFanZQi9wh6xnAZvZQTc9TszfoxrnqawKKmHN75I1unA4vmfAtrJ5ebBKb3foI6o5REdCE0YLJYsVQqVDJCchN+g4RMPsp2upwsE+t4sDlrydVrFI5vI6VHqhGsBhK1NwSo61SOVjA3DKO2eammjnEmAVLUzuO7kv8g08/zw/uJhjuNTMx2IDD2UiudMjmWoy//Ps/oRybJpsxU05FsViyFNMFDJ5GbN4WsuFNPIF6SlULtXyCsq8Ra3WPYniZ2G4GT08PyYMCe3tbeIMdVCpRWrtHqWWzHER3OPXKa+TDCew+P5G1Bzg6LmE1FdlafJ+ujmPsbUxS33maSi7JYWSLut7LxGIbtA+cprg/hS3YRFn6ZhtrLE4/4MbNh+zuHDB2cpyJCxd4/4N3aelp47UXXmN6epKF2VXGRnqYuXWd7uERXvzCz5LPRnA1PUE+OksqNoMJnwJlbEZRNHqwmArEtqYpG+wEhl+FvUky2Tje9jOk9pfw/ZfYeHp7XQ0IzS3jRKM5rIZd6p95if/jV/4N//Fvp3jqXCdZk5nUXkStA4cHKQV0XH79UyytH9DVEtCtwlGuzKPFOa5ceU6hfwGXVy8km6ENnE4rnV2i8GskvLujDy6J0H3tKz+rG8R8Ic/g4IDCrzSm7PDoRkTUMe+89UO++rWfU2+00G7l0iuUeYmsycNNLn5tHZ0KkSvlSrh9flWaCeVZJq79Q0M67ZcLVtDv4+VXPsXs7EOFF5oNcOrMGYVgyYFyd2ebjfUQr7z2Mt/77psMDvRjtbt0Cn64F8Jas7I190AffiNt3RisBf78x0v8888/wW/86pN8429+yN5uhtc/9Qqzyw9JRo/0YN830KMbSemTDvb1acTq5s3bBDxBuhW0dITXV0csdqAxQgH1WZQVEFOH9eKjNfq7u7Uj6REAYyGnkVGhjgsQVDrGsqHyNwX49X/xn/E2OGjyeAkfFWkJeni4GMIV8PIr/9e/YunBQ2bnHqlKS2JirQ2NDI8O8+1v/RV9/f1MnDvNjVu3aPA3aMy5XKrxvb9/kxdefJWl9Uc0traQ2Nzm9vtvMdBch7e5jWJ8n0wyjdfmVApwx7FuvvejGRw2G511JsYHmxkd7uLJyxPs74S4dk82cBHS+Qq9be0Em/zaz/zg/Rs8cXGMkeGTzM7OcpRMEzvYU6jU5Ytn+Ivvvssf/tkNLl6sw21xs7Ufp87j1MhrKFICiwmv00ifp8ZBzYzTCO3uAPe3tzAYnYy1+jhIl2jzmXnqwgD/6a0p3puM82KPl9/+37/Iua+9QX6/QG3zHllpf8bC2Nr7KSZl0Hoco/hyC3lM5XlK5j4MZSNmVz3ZYpiAMY2lLkL7+L/DW1dHk7mA12egWpWuZIyiCT77+a9qRFDeIIfxJP66Bgq5NDUhpmSyGI0G1dlJB1JI8bIh3Ant0j/QhdPuZGs7gt9r15f1fixOPBanviGARXzGgQC35dDT3KSX43w+T/QwytnTJ3TAGNuLaP9dwJRyuJQXnVwI5Xlx7/4UE6fP6EV4dWNND6lSS5BN0cXzZ/n44+u6fZGXlM1sZvz4CaZnFpiavs9zz1zh4CCmgEHpqUoVQHQ6Er2UbXSlXMThcunWSLzkwbo61b9Vq1VV+8m278aNOzxz5UmtxYhyySCbxGRGh3HHx47roPjMmVP6rBDDQCi8pZdf2fCsrKyqdzsQCOgFKVcsqt6vp6uD6amHulmRA5hEISsKnczjDbr0YrewsMpgf+9jErL0ALNZ3Rh+/Mk17G43DXWNrK0s6TBDLukCMRSf+8HePn29vYR3d5l79IiTJ08pZ0E2zDMPZnQbK0552R5JdNNmNHO4nyCZjdPUIBHpuF4UGpsblDkgRHHZ2MpmfmtnF5/LqdUQp9ut/c2NjW2C/nqqhscXUtmGSRRbExqpuA6GpDrV3NyCw27hMBrX4cT21hbDCj2LEd7bZeL8BHMzC7R3dqjT3Od209Xbpf+8bNEkQZVJJ9neC+P3yMCojo3Nbb0EiBtbf4Ym6bY6lQBfKFe4eOEMN27eVFNCeGdHoWLtql8zUa1WiCeTXL78JD/4/o/0EBzPiGWgC4dVdFkxZRJM3pthcGhA00D5bI50Nsdu5IDTp0Y1ArwbjtDcIp/dI93sXXrySe7cuqWHXIfTRjaTY2trg0+//jqlTI4Pr17VRIrYZORyvrL8SM9LVUOJndAOx0+Nq+1kK7RHa0sDmE06WJJESzwuXCP5WlRJZ3I4bRYsdqt6vSORPbq6ex5XUCwWHdLJhlGSaoVSSdk0x06OMjc9p+BIGTi8d+2GQhsFunfj2nW1JjS21jO3sMxIfz8HB1GFwT311BPaExfgmyoQTQYOdiP0CpArHGE/kdA6mMFY1i62UP+lGtPg8xJPHWlkuH+gT4dF16/f1ErTieNjmjrY3dxVu87O3jYtja26eZTuu8/lIlfIs729oz/j8fHjbIVCyuTx+/yqqRVDSF93L4l0gmpRLlAGpdlLZU4i/JJike+Oyy1VojTVYpnu/n7tKYterFoqUJbNq9mql+LDgz19XwuGSbhIPb2d3Lp1h0wiQ6dsnPMZjg2Pq01k6uGcJsMkhWB1udSMYSyXNFF16/Y0Ha0BNXgIU+gwkVOAceLgiOPPHMd6rIvE5i5H8TS9A32sra3Q1NTyuN7kNOO02XUQL5q1zc0dZh8+5NJTF3k0v/zYdOTzalVAYvpHqSwjwwNshHYIBnyaGJSOcnNjI+H9PZrrm7l7f5JTAvuNRfX5IDaR9Y1NHFYbfQPdXLt6k6GxYb3ASkxb3uPLy0sKUZXlgwwmheIul1JJJ8nFXEj1ctmViqKol+12A431TdrN1+d7NInH69DKRnNLiyoMc/kj5fl4vT6uf3KDNqlg+r2k0ilsdhlKHCrQVYZ2UjuQ2tP9B/fxB4K4nB4eLS1oMiGTSiqLYnxslLXQhm4rfV4XpaowL9o5jB1p335vZ5dAsB5/o4+56QXt8P/cz3+Fv/iDP8FelKyVgUw+x/ipIeYX18hFszjqHBw5XVgdVV58VoYjkghq1++gmKP2dw9o7WjT1MTN2/d0sCRpLUmknjw1pvBi0VrKME2SbwIbl8+xXJ4VShr06vlQoJIbG1taTZDUjSyOEtEYTa2tWjOTtEIwUM/s7AynTp3i2vUbeJx23N4GzMYK9U3Nj4cPdqtuomXoKoOhXDqn35mOlmYa2xsJbexqHcdsNGsfXyoPEuPfXNtSnaRwKAQEWChJKuSQvoFOrQbYRClXqShDorO7m7t37mltqqunR79f8jkaHx+mipmlpSUFOHZ2dij3QN5jonGUAtJ+NEJ7exe5dIakGHRKJUaODWr1S+pUbZ1yzihrylUGFxLp397eJx6PMzIqaYkUK6shJibOYHMZ+c633uFnf+GnuXntLon4Af/sN3+VH3z/XSrVPLGP1wkE7Fj8blKHWcqFIhdOBHj7IdgLB/zkN4V7lFLOht3vwSpGDXuZleUjmtobOTYa5OFkmI4OB2/+YJsrl+rI5+AwVaC53oW/zk4qEcFlriOcytLW1Miv/OWKDmdaHVJBs5ApVehtdxHfT7OZyHPr3rcgvElmf5NaQxeU2yjGFvF4KpSMLmg4Q353BmN6HXvbSYzZCAVjAEs5TcXppRrfAU89ZkmwG2uUHY0YMusYam6KmR1MTmHp+TD7B+BonlzZis1wRHp/Hf/IZzFaHeRFb280U0tEMJgr1GyDVJxVLJldKGeoOkeoVZOYi2GqrlHKySms3hEK2S1M6QhVlwezIUjF4lSOhywBDMk7v18r5PaxFIsYfE0YbS4q8TWNH5qtjeSzG5i8xyiX0o9J5+kDytIPd3fCwQzV9LZS5C1eFzVbA+XEIkbpLfS8TCmxTM0R0LiC2W6lUrFgsAeVtE/0IeZmiQN54OAhBvEpRm+CtQ6cTVSy21j9J6lVMpTFRGDxYi3uUbXWsHhOUyhEMcamqErX3zOsPQhTeh+sPkwGC8Xd29B6Hoevk+KjH1IKtutmi+ApQXZRye1ROFzDYJXLpdARm4mtz1BXV4CeL2CzHYGrjt//5/+Cf/n7b3NqzIkZ2cpkKeQN7O8XWAl9h8xOmNz2Apb6HqrFPPlsFCtBzPYqpoDoNawUIg+UpuxqOUV2bxpbXR/J6Cx1brmQRdndWMJocXGUhaPDKFXjER5HF33HeigkNqgYg4xceoZa8Yh0qojTY8RibycV3cBkdnAkH65iAo+/g3RqC7M5qNBB6aqYrR48zS3gqOhgIbm8ysP5e5irBm5+/AmHFReN9TVOXPgUqYOQxtMX5uYoFCv4vRZsZgtH+QqnT5+ma7BPkIvYAl0YMlnC67exOk3YjAHKmSSmpiCV6BYlmS5ZahTiUXzBHspG2cynMBrMuNraSSyFsBY2aXj9l/jpV36Vu5MbBL0mmlrqaWn268VleW6LuoFeXv3iG8TCOzrF3o8meerSReaXZ0mkctrVlEPURx9f5eWXXtYek3QBJb4lYJ0WiX1thckVMpw9e143UjaLTWEub/zMlzFKByeb1M6WbHhOnjrN2vqabu3bOjtVk6MbGYdLASzik/Y3BllYfMT5s2d1M3X+wnmmp2ZUryO2dojXAAAgAElEQVSAJNkqSPdUAD3z84tKFD9z8rROYSXKJgT6Mycn+MnbP+LyxSdYWV4Em0HrGp988jGBisgpylQoqr9YOumpck0VSf/fv/oFyrUjPrg6xUsvXuH2vRmGejtpbApy85M7Cps5dfqUbnWldzs4JIe/CPPzj8jl0wwPHtMY+FPPPq19Wuk3S/9Ufl35+YqSKbQb1k5uW1sz5yfOKWRJNj2xZIJaqcKF86Ms/hfYzn/81k0czhw2dz3ZaEx96pIGeOILnycTT+n291OvvqDRtx/+8EeqXVL9Vmhbndpycbt++wbPPXeFe3fvqxlAor2i1JEIrauxnhZfgB/86Z9QiEbp62ng0fYhP/2Zc8xOrnG4F2dgtJ3wjqgLnYQOwvT1tDDc5OD5Z07S4Pdp0uHdd2/w1S//NLduTzK3ss1AbxttjUGFrW1uRzgz2s+rn32Zv/iz7/Nnb17FbDNgNPjp6KkntrVDVyDI8mGcZPiQjiYvXr+VhcgRjVUTCQrUB/xkcmXWEhmGgg7Oj7XxweQGG4kiT/b00+Q6JJozkIqleWsux0snbPz1J38HhzvE1iJYSgdU+16AlW9Tye/jaH6FUnaNkqsPQ2QSc+sIlZI8eyya+nH1e/mlT/023/wkzJWTNoYG+1iYDmsP2OK1cOL4GULhCI119eorloOxsES6OjqJJpKPYUilkhLW/xsNXj43Y+OjGudbXQkRrPNgdZhVGSmX7fDuNpmjgj5PBoaGSSQSuo1KHqbYjeww2D+kz7dCUdIiRXUQS8/46ChDe2e7kvSNdjOx/Rgdbe3qUZcIcnN7K2bKmkaRmPT9+/dEzkpvXwczs9N0y6UgnqKnv1MPh/J/chkX8rVctsU7LZtf2arHo0nto7t9AU0nDPcPsbSyRDS8T8/gANt723Q0NqsrPnGU5uzEGTV6yN+Pw+ZgfXXl8Xfd7dZNpmwmRGsnYCjp1c4vLGoHXiKUEuOWOK5sMQV2JWTj46NjvPP2T0gm0hr1tbnd+vwQt7p0/5ZXNvQAujQ/T3dPr3aehUUgJ0TRN7W2tiq8TWL3TW3NVCs19g8OaG5sUC1VSeCVViPlWoVMuqBb3Uvnz7OxtUlJI7Ae5XuIu166z6Launf3jsKegg0NquGTaoZcDl956QW2t0PcvHOfSxfPaypItHUmo4Hh0REOBPJUrjzu3zpt+r+L5UAO4i1trYTDwmMoEaj36yH1iUuXFFDY09+tCayNtXUdzkQTscfk6rQcslq1UrUbkQtxMyNDQ4S2dlU7dWJ8jM2tTVVyibru1VdeZXFxWesNyXhSAYii+5Q/l3zOZDMsP+9AwKuciZbmVm7dvYPFbGRoaEiZCJgMul0UVoIMFiQxJiwXGe7OL8zzi1/9CgfRQzVKyLBYnvHrGxv683/+macUbqde8/4+1b9KV1li1jLAFZaCQNc2t3fwez0aGz974TzvvvseHS0NfPlnvsT//f/8Di0NrbR1dbAV2tEBk/R8iwUBZgWJHSRIZBKcPnGSd955j9NnTuhWTmLvBsq6GW5urmd5KYQv4H58WdvYoquvh3TqUIGB/gaBNx9x/uwF3vz772tv99KFCaVOi06suaWN27duMDR6TKnfQjdfX9/Sy87IwBDxVIpk/BCn14nVaCJfKLO9F8FhMdLT08vYsSHu358mGo/pIdwb8Kt9QWCQFy5O6D8rl8rFhVl6ewaoa2gitCEHaQunzpxiamqKWOSQxqYGVRWqiSKyjyfow2Vzao9ahpDyZ3swOUlLcxPpbFb1YFvhPdpbGvXSKA73+GESr8epl56k6HjVNtKIQSpHup1M6mDO4xVGSO/j3vv2BumcmEacdHd1ceOTTzQCXqOiyTiX6Pd29xkcHiYa3sIk1Hez8HoaiCcPuH5zkoZ65+PPVf8wUw9mNDKf3IrROt5HrNVFfvdQN9uSTCpVy3R1dBFPHKpd4eiowN7uJsmjvNY/JJgbCm1y+vhZZaMIh2BPlKJeHzdu3KC7q4dMLqvAwOhBRAn9bqeXweF+jVXLskKWGHPSYXe5Nc0lfwb5rq6vbmiSwOmy63+nUilw984DOns61ZRgsJj48P1r9HZ1UioXiSWP6OxoxWkXZkVWeUV7kT2+9IXP8v3v/VATOM2NLWxvbfL8i89rxdLh8GhqSmL9ssnNZvNapZKIvyRl0uk89Y11hHciuNyymXeRL+YYGRjk/Q8+1p+1qHalnmh1WvW5IOaN+voGtjZD+v0W3Z2kaeR5JGlMWVbIUE4qBwKLfXBrGrPHprA9+5EBa0Z+9rKwgYrFoMOT3fldrH4Hp9+4wtrimloOUsm0avNkELK3d6CpKIfbpj/vXUmAuF30dPXwyXWJbxvw+3wa5f9vta6Ojg5Wlld54aVn+eTaLTram9VoIQNySdCl0kf670ejERzux9veXDHP+uqaDs9ffu0FFh4u6v/W1tKiFTh5b3384S1Mlpq+a602MatUFMQqZ0iDsUpdoEkTFlKDEaCmPEuEH7PwXy0xol0+fmJceTnNLY8rWfJ5kPRcY2OzchGkDiUJnJ6BbuW7zM8taJVPalxi9JJnWOQgSn0wwOb2thp5KInqvKgVMJfLof9NSV5cvHCOD97/iKaWZl1uma0mBRPKgMFutrC1t6fPLlk2HCWz+AIeWtobqRcIcBGWHi1ybHSEw0iChrbHusJIeJeJcydZ34pQJo1jNc1R9FBTNsVMBacwUdo9/Gj6AIepxp99Se4/Xta3jqj3Obg7tc+FS604bUYS6SIYzNy9HsHjKVPfVodHbG/ZKvWdTh7c3cfneqw/bGiq6Fn/0ulefurf7LAQOeT5fh+Lm4cMj7UrFP0HNyMMdVq5N/83HEzfwFAxYTKUMTeNUs0UqBRjWCx+yuUjaslJLOYurSHitGCu66Owv43Z2US5lsRk9EKprDrYSvmIcimnKb5SNoPRHaAqMEpDlWr4KiZrM4ZuWQBfx3QwiX3wa5StPipbfw2uTmyePiHlURLOUDFLpVrGZPFROlrBbPFjsNUpWN+Sj1P29lHLrGEwBTFZJS2bwmBxUpMhcPz279Ysnh6KiXm9YJp9Q1RLUbC3U8tsKKDOUMtT8XTiMNvJJ1aoyVjL3YzV7qASvqvx00rHc1DOQTGLUWiu2UPM2W1KlibMpiOK2Sx2k42Syw5H+xgcXVidrRRjN1QJaGw4j7gjqhSoHa5g9Y9STq/q5tzSfBwKWUqVIyy2LtI772G31ijbBrDajRj9xyglHmGu5imb5IEtTsgapdgKhpZTVFJr2GQ67+illJujdiQgvVHMm7cxNQ9QsXVQTMdoOH6KvPR+bv29UpEPkx7efucGyQx09AZZD+1hMZeo8/by4YMlQhs/pBCLkJj6CF//MYwGC5XikcJZkluLuAMDGHPioV7A1fY8ue0PCLSfJV1px1yO4vL4KeUT7EVjSrI1VYtsR3aoJnPsCDRpX349J/72ITyWFImUaJy6OX7mHOH9DVraz+DzSUyqADJRSkXU716slcjF1vA0nIDMDllxRdptBFsGyO1OYfc2UrPYVYk4fe8ma4/Wee/tezQ3u+jqqqO+vU0pzVu78vL2sLURYnT0PPGDdXp7gtS1nqJFovfGHJW8E6NEU0xGsvvTFMtuLN4GjKk4uB1kk6Lf6KBgtBMLPcQdCOB0NnMQ3qXjyhP89j/+p/yHb83xhdfOcvPBHG1dzdR5m8nGNlndzPPZf/oPmbl/l0Qiq4fTOk/94wl4dI+JUyco1oxMP5jEbDRhd9lUESgHbTmgykVB4rbSEZMXo9CYf/F//GW+973vq1ZIerjiPhVgUjwe48UXn+fB9IzCvGRy3tLWxtz8Qy6ev8Ds4hI9ne2qz7t1+zoej5fN9ZBOTNPJhFKp5SIgE9D79+/y3LMvsrcT4sTZCb759a/TPzxEQ6Ceqx99wKuvvapxwLr6JrK5JHNzcwwNjqh79b0fvYUrVyTgr/FwKqQvr4un2virnyzSXufhB3/+j/mjP/0bzGU76bTQdpsZGh4kHI7R19vOT97/QKnr4tW11ODRyhJ9g8MaCZQe7d/+1ZtUjRWee/aKXgp6Ojr0Rb61u8Pps6f1ZSt9VFHM7YcjHOwn6OntIpst4w/YcRpr2NwWful/fRO/z0YgYNPYs9fqIJIsc+LZJ0kc5dmNbvOpF17WjavD4mRzO6Tbo/hBFJvDoZWJru62xx7uwzg//7Wf496du+QLaSWIb4fW6Rs7ya33P8RlrpIIbeCz2ymk9/E1NhFPFQh6PGSzceo9fvYPU8yH0iQzFRyWMi0BCxdPdGJ3++nq8tDd4sPrcNDZMcTf/eAtHA4jFy6f5U+/8X2i8QprmxFyFTtOirgb7Kxu1Wh1Vgl4nYQLGRI5M2ZbgS6XibmdovruHY4KuVyORCSL1yMVnQKXRnpocuRYCEe4O1vkyqkgdpeVPouLstXIv/3eCh99+4uMffpXCF3/QGnbVcsh5pKXorBXEhsUyWIxNVLIzuOtGyGTXcaad5Cp+GmZmOA7f/x7/Nrv3uS58XYShQxWk51KJc/KapKnnj5H7/AxhVoJlEwgR3KIsdhteqg4PjZEJltQbeK9+3d1G/jSKy/qBl6+H3KIlzimeN7XVta1K2m1WjRRIl3ggECPrDY+unqNJ69cZmtjW+P38qwKeP3678q2SDaMcjDGaFBiugn0MiVAPgEkyWdAeqaHsRQpIRf3idZoVS/ZchET8N/ly3I53VdonmiQZDsmh2FRWq48WmZoqI+WljY+/Pgq1cpj3oHwLiTOLXH5+/dn6GxvxOUKsLKxxsnxMY6yaTbW1mgINuEJyO81Qa1qUvK4/F6FQi+eemFgCENDti6Pt0Zerjz9NJP372qsUWLh92/f5vz58xTzebZ3Q9jtbo3BCzXcZrXhdtu5fvs+Y8NDmmCS9IIMB97/8CpPXDqnJgoh5QsVXS4k23u7avAQD7jDZCeWitPU1ICvvo6D3V2tcshm+MpTzzA/PUcyE+fFF55jLxxhdm6JRlEh2qwUy0U92HV1tanJRfSIQmq+desu585OkEhEOThIaBVEYu+fXPtE+/qSkpKtytrqtvbKBSgq8DtRPWaOsmoZEA2jHKZl87WytsKZk8e1zvCjt97S54v8N4ZHhlmcW2RwqE8vcA8fzimA0mxGuScSi08cHtLZ20dobZ1DUYM6bKoQjScTDA0N8977H6oloqu3h5s3burvW6CUMkw8M3GGjtZm5TOUDCYW5md143n67HHdenmdPlZWV4nG4xqB1V+zwU9DYzM52f6OjzJ1774mnJZX19XBLdFe6bDKRVHiyrIplc6q1E6WllcVKptMRtW33dHWxkD/IPdnp1SZJqyKjpZ6tuXSXd+KW+s017U6Y3HYSSZFM9mhxPvrN27jMIveNMvwyIjq+WLxNDaLia6uTsKRAwXBFSRS73VDsYzNY2NzY0upzfJ93NrZUsDXTmRHL4iSeJEhzaO5Bbw+j/5cm1tbFeS4sbLM8PCIWgz29vYfR5tPHsfn8fBwdppK2UBbR4eyYrzBOibOndDD/gcfXtXNqtFQpaW1k93wLs1SuXC4yKQzj53noZCyBeTSnUgJZXuQdDrHrTt3OTk+ztziPNVKlXMTZ1V9JoDJrs5W5hdW6e7u0LrP+saWPnekWiG/T3kvLi4vYbdb1JART0TZ2zlkZHRErR5hsQk8esTXfv7nePN73yefT3Pl6SvK2JALs4A3rSbLY1BeoYzdauDgMMHpiTMKZJPetWxFh8eHyCYl7l7AG/ARWt2iu18SNyFGxo+T2I9y7ZNb2GxGNRysbO1R53XR0dXKxsIq/WeHqR7vZuHDOzz13JPK9pCkhtQOiqUqpUqW0FKIyGGci5fO89H7H3Lx8nka6uq1lia0/oG+PlY3tjjYi/Dzv/hVZqcX2D0Iq6VILk3lQlWj6uKbF4d8e2un2nuEg+QL1nGYSCp3RQYWEvdubKnT+kvNYNAhZSoRx+lx62VsZ/dAExkOhxmHy0FkZ18/J2urIc5MHFdrjVZF8kUmzp/j/h0h4dv08yvvjPmlNZxWqyaL5LJXkQFgwKM2Ip/Pw+rSmsLqPL7HG3LRwA4M9anJ4MzEaVZWQnpplvqMDGekupXK5tQksru9p4kZgRi//977+LxBBQ8mkjFKpRpjx0dYX9pQC4eca04fH2NzN0R0M4YlmVH1YyaRpVAp0tXdiDFTIRQ+ZOi1C9Q3eHk4taDmjsZgPZ0ynM4UdQn0/AvPsL4ZIp8pUd8YVBhsVPr8djc721sM9PWSyWcV+BpPxynmSjz11GWuXftIbQCirDXJgNUv0MqSVp9EWZmQAXcqqQOEsxMnWFnZVCbLzvaeAiFTqUO14axvbqoKT54z2UxcIYIzUwuYzSZOHD9FeG9bDQ0C3pTUmhhvIvsR6uuD+t6Q4a0MlmXYIpVSWUJFRP8rZ9G6Or28y/fCbLY/HtgG3MoukfPdxQsXuPrhh7R1yhlZwK4lNW7IO1kAnCdOn2bq/n1y2QwvvPi8moJkeXDy1EkW5uZ58solHdLI0Ee4rTIclipWZ2+7pr7i8UM8Pr8OTfweH9LSksSEWATkLCHv4pRUj7Y38dc1s7ezjc1p49lPP8+7v/ctakd5ek+0EV0/oFAu43VYKJVMTMULXP2HdZQK8OH0Ho1OJy09kmYzqCGmvdvDJzfE2OHCa/biD9bYXErhrrNw8ngrkwvrmEoBDOUYLr+LvjoT4VSJL/ynhMb+x5otavHaSWdp8RqpFR2cGgvwG//+G6SmPsZk9oHHRiX5CKNBev0FrIY4VXMdZUMVs6MdY60IhSSFmhebOUdu9m+xDX8OrB7KpYxWWwT4biwnqWQ3qdp6MBf2yCTCmIWb0TqKtWwl46jhtHupRmYp2UzYfZeppOapWixQNoM1Q7VQw1IyU6tlqJKgRoCKwYBBquFmA4ZKgbK1E1MxBBa/mttq6TDGhjFq5QSGwxv/qkZR+r71VK0teuE2lqEsioHyPsWjLFaTCXOgh1w5i6lcU0hgVbzVpQoVt08HBNajCFWbk5p3kFI5DgdL2NuepCJEQksVoyOIoZiGTAaTSb6OOUo1J0bfCLXiHub8FjVjC1WbQye0ZlsDxfA1ap5mnIETlPZuUSkdUfW2YDPWqLk6KOYM2DNhasiDooLJ2UvJeIQ5l9QvPAc3KQaewObvxVqJU8hlMVeEQiodrjGKpRimXIKCo4HGY+NEl2f51V/7Qz6eiTxWFjXCMwN9rB+GdbDQ2RAgW6my9HCboYYc37z+TQyZArsf36ZiNmuk0+uuo2Cwko2HcJjcFGoJTLkk5vYXya78LbbeFyGzSelgkWrTJayZPUz1Hdj9rdQOwtj9FkppI9uhDwh2PMH61H2MNi+37n+IsdSAt96o/dpkeJGWjmOUkxGGjo+QisRoGDyOQ2Ae1gasxTUOc0Z9aVpLKfJHglXMk4rMY6obpq7lApameuzuJBhtHIkPtFpl/vY9FuZlWz3D0MRFGjxVXLYmgs1edjdDZHJ5lmUzMtbHyNAxuk5eYm/zBu6qB29nJwZbk75MytUs1byXQj4O2TXiyRx1oo6Kh7EFxsmn9wj2Oggtb9P7zL/jqy90s7YpX6QKu7E87XLZ9PoZevpFrA6T6nLM1Rp3p4Qu7COTSeq0V6bIoj4Kb+6SKeYZGxtlYXFRYTkS5xN1zfbGhvbqnr7yFPUNQe5OPlA41O5OhK62Fo1dNzY2cuP6NUxmi3Y7h4ZHGB0f4Sc/+ok+bFvb2xgbHuatt3+i8BWJ3Euk1eXwsL6+otsdmebLIf2l51/Ul4TQz8dPn9SYlEQI5UA9MNjP9978Hr/wc7/A9Oy0Xrj/l//5H/PR9Y9wmuzsxCNc++4POD3Sw8L0gh5UYuG4dtsP8xX+zW+8yKdeeo6PP77L4X6afOUIk9lAbO+Qz37hNb7zd29rr7Fcy7C7G1UX8BOXL/PNP/+6anUmJs6xubKiVYgTJ07SLBT2SESjgKIAkofy3MN5bC4LFmx4PW7aWtu5f2+Kini6zWZeefY8b340w9e/c5uWZjvtLW3afZxaPOIf/W+/gK21m825RxTyaSX2ynhetsPNDa3s7u9iqFWVwivws7t3JjGK8cNh1zit+MElsnz2nFgqYKhzkKNSih9948/prGvmxt1JLhzrwm4zsLG7r4c3Q6VEXcDFQSypoLPDVI7NLdk+GjhM5oVbg90Mfe1uKmarHlYHG4OEEjkWVhO0NdoY6fSzd5ilq7Oe2MY2fUPN3FlJsxZN8cXTHbRbEnx/SaCEZi50GFhMwtxmEZfZxPOn/CytHxLJ29grlGmtwBefbmBhK0Kl6MbuM5MJR7lwpY8Prm8xt1Ti7tJf4DtaIrofxxVoouAbxVZLU9wXlUwb2P1UClH9O/SKHcTupbi/gXMgQHhhiufe+AY+u4H2VjfpIwNGS47dvTxef5DXPv2KuuJjhwniRwmag3V4/R7SR1kF9xiNNdbXwnR2tetWJrS1Tn2wQXVyu3v7GKtVhsZGmLz7QA9fUpOQbXRjfZB48lC78smUaLtcZPNHnD57SrfFAjny+et0IyqXdvl+SGxZ4ut3bt5Sd7CkSeTCoC/ZrRDdPV0aG5XNSeQgQWd7qwLwRIMlm2n5zsjh9sTJcfVZzy8s4fV6dJMn2yJjtUCwuY35hw9V2/ZgZo7jJ87QUOfnzu0HDAz2KOfl5vXbdLS3kysXOTF6gqsfv6/sCEmmmGRIks9jMpn1QC0b5/6eLjZ3w7r1OztxFn/Aq2wJ2c4IK8Mnn+taRS+DAoaSjaQMEER51djSQK1UVse3HI58PrdCvkSP5HSKAkx86GiveuTYgHawJZa6vLSml3ZRc0kKKhj0QM3Mxzdv8rUvf4noQZRYIorH5dHLjvAWZGBsNlgJ1NdjFgcxZrxBD3v7EWbnH9HX3sVR7ki3r33dfRo5z6aSOmiJpVJ62RW6vBxgBaAqPXSPx6/sCKkUSfc4vBPWz4/0puXwKM8sUa529vbgdjplKa8pEZPBps9XhczJ58Nh1eGTHAwFmiUpMNnAyTtJnpV5iXY+cVEPtTJs/MLnX+fm7fs8nJ5TiJwkCpJHWcr5HANDAzoolQ2w3WpSw0j2KKM905bWNu24irtb6lDNmkBJ43LYHms/TVaaW4Ls7x2wE47oRli2bTaTk0whS29fn1YJUglRUPoUWtnb261aSkkXLC8/0ueKXKQMRtN/107WZBstJPequMyrmiQUbe3ywiOeeVrgbyW2w7v4fF4WFx4xNND3X2F5mxr/FtjZWz9+m0ZVQEY0ndbd18P29i4BT4BYIoHXLzBPA5WS2BT8WoXxeN0cGxlh8t495TYMHRtReKTwZeQ7s3+wR329X99N0tGXP8vk/UmqGJk4fYq1jQ02Njbo7O7V77bVZlDgq0D8pO8v77pI+IC2zrbHsWODlc7OVt5++121ExiNFmbmZujq68dQLtPb26u/55mHU0ycO4/dYtPnhd3m0MrGk09fJhINa71PwLhCVpfeqmwsBcwogDHZ3vd0tLOyuoHDZdeo8CfXbirzYlM681YrLa3Nj9/tPj/tzS1au4nu72nqZmc/wmdef135GVK9c3lcuJ1+unrbNfEkZpHN0DrrK2Ha2lvpH+zk2NAQ77z7AcdHR9WoUqmiyYPW+nqtvm2F94nsbmuiQqoD2USKg/0Uh6kKLluFs//gpwnNr2qNTjRmr/3Uy0xNzmi67tyFCT547yNNu4i28mB/j7bOVqKRA/25f/LxNeobmkmmE7opPX/+HEvLcwTr6zFUjAyPDfLW99+iXEOfu1aHQwcDUhWRJE88ntDkT6FSYnz8BGvrMjR1aXT+wfS0Gi78gfrH4M/tEKVilWMjAzyYfsDPvPEVrGYD//mbf6E6RUmWyJlSBlk3r39Cb0+/pqAm70xy6WlJOE4zNjZOMprSy+2rP/UCD+49IBI5pFLMYbZIjWNLuR4K7jtzRkGMDx7c1xRBOp3Rc5rUkWRAJc9aAZfK5ffsxATv/uTHansYHBrku9/5Ab0D3UxMnNRaUnTvgIIACxMJjg0NUDLC9L1JTpwd10VDcXKJeKpIqQYtHXWkskm8Fh/x3Qi+4S7qR9o1LXj6/Akm70wzPzuv1ibRCw4O9LG7vwdVs17+i6UcTXUN+p2W76wMWNLJLOsba3qZFXOJxSpWI+GaoCwPuXTLZdfp8WjHXgZ5iVSaePSAoWOyFKxy58Z9Tp87qedIWRjkpOpsqOhAePTYAB7X/0/Te0dJnp9nvZ/KOXd1dVXnnKYn9uTZnV1pV5ukXQVjW7ZlzMXGvvIBDNjmwDnmgvHB2GAwwXCvMXDBAlu2dRVW0kq72jizOzl1zjlWd1d15Vx1/b4D+ku7K/X2VP3C933e5/k8ftKZpEaZ3A63vuPcThujIhIsL+l9lDhMYDKb9HngD4SUizE6OqxiucQ1pPZTPntxamljRqGo8HaL2c7M3II2xEhV7ub2NmdOn1VnlcRHpIJVnpeJ+IFCNoOhAGur29QbNaKtbYwO96vj6vGTSb74+c/z3ofvYcKs70ERAOUFJ6KkiGrS5iH3mTyPgkG3ikCLc2tYhVVxGOf1z73E5u4OH394X0WkllhY35VyBqrkMvSeHiKZTpC4u0pq9YDmqJNEHpzGMr2dQWqGGt+7W+K3r9foDsNxxUX/QBCLscDM7DHb8RzXn2llbblEz6CVo3gdX7MJU83MrU+EZRCmLWZWGv7a8g5bq0muXWmlVDPyxT88ZqjDiqt0gNMfIp8tkSrB4lqOv/uqlV/50x9y+N47+FwW8k19VBZv4Gz2S5AGo8WrLXINewyTsUgjsaoRc3Eem6PnqR7Ngayg82s0/IPqWqqVSxhr4qq0U3Y3YykmqNelxa5IIzCOtZKnsPJtHIN/jerBbYyN3FMHvcMLFo+y+gwGI/W9T2jYXJgCndTrFswNO2QfUTG2a8TEJMCwtfkAACAASURBVAD/upWqyYSoJuXsKqa6DWOgBWM5Iw6A324Y6pJpPqQqAAJnK6XEKtXEE1yRK1RqOTC6wRnAUDumUaxh8ISpJx5rvYDJ1kwjcIJqYgKDWBT2b0DBgK3tAka7HWNxnYL9NOajO1SrcYyhayBiQ/wWJnl4RC9TMYP5YJqGOwi5PcomPzarXfOIxppVidB1o9iUuhX0VC5nMVUqNCxFzN4hqqltapj0pW7GTK5mxGiuYk5v0JCaFW+EYimNvZam5mqn7u7EWtgjc7iM1RvCN/4KK+/+F6698u+U7D16up+RQS8TN+Zx2QzEUxV8XgNnzg4Q38kyM7PKF54f4Nd/+2/hdARouAIYEqta41bx9WEsHqkKayhUMNjqWA1WkgcfYTOexBiwqRJjKogVbZ+qiAuWMhZPH0ZrgEo2iTfWjc3hxdTIUzxaAIOXYkXyPDG+/eYf4rP6yJXrpPNFzcpuTt3F5Q/hbWqhUspRzifpPXeBppZeGtaIXmiljcc4vFZs1i7207u4nTm2pz7E6WjBF+nE12wlnzdgbTuBpVjhyZ0POHnuMn/xtf/G3u4OTZEuzbMJAKxcPWZnM0H8cIf+tj6C7SGOtw9oH2sl5ImR2V/DEfXT1n6ObLZMJrVGPZPAFjqJtb6DtaWLxPQ64R43mZqVtkv/lFef76I1HOAomWBza1dforkjGH3tGYKRXgaH2vn61/6Uz7/xOaam50gdJdQyVipXaG2LaK5JXhgur1M7ZC9fu8T7773P8PCwVuhInlYsplPTj/nMSy8ptfYokWBxYU6tz9IEMDs9qw9+yVPZnR49cAls6uBoD5fXzbNXrnH/8SPawhHdKAZCQY0YiHvg1NkzbK5uqP3vtddeY352XmtXzFab/q4bu1vEwi06+Mrw0tvVydzMpOYev/ilL/H++x8yM73IL/7tr/KPf/3XeeP559jZWsFWr7O0kiDsrWEJhLUP/Vd+8lkdKu7cm6Yt1qTKscPt0u/+nbc/ZP8gyU/++OvkiznsdhkW9pmamGb01Emag0G1YO9s7HHh0mkKGXkZNbh95zbj4xfUgitm60AwqLl3sY3JS15eMlsbR6T/Mv96/cowhUqJL/+db3L1bBNWMzjtHiYXthi7dJrP/vQvsLK6Sip5qL+D2LcFriVWQQGBra9vKS+hf6Cfy1eu8eG7H5DLHTM2Pq4d8R3RmAoqjx89IhQNaw5t8s4N3EaDVieGPUEez8zQ3xWlVCiTKZU4cXqE+PYejVqR1kgTazt7tEXaoZHXwXZ7M0E6l6eQLtIS8bCfKrGxW+T0UIRy7oBI1MvSdgkTFbpbXZq1vblSI2Su8pVBIy9HKlhbnIS8DnKJFMV0Q62uFr8JFwYOMBPx2Jg8LPKzf5InkSvwN6+6ydRhYrpCR4+LWsGIzW/gnfd3+fbXvsTIp14jdWCivHkLS9NJqscPMVfqGJuvUM6uYPXEnpLgk7vkk2sEIy04WoaguEXTyP9FS5eTs60uFtYL+H1mdT3FD8uMnhujXC7qtfnSyy8z9eQxG1s7dPfKANLKvXuP1Ap98dxZduL76oBxO2wa9xHIohwuQ8EATyZnNY9fqpa5cPY08ytCKw5o/Z9UyE1Oz3BSqNXpNAf6/bbQaFQI+QMUinnMFpNuW6Q33BMMkM0cawbU4/Fx/949ddPsbG/gdnkwmmtcuXyF9370EafPnGRq8hFtnT0M9PczNzOjLimHzaz99bnjAgZLQ7eX1UqeaFs7Nz66wcsvvcDKyiq7+4dqk3T7rNhMDo2VjF+4pK0GYqX3CVgvl9aqqeThsQoO8f1Denv7aYk1qx1VNtZrmxt0tLbqJjaXL5JKJLl4STboSZKJY8wWo0I0nQ43DpdNs7fiAKhWq+TzpafMke1tBgcHNIIg2d/RoRFOnBrl45sf6/UjVHUZwuVnWkxWJd4fHO7rxl02Q7JNv//wnoqSEpsZGRxiZk6Aic3sxXcJ+YMcCXOhrZ3VpW0Mhhp16Sn3iTBUpEYVQ6OqNVayfRGCfaFQVFvp2fFx7ty6r7R8GYCS2SzFbI7Tp04xPTNDo2bAF3ASDEVYmJtm+MQJluYX6O3tYXFxmYHhfjaW1qlS16YBoVYLrEqGxmBTQLfFC9NTuLw+yrUamXRG7cMmU0P/9zI0CuRxfUNqi2paDyeW3KGhHoWlCaFeIhdtbW26lZLPQiJb4rC8++ChikVCxm/UDcwvLan4MjjUrTnwJ4+e8Oyzz6ntu7O3S7/Hm7fvqnW6mJchN4LFZiS+f0RbW7tuqGNtLWrpzefzDA4Nce/eA92cSy5XeAQBv1/J8hub2xpBET5RsZDWATudSel987RybEfp9uICae9oU0CmbHJFzDoxNqy/swxd4lAQm3SlUWOwp1ehaOKcCTUHnlrr5+cJ+JoolnJEYlGNY8kmTwBiLS0Bxs+cYn5hleSx2EmFHeFQgSQai2nE4/g4q33lDquVg3RS71m53qQy7PYnd9R9deL0SWVIbK5tMjoiWfVNdf9JJlneb5IfLuRLSljf2drQiIWIx/L8HhwcVXiuDPtCmBe4oDA8picX1GIr0RfhBMjnJuKVPP8PEofaR213yHkjRzAY1s/+9Tc+p2A6ERifvfYskxNPtOLPUG1o24hA/fxen7qQVta3sJiexlKkZUHAeQ+fPKGcK3Hu3Fmq9bJyJWRgK1WLCvFtbglpK4kwEuTfsboR55mr4wq5E6hbIOxnaWVLXUwujzQSRVlZ2WDvYB23w6nXn9lipykSIHuQJnFcouf1SzTKBUTW2IsnNE4RCoa1OSUYCWqNqLRtSPREctUShYq1d7K3s6kurEAowPi502xtbfKjH32Az+mhs6+L9RWxwzsVwHggFPWQh42NLRZmF7n6zFVcHqHDJ8kW0wr6lHONNKIIEFTaW1paWiiU82xvbquoJFtsaTSRmOPSyur/apao6vcgP2t7J64uhdlJ+cztyqiQM5AIuRLVmZmbV+eUiAvSODQzMaMumv29Q4IhL21tHToMyjUgIlJbrEWFRolzDA306z0caRGQbIWjxJEOwOKsaRaoZTorux0FOlstFgqFKl6PnTPnzzI7NaPUf3EiSI1dzVjF7RfyufBdKkR7O9l58xY5Yw2PTxpADAT8bjZ3D0ntpWjq8hEaHtB7XazzO1txXn3t06ytbOrzKxT24/S72V7eIZXNcPHcOWYX5vTcI7DYpYUFunq6VUSRFhuBbh4mE5qDF/jn+fPj9PX1c+/eHTyegAoCif1d8lLd5/aSOT7Wbb04b0S0FpFB+COXrp5ndW2Lxdk5Tp2W+sWkcjouXLzMxvqGQunq9bJCnGMt7RpRkkirCNSybJHrqG40KrNAXDXys2VId3ulaadFgXvHiRSBpgAnT4yqI1WapuRZI2wXyf+/9877vPCZTymD4+4DmeUaKjK+/NJzavX/+KO7nDt/Wmv8JK4gri2XtM00NekzXs4Xezv7WqU4MDKiroXjVFIZNdLYdPHCuNbcGjEqWHNzZ5/mJr+481XwkCaW5dkFTl8QOHuVJ3cnCMbC9J3qJDcdZ/PBMo5gQ514HouZTBEaJgOz21X+68+6eH7QwTduFGkJm9g/SkLNQ9hvoWYqcbBdJOg3cZSukSsa6Ov1sLR4pDWinb1hfR7ky+LOaKe0v8RCwsGvfi+j8dGoMcd8ysRgq1cjpO/eiPMbXx3nb/37f83uB9/CJ6BOfxONgo1KxYzBHKfq7YfiMYZsClNjE6rt1O11qtkVXN4+Kk4PJmMT+Y3vYvGepu5vx5SeotYwYrIGMBnsVEuH1HPSnmZT6F+9nsZUKmELDVFJzVAt1LAZDRQsFkw2j7KcDI0sJrzULMK+W8NctVA2N6iV01oZaHBEMFvaqJDXpbexVIHqEQ27W9lSwhk0HN///QYV+QCLVLOHWKKjNFwjGI5nMVYPaTQsChar1DxYbC7qhX1MwTYMhQwWY41cXcikNc0Hm90RSE5QqxSxhC5RSDzSrmX8o1BJYLDKRqNEKbOL2SKwPwPV+EMsoXaMrgiNSp16bl/r5ainqCa2MLlaVfmxChVzbwZDvYi5+3UaOz/E3GhQc/ZiqJep1pN4nM0c5wtYzIK8clBXjkEYk7tKZvEhpnodV7iNRCqJw2zAZN7CM3yVtceLDH363/JTP/08G09WiBcO6etro5DNYDe5OCzkaeSlOqabTCml2ZNaJk+mWuMoZea//uNXeeWLn8YTHQB3lWr8UEUB0/wPyVmiGOuSkzmixe8gebCBxduL1W6mlslijZ0mt/g2Jm8IczFBwxXC0X6G5NosFlOdQr6M2WnEHTmF3VgkOfUuSYMFn83EUbLEzMPbFMT4EfDT0zLCdnKX45RYEdvZ31rRGp1wIMDws6/h8IbIpY5wWFqoGo60DtBjrbG7MoOpkMUZ68HtD+gmq163Ywv2Ustssr+zzdTETTyOiJKq6yUDawcZfSg7A0GMuSNGz1wmkz3Q/GWjbsXjsnF+fIyy08nZc9eplxNkUwmlaDdMUD3OEYi1Y2v38bM/+0/ZT9dpVCpglU7PCulUjfXNBEMn+3nmJ36ce+99pP22V569pNmkfCFNLiM3uk8tR8VKlQePHqpKub23qyRal8NFVjq3Q00UC3nqDZSS/OjxI+bn5hkZHiHaGmV5eYOm5gB93d1qA5XuaCGitgpQ6jipncI+bwBz3ahW9mvPXOXWxx8TjIT15UDVQLlepau9g+npKc18CWRN1F6xzF25ellfblKRJnbiztZ2vvWdb3L+4iUwCqzHq1ZHAc1IpltssZlEhns/+pAXro5QdhjYXt/BVXPyaPMAB0W+9jtfYW1vn6nHK3z6let8/NE9miMhbWfIp7I6LLR3djE7v0ilVKSrs4Ng2M+f/8W3OH/6rPIPivUys5PT/MzPflktsE8eTbK2u8Vf+cIXKeTzOoRs7myqA8jrdWI2OthOprDWUvyNr/4cf+Ur/5zl/SztHS46I81s7+5iMDfRcfEilYaRWlbqT4z09HbR09mr38V3vvNdzpw8pX3Bdx/e5dLFq6wuzKviffXZ67z13rt6WJR+XxnQMlUDA50Rom09bB6kuPX2m1hSYjd36na0uL2BzWkkGHYrKGlue1vJrV6nhyaPHYupwspOgpEWN/F8FZ/dTLpaZzeepbPJi4MyC0cFLEYTOykzAxEPiykrExtxrrfbef/XIqxMHbC8kWEhUeSFSzFq5SL3Z1NcOt9OejtOIlXC0+xlf7/AtQsRjDkD2/s7/M95+PpCnfF2jyrKosbWcHG4ssfv/qMXuf6Lv0xyZYasUMW7r1ESddYVoSo1m6UqBmeERr6OMRTkcPZ9XMEYzf1n1c7wxRd/gcdbBT53tYmFzbra48I+E7endzk/fooLl8Z55/tv69DvCvip16pqvxe7e3dvl9rWy8WcHCvUjioAPsljy0ZXcpzxvUPdxAmASw7aEnkQovzxQQKjw6Kd0AeJBMfxhA7INruFzW2JpPixmswaiRk5MaggTgGGSfWf1+cml02rJVG2wQLTFHq41+dQyJdkUE+NnVKIlgwLxUJOD0dSNXjhwlm1Bws0a3lFcp0uRocHuXPnng63xSokpU4sHMAjFGKzjd2DA916SZ47eSTW/gz+oJ/O9ja1Z3/3e29RLJc4N36Bs+dG+Y///v8l0tJEe2uMhYUlrSaTvKpskWVrmIjv6LZZurSFqC0uiJDfjUi5fk9Qq2slE9/b26e5RunA9gT8YKgrGGl7a1erCMWS3t/Xw8Ki5KWtKnbJ0Njf262/j2zYZagRb6t8B9IM0dnRpW0IG/8rinFqbExhi93dXaQTspU8Ji4HtViL2sd3ttc5MXpKm2OSB0kdOsXeLxlju0mo8zbdJsqQKkAwyWJK33ipUtIuaxEvx0ZH9aAr1lOL3cXy0pJuu3v7exVkKH3dpVKOs2fOMTk5oRtz2URJ84qAAmVgrRvMZLIpFR5lwxUQIK8OywmFLQqn4PT5C1RL0qJS4+79+4ydGNbn5fLiMk7PU5eGRBqq1QrVcp7nPvUcb33v+5wYO8NOfFdJ/n09Peq2kO22tC5k0xnmFla5du0yi/NzpLNFdb6IC2xvZ4NcXoBnVrWoy78jkylo80R/f7cOu+VsjVQhz+P797j+qetsrG49Fau8ARXPLl88p4BBqSwU2FqlmqeQq9IUCSkFW+IocuCUbdzG+qY2GIgNWwYXcVJJ5Vd3TzflQk6FEmE/SNWlWPNnFhZUGJF8qmwbpaJyeWGNgN+H2+slnUporZtsbMUt4vO4deEgNv4z4+NqGxYHkAieXW0xjWVIvl6KMkSE8Aa8SpGPxtqViyS99ccZidmUVGArVYq47U4WFmRI8tEUjigZXoab85euMDX5hLNnTzI1Mat/3+kUkXlXeRPtne16n8mG9ez5M0RjUT768IaKsHL9ydAZi0RxeR3s7BywLsJLeycnx4b51ne/rZBEydv/4J236O3tVVfF9sYGfT2D+v/v6+njycRDwi0RhWAK30a2mcLUiLa1KShPBPHu9lamZmZJp7NcvnyOhw8nOD12hm996xu0RZu0KrRcLTI0ckLdLhKbtJvtmCwGXFI7q5n6pD4P5bB9mDrSyr+aQZBoVfbWknS/NE5sIMrykyUMjRqleg2Xy6NEd2n4EMeJ/HUmn1bYnEA14/tiac5z7sxZ5iXqIDl3X/CpS0Ey9WZZZNnY392io7NbN8nZfBmjxUY6ldRGHYkr3b17F5/bz+lTI6xubNLT16VtPSIOPXn4mPEL45SLBbb+Egb80udeYGZigYlHj3jhpef5zjd/xIsvXaJSEVGxwcNH04SDQfLFLJeuXtHBV4SoqgwohjrVRoVwuFlrIiOtMbW3p5MZHT4r5TKDfT0cJI44MTKktnaJwgprwh/wUK+VSWVzjI2OqGgqIqBExqT9wuFwk04eaIuEX5g9Fsnj7xNplmjIugqjR/spPEEvF8+fYnvvgIPtPc5fPsujJ1MM9/czeWuCqNFIMptTsSoQa8ZkaJDcTlIoFrB2hnFEPJgqklcXcbGfu7cfq2tSrPW5UplGrcZAXy/zCwvkiwUGevt0uSR1paHmkELbirmcxtIWFlc5MTrM3sE+j+9P8sJLwlNCK5sFmheLRrA6bXhcLuYWlvQdFglLXNCuzw29/3w+rXeV2FNTKKiLqE6pZ5xd0EpZgWxKTbTLLu+wI3XY7WxuqZtH3qeyzBLH1tFRXKN0UnktS1JhPzWHw+J9ZuLJhC5OUpmURiYkPlGt1RXc9+DeY6q1BpcuXVCWgERAbWZp6+nn9u1byuo6eeokO7vbKnaePXtOwcIOrwO/26e/h/DglpfWNTYT39lj9JTUV6YUMOz2OlUYECDv8NggC9Mr6kgTl9dP/NSP8fjxBDabmaOjYwWZ7u/G9d7d2dumnqvjj7g4/mCOUMBNwwOpNDS5a2TLRmbW4d982cK1LhtvPjymligxdkEE2hTbG1naW/1E2508vLPJwFAnJmcZq8HG/tYxXSMhHt3ZIxByUcjkae3w4SyWWciU+OVvNvhUF5wfaubtiQQue50Wt4vH03t85lo7/+iP/4D80hPI5kjvrGGPDmMV0n8jgcHWS0OW4geLWJxejO4Y9XINg0Ei6V4aWx9TM5bUoV6rHmJxR6keb2Ex25RhJ1XxDqudUjlFtZjD5YlQ2HtII3RB1tk0yilMzjClXEIz/EZfjEZ6F4vJRrVySDGXwhM6o9b/6vECiFulIRyGNEZnkKJE6l1RrFSpFDepZPZ0PsfqwHB0748alkYcZNAXgN7hJDWzg5o9iNHu0ayDxT2KsbKlgMByNoMBJ1VTBXNVhsEyBmeT0rENpQoNChitEWqNAiZLSLP11b338HhjGHrewJCNk9/7GEfnp9XaVs0VMHhiGgOoJdaxWOo0PGMYLFZquR2qBckHQtXdDukEhvwRVaMNa7CTUmFfexFtwZNUUos0qlUs3i4aAh80FjA0P0tm9mu4O1/FKg+r6hEGdzP1ox0szkFsrl2KhkPC/b+JK+jgK18Y1q3g3UfbXD7ZjbNeZePgQPuVayY3J0518eTRFPF4nB//8S/xwft32d06xNLk5GAzj9NT4bmxGD/26hleefFFCLmgVtIr+GhmFoe5Qi06QKnm135Ke81LrbqqFkdRcUzHu2SOE1hCQgjNYwn2YbO1UIjfxSC2D6OV6tYU9pHnKG7NU66X1RqVr5jJZI452t3R+prPfO4NdrYTLCzco6utT0F9hf0MPSM92OolXF0xzFbZRgfBHMNeK5NJT5JPFPC3DnOw/L5aP10Cm/DKRvK6Cjfie0ot/YhizoTRUmRtaZP9rVXMdhNGk4eDjW2MdgOBUISJJ0sM9Pgop7NEhgZpj7XR1NSLPRghn5nFXg9itJWwjgzx+it/nw8f7nOuN4jNbqelq0WKIHh05zEFp5uv/sbf5/6N2+zHDzh16oRmfQ4TKa2juXlHCMgXKJcL2i4hGeT7t+/oy+fylWf0Idao1ZmdmiNfLXL+/EWODuNaaSYdt6LEi0V4eGCYj2/eUJJrMNDM4vICJuo0BSOEmv3c/Phjent6dQPyox+9R0dXJ32dXaxtrukh2uqwMz85RzAcVOCR0FpzmWP6BmVrldONiXAHxKkQbopwmIjjC4T0IFTJF7h3/yEXLl+hq7uNd9/+AXc+vMXFq1eJT3xCe1cvfR0trEw+4cAgTIZj/vvvf5mgw8ydB8ssr+3SPdjDytS05u1u3LjBG5//LPu7+/zuv/wmf+MXXiGVerrpEu5BrVZXK+ZuPAG1Ktefv66bSqfbo73NsZYQc4uzuJ0uag2zDk3tsSbm51fJF2t097biNtf40cdzfOvDDXo6hFhaJ1Mosrtd5Jf+1W/x8Yf3cJvFpVLSh7zkzMxWMzWziWjITzKVI5fLsLe1S6gpqluo+N6ubgDFpn7m/AVlJEg2b3dlh+9/++uEA16aPFY2pmcR53FnuJl8wUDdXGI7kcVYLhILN/F4ZZe+mI960UqsxcntjX1sclAJODmuGEilSyoqmmT4cjfwmO08SFS5v5ZmvN3F3kaaV/sb/OpnHMQ3GtzbySgIrl6oEPZZlILcajeTdzjY3c/SqNZxWo0Eoi2Yisfcmkjz1S+3c5Qs8zN/fsRgf4TsXoq2mJOdXSvL+/v82X/4K3R+5udJvPfvqNrOYRO+mcOCMXtItV7Cao9QLNQ11+gKhbDY3NSO9iljJHRhhN/8q3+ff/nNOX76hRaODuts78ZVtDw4LFB1+nntlc/x4bvvcpzM4gt6lJo+v7ikmb7REwP68hBrY3fvAEtz8/jDIVJHSUIBv1Y5SR4wL4cQp52pmQVGTwwzO7tEu5CgE3EKpZIC7CRndkly8NUab7/9FtGWdsLhJq3WEquvy+snFouwuy1bDBQwJCLbyPAQm5vbehg0Gxvs7hzoprVQyHIQT+gGWazG/qA4W6qan2xqCuANBLQeLyF1gmIHF5aAOsSEMmDQdgAZpNo6upQwLZlG4SD87wNsupB9Ss3u69bM6852nOFRqQasqSVVhk0BatmdVs6dPc/a+ipz0wuaqbU5bOqAkL5xEbBee/U1vvY//1ibPJwuF8Ggj8V5IYFH1O4pOeRnLl/TrGWktZmTJ0/z8P5DtQsLeEw2vJJfvnvvDuFg89MtitDInTYdXMSKLdGhgGz5BbQpz8bWFlaXntLYpWlDMs1vfP51njyZxOFy6pBoFKaO2aKijzQ3rKxu6uFQMsfSwfzsc9e0AUE23ZMT0zgdVoZHR4hEQiytbKjtNhAKq0Xb7rCoxVlqyyR3LATo5bVFgv4gbrub5pYm4vEDbUQQ8eLBvUfKHZAaN4G8CSCqUYcrly9otv3J1KSKqULpr9ZKBJvC2rwiFWaf+tR1kokjfIGgCheyxZItv7SmyIb/xReeZW9vTx0A2UKRmZlpXn7pRa3vWl/Z0laC9dV1Rk+Oatzv7sNpzeaHIxHm5pc1s2wUMnejRr1Uwxvy4nK6ORQYpIjPBiMtzVLfa2ZLn+tCJK/RHH6auRXlWjaj4tyQrHRHZwflSlFdS59/47NsbG3r/ZI5zlGulgRtRLFWIZ8u6LZRXFjyzuru62Fre4febmGrlNW584MfvsuVK5fIZVLKxcgW0ly99szTz2ZymsHebm2zuHX3Hi+/9Bk2NtfVydMvnenptFpxpQ5vZm4KAZbJ+0/uz5u379DV1UZbWwyXw6ltGY8fPsJmcyqQUxxacr17/B5i0VYW56bp6O5WB6bA94S7UKeGsWHUPu9HDx/rtf/pF67z3jsf0NraiiBrJfYgVWABf4hk6lBFxVq9pkNwc0uE3c19Ll+9rMKIxMwEPPr8s9e1LUfcZuJAiMSaFao5O7NIvpBVscPjFFt7K1u72+oYqZSrjAz14G9uZvKRLJsaNIWkfaNBKnNMqDlMd1cbjx9PanxAAIECLexobWdyck45SmNDI2RyWY7TGUbGxnToEkdfT2eP3oNiX5etvVTmvf29W4ydaNYIxPpmnHgiSV9fB6WjLAmPicEr59hZ21BLu3yeN258rNZsadb48OYdopEmrfET8UvcNxK3ke9sdXVDBa3R4WHuP3pIXSIRzWGNTcnnJi4dWeoIUV/ajQRYKvwQ6VsXmF2sPaZVllkRPwSELTE3p0Wf01NPZhQYKtnr27cfEmtvItrcjtfrYG1jh5nJRX75b/417ty7pxlxcWItzM1rJaTH79Z7SJoRBJIZDATo6elmcnJGWxwky223SiNYRe3kuVSeU2dHuC1Ooq5W5SeJO0He27l8hpAvRPzoUDffqeNjzo2f1/aJhw8e6AJmdm6WJn8It9fP5vY6VrtVI1giAsigKXb64eFBNlZXWFzb1raI5RV5j+UJR6IETWaWHi4pnyEQ8rEvQ7HZRLFQxVY30H/9HMWQiY3Hq7S3d5AVh2ypwMULZ7Vu8pOb9/D4HQq/bl8D0gAAIABJREFUPownlLAvYu/07By5dEYXJ+sb6xpBkcYWabcQcbYpFNa2kkwyo+4tefZI3alsmepmkwKVJYYTaW5VgLQ4xXw+v/69re0tjZqKcLexIXWm8uy3kCumySQKdPS260JGnodvv/0ey0srnDlzilg0qgyFtm6JnW1qta+wr27duaV8CJNct047be3t2nAk7gWp9xM3nyyezl0YZ2pyWv9ahPLZ2XksBstTN0WsRRs6fvDOu1iMDa3GnZ2ZU/u+/LGkNeplZQF8S2Mcbe0xBZHKWU3eI1LJKg0dIyODWiO4vbNDNNyidbjyrOzq7sVqMTA7v6DXb6UmJxkINwV4eH8ai8NJayxEuWYiGvOx/o2b1OxGRgai/PDmIj0tNpqam7g/l+CFzgpfOeUCt0drEh8/inPqvDSi2NhYSBOK2tlfzxFu8zD/ZJemdh/1mlHPWEGXE3/QyMO7R4RiFt643se//uNZfv29HNe7XbicdSp1Ex1hO5tHx9ybqvAbv3Sev/Nvf5WDdybwdYySij8CiwOfb4hc/BaV/B7WnjewZPaoVA4w25sp7k5hVTexg3o5jcFowehsp2qqYjc2U61sUZU8i8ON1ZCnXHVhokC9UsbkjWIyGahld6iZPOqEMu4v0TC7qfscGGoNquljBVZjcGutscEmbSjHUM1SNfdiNOQxU6JSN2IsbGJofoZGLYO5miMfX8AVGaJeKUoE4DcbMog3cGJ1hijavBiX/4S6cxCLt5la5ghjoBejQA3E0FHOgzGJsSZZBBul5AQ230mqVLHaItTSi1BNY2oaoHa0S4mikuALJifV+CPtupbKA1EfGvkERn8H5pKBSqOEhSSl5Cr1/D6mrlcwu/up7L6DMZPD3H0RY6VKoXoIh/NYo9eo4cBoLNEoJmnUSvqBmX19ULNSSz3A1HYJQ2aHat2L2R+F9IFS1O3YqZkMOM5e4pd+4qf4z9885v94vYWp+TzN3X7Np5cLshXJ0zDYCPrB7vJznJTO4GbCLaLQVXFZjRwezOPv7mZ1Yo94poDJEeZgcYdMNc+pPiv/5Ndf57nL53B2t0C1iXqmQWXrBvnjAxqVBslcnubWAcyEMXqsZA+fUK+asQfbdUAyWB2YsgeYJD3p6aKcXiM8/DzlTIrMyrs0d45TMtYwe1qZv/Mmx/uHmD0Bvv/1P8MbcnPxuTe0cmju/m0dwFq7u5h8co+xvn4auWPaTg7TFO4gcuJTmmNMLH2AS5wavpOQfUjq6JDy8RoObw/WYAyXvx0MORUUPMO91HINGqUjDtcmCbZ2Uc0XqKVXWdlL0zXwacwmA4XCJqV4GmdEbDXNVFJbVNKb2KJn8Aw085Uv/w5v3VrlF758gaNElV0hg8aPMMmw09HNpRc/zQfv/wiX1cb1F17gw49uKv37+pWrGEwm7ty5QzgUYWRsiI9vfojF4lDBR2poFGhnd6gVS9iVut1viH3QqbYusY2K5f0ok1QgW7ipiT/58z/j9Vdepq2jh7ff/gFtrW2cPH2Sjz66obVl/f2DrKwJJ2GVixfHNaPsC/hZW1nWOh2BY4odTGBckse/e/chLdEWZqam+OxrrykY7/BwD4Pxade3QO+uXL3Am9/8tua9Ll87zwfvf8yJc+eJTz7m/gc3CIY9GIpFWjoCbO+XmFw45h/+3CA//3N/nT/6z3+EwykWMycdXe28985HtHW2sbu+xfnL45wcO8Fv/dbv8Oprr+iLU0CRkUiTbswkbiEqr2QIP/fqp7RaU4SDnr4eeru7+ODDT9jekbzZCUJNPrWunR4dIpvZ5//7xi1uzAuECJoCboxGK29/uMBf/Tu/QM+503ztD36fnoEB2lqFbpxmcWGJs6dOkMzmVSleXd5mqDvK2Weu0N7Vw3/6N3/IpSvncAR9fP1/fIOw18zW4gyWQonjnTydTXZM5joVk41Ye4iaULMzWSiWNWbgt1vJNgxqwd46KNEa9VBKpxnpbGbpSLqWm5ie2aC3pYkqJQ6KBkIRFx9+skW27uZL/RW+0F7nc+ecrOxU2I1XSVulEdzBqS4Te0d1KNfJlkzMrB5wcSig8YfvTeb4yYtNTKwec2nAis3s5j/dKfClUQN/NF/h/W2IlgtE2vycHGrlv/zFI/76T47zK7/3e+SWn0BZBoYEZkJUzeK0MFI0lrHVzRjNOcrHNYy+CIb8OrmjPaIv/wo//I+/zWt/83/wxUshQrIV395TcSAa9rGdKNPS1ofPaaJRbeihMdbWrsLX5cuX+f4P31LBS3LHgWCMbCapbp7mllbdpt++/YkSxV0ugT0Z9PDZ3hEll8lQaxh06yyiljhEOjs7eeutt+jq7mKgf4CZ2XmymfTTDGEsxvLiGpevjasVOZMu0dEeoVqD7//gO5w5fZFCIY3H62N+fllJyEeJPYaHR9ne3tTKyIW5BW3neOfddzWmMDwwSLFc1XiJVHWeGDulMCarzY3TZtIDsNDZBQbq8/l0syT2WGqoE2XiyZQ+E4RMLn+eZCJHz0An+3t72mzQHGqmbqyTklq7/SOt8JPIjkQEpHtaCL+zs4sEvB6lSV97/hozjyYo1ytcGL+g7oDt7W1OjkmuuKT25vRxhlhHlObmsNZYvfTyi1qD2aiJZNGgJu9xgxGfx6ntHYeJBFaLmf39bSpVo8KbYi1tNKoVfYaJnVyEmlyxSCQS4/H9+1hsVoZGBqhXG8zOzHLixAhz80tKt07nhDHgVTiaZC739uNUilW13Yqd/zh1iP0vhdb4/h5H8QSXr15kbmaRaKyZeHxPM9fCjxALsd3hfhp9yOVYmF/kmWeusLS8StDvUSBco17HIBvAjVWtHvQG3Do8CItEKiCTR4cag6qUi1pHKKRqcRi6XF6tWK1UZWspMESLDqRCTZaBuZDLYTY32Nw+oDXWrrVUiaOnB3ZpsxDHlVdbEPYI+OXf5eXRxDw2u1GhqArFsjk0upQ4iNPa1q4bmNn5Wa1uPD8+rpwYua6TRyk94Ha0t7ITP9CmHp/bq8Oz8AtkQJM/s1rKaCgroVyTijC/HtJl21UQwFmxoAwa+Y7lsD46Nsp3v/VdHaxEJBOb7NzCInaPUwGdHodDhx+X18OH733AyIkRNtZ3lKDd2tmqLsLEYUqFOYvdzMmxU2pNF/uy2WDUdoKV5WV6+jrVfXCcTmmjigDPZHsr99H05BPaOrs4OjxQ27AMRYa6MESsDA/3qVAkDhxxR4g40hKNsbO3oznwKxfPq2tgfnGG9tZ23XgeHD49iJ4YOcGtW/fU9SEby1qxxGEqqTGg8XNnNcO8traqtYg94nJbXVVI2djJE5pplw2nbB3FLi7VnVGJrHh8zExO0NrWSa1R1yhFDdlcjnP71i2NqEgPu8QlNre2lKou7IillTUmHk/z2mc/I8cEtdXWajXmZua0EnBmeopKparxmeFTp7WXPpV7mjHf2thieXmZF158kWwxy9tvvsvQSKdWRcYP9uns7lDHhLVeI3ZpmCRGSpksTq+LbDKr+XG/x8thKq6AXvmPWOPl/pSGlfaOmLJS5Pk4evIkFqORm7fuqlAQDIeoV+raEOD3hyjl0wqNO0wckz4+JtQU0GYXZTyEmhV0urC4Jp1WBJtCrK+sUihWePmVz2iN4fff/C7XnnuetdU1fQ4JiX55aRWbyaJg1jMXTjLxYIpz58+wt7+vy4lcrqSATgH6+UI+luYWtTZQ6kvleVGs1An6fNoGsrA4pxGE9q5Wrfrb0ehmUStA5bvqHejA7/VqpaTY7/PZHBevXuTenVv0DgzQHGmmUirrIOnx+zhKxNUhJM8+sbGHmyOsLa+oAy3SElFr/Nr6CqHmFlpbBU5apNEw8vDrH+AQLnnMy95ego7WKO4mH6mVXTZzGV75P3+C5Yk5ttf3ibaFVOQVZlE2nVfRQ4ZzgSN2Swxna0tjCg63l2hTWIUqYYRks2mtBpTrzeV0aCODAJqlMlGYJ3K2Eadab28XgsdfXd7AabcqeFHEOBF0RcztHRziYHeblkir8gTk9Lm4NK+uFXEZyLV8mDzW66ajq0NdOAJk7uyMkRDOzt6BRgp8bg9XnrmorBhhf8jns7K2ocJgV1e38kampmcJhXzUqzWsLpvGPaX1RO7to4OEvi/EbSkuNGliWFlcwCzvkcFBbUOIRlpI5fI0RCBoiejvK3/OF158QUVDcRUMDQ5gMTRI5PLsb+3Q1dulQq+0h3zm1RdYXVhR0S7WGuXg6ECvY6nolHeJiITCDCrnc2ztxTmWc8ZAj855xftPqzSTAp/2mmgN+ZndSJNpQLcjx5t/d5i7U4e4fC7efn+H/kEHtUpNBY2D/WMcvibMDYGYh5C19NSTY8ZO+jhO52mUpVq5QTHV4Pqon3/1/V3+n3n44qk2bj5cYazHRMDVzv2tTY6yNv7VL13lJ/7Bz7Lx/Xfwt3RiCA5TlaG/nqMojWuJ+5jDF6jE71OvGXD3vko1vUW1VMJYT2Kw+zGUc8rAa4THMXBI9fBQBQyTxYF0FFbN1aeQ/Iad8v4nNNwd2FydUMlgc7eQS8xjMOQwegYwN6rUlt+n7opgDnVQLR9jtLTSMDswVfN6Hdbz21QyEre+SEXmw3qe0tEyxmoVo78LkzOk0H9D8uN/0jCYPNSyCzTMHnB0YSttg91G3tKCI39I3ZChZm/HnNmmXsvRkAhAxYbR7aW+/oCqtaLVBFJfYyyUobKDITBAJbuGOTgmrz+oxTEUjzAZg1CtUK7nMZscNCrLULJRdbdiMRQwWnqol/apJD/C1fIidZOHcmpDu9JVDakeUzKUwRXGmNnD6uygsP4nNIKnMNlbsdayWHxDFHfvUm6YsfraSS7/CG/HMMViFVulqNvi2PVxVm7/gN4X3+SvfqEfynYeLq7wwvMXyfxlpdtb37/HibOdDI2MsLO+xd7GNsnDJJ29MQLNEd5+9yFjw60k0mWam55a85LxBOfGu9jaSXJ/dks7bZdXE3gd8JVXx7Qm8B/87Zdof+YS5Cs09rYpb6yRsgZwWvzkMhtEmtooOHsoFuNU0wkdVOqFIuZGEUtkmHrhiMLxEa7WExgTu9CIkytWCHVfViqkxdxKcX2ORH2fStrJ/spNNrZ31VLkCXTTOnCaqMeOq7WT+ftv0yhnWZ2epWXgCgM9ftKFNH0nntF6Ca/bR9E7iD1+m8TmBM72i5CpkM2tUcxniPSexG6B7aVZ7L423KFBcgfzuN0WvR4KSdk8HeB3hzGK1fBIlHI/jpbLFA7uYq2mcF44zT/46r/nv35/lVef72NlZY1iNoPX1YLD42R+aYWf/PlfJNbVyuN7D8iXSwoBFJulqIt2g5l0NqfUaiGf9/T3azWb2DPPnTvN3OwCK6vrjI9LNrBOZ1uU997/SHPA62trXLl8VR/kX//TP9XhyOa08+jRI/3vUk8nObbLFy9qtnLi8QPGzp1haeGprb6vf4D11TXGxsbIF4tsrK3p4Ly+tq5qrKjd/+J3f4fXX3+Nju4+Jh9OUizniTW3ki8XGB0dYGZmibXVdX7mr/00773zNvlsmc9+7hW+9903ae5uxZxuMHHz25SLBkaHuhnqbuLO/SXuzMb50guD/PrPv8T0xDqzq9s88+xFpaVHWvy8+94nSpTu7e7QrHY02obfa6Ojo1M3dT9864cKK/zzb36XX/7qL6rNVLKJ8uITW9+b3/8Bv/EPf42FxQWNH2xpZaAXt8vOk4l5zo0P4fH6+Xu/8x3GB8KaUfYFmngyM6+MkP7zF3V4kChIIBDmxKkTfPTJDc6MnUEsPSsrCwxEO9gvZyglj7jz/m3KqQR2qxB9i4zEvGQTCY1FyCHS7XMSaA6wtpGmUi8Q8XmZXT/E6bOo3ZNylrWjAvYGjA2EyGwds56tq5JaMZZY2MjR3dPKzMYRDpMRq7VKKlHmZ/rdeOxlfvqEkeEON3tpK0dlIz98ssOJHj8X+/3cn9jH73BRMpYJOBxY3Q2WDnIkDyuc7LZzf6HEuV4vC+s5EhV4+aSXP751zJWojd97kiXob+bZISN3lirsV/LcvJfn//575/mxX/tVEgu3MDh7MTuilHa+gyFvBX8Ao60ZmzNIdmcWc71Awx2l7nJiOlzCF4pwuDvB6Kvfpr2tSJMMjs0RDpIptjYThLx2zly9roRdIdlHw81sbK4ptffk6TEePpqiWqkq+X19fQPBoQsV+M//7JtPs/smuwICpZ5rb2cXr8dFpVZkdGSUiZl5PWgKrEzssZJZFHFBamgE6CWgocEBOVgc6D0mFYRyf+7ubtLAroyAYEBy7zU9TM1NznLp8iW97yu1CtevP83/uj1+BVOKlVsOmyJcyXZBbJICTHr26rOaqbx5430q5QZ9fYM8vP+AZ5+/qiTyR48nFU60t7PNmXOn9NBUKlbUtirVUpJPFFGgt7tbM5bqJChLltSlLolyqaZVdi3RZgUqyeFPcvIiSl599rIOLI8nJrWFQLZisjFdW17F4XEozV2y4HKwM2FVwrWQ8AUUKFVa6fSxHnKdDtmk1RkbPck3vvEtzpw9JUtoHtx/yIsvfko3KkdHBzrcWu1OshINMBv15wvETQSI7q4uLBbpQXYyNTWjMEEZoGTglY2JVAu+/sZn1eb/0YcfE422qEXZYXVoj/1BMvF0IDiUrV2THuY3Vze1XlB62s+eO6ubdokyDQz0KeNA6hxle5MrFQl6Q/QNdGuzgjwjRRiItsVUUJImm85YTLfr8lkWSmWsRrNuD8VB4Aq6efftD3nm2iWq1YZug2MtLeoAkDy91QrpTEFFBXFZhZsDpI/zSvgXAff8+DmF/05OzNDcHNRaRdk0y7tGxIPt7Q21y4p13Gm3sba1Q7SlVati5+cWcDnc6noSsUnyvPL9SUXVxvYW3Z1t5LPCPik+taaqhdhMizSQZJIMDw6xsyMbMJSqLgd+q9Wkv6sQ+SVD3BIOMzc/RyaTpiIbKJtFh6disaIiQi6TBouZFnEoTM/gsDtxuu1YjEKpH9HBdG19jWefuao99mKtl1jX0UFcr1ephxT7sDRIyBD39a//GSdGR9WtcvPmbUZPjOqAIALS9voG+WJV7c6yIbTapInlSLdxicNDbbUol57WsqVSWW0CEGFcrj0Zup997jrzs7PajtMUitDRLVlkiT8l9Ts9MXqSldVlyuWKViRm8hliEYlipNg93NezUFtnh4oi2VyelpZmdZ5Ic4IMIy+/9jIP79/j+Cit204RHf539Vi0Oaw29wvnLnKUPNAs9HEiTnffgA7T4riRn1MuFJSNMzw8pJtGyb/HD+KcGBvTz1LiPDOzTzQymCtJVNSBw+1RAeL6c8+QiB/xwY2P+MLnX+do/5Bcrcbsndu0dksMI6cWexpWdRo4zCYiZwbxDnSzs76JqV7VvvcHj59wZnSEPiHgy0C2uk5LuJmevm7dyorkF46EVYCQKtTt+A7DQ8Psbmyp0JVMJHWjt3+Q0EahC+fPaBvBwUGKSNhL/1Af42fP8t/++x9rPES+NxkApfFIdM5CWaoWxeHqUtFKHC9ipZda06egQC+BUEivW7vdpIwjl9eGzepUUV7gq7LtFm6QDMqyYd7d39eI1smTArUzcOfOQ3oHuvVa97qlBcDHjY8/1jaA9tYuXSzcuXuXs+fOsL2xxZlzZ1nf2FQWi9Slqp3cKdwUOwmF4Lr1OpP6bvlZ0lwkQNed/V26WzupNixMTUzS09umjSaJZJL+gR5u3rlHzBcghJXE9j6BlpDW7x0fHLOXTNHsdWFt8mLramZ1dQe/08lzn76kDhtp85BoqDybpHYxV6hQyj6NPPb19+u7CFl41tFttYi5dquFlmibxknFoVIul5mdW1Yav+TiZRMujVyptERAotQrVYwWg97PAkPd2tgm1hpRZ5bEdySaJtWzIkavriwrTHFkcJRHDx+RyKQYHRkik87idNvo7uzi/oNJSYwSjUg0VVgKsnmP6NlT4iuVelkdNAuLizqwb2xuaUzS5bIydnJUOVODQ4MqRooDVtoC8sU8kZZmUsK1SaZ1CdjX06VgSnm2tLbHKJSKGk2q1mvMzy7T2RVTobW/b4SlpUWN98i7fGNti2AwQCKZIBAIaIT2cP+Q3Xicru4O4vEjZXtZxEXitinvYX97R8WM8UvnWVpeobWnnZXFLQoP5qBUJN+oMzjQzMF+mmrdSkkA8cU8f/HX21k6ypEolPB77dSqFna3Eoyc6eIwLlD4Itm0nVMXQhzvwv0Hq5w4E2BpIY3PYaOjx8fa8iHGapl3N638YMdIi6WKy2zB76zpguzNm5u0N5n5s9/9caIvvkRueQvL3l3KwRPU7WFslYQuVxv+IYx1A/X4h5jNzVSsTqqpFczRPhoZ4SplQYfwBpVUhnpzDHM2rQ0SpZoZm5y5j7dpmIxYAkOwe0MrLQ3eK1Tj72H09EE+i8EucXtx5RaoZ9cwBIawOMIUNn6EOTRG3WbGsHEDg6sdS6hP3QR1i4+GQARLDeh4DkNikqrZjtnq1QWKIXPrnzVqjjBG6SC0maiv/TnV4CUsDQuGUpyqP0Rt6xH2vjf0xq4fPqbh7KdazmE1C5nQhdnqo9FIytMHS9MYZbKQSWHMrEB0lHIuga2wRd0/oPlwQ0VeOHVcnl6KyTmwejFWDjDZojRcdqrFPIbjfW0KqJo92Cx1CpKviFzD7BRrRAmrO0ohfgNzowmz00xFUqd1JyZjmbzBgK1qxBZsU/sopXnq3m5clg4ShUXsR/P4x57hK5/9Fd6Za/DyVQ+L+zbsrmOy+Qo2g4Wu4ZP0DJ0mEvHxL37v9/GaTbQGfXqDWBs1DEYjrqCX/UyObKrIieEeHj+ZkNYenA4LAauLnqEODjMNVZdv3l4glyrR3teFqZ5jLGbkP/yTL9J2+gvgPILMGqnJKWyeITbXH+FrHqVh6aVeuIdNQDjNIxTSuzRKx9h83ZRrh2R3t5RKHD31Bqnp/47J0YnLFyW1P0Pw1IuY7T3UatvUNxYxREZZe/AtZu68RzZbo5Kv0Hf1Ood7+5isNeIHOfweP5193cxO3cGZzmFv7cda2qF37BzdL/wmycX/Qb2cxymb81yZutnO5sIUPo/YttxUDTUc4TFW775JtKOHotFDeXcZZ7AJa1M31cMddXrgceEtVNjYusXgp36OP/iDP+ZXf+8mF07F8DZJbMJIKpEl0uTm1t1Znn/jdXpPjzL34DFur4tkKsnQ0KgOLw8fPuBnvvxTTE1N090jLx8Dk1NTajM7c+oU89OLJFIH5PJl3SiKGi+0a+koF6rqYXwfq82O1+tlenpGX8bhlmZmJ6c0wyXd9UNSS/Wjd6hUawoZEleDPLhlmJBOVYGryEZGXqCitsqD8tlrV/jh997m5NkzmiGUrbrUgt17+Jigz6vuA2EtNAWbdNsoPd7ywvnow480C9zbN0DDaGBudpr8wqw+IP/im+/jaEgVVIRsOUW95sZtKfPPf+1LrO8kmV5c1QOQWE4vXzql1tB0pqR22N34nnbB7+0fKsG8Vi+Tz1TxhX368pJt3fbuJiuLS3z60y8yMTVLNnPIqbHTmqWbm1+jUCno4dKCkVh3C/V8hd/4g7cIeaU7HQUuZQ+zKjK5enq0t7ZhaNAUaOXb3/ue/rk7u1uZe/CIcuKAzHGWne09XA0zva1iZZI6viRNITdnT7cyNR/HYpbqtADJVJUCEkMx4HXYiDltHOSyXOgI88PHywSsDgb6gszs5NnJFIi0t/Pw3gZt/T4+3WzGVEgz6DVpHrHDUeWZM60cZys0h22kDvI0nDb+8AebunEdiRpwGOqMD3XwaOmI1e0iNbuBsK+MtWGiZLZxOmrl9kyGZo+LzaM8Jo+Zqz1uHu4eE8xYGeqGo0aF375rxWmsYjFYibTbeLJY4oPJBA/+5McYePnvsnvvf+L09mGmrDA1o7+VRl7sw0kKBzMY7BGc3iDFVJKatZWQz0opIxCgDXqe/y+4XQ7G+/1kCwUd6p12J5vbh5y5epWtnQNaW0JUawZyUifV2sLk3AKRsFQE2TjcO6RubKgVUeCXkn2N7+8rtV16z2VLlEhl6Wxr1Z89+eQJ/UMj2BwCNU0qrXny8STNkSiNRo3NnR110Li9Dkq5gtqMxeNvkUaZWoNcQe45i4K8dvfjjJ8b04yq3EOSzzQZzLqpli1ssZRX6FS7uAjWVrCZbLrplK5rsWUeHB4QCAT1MC/VeEKSl+FMKPPSNCAHO783gMvj4cZH7zE8PKLxIjnQHmfkutvWmif5XetVo9pn9/eTrCytKKyqb1Cq+yxqbdza2NQedMkpTk/P4fE5GB6W6s1DNtbWGR4dwGV3sbMTx+50kE6llNSuHnBZ71sNKvKdGB7U957EGYJBL1IcIDlbu83Jw8f3eeWV1xTGWSuXefWzL7G4tIrH7qBSaygUSjZDfm9Qt5zSEy7VpMJBkByxMAsEwibwQjmEyWEq2hHDa3M8HebdXopVgYVViEYFVFZR67uIDJ/97Evc/PBj/d2ef+4aH39yk2euPsPE1LTSwNPplD6/QqEwTrtdGSvnzpwmFAnxySe3FBpXlaiKw8/N27e5fOmsuocWF1dwez3sbEp944AOIBaLTVtBcsWcHhLFQi+1fYlUQiNHvoBXD+Qff3JPwZP7h4fc/OhjBQ62x6I6OIvlWQQjOQxLrZdEw6SC0Wyss7e3T3dfP5lUmq3NDRWhpNNbALYCKBMr8tDoIG0dbRwdJBVgubG9idVi1eFC/vnY6ZNsbayraCSQNLvVQzDkY2tzUwGYIhiLeCwZbeFN2BxOrQqMRppxaMd0jMmJKRUxxD0iYkxvfye37zytx5ubX9DfSayxHp9Ps8Gy7axVpOpyUxkcfk9AN/7C8DnaTzA89v+z9F5Bkt/ZdeaX3tvKLJPlfXW1q2rfjW6g0fBuDGaGngwNuaJEaqlgiBtaafmwnnqRFFpgdE0oAAAgAElEQVSFpBUpikuKlIbkkBiHAQYDYNBAG7Q35b03WZWVld675b2tx0FMVFdl/s3vnnvOd46wu7NPOp3g2ksvcv2LG6QTaT18i700EHTpe8jjDrK4tEihmFXg5t7ePmPjo4RDrUxMTqoVN7q5qSRquVZ1EjQYdHNtMVsVGinXY7VYJJsvYDSI9d/H6uYGoXAYr9et0Lu19Q38oYBeqzLMiZrWFo6omNbS3EqmmGFjdY2uvh562rt4770fqJVbWAXC1GiUK7pc2d5Z02FDsvLCB5F7WeB3icMD3ULLu1NqfQ/298nk8vr7egN+3WTLZ1YuC91/l462Vt2CCixPYkXnz5/mgcRt8jnGjp1kYWWBI0eO8fD+bSr5Ip09vdpcMnx0hKnZJUJ+p0ZOGgajchwkltTe1cuf//F3sDsNdHQ109PVrQBigcwqfFaG1sEOJp4+4bXnX6RYL6oI9+q1F9na2WNldYWDeJqhoT6FcgrwzmgzU62iPCOx17u8LmIx6aV367UVTR5o00yt3iCTLVA3VDg1PqbftSwjRHiT1p4z42Psx3YpFaoavbh7+45WHivfpVLD4bBgsbqZn5nT6Ea4pUmvJ3GhSJzo0eMJrUwVcezdd7/G0uIC8WicnVhUnRDSoiQ8jaPHR9jY3NUBWDLzcu20tLcrnf7V199kYvKx8lUCgRDegEffH9rYZDSRySVpbW1jd2uPbC7DpcsXVHyz29zKcxHekVS2yrJE4loy/EvnfK5QUjEtn8vrv4m5QZM3wOT0PHabPGsMKuwLI0g+zMR+jNjDVawuC6FIE4n9tJ7NQm1NNOTsY6/T3t3J6MAQN768RzFb0M/8N3/r2+zL97S+pguM/dgBVy5f5v69B1isIk7EuPj8BWam5knGDxg7dUYhegszc9pKIpGIueklxk6N6vlSGCpSZSxQaYFzpxMpotEdpeKL+yWXLdDZ2U50N6qREIf9WcxOuDICvxaXnc8VULErmThAqmIGh4c0Ktba0qzcm9XlVU6fG2djY13dNC6HXV2wIlKLy0VafcQdJtDAkkTjpG6mXlWx3myV98QiHnkvOhwKg1bx2mhWJ9WV5y4wMTPHfnSP7p5eUmmBGAZIxlPKHJFKVbkmJPImwr/U184vzDMyMkq1KuePOsPSGpBJk80U2JPnVT5DZ1srvYPdbKxsYncJSNnPQeqQfKGg7qv0YUYduu3dHXq9Su3t4Z0pbFUDrZ0eNjf3yFQdtAYMlE1Ozbb/wUtukqUa2UPpe6tz9HgrWztxioc5vJEW7JYatUKe2aWCCtznL0kdbIFQi4v4QVqrk212uDDSzO//+ST3cmG67Cbm1reJNLlobfGSzlt479YGt/7om5z+uXc52LRBchND8gvq/rO43SbKuTg1+xDs3cXk8GNwdUBJhvkAtUYSczJJpakHS2CYxs4d6pU0VmGsObxUbc2Y48uSdqZW3scROIpBmXdGSpt3cfpbMXhCYoKjnt3Q9ryG64iez2obD6mFe7FWElQOFjC1ncbq6qWxf10FZlvzERq5TYUIliTSv30Hq29QqxjNxgr4BjEkFjGk7/8/Dep5zdXLEC6dWSZ/H7n4lFK3682vUFn7HgZ3EIv/lNZwmCr7lHM7WC1NlGpprOYwhtohtbqDuhDwPRFM8iHIg75QwNjSirFYo2aPgCWHpVignMtgdgcoZAvYA27MBgtViw9DKU0pfgezawxrsItqdoqG+zzWepJqXmwVeRyuLhK7NwhYbNTaL1I3O6kXBCw3ibkhTIIOjCJeCGRB4HYuC5W/O4zbrH0ULVmspQamjiG8fd/mTLebvnYrM5tp+nqauPVgkZGhCOffeJkHnz3AEQxz4YWrlPNpJqemdcNaycaUlisdkL0dbaQzZdr7h1ldm+DE8bOk9uUl1NAHYimbZTeWopA/5Mr4BW7NrWh9SjZpJlY4xBEwc7qthX/yG29y9aURvH2DmPJlKMfJxBNkJ++RKRtwdpzBXN7C5nVhsg9QTz7C4mujksxSCp+C6HXMFLH5uinF1ik3LHg7LlLb/QJTqBur9ygN6av8OxdCqZBj7sl9Ukt3mVjN09E3Qk9PSPuWpUvWZGii//RFPv7BH3Hm1BU+/slPGB3pZmiwm6GxF/U78gZ7yBXjCpGxt55hb+ZDTI0igc4XyG98Ts1uxxsepl4rPONEcEg+kdPai1qpTL2xi8k+RMulV/ln/8P/xH/5bJFXLw5RNtTJVkwUD5N6QFre2uerv/qLuJubKaTTXH7uOX7y4cdUajV2N9eV8n8owJFaQ8EtMlTLFlKI5geJGD1d/do3LFVw8rKRB7EcZGRYePDwAeFwE6VChUDQqw9BOQjOTE/T2t7JuICbNjY5IxCUjRU++snHvPHGG3qQFFVdQGVOhTyt6oZLrKZCiY3tHxAKBJ/1OBsM+vNCza2agZLMq8/tU1tmOBzkzKmz3Lt3R0mqhXSWyScTBDTrF1OK8cjZUZYfLeBtFFh+OkOT10zLSB+JWJRyOsf9mQz/++++yCtnB/jpjQUyxSS723tcuXIZj8PJ4tKCVk9J9ZhUW2aKQroX9mCdcrGuh6xMJqGZ38ePJzl39jjVRo0nDyc5zGTp7RDV3czxY6PsHeR49Og+b732KuVGgZ98eIubEzH9u0QUcVtMZDJVLC1e3v5Hv0k0VedweYH1mUXiq0sMjPRSSBeYuzeNy2fB4bUw4HOwn8gRaA9xkKkSafaRr5UIyKDosfFobou2QJMSmSNOK2aPbOxtrOSr5IsVzDYXk6v7FKoGwq0hmiwWoskEnnSaH/3DQXzFdaaWywz22PE2OSkWaxTNRtbXcjRMJmKHdTrbrCTqEI9m6WyW79FDdCfJQqxC2GHF727QNWhmckqqXQxcOuFhayvHXLzO6YiZrUSF3m4nfkNNrbiL0QOub9j4cLmGx2WlPWIgGSsxNBBhMxrnw3tFDjf+AMJXSDy+gdUfJL/3JVZjEFN4lEIug4UKlsQuOX8nLqOdCgJwyxHwmCA4hDMY5I1zr3FzxcS3LnXyaG4Nl9OC3WUhvZfn0ivXOHF6jI9+9AnlRhWb2apbYOE/GA3oRiqVyPDFzVtcPHuKWqPB1u4er7x4lXsP7lKvG3QTJLAhgfucOHVCe7SF6L4kLIFCSWF5VSO6PZbKy3qtprVCQpCXbWdXb58q/pOTU1y5epFqoaT3iWy0evu7ySYTJFN5Ll48x+rGht4/MzOLCk2q1EqEpBXkMKHbp5ZQWC2fYquTA261XNMto9xP2iyxto7PLwebZwdEiYFIjlbgYGa7VTedYgEeEoq5Ws9Dmsnc2VknHpOc8CanTp/B63cr3EggJJJnXl1fISJZ6UwWi92mQDx/wKcb1kEhkFuNam8UEF1HpOO/g+/k8JrRqr+WYFDmXX2WyVFFnBFi1R7o79H3idDiJcMsm/WkdFmLs6h/gGhMqNU7unkRCv5ONCr6oB62xd47PDyiELBbd24yPHxEM9SBoAzUYoV3Et+PKR35wrkzPH4ygc/lVkeVdHSflMNp8pCl1Q3GTxxTEWR2ZoFsvkQ46CdfytHV1cOTp0/p7e2nrTWkYqn8vvKdW002tUfLBkxq88TpEz9I8MrL11Rg+PLWHbr7u9QxND05S7i5meXVZeUnRDra2N+NqcXfLMNgLke1IYf5EKW8iJUlzFaT8hhko+gL+inmypqdFneBgA+F0F6pGdQybKhXufrSC6ytbDEzO0NXJKJDjQCLJbwjv//k9AR2s5WOznbN7s7Mz2tGWwCy1bqBotgza+jnJe4Pi8miA0itbCTS1awuj3t3bzJ65LiKAgtLyzx3+QIFqWtMCv09iclio7szQj4nEMecArocbhsmo4CapE5QLNsSHUwxNTXL85ev8PGnn6lAJpRyvRa3t7W9IhBoUiv64uoi58+d1W2xDFbyPpCNndfr1ziJCHQC+Ro7Psbjx0/Y2t7EH3zGZHjj9ZcU9DU9NcvpU8eZmJxS0Km8WySfazIYFRimgLu4NFqYcDi9OpwcGe5TJoNk88X1IcNnoVqiWhTC9wZ9/QPs7GyqmCd96BJ9E/Fb6lwrcu7xeFVckMO93Adnzp/Tv01qH8XF0hqRzymnUYORkSHsVnk2oS0+4qYY6O/WAU3aHSRmIA0SlXJO62gluy/f/97+LtNTc4weE7ioS2sp5T4T2rUMOFIlK1ttOdCeO32K+w+ekskXaG7ysbu5qcKptBmE29o4deoc6xtrbO1s0RPpYWVNhCsbR8dOM3nnHqm0VLBZlXAubJ9sKU88WiQQtjH42gXNuDsFOy3Oh4xAUx3qMMqlc1x67gILCysai5L6YIlKTU1NqNA19XROxYFkNqeEdGE9vPbqyxhtFj794BPNZI+fOqpgPXEfSWVjLlckGj2graWJSE8n+9sxJbU7bDbNsc/MLyg8zi7VYFYLff2d1KoVPB6XQu7cLq+yVlY21mkU5QOT5c8hgwOD+vfJ8+jGjZsamxoeHtVtdyafY6C/V7kWMjwLB0RAzCfHpCK2yPTUlD7PHB4vyXhCRchSpaBNEtRNNIWD+tyTuMnm5rqKf7LkET6JCDqBoI/t3ag+T46MjCokNB6P09PdrVBVcYJI/eTW5pYKanKNz01P6lAv151Hunu2kwpsFv6IJ+B41h7hthNf2Kb9hZN0nRzhi59cx1Q3EewI4HP4aNRryrtJHSTZ2JWGixEddJ8+esTl559nY30Nh81KrW5SqNteQlgnwokwqGAh9vrunm693zY3N2lvbae7r105C9tb4jiTSlUndqtN+VnBQJO+16an5jl27IgCpFfWNlUsEbFQHAYS46xXK3q+FF6ODPJyHYnjQCDkQt4XR9JL114kGjsgk8rQ1d2tAFxxJjVkaG5rY2lpjmqpyjd+/uvKzrjxxW2awy2YrAYVCASuKzWlIkpLbeQv/OK3uP7ZdTbXtzk5foq7t29rO8OZU2f0mSPOHVkSbG/uSq8Mfq+Hc6dP894P3+PN119XcTOVTDF28hi379xXQU9+/2q5oNwsiRHKu+FAif0Vunv7ibQ3K3zyve//mOh2lLFTJyhkUwycOMmXf/oerTYXjoARuUztFruKuh5fgIVokt87BW+fa+GTiU2qRTPt7R7lU7W1OFhcTOJ1NPC1hPjs01VefTOCoWbh8xubXHmul/nJHWXW9Q74sdSS/M1TM392P82lLismu5veNhe5XJrdpJkPHsX49F++yrVvX2X5zgatvdco736CsRbC2X+BUrlGafcLDMlJjKHzGPxDYLZhKB6CNNXV4xjtIRqyjS9lsLaMU1z7SCwQWk9fyO5jsbVgNrmoJx9TxYPZ00Y18Qhz0xGq1oAu080ihCVnqVqDmBp1XQSb205TnPs+tshzGM0NdYQ4fD2UylEspibKyVWqBw+wD72Nse6kkniCsSq14T5qgUEaiWkM8bv/V8NYb2A0OahkMlgjvbqBahR2KDlaMddS2O1dlKopGmLbDp1TeE+jsAnmsMhHmPNZ8A9STNylvr+Eb/RXyDdymApFCps3MHU9p/k7cQ8YHU0YXP3ajVh3+iG3h7lqoN50FEO1AOUoODq0dtCYXaK0O6mWfqPDLY5NavvLmLpOqx2vdBjFkFlTJUVyLFZLA4PRQ/ZglVo9jSUwQLD/GgbHJnVcGHGpBdXg8lBIb/Fv/89/zh9+Z01BQ709YeLr+9RqeV78td/Sw9Rf/MWf4Xb7CTa1EgqEiCVijJ88pkPTjz/+mNGuXj744fe0m7PFH9auTNmS9nVEMFrMGCvWZ32hhQThtg6GTgyyMjdJoVAhlTrAE+iglt5laiHN9mEVl83MkV4To0eH+bV3r3DtpdMYWryQ3YNEgdz+PqmDOrm9ZWzBNgJtpzHWZvRvLqaymAxeSv4OSns/wyAuifZjWNI7VLwecvF1nHYBa7lwhfswN/dojo3sOtV8nGQmx8L9GUxeB9HFDfKCc8ynePnrv8B737vB5uPPeeGl58k0rFTja7hagwrKGR/swdN3Dot0W+5skG3YyGXmMZv9WJp7cdSMFOo5jJUU5kYdo5DN43vU21y4DCNYB138b3//d/iD76/z7rVj7IvokZbKQ9m0eLBYTbQfPUVbdydT0xNqT5V6klNjp3nve9/j2Ogok9NTeFxunC6PZvQCWtmyRqVe182X2Nel4u/C5fMUMlnmFpe0v9vpdXP2zFne++53eefrX+fm9eskM0mG+vuJSg92p+To9xSQJK0NQbdf6wBn52Z0qyn2PhlORL0U0I+S/i1Wmrwevvvee0obb27t5OaNG3zj3a9pNus//39/wu/8o/+R5fVVfXFKDu7Bg8eakxTYmNfv5PnLz+mQ5QsGmZteJRBykjvcY31hDh9VytUqLcEOFmal3uwYH1+f4lff6uUffPtb/Jv/9B0uXzyjoK0ff/BjhoeO4PKYSMSzBHw+hbpIdnV5cZWWpiBfPrrDG6+8zdT8rH6fz18+x+STKWxuhx5ava4A8/OLxOJbdLT3ED1MU8nnCPsb3J7N8sOfzvHrv3KBh5NL1FIlDrNJyjkDvVcuMffgEZZ0hq6BIKVkHpPFpPkzk1jK03lM4s5pctMS8hPdjZM5SHPqaBtru3lShRL1coX+Tg87a3uUQ0FczgDXbyzSCFqxeJooHxYpGTI8N+Dg+RYfx4yH7KfyfP1cM8VEmZzVwEG2TKFooqlFHB4H2NwWjnQEmNuMY7KZySfKDLS52TlM0tEfolEUa3MGc83J7eUkp1pdtASsxEolOiNu/uT9Lf7Ju31MLEdpaTLS5HaSTFeRp9NyvsGnGzX+crbIXsXMy2eb6WkY2dza183nxbMj/Os/vMPgMSMf/uCPiW/s4LCXqRic2AxWGpUkFaMd9h5SkfrS5n4c7pBWn5ntDq3Uye1LVVqd0Evv8u9+9V1+5y8O+fWXXWzt5ujuGyadTDA/u4nF5+LN195Rm6QAmcIBEZWiOoAvzi9itph5/bXXeHj/Id19XWqrlC21CFrVRpXjx04wOfmEIyPHcNil43efTDpB/8CgDoZt4Q5iiQMdlkaO9Gk+895dgeNZ9F6QKE1K+n0bJdpaO1SUk62/DDhOp1XBTyurGxjNhmcUY4GGVSWXXqarswN/MMCXt25rc4ZECirVMol0ElNDNog5BvoGSaVTTE5N6AEo0tpCdHdPf79bt28r0EuELAF8ia2+KdjEnnQ+N0x0tDezurFOXojDPi+RSIjdnQNtAFhYXSESloo46zMyfk+ElGRwMykF70mHtdCL/U1+amWhMm/ptluylXNzs1r3JTCppuYQff29PH38RGnl+7G4whAFdnl4kFSwX6aYVfu0wKM6OzqYmJxQQnQ2nVU7qMNhVRCi2BklXiEHpIcPnqioEgh4WVlb14y2EPVlKDTU6xQrBa1LEyfGzt4+a6vLnDo5jt3j1lhUNpnUf8/fFGJkpJ/VxVW1emaLRf1OnC6nbuX39mJce+llPvzJ+5Sy0qvci9Vs1baHR48mef7K8yzMz9IUluHVqQdi2UJJNKtSb+jheezkKYrlohKvi/kSPd1tlCsNbtz8nJeuSQWVTbea9+495sTREc3NLwrgcGBAHVpOh0mjIDLwOF22Z5ZGg0nt0VJ72GiUKRZK6maReIuQtwVatx/dYnBwlGQ6gaHR0HdJOpdRkJ9AXmX4kIlfGC0yzPR09ioYzOMVe2VDhwpxDuzs7IGhwkj/EZ5MPFF4llwHJoOVc+fH2NrY4YnwDbwCquskX0yrPX1hdlnjYe2RVpxOC/du36e1o13dDEEZEnMZPO4A+4eyNKnR5PdqrZZF4Gq1CmaDiEzNOpA6HA5tkxDgWK1S59TpMb64cUtdMhcvnCORFNsu6mQYHxdOzRfY7M5nud6WZg4P4mRTsoSIMTLUr8OLOB0EZjg/u8SVq1dYnF9gZX2VY0dO8PjJI567dJFcIauViJLN3t7YpiUS0hy8CBXJuLBEzmurgbRKrC0vKqg2IlbibEozv9odf/wkPd0RvvMXf82VF5/XGs1SuUpvbx+lUpZ4LK6D/34iwfGjRziMCbNH2hqgs7ODleU1FY+kn1xcawL0XF5fozvSyeDIkA6T07PzvHLtJba2t0kKZG78uA7hK0tLBJvDbG1s6OAdDMtztMSTpw9obworlX3vIIbD61IXnkSIRFARq7a4HvwBJ+tbB1QyKeqNnDYn7Mn/NjSoV6vKRrHZTZgHWnAFm6incnQN9/Dl/SekdmO88uar2tUuIqbL41Ir9+zsglb/SXTk7Xfe1ojFpx99Rm9/L06XXR0AktcXAKswPGRxIC4g2dzqs6cgjIGsPusiXRFmxaWXzjI0PKBRB6miCzZ51K0lA6U4fI6dGObmzUf0dvUi0JGn0zOcPjNONp1kaWmda1ef07iUuMMkGiZVnsNDfWoZX5hfYWN7nVq5odeLxAS//e1fZn11Q8pA2I+LW8yiA6YIqjubO8opkE330WMjKvIlD1IcJuLs7x/y/NXnNFsu0RuP24HdaWN5eZPx8VF1Vy7OL9PZ0aaW8+jWHnZxVlqMVCsGzdEL6Lq5KUS+XCQmoMG2FszVKstLa5h3RWBxY3dbcXjtGGomtdy3e4Ps1HMcfec5Zu5OE2lq5vRzYwotlLYTs9lGsCmgz+rEQVyBldrWEvSpyLaysq6w2J6eTv07hOVkwMze1jYDRwYUkCsDdXNrK48fPCTcHCQQClMWZkK2oA4ocTFIQ5W4f+T6ktYJWS7NzszgdPv03CigcamrFuH6537u6zqUb6zu0BoJ67tF+CLJw/gzlotVnptZbDarXvNSAznQ06Oftzjj5AaS+IG4VFc3t9VtFgyGtPFEwJNtkRZtaZCBOhJp1r83GPJrjW1XT48KOG6PRLZKxHZj+k4Q4aJZoyMNrWu1OS3KlJGWIIGOSntCMpGhr7tbG7G2NzeoNUyEm30KgBZ3gMthxe0T6/0aTq9d4xU2h10rYTva23j/g08USj145ihz37+Oq2rE4zORzpbp6AmTT6XJyIhoCPOVjg1e77Fg7einVC+zI9HQSomTpyJM3NnA5vPS0WnnMN1gdTZGU7uX9jYrK0t5jhx3sbNWgnJBOVM/WbDzH+7tckKg7TYLpWKGsNtF3uDg+uNd1j/9XUJnX2Tn9hd4gk6MAvmL70Mtiqlco+EIYmo+QT29pHFNXO00qiXqVqmsrEPtgPzuIxzhM1RrCezBMWq5QwxCxzUaqRWi1L09WE15ivtLGGx+hbRLE1k5IcJtFgxO6iYn5uYBamUzhtQKBqOVsqMVi7GCsZhREL7JO0jF5sVSs2CobZOLPsJjb6LmH8MgQkRiGmw2yoZmzOVdDIcP/01DNgtSQVc3iyXMQD23ARY7FmeYWmqXhijirmaqQhvMRfXAavW0azYfgx2D1YDR2YrxYJ9cI4rZEcYisYBagUYxCtZeao0ixpJUAXqxuDyUpYqgasbkF8ViX+uoNCNROtScFFUzVluKaiKOOdhP3eHBIF3CmQROZwCDyUUlv4XVJNTjOEUpY6q4cHg7cTQWMR9/nXqqwdbqh7z/lz/gj75bANOhWkNyZhP7azU624RmH6I5UMRk9NPIpkhjI5kv88o3r1EytnB6fJTk/j6f37ipdq3WloiqnDt7MV5+63VufPwp3/qNX+WDv/hrytWKdq8m4ltqZ8xJd2mxxNFjAyyubUK+zsiIfNE1Hk8vcvHSGbXOJOIFRo+EmF1OsfJ0h51SkWKiSne/j/GBMb7yvJF33r6CvckHXifVdQEbBrB4fGzc+hCXvxVbVx+mXIxiPIXR6cfuDZHdX6WUP8DnaqZutWB1e8kmtmhk0hhbeqlXk1iqRZyhEaomI6ZyHkf/i5BYJLY+icvbzqMP/5D+ky+wMj/P1PyCfnceuwEs3WT2p1UVdHcP4a43ODJ+hlJuE7MzRLjrCBvTj7DVoxg8LTh9/eRSkt+zYbaWcds72F6+T/cLL/ODP/9D/v4/vc5bb51hbWuDoMeL2ehkZWuL6PYeo5cv0NbTSb1i4NT4KBNPZlVhloE1U8hTKVYoFQRGF1SYjdPjprU5wm50S4nZr739ptqLY7F9fUAOHT3KzJOnanPaiu7odXXs2AlVym9/eY/O7na1/T538RI/fv993VzJtr+to5XtTYGTDevGUB7sskERmJcn4OOz69cZGe6no61D64uOHzvOd7/7ntKIJYvs8wTIlgpqW33/hx9SqctBosrY2JhmgaUaR2yBYlsU2GC5Vufhl7exuby8/vbL/PQ7/41sLMnYkR6iu4fEEnk8liy4O7k7sc7/8ZvjnDk7RtDTxB//6Xf08DR+ckR7houlBqfGjnL95hecGRtXPoDU2bmFGl4zUaqXtHJSIi5Pn07x93/r11lfWeO9937C2NhRvvLWa3xx63M++fSu2ivPjYf56d1tPvjpJBeP+HkwHaOpzc9hPEuLp0kBZj0dLvaSdXxeO/lyDspm/H4nZaMBh/SBGxskDrO43XK4L9Hb10E2nqStzcPkZobrE1ucHB5hMRojkS1RNFjp8Zi5HDHwTkuO0YhJiGj0D/ZSNVaIRfN8dzbBa6NtFJNJ4lUXO+kMfpsJt9nBTjnJmf5mVhdSGBxmzoz7mV8qsH5QxlQv0xEwkWzYdIiW62+w04nXVGD1oEDA6+JI0M6TpShFix+XvaaW2Q+nM6QMLj5eqbBVrNPr89ExYKCymSPkN+E22VnK5QnSoJhOkzw08d3b/xKPscriUpIOX56apYdGWbqXM1iC4zR27tOwu5QFUK9YqWYPKVUkE+rBanVQL0QJXPw69/7iP3D+17/Pb707RCaR5unSLiGXGZvNSDRjZHhwGE+wCavJoIKW9MA3CZ05kVSBSIbXYqWsWVKBVoqqL7bfTDavULqe7g5mpueU2i+HUskKlgtZCmLfHRnhhz/4Iddeuqa1Pnqgc7h1yyDkeLHshkLN3Ll/XzvdZdNEa0AAACAASURBVMMY3T2QyDNDQ0M6IAs/Q/LkqVxObfX1qgwnVvaj+8Tjh5waHyebT2usRgYHuT9kg2wxmZVQ3NnZg8ks2eUibR1tLMwt6WatWiiTK5d0e1PIygaxqi9bsWzLpk+iQiLi3rn9gEikiVypoqKFWPdl8yx1VnNLSwoVCvoDBOWAFw7z2e3rfO2trzI1M0UmKfntZ9tdOTzXynW1scvfurMT1fqr5tY2PZTIgVwEAKn6iScPdcCQoVhgaE6LTTvL67USLrdLKeSJeIah4V5i+0mi8QMKmRy9vZ3acCCbZqeQtuMHSml/7eUXSWbSFEtVbTeIHUQBE6FwiO2tDYrS/Utdc+YC9Ts4yLK/u013dx9rm0uEfGFyJQHsWVVg2ovHaA6GtO8+k04roLSlpVX7zGWT5XCa9TApw2E8LS4tEUCbdDgUAaeru10t7tdefEFdBTIYLC6v4ve49HNfWVrGZLKSKxTVpmx3etiVKFvNxBtvvcz83BxOjwi4K88gfNEoiwurXHvlee0Pl+9HnCYinEptpGyDJT/f0tHEQP8gDx481aorye9LLCSZymq06tz5cWanpukfGtDrRb4jMKv1vbsjovAr2UgLnK+9XeCVC3gDUuknme+MblSlzqBUrmvLwvTstL4fVlfWteqxUiwRaQmRL5XZ29vlxNgYt27e5OKlS/o3ibghcQrZ6HW0dGq1rFjYPR4bd+891k24EMIloiUxhM3tXfr6+jiM7zM0MEgikyYei2mN7dOJJwR8Qd3Ay7B9mIjptv/82TNMT83gDrppDgSYX1rTeI9A/prbWvS7EhFIhJ9MJqtuBWEDyXFLWmzymbyKS9JYsa3beA/1RlXFqY2tLXWxjB4dZX15UevRQsFm5hbn6WiNkMikyGdypDJ5rlw+x8FhQmGYqVRSHQPhcACnzc31m1+qc9Lu9iogV4B83b2dCqWUajUROB7de6zbSRmKhWkhsQC33a7VmyKmSWzl6eRTvYeLuSJ2m1kp7AcH+4wcOcrkxKRWqQk3Ihjy8OXthzpgtLWG2TuIq3tuYW6DtvaQxkVE7JMavmTyEFPDjDcYYmt9XRuF6uU6MwvT9HVK40yRfKZApDdCOVPUvL791IjS5/fXtrQpxmqx67ZUalZzxTzxWEoH3y9u39G4kgzo0r704N4jjo4O6Ttemnlk2TEyItGHtMZqTp06qZEGqfa0eezKnxKwowh/EgVyWK3qlpBJfHR0VIWCna0otUaFzp4OHf4sBrNGOsSKdJg4oL93kPXNNRWVJA5w8fxZ5mcXFVw6Pn5cRdf52XkyqZTCe5eXFvUsI6KkxAYaRqP+blJpKUKbbINtTitWszB17JQqNXb2tvj5b7yrlbLb0T2G+vt4+mRKz8KDg7LF3+bFay/oxlgcaSpgDA2oO0Oo/9lUkqPHR7UaTkTWrbVNbC67Rm59Ikatb9PW0UwpV2F2YUF/N1mYHTxZYHtuS90EeC0cRhO0tIco76Y5rJdpvzDM8fFxPvv4c5xOEy0tbbp1drkdOB3iNPIpuE7qiC3iPgz5NBoqopU4Ubxejzoy7j+8ryKwNKIIB0qqDS1Gszq3JHcvAEBxukgl4c7GLj6vm47uThbmltVxMDQ6pBV02YIInBb2onGNuu0d7DF+8oRew599fpe333yD2P4uJYkQhZrY3dkh4PdrlEIG7nv379Pd3a95+s3tLXVTSJRCFmHFSgmHxalipcRmOiIRtcnf+uKW1vXJsk62qUNHB9jb3mV9bYcGVS4+d0kjwRL5EEhfMpsi4AnS09fO5NScVhZWqkVy6QJjp07y0U9/ppEwef+JMCGtNwIXFbCntAOIK0tgnjdu3qW9PaxVtCLm16p1FhakfjCvgE+B1p4aO0a5WKVuqtIx2sP8jx5S2dnF5hfnjRmroY6l3mA2lmAnY+DfvdPNy8cM/ODmNuWCgXMXRLhJsbNf5tVXOrhzdxNzzYrFWWN5McfJsS6Ghl1897+ucOV5r35P2ViR8yNufvu/RrmRsnOh2YHLVuLBYobx0Q69BhdWq0w//hfYIicoPr2LsbCMxTNC3pHFvLWEte8q1fw+RqMDY3CI0tYXmMwBLD4Boq9iFDCHwUrF3Yl56yZ1kx1D20lKO19gNPqQHILdF6Fia6J+sIDFYKfi8FArpHD7Q9T2V8hXiuDuxmd1kDmcxewbBr8Ly+4ExvBRyvmE1pjazA6M5TI4g1CMUc8fYmg6SyM1Sc0Vxtpo0Mgnqdk8WtEo9ZaG5J1/1agXEwoqMNUdNHxhDBI6MEim3qpWiXphiRomLM1XKSTmMB7cxxo8oQq6qRTF2HwBUz6qGxfEeldJUzHYMSa3MIUHaBicVPPbWB1NNEoZ6qUDDK4+TJUyldIB1vAw5dgTKCew9b5LdfM29fIaNm8flUKehsNDw9WDJb1KMbOBITSC1WyikorhNjUoO3xgDGpHsLfNgbHNxXv/6fv81u/+SPNWDSe0BywEzVYy+SK5ipGOoEnrPxKZEp2tUllSxu0yE9srsZOIE/TZadjsDBw/pdTxoTG5cTxMzE+oheztr36VGze/pMlupGf0JH/7l3/Fz3/ja7T0iF3wEeVMlpXNTWJLa/qzBN8sWwq3HQzVKq5WPyGvi8WtGKmDNK+/eY3Z2Rl8TrduDg4OZWNWYCV6QCye19qigb+rl/rHv/Muv/R2G0arXWmONnMeNqZJ5S0sTzylra0bd0unDgkNUxOl2BxNne2UM2YOizUcljy2Spa8MU+p6lNAYUEsJp4RSukdzfLnDiZxtb+OUZTtw8d4fQOUbXXlKTSKFTLxXT1YrkzdJ1MX+1KM1ZU1Xnv759hbjpKITvH8V38euzOEsSTbrgbpQhWzswODw4rdZCaXqJI9eETr+cu89+d/y+//6xsMyqa4kOPo+BiGmpGPP7pLtV7m1Msv6oNTum/ffvurrK+v8vTpBF995y2NkPiDQT67LvR/o27k5fkmOUa5hmVDJUP0lZdeVpuU2Gnv3LunYDMBqCwtLtPT262wopZIhx7yRChYXFwmk0nxzW98Uy1QO7s7ekCWw7yAtUQJPn3mtNJ8xZomItpQX79uOovlOqnkoVLRJ2aeUskW1f5WNRgo5jKEWtu1cmtxZk6bCiJdHQp2WVew2FNOHjumtU0/+NEP6e/s0+aGC5cusTS3xCff/w4tTT5W70+pXbduMzBydJAffzpJw1DnW68O889++xv83v/8H+ns9nBm7DjVqpGl5TlevHyN93/8gW5iX3vrbaJbmzSHA5hNJrxuL7PLi9ptK5lDXyiott2D3ThnL40R24uSTRd58epzWsnlCbawubLGxzcWCYed7GzGcTe7MFbNz3ptR6QLtcjK9iGtwQDdLU5WVtP4nUbi8Sp2Afl1CCyqTCQY4O56hopAQE0uUqmG1gduZfMcCdYYshj56pCViKfOyW4vUgreMDrZPsgyt5yidzCIweWgp83M93+0zYXT0lVbp1434ZT6z1KFfKXB+k6RE/124lUDqcMiIxEXE3tZWi0GbDYXh4UCHoeZNr8Rp6ir5LF4HNxayPHJLNzYzxJ022jy+4lny1jNTpLZJM8f8WJs1FiMlUknjDT7c3Q1BbDVzBg6B/jop3dZ2M5zdcTLDz79fepGN6nFHA1LlXr8KQ3/cUymEiZbM8ZanUZxjVJBoGNu6vUMdv8I1WqKeiVFw+zCajfibmkjHYvTfPz3+LkrISa2srR6nHR0+nj0eJWmYIjmrn4Ok2lOjh1nb3sDm9kljkyWl59lHuVAVZH6TItFa7TEAtrd3aPVmbKpFTutWPmLpZpuoJuCz7YVu9ED5VnItlcsk/5AE9E9qds00doaIicNAdk8x44f0aYMEQ9kg+9xS8Y7yMNH96hVTSp2iZ1dDgYOp1UzsnLIELqw2BilQkw2kafPnGFiYlL5BlJd9bV33tLnglyPctAcGz+pwEC3w0kkEiEWj5LOFDWWEmlpJVsq6RZfBAHJPsvQJyLfvMQNmpuwOqzadf7o4SOuXn1BM6CSp94/TGG3GSnlywrEc3qdGjFK7scIhVqoNsrML64SCggIT0S5fTZ3thk7eVxjBnLQEhiggCxr9SJ7u3F6enr054h4KDZrqZQSm6TL7VFAnIgDiyurBLw+XVTnU1l6e7t5MjmJz/Os0UBAbbKBk952r9+jWytxDElNWL5Q0oFJ7LTiCJDfRQSWjfVtcpkChUqGzkgPQcnr7u/hcDo5eeoEuWyKe/ee6Hb8+PFRFpeXVYiXHK5sdyTvKQ0jcm04rTbqhhqZZEGtnkIhT+ZztISCNIfbePLkCTabjcHhfj7+5Ab9g304bAIrKzK3vMKobMc72nnw+KFWpgncLi9ieUVy18KbqGiG/sKF89x7+IDTp8+o+CFulWPHhP2ySX9fr8Ilpc/e7vHQFgppJl1AcmfPnWV3Z4/9g0PdlspgJxT5o0dGmV9Y1J8lg6RsgaUWUhYxsmVuCoa10UViL7K5npyZU+fIpUvn+Ou/+h4dXW2MDh9RoJlspGP7cSxWGQ58ale+f+8eLp+PkYFBXRjIZqVvoEsizOzs72nVo/SFy8/v7On+77n2NM8//7y2AZQLFf19hdciwrIAIwvSb96o6rC3ubrB2dMndaMslPW1jV3aWqT95qg24Ujn+NGjY8QOtvVeERhme3szGxubmC1OdTXGYnu6lZYoSyyWUIu+RGrk/ePyOBVYKG4NiSa8+c6b/PjHH+kBXYay7s52bbSR6jpPk1er/zxeLzaLnZWVVSIdrfocEUeCwD8ldhZqDaoYIyRx+V4+v/Elh4cJjh0d1uvPZfdqDa82TUidodGg4pDkluU7kiHT4nSQT8s5wqduvIP9GNV6Q8GXMjQGm/x6veWzeY1JidVYqn/lWrKbrMqwEAFR2CWGholHD+4Rbgo8g1IaDLi8QfqG+tTuLnlraf+JRre5cvmSAjmXFucI+Xyk83mcToe6c8qFMvl0gvDVU1TMJtK7+7S0txDbOuDEaXElztGoGDmMHXDk2CBNgRD3Hz3UKmGJFKTSeY6dOELyMK1ioWxx5R4+c/Y0breXuYUF9nZ2OHHiKAexpDoTIy3NtLS3sr9/oLEcp9PLrVu3qJYqDI+OsrQwp8R+GUil4jCZlO+2SFd7uzp+lpcXMdQMXL56UR1bS3MLtHV0KZxQGC7ilGhqEnBrTR1i4sZw2l36Pk+lE/zyL/4yH3zwAdOTi1w4N070YE/BoWJh7+3r4544/owWDMa6XuPCQqpX0Ry5xDN3pWpY2kC8wvsx6hAsjqyN9XUuXbnEk4eP8PiCeD1W5maW9X6W524pV9Ttu0AFb9z4HJPZxtDIsFqexRE2enaE6U8fcPBkCYPPTaFSUdG0KezDbjezNbfP2V9+ngcT87QFgnzt62/z/vsfsb21rYOsiCEC0ouEBcx3yObmGl/71rsqlH7++Ze8cO0FXQoIyFVYSSazkaZQWIG50zNzDPT2E08d0t3RoQwIcb8dP3mEkD+gz1253oUTItyI9Y0Vzp07z8ryogqA0agM2zZtjpJK3ZZwGz/9+FP+3rd/iccPnlKulTXaJkweaQSp1cqcOHFMIbDyLo0KRC/o1/fVowcT2qhy6eJpHj+epTkU1vOpxJQuX7mkla/iUHoWtRjS/68I/MJDEfFW3lciIgnA9OYXN7l4/iLd3e386Z/+JS++fJG21jY++OATmrw+WiPNyobK5ErPmAG9EV1iidgkkaJatax1l8JpcNqcGj+Znpzh7IVT7KzvEY3HuHT+tLpZJb4n9+1XvvoGP/hv32P81RdYejBB9eEWZaeJYNgC2Qp2l51wk4M/+zTJ77/S4B+e9TC1n+fJTI5Iu5murma+uL7H8aNubDYDqUSV1nY3bjcsb6aJ7Rjp6zFTqldZ26jT5IBvfaWbkd+dxRpycabTQTmdJ1Yu0e7y8njhgJWUkcr2v9V3087EY/ytAyr8WANdWpHdqFcpbd3QJZ259QKV9S+wBlop1syYjTWtrDXZylStJzFVJe7hpp6X57uNmq+FenaHRqmC2RGgVoxi8XTQMAaoJWZoVNKY7M00rC4Qd3zDS+ngxzhc58Fhp5J6SN0cwhI6ApWkNj4ZGmVqBgsmaxAKB1QcLbisFkrlAo3EDLXcPpbIWSEXUq3uYUjf+1cNyWmLglFO72OW3H1JwBw5jFUHDWMSo/Mk1eQEJncYCgmq9WZsoRDV4iqlVBILFsr1JI7mUyoUGOt5LBUDVaPY05wInrSWiVJNL+jNa2k/j8EapJpNYKrFMDSy4OyiLv8ttYAxf0ij+Ti2UplSRlwDDfC0Yi4mFVph9I9RSM5hSi1TKLkJ9/eQFivOxdcoeA383uu/wH+5XeTKsSBjvQ5GIj5+8miJjMlJd0sL5lyNe4vr9HX5VGm2Obxaf2MzG1SJzRequJw2dtf2iJWKyD9as3voPTrA6NFjWEJB/TlbBxlWJiZYWl3g53/hF7j/5JF2KL9w9TXdri4sLQizjPauTuYmJsgnkqwtLtPkd7K9sc9bb7zI5sY6rtYwdrP5mQXLZtMu4VCTR7NhpkKKvWKJhjmkVrz8IWrDd5vyfOtKK6++cI5v/sZrmG1FMEdUaKjs7JDbXCRZMaoibWjEMVcrNGxtOMN9lHO75JINmo4NUJx5TLm0jNHQhGvoMsWdWQo7M7h6R0nvR4kceYuaOcfe5IeqHAcHX6KcXMTZOkL14JBMOk5sbw9LDeZWnhDoPc7Kw59Sq9kZ7O+hf2QUZ7BHD3j2gBdDKkFy/xE23wAWRxPujmZSh1FOvfR/Ewm76TnWTfYwq7AVrWJMZDlyZozzV6+QzuRZWZhnd3tXKaoSr8hmJas2xMLCnBI533zrbX76/vu68ZDaEoHZXL/+BW+//aYOJrJlKCQLdPR20NXezcz8NJtixbaYaO/rUcjKSP8gD58+4p13vqJ1Q60trVTLZa0BEuBZuClE92Avf/onf6YDkVisBGz07b/3K/zxf/oThoZGtcv985/d5NLli1p/o+TVvX0Wlud47cVXGBoa5M6dO2qzEqum9LuKPbsp0KRK+Re3buIU6qxQq/N5rc1qirQT29zlZz/8AVcvHmfj8SyBNgeFRJ1YJqcQmjt3Fvmd33yNN14coCXk4WefTFEU5XRmhv6hTiwmN3OTTzXjJqq15MlC/iCY6pgMdnxeHy6PWem2G+u7HB87RqDJy+bKlg7SPQMR5qcluziMw+fml377P3PmaBibHFA3d+huCTC7fUBnSwtdHX4acu8fJsjg1txxqMlJyGnmy2iGijHESjSJ3Q6BTBGD38PmXpwBt4X/9WUzrw/bqdVtuL0WtcC+/7NNLp/sZDNe5u5KmrEOD0VDg3hRstFp2oM2DosGVrZzjA358TtR2/LKapRAyI3d5WB5OakZ4+FOL8vrcS4Ph6nmSywcVmgP2clI9hwTG4UqH89WWSrZ+HA9x8mhAD5Djb5OLz+7uU5P0MTlDicLeHEm8iSEzmQwYDdlMQN/NVmiw1wnlTVSqjb4/E+/xejrL5FteMlNL2NtDmCMrkI1hsHXTt3bTTW/q3wNo8FKXe5dp5Fy1YihVsUW7MVgqJDPJp7VilldNCQ+MfCbXDrq1Bqf5dV9svUClYyZE+eH6es9wvf+9kecvXCebDajVYkyWMwvrnD86CDdnd3cvntXazFlCyhVcBK5Gejv40c/+pAzZ09q7lDEtsNkQsGW8cOkWpkNEkfIpOjoEPt7nIG+AT3grWyuayadapnDVIrWUIi+gUGtJDJQ1+es5JolhiMHI6nVk+2dbPW3tnaVMi21buJe2RD7rt+nMCWxTspWe2t7l672ZrWIj46OqB08trdLMNisB/NPPv0Jp8+eoa25We3dctiRirXmUIj4YVop62aTRcU92SQPDPTyZGKKq1qXtaLiyPCRIYyGOltb+wrWkyz57OwsdeDcubOUiwUdMCXmJYcbhc353Fy8eIGJ6WkdaNub21nbFjK8RSu7pEbPKrVPUmcm/clVIW63EA6HiSmo7bjWgzaqRnVaSD2d3+NmcGiU1dUl+gf7Neff3tlNuCXAxx99zAtXX+Dh/Sd0dkSYmJihM9LM8NFjTDx5rPnftrYIc7OzOrjvR6Xay6q1V1KbKK6mk2eO89knt/C4pV7Tol3pdo+LG1/c0K5niUKJY6GUr7Czs601iQMjg9RKJR2A09k829v7esiMtHcyO/GUweEBJczLFnygu4/5jWU9xJuRWtaE1g5KxZe895678pxuooWALYdhEVoSmThWo0VdB3LYXd/aUkhgtVp+dt0szeshsynU8myAFJp0vsrq0gpdA53KPSmVKwoJ7Ghv0d9LDqrbm1EFiAmYsbm1WRkx8v2Ji0IAjlLl1dPVpW6ARDrF4sqKdrtLhabYXI8fPU57V4Qvb32pos7osSPcviVW/BLNrWHddApPb31zk1w2w0D/8DNRymvDbLJppl1YAZKVluvzb957T7kUMmCJ2LUj9WOJQ/x+L/6AiGA76tiYnZqjp69HbbhS0Sj1hpI5DgcDrO/scmz0qMYtZAstMUuJUEg7QGekQysMe7s7VZSWeknpfA83h3WAlAO/bBQbAj+oG4kfphjs79IBfml1WZsmqnIu5BlkbH52juHhQbLpHC6vU912j59M0dzcRD5f1m1erVaiq6OXUjlPKpPTM5RYyqUeTgYBEQyzuQKBoNRKZrE5HMw8FeZNkwriBYmeimO2WtHPqm400D84xMriojpjhkZGePjwvjo6vvqVr/HRR++rYDk5MatQTvndf3b9Jv/4d/8BP/7hT+jobCGXk4o3l9qfHXaLvt++uHmTkydGePRwCoupQWtHj8IYhbHg9nvVXSQtKOJAenz/LjPzTzHVzXT39aiFen5hRX+etCs0XznB6u4el8fHNYI09WCK42ePs7q0rg0UAkuTzy+dSSu8U/gOhVwKs9WuYpMwWUSkkyHw6eNHyhoQCLGwKOQzFsu/PPtkqGoK+enobGN2al4rGs12M22tEebnZlVAlMiexLBOHj+qFZsCNBRnU3ukhaePp7Q27tOffqLPkunpKSKRHrLphA7nsiWOHSRYW9/UYVOupZa2AFubUQqFHOfPnufO/dv09Q0o90PiCeIcM5gsTE1OMCSfTb2urpGVpUVlswwP97Mb3dPPSs5eMqSK+2d5YZHhkSHqhgZba+u4fQE6OwWcOcHI8BEdRPcTh9ooIdwYX5OfcLiZ7Y11srmSAjll6yzDejy6j62tmcrmAaWFHVyhADanURcA2aIIoUbiCzG+9s9/iYmFRb789D6vvPkCJktd33fxvX3lm0gTRaSjnej2tv5epeKzd8NhPKl5cAHwyWzQ1d3K/Nw82WxOozYSDZDaQK8nyPz8NIP9w+zHYhpXEAq+wWjW+tDt7S2tmn3nK1/h4aPH6q4aHx9X5lP/0CBrq6t6X0ujjgjVo0cG+einn+k9JO0mEi2TikwR4SPt7XoPSzWtS5/dZlwOF5J1E6H+6dNHvPLyi9ryMvHkCeur2+pCtdosRPcP/juk1kM6fkBLW7u6k0RouPrCJW7cfEBsP8rLr1zTNgIBzgmt3iWNYIW0Vl0azFbM5grDQ8MsLYsY26VtJydOnGB5aYn+gT5tT0nEY+wIlLWzi76RQa7/7DO6O/qYXpjB7fLw+huv8Td/+bdce+l5fV9srElFN5g8Nto8PqrT62wepgj7zBymi4SaAxgKeR4cwFfGDPyHaz5+cDdJ78kIuXSZzdUEx463UKgWmHiQxOk3kEk2GBi2c+3KIJ9/uQONNKNHe7lxe5PhJhPN/grj/yLB0aNtNNWS+H0B/UzvTGxgdVqZXc2zN/1PMTbaSe/EcXUOkc9nqWzPI2nacvYAY/MRahI1zKzRiJxR9o9k/m31Bg1nGJNU8CWmsbk6KeVzmKT+zxmhXslhzAsbpYrFFcZkdlGuZhCkvUQtrEY7BncrlcwaxoK0NtRotIxjzmcoyhLd2UfDbNJFuvDxDGYfhmoWi9OvC4IaeYxWM4aDBarBcUw2H7X9J5isJgw2cRTGMSTv/UGjsv8UR88bUE5SKxf0UGaol6nJL1qsaeeh0WTF7G6jnFzG7GjG4HJRSx5gCHSppau29wSLM0TdYtVsAsLlr1kwi2VV+nxKVaq5DczBAcBBpbBN/eAhhsBJ7C1j1HPblOsOTKkJGg0bpv7XqcenqVdlMHdQy+9Tt3dhrGVoGGsYbZ2QfECxYMLe1UM9sYb/6BBfPfO/cGMlyxvP9eE27RPNWekLO/h4PoVRv5Qqvlaf0vNLmQotQaceViu2IPl8koNkEbvBRsAvL+4c9VpD60SeLO9SLDQw1400D/dhb2/TDsxwex+7f0dk/uZbL/Hv//2fYWhUNKtlsltoDXUTT0pVUxeFUl5BXPuHCbKJJPu7B8w+eYzdUCVgNROMNJNMZLlw4RRf3ntEqK0Vl93OxvI6kcF+/G4Hm9urBHwu9vbyavFfWY+ytilAlTxn+j38+m98nbfP+OnsjUDbKGCHnfvU41H2Vg8wdB+hkc/TKBziDbZSkqxQpkBo4Dzx9Y+x2etUTQPUrcN4Ldssff4fae59Hnuog3qpQb24R7khVUcFDLJhr8jDzYQ1FMZqqJJP5bD4JPrRRvlwiVR8CpstAO42LN5mqtEHFJN1ytUE3uYwhYN9Ol75Nh/+t7/knd/+r/z2r11g5yDHwsw8x8dPUM5nuf9kg9HxE3zrN36R+clpNjZ3ODZ6hIN0klg0htVkpGE0KzlacpzSgZkvFdmWg53LTVdXB+lcQetoBEoiSqTUArW3NetgIA/TialJPHYXdo+d3c19OtpbuXXnDq9de4nldQE6Sn2YCb/HQzFbpFApar/45qYAkYZ1KPijP/x/tYpHHsKlUoFKqcbI6BHtiRVIVjaT0xzYN775Tb747HOl8He19ygc5+SpcZ48faQUbgGvV27JuAAAIABJREFUzc5M8fWvfE23tFu7uzQ1N1PNFLh+47p2Iw8O9LG6OAkHYk8rsiexgP4OrB47P7q7SMgoURUzr149y5tX+vjzv/qI9a0Y/+BXfo5kPo7V4mRtY51EOoNXoiqyhY+0UCmWdZPi9Tp4NDlLZ0cPNqvkhf0szCxp1nZqcY63rl6lUi9y594Sf/XRLN2tDkJ+G5uxBt1tTqyisO5n8AXs1KtFHM4QuWwUp7eZRNXE/ZU4XpeDoUARb7nIi8MeRjwV+p0m7FY73U0Npncr2BoO3ru/xbWLIfLJBpOzKfpH/UqgTyUE8GUi5PPyeKbAkT4LQ11B4iUTc6tROr0uHi3lsQUNRFxOhrrE9lVW4FsuW6HVZyPQqHMrVWY3Y2an0GA1UeeT+SKX+6xcX8xhNFv4tXNBbuw2+Ea3jYWtHWyWMNvVQ0o5I6cG/Gylqpzoc/He7U0CbgdNTU5++FmMoU4vv/+PzhBpsTH2lV/A6KpTm9unaOnVLFZ59zb2/5+l9w6S+07POz+dc89M93T35ByBwSAnAiAIZnKXy03SSrLXOluSz+Esn2WfS6Url+/O53KVLdsXVE53V1Zw+VZnS0vtUitGEIEEQSIOZoDJOXXOOZ7eF/qDxSoWODPo+YXv+7zP83lsGSoGF82CARoVDA7Z+g/Rcthp5fepGZpYzW4MtTTFigOrtaCH34bRSiUdpefiO7x17S9x594hf/W7oyys5egb8FBIpnm6mOb05VMM9I8qhK/N69Can7PnT5DNVvQw4nE6NQIg7pUL55/HXcwYmD0h+f+nWG1OxiYGWV5a1aFWhlWx4cqGWfLIEnORQVwO57FojIH+fkpV2QjEcDptSpyVg45YIk+fPs3m5qYOMuKOEfu0VJQVKyVGhwb58KNPcbtdnDp5SknFzWZDN4fudpcCoWSgkq8lLp52Xztj44M8W1pTUVJcORK9klpDoYzv7EhtW00p9RKlkcFK8uFymBEwYLGU06/R3zuA8c83nV9/9YhMLsVrr7+q8ZfD8CEzU0c1z/nV3ftcufoC2XxFoU7PFhY5NjOlDAGJ90nuuVKpU6rk8PuC3Lr1hdq0xVkjlt1Spa73TTaVZHxqWnO4yVRWtwgy6MhAJKKH0Lm//uq+2qEF1vng4WMuvfCCfj4LcwsKUpLqJQlNuzvcZBJZujoDbB8eYrOYtO1AWg8OD/Y0QjQxOUomVVB3g1QO7mzvMjIyTKmY0y2biBY2qzSZ2JRNsiZ9zaUKmUJGqw9leyMxK4FCtbU9ZzpsrW3SHmiTV7uyDASYKlWEIgYIwToeidEZ6lKHVjGfp6eni8PDJBa7VYUQt9Oh+VepIpXhWNgMzZZJrx+zqcXgYD/RqBx0jDSaBnx+PwfhXY1YjYl1tFZS1kAmldXaXXFljQwNMNDXz+b2AYVCRnO7jx5J1/0AdnlmdzzP8geCnfpsk89+bWUZh92leWMBYqZy8rvzY7eatRFAGgUEXCY1bVJ3JnR1gV5KC4C3vUNbDfr6uvR+8gf8NKo1JZ2/8OIlHcZEKNKe9KVFFaIcTg/uNi8rT5/iDwY0kiLvCNkGyzvIaZd3+z5Li0tcvvoC9UqDlbVVbbTxOBxcvPAC9x8+ICh0/WKWpcV13nj1qrYF3L//WIngr73xOj/58QcKk3v7m6/zE4mY1WpMTY9prasILPL1tUpQ3jvZJK1KVa83WYDIdriQzXHl0mU2d4SfU2fh8TOOHJtkZEhcQYfKUJDBx2q3KYhKGiymJ8e0jUfEOYG+PX4wp6LIO+9+E4sBbt35kpMnT5CIxVlZX+Xdd95ia2ef27e/4tz5cwo8FSFvdXlJrccC2JQGH3F4yIPp/tcPmD0+q204skhxOV0sLS0z0NerW1Ox2VsNFpaWltTK3ytMjGycwb5BHZw3t7YZHBjSw/NhPM61q9f4w//3R8pZkGiPbB5HxsYw2p1sraxidTg4fewoS6sr5OR+SGdp9xpVrBwfPqLDW6AnoIDanWdhKn02Js6fxlSusxXeZaRniIXFecZHxnjh0kU+uf4p49PTKqAI/LdpMGg8TsjvmWRGnRTCNRLQnTRlyED45htvMTf/mFAgoJv8SrmotatyZhwcDPLw0TONHwwMybUZZXx8Ut1OYsGXn1ciP9WqCDxtPHo8x9GjR5QZIYC/crGocFZ5/ov78fjJGWziZMtI446LUrWorsre3l61CEvkQcQim8umrq6kAAddDgb6B5Q6L5+HgDYlGiasAn0eV5scRA/oDvoplQUEWcJottIdCGjFpjzbBdxqsdtVkBaOjAyLcs4plCtkExk9+zjcTlq1mg7kA32DPLj3iK6+kIqTQjI21htaE/p46RmvvXSJ7Z89JC5U/f4OkrGc1sTKmW1v7ZCSxcDo1aMcnZnmT//kI62le+HKBX7yx3/KxQtn+fCTjzRy43a2K9Pl48+ua7xkZHRUXWg93c8ZM+V6mdPHj2tDlAg662vr6pwRZ6kOXVLvmc0qMDYRF3E6qULU8ZMnWFlcVojjyNigCiFLK0scmZ5Qh5jU+tUr8uQwagWhzSxxrKS2PoyMjrB/cEiby4vRZFTgoPwOhNdjMht0aWi3uzQ6JPBNEbiz+bRW8zrMTtY2NhgbGyWZSit34/zFMyoUtnldZDMl4omYCjI7Gzsk0xl1xYmTRGJS01MCN99ib/eAV169qm4iiTGJ60MEVXm2SivJrZs38bZ16hK13e9XIUBqFsOHAvOsMTA8QKFQUP7NsRNHFHD74OETrl27RrGQJhaXd3SbMrxWtzdI7kXoyjRIFfI4XBb6u/wUSiWFM8/vlpkdd/JHv2TjsOFnYTGMr9NMLtbA6beqg6RUlsWCl7XlMN3dbkq5Mi6Xi1q9oM+IO3MHnB314Xc1+QefpInlTeRjOcpVIz5PTR14K4dJBj1ePlj5EZX7a+oiwpDGZjCSOTzAYtunFbqE3TWEswWpchhDdAVL+yCtWoGWy40VG6XDZ5jsLVomJybvFK3kYwy5KDXfNCZPO9ZSmpYjRM3kw1A+xNwsUK23sDo6KFcyWI1W6vYAhtgjmu5JjPUYLbu8k31UEysYPB2YzX6dKaqlNE5HJ9X8IUa7DaM5SKueg/zmczh/y6aOsoZdvm8EQ/rL/0XcP9SNbiyGDI1KCXP7IE05ChYOaOTq4JK+yhBN7wCtSgKqMQzVJqZmi7q9TZV0k8lJNbaF1WGmZZDOyDRY3JhtAVoCCXTYMNnb5NKhnjvAavdQ2PkMq72Lln+QRnwX4V+JGaBZ3cYYPIrR1o3JJN2rRt2OGa3tVFJJtcgKdMFZNWLwJEjWx+k7O8pvff+v8R9+GuPyOTvpqAmXo0ymbCOayWlmbrTXRqelxV6qTqFlxWtrIMnH7g4HuWqNSrqAK9DBk2dymPdgMbeoiphhFd9+SQfcsckQjx5ukDpsYWs3YGnzYLG4CQ72MnvlCsGeLrLJJLlCmZX5JwwPDmiHqeTDpJNzcmpcM8/ZbJG11VVe+dY3+N1//b9TyomFaJCFuUVmZkZpyAERM4lcCYNYFgdDRPYO6fS1MzXWz9b2OqmCmfHhHp5uRFjbSRE7SFA3wOzxEY71+jl/2s9L5wY49uq70KrSyjYgt0c1kVR4S2F3iZoNapZ+bKYCtZIBb6CXfG6PprmO1dZL+fBr3H0nKdXEnefGYhSXfBFrxyDN/CH1SppauYSxksfR2Uf8YJVQVy81Od01DBhsXrLRTdzBM+Q2PsQcGME7cIrEgw/xdg/hvvBNHv30x5z93j/n7asDekCXQ2pocIhWo87cw23OvnaFsclp3WxJz/H29p5CasR2KJZGi9nOpRcv8eP3fqx2uGuvvMzaygpDI8OaJR4fGeb9n32Iz9NGR1cHXYEuHj2ZV4uUPCTzhbwO3nJg3d7a14Og2+NR8vfb736Thbkn7Ecj2EwC6dlUm2auVNIBR7K17R7ZJq/Q3zOI1e7i3ld3dON39cWX+OTGRxw/PkskHOPnvvtt7t1/gNvVxvziU1xeL72SZQ2HefvN13Xoeibbh6FB3Z7KvkoqZD775DOl2/6Nv/6rrKwu4g108fln11n57AYjYyHapH8aE4lMnnavg56OADeeLBJNV/gnf/0lvv3GJZ4u7rMfDROJJJTK/ODRHC6bDaMcRpstXnnlRXYO9rjx6RfaRy4v6E8++4x0qsA7776uGTazocHRmRnavRZ+9z9/wvtfrHPtSIB9GaqKDdK1FoMSKXCaWN+IUm85aJlrhNr7uLW0ozl6q6nED/ob/K0pAxPDftYOsgx0dbC2nCZNnZDXSLxkZi1WIk0Lv7wA/W2ECzkKlapaB/s7XQyE2rh5/4CXz45ykI2ztpHCHAxxNNhkZSejw8m430IqVqPNWmPkSJBPPo/RFTRTM5j4d4+KfHRoI2DN8e0TXcSiDTaSWapmA9eG/PrvubV9Lp8c4/pXy7TsAUaG2wivpqjYiwy7O3j91TH+xR98TcXkJGDJY3LAwZ6B08Mu/s17/yd4u8WuRGHnkEpmD2cjidkF2d15TJYApv6LUDRRjN7B5AthwUejFMdkyGkNl8HZjUncR5mHWIKnaAo92ejB1G6ntPOAzhd/wN/5y3+bf/vHq1yccFAt1Jk9NkgmVyKxn8HRFaAzNKCOga6Qj/BujFK1RKfPSyKR0Y3DiTPniMUPNNcohPnzFy7y5Zey6RnUYSGXLzA+MorFYtXu5KPHptnZ3Va7o1isV1e2mJqe1AiNbBcl+yjbLrFbpzMCmlpjcHBYNzJ7u9vMzJ6gXivK0pGfvvchY5PDmA1mZk+e4P79B3gddnw+n9ZySi5SLM4iUizOL/PmW69pDEgOSGaLxKrqumFstGB25iiffPSx1lGJvVm2Ok6PXZkWwtmQqIFskSKxGLtbOxw9Mk1n1/PmE3m2HGxt6fDR39vPvYePsFgs2p0tkSL5/2XzJ9sZ2YSL2CiDY6laxmEXZ0uKrt4uIvtxOoNBorEwBmODI9NHWFvfpFJu4W2zkcsUKJZzmjGVjnapJbx3977abWWYEYFDMpMiVkhl3vDoiPZs3/xMhD+P2sYjhzGNZUiUocPlplStKpjParaxHz5QqrbwGRaXljAbjZppF/6API7FZbF7EGF6alw3RQJrki7oZrOm8QEZ1vOlNJOjo6ysbdLV5aNSbLK+saHW5GwyQ7Zc1IFV2gnK9RqFdJpzl8+rzVry8JKTlsGrkitx7uI5HcxE6JHDsjSvSLTN396hZwZ5vkrOtlGHarOK02ZR0VZy6NIG0TMk9GYjJlOLQiGnELi+3kHC0ZhWhnZ39+tGuL9PbP4l7Uhvd3lYXd2kaahjtdsVAru7vcPk9CT74efW+mQ6TW8wwOjEJHNz86RSKVwOp17rnb4OdWJJA4HQ8sVKLn/e4bDptSHuFBGhZZsmOddSqcjU9LRWHiZjMbp6Q3rtSBf38NAY0fChRgEEbHbt8nkKpTqffnKdCxfPqrA2PDKo7pLuP4dgnTl9jpu3buj29cjUtP68hwf7Sg8XC7RcJ6Njo+pqkcidtMgkkxkKmTwvvXpJrdSzM8dY29hifv6ZwvakplDEKmEwdEvWOCq8JYMKdsIEEQp3PBFVCGb3YC8Oi02HdXGTSeb/MBIm0OlXNx0GM21ej753/R0+6rIFb/fqZyDbZgwthZKJq8NpsxMI9JDPJVU8bzUMKtiI+0rgVhKPk8pLqeLs7unSaITUY544NqutPnLdS5+4DLpnTp9mcXkZt8eu9YmVkrhodnFJ9W5V7OomrTmTIUYcQntbOwyPiBOhrO/xW7fv8vorV1lcWVVgpt1soFIocmT2qG6Qw9EE/q5ufJ1tytGQ84XF/rxNpFYq0NZuZ3c7Rj6beD789g0QT8apxNPUhoLYA14i2zH8XX6OHJlgfu4JV165zO/8q99TyFr/YL+yq2wWlw7hD+/f58jMhGbh7z9+Qi6V05YAARXK57u+tKqtRVKvKHWosstzuzp0kSBZdBG59PlTqRM5DKtTxONt15YTEc2EVyIxCWm+mp46yv7ergp2i0+XGRoawNPmwWgwqQDwxluv8ezpPJub+yrEiKOxXC6ytxfW617cLnbr8/YiES1ke18oymd3hJWlFU4em2FjZ4f1ZYEWe3Vz2dsj0PCSNuIIV0jcZTt7W8wePY7LZUfWvMIMqVaKhPejHDt9VCNIBpODRrlOtlAgEY3T0dnO5UsXuHnrC+U8tHcGiYUPGR+d4Ppn1xkc6Gegu5eaU6oVK3z1f39KKNihMeBs+nmFpdHS0tpRv99P++kpSuUK4Y11Jo5OM/9kWcW9119/mS+/vkd/sJv9xCHdwefu0Xy2QjaXVGFbFoFra5sam/OLOzdb0HeTwQy7OxFtmpI6T2mE6urtY3hggMXlFdKJNGMTo9pKIYKz8G3y5SwnZ4+rjV/Anxt/7kx44+03ePBwTvki8j4Tp4/P52dtdVnbpPq6exVGKEKU29OGxWrEYDZSLQo006LPBxG7RTSxWMxkM1mNZ0iTjdzrmXySvi5puFhjdvYY4xMTzM/PcXgQw+P26PAojApp1fjiyy9UKBDBUVgSEveTqE9GHM9bW/SPitPKwcrqMoFAF61GjVrLQCaR0Ii1OHwqxZIKF9KOEwyFlGEgFb5Safpzv/A9Fp48UeaEKNqHkYiKlTIvtEukbawbS93E5vuf4bQ4wd2gmClTrta5ONPDBw8PlI30/33bwm4GdnIlTp/oZH0lR1vAjt1qJBHP6Aw7NeXj8aMs9Xye7nEP9+9EOX06wNpOmWsnPIRCnYz85iJvn+/FUMuRSRdxGpv6HvjPN8P8+i/28c/+03XiN/4Ao8uIWdpvilkcfeepbn5Mo/cS9vZ+itvXcXkHKG19irHnKpZ6Epzd1KtlTI0Uza4XIbZEw9jELK0Q2UUM9i4wd9CoZGi43JgaNoylXY23NsxmXbqbYk8xD7xI7S84RsZKhqbZou6oVu5Q0rBYvZ3P4whVibOVsDSNGJxtlGstKK5htfdQz6yCvYeWqxuLFaotI6bkDobMF/+ohWuARnGfZiWF1d4GBpe+JFqOAI3SGmb3JM1SDGM5Tctio2Vwaz6haTNhbjVoNKwYWxWMrSIN+zjkVzEZLRCYpZZPYDEUqZfTNJMbmDr6MXv6aGITehOVcgRLZgFT9wVauKgnH2LvPEmpUMZizmJ0j9EoxGml1jD4RrFIbiKxQS2fxGA2UUyXCV37LsTm6Zj9TV6ZbDIYCrB4WNbtSVUeRHYPpYaVWL6m25ZIwYiJIgGTVaETlnaxzxjodVi0giNXzjIsVruk0BebmhfH1cbjJ5ucljqUVorR7g5iuRqHW2FC7R424lncZjvhaomhYzMMTU6STsT43g9+nvWDCJ1ONwvPnpGIx8nls88P6+eP4jDbVW1LxMN4vEHu3f6cRDTMzuoqHpsNm8dKo26krcNFs27C0+YlcnhADYE+tVHK7xMcHGZ0sIsHd5aZPBJiYX6Lue0UAz4/e+EsLpuDX/vVS/zCtRGG+x20z7xFq2SlmnpMNZoknyzg6u2lEE1QjjzF7bRi9w6SLjToCFioVaQstIXB7KGR28Yow4vJRr2Qw9Y1RLPcJLnzEzyekxRLScqlOP6Rq+T3NnD1hdSCV68ZKaWWcbgmaZmLmBtpCiUToR4zm4kyl177l4yOWGn3hahKNaTPSfQgQzSR4zu/8stKUi/mEvqw2ovEGOztUduzS3rDC2ntOBabvd3qZGh8hNjhoebo5BAuD5m09KjXWmqPW9pY0wOzDNprS4v68owlY1iMUuk1pJU5N2/folWtq7Jrtdn04C8vgbe+8TYPHt3TXuzjx45x49YtpcCeOntKxYZ4XDrIi1w+f1Ep/+cuX+L69euqzEsmNpVMqhLqdriZnjmqh2hR/YV4LwT11996hYPDqFoI/Z0eFuZXmB4fJRwX65ao2maGBicIjvRw44/+hNizeS5fvcjB7rZmjHu6uqU0FJfXQTxd5LOvY7x7tZe/+dffJp+KcfvWU0JtHWCsqEPklVcusLa1yZd37hMM9Wrd3szMGAMD3ZTlRZyS2h0r1Jo4255vENY2kvz+e/cV/DPVY8Npa7GVbdKqN9jLVrE7rSSTZY72Ouk21znuM3N1wsBksJ3w6gYTpwfZ3cqznSxTyjfJi5UqWicmziOjnfEuNz4PVMplGgYzyUyTSstAX4eNDqeVbF0Ae25y6Ro76SIdDqv2mu/tl3jptJuhXj8H0TyRdJnPwjZu71Z5vFfA7HBQqdcQEHiHwUChWuV/eXOKtWiUvWyFQtLEYS7LqYkOpfE/WYsyFPJhsrbzuzee8capEK+edfO7P9vBZbayuZMn14KJYTfnuj309rsx10wcnZ3k8m/8Ghu3nmBJz9E+dIaWMU/xsITb30vt4BbNrrM4PTNUcw+hKk0o7dQsDiztfTQMdXVUWTtmaNYzlJMbODsHKYV3sAaOUDdZMCSWaD97kbVPfsYLv/Qjrp5ux2GokquaiGUbFAtlxqYHKKRaauOenB6jwx9U2/LE+LAeXvYPRB0Psbi4pJuEFy5dYn8vwsbGOi6nk/6Bgb/I1uaIxJMko3FCvd16cJmdOaK9zfcePmR6akr7wVdXVkmk0gofFKrxwvwCTm8bp0/MEAlH9XAuyrzkUgeHBnBYhT1goFIWXso+F86fxWoyq0gmFWR6sHc4FMYlsRPJ+q+ub6gdMxwNc+bECc1jyjUrg7BUbwpcTQj7Yr+UryOb3XyxjMkkueSGCh2vvXKNlfUVVtc2VDzM5nK8fO0yy8vrapeVyI5mhl0uBbvdu3dPM4/yvBGxTgA6NrONeDypm+JKrUhPlziJntKqtbSLO51Nk0pltGFGSOw9/X1ayVarVpg9fUop3OH9mELPRBx5+Oi+djjLM0SGF3EQLS0taCRInhM7W1v677XlFWwOm26Z5PAlgk42mWc/vMPLr7zGyuISx0+d0GePbGp6gp3qBPCHfHo/SWTj4HCPG7c+1+2OUPRlmugOBYhGYhTyBc5eOKcH5S9u3eb4iZP6exwcHlT2xdz8IsNDvTqcSe1hW7uH69dvqcvg2IkTbK6v4AuGCHYGiRweKixVDpsiClQrFY0aeN0evvzqLu++8w7Pnj0jk85pRZ9A/a5dvsLT5WW1jgrFf3xsWIUpgR+KVVoghzsbB1y6/ALpVFI3UkcF6rr0DAOy+ZI2ADeVekUP8rVaSTfm/kCA7m6JjogDwqubymRCBjqXWm73d/f0PSBwtUw2x+7+Ln29fVTqdc3wS391VyiggoHd4dQDunR4y3QjuVmhssuQH2hvU2F34clTLly6RDoe1f8eiyYVhnfniztMTo3R0x1k4emqgv9EfJbrvZDLarPMpctXFKzpcDroG+jl2cICvX2yqXdz/dNPlBpvMpoVuCVby0g0jr+jTR1uTx495PjZU3S2+fW6FTfc5RdeYGNtWx08O/tbKgrUGybt4W7vcJCMJZW4LhV98hnI8CPWdYmRyPtqcnxU6xK3Ntb0ndnpl1rWbeUFOR02WiYjB3tRBcL1hLp1kPyzDz5QEVyiFlNHjxKN7uqhXAYJEdwFCCmxDtlwy2YznX4OmRMhRu4refeEukO6TLhx4wZHj0yqTTydTDP/dEVrgI8cnWC4d4APP7murVACuc1m8uzthzWSY7HaVASTKtyJ8Sl9lx/GwsT3whxEDxkbGSa6f0Cp1tR7UhYA0ciBih4CfBMYqjidni080ZrB47Oj7O5H2dqP0un0kIymGXj5JPagHYfVwfryphLlpQb4zIUz7O3IZ97DxsYG6XSKidFhdeQIwC6RyVIpFHSjG+gK6XP2wdf3eOX119ne2NANcjgeJtAWxG63sHuwR2/3AE6XVWsZBbooERWxy7dE/jealHMiDpPNrQ2OTE8r90JWAwvzy5w8e5JMOq0NBk1Dk1K+qsJYsDeo4onD4SZ8eKDEeafTydmzp7WtRSovxXkgAqTwSiRKJgKltGVIzObnf/A9rn/yMWfPXiBflvaFVWrVJpNHp/T8lEjE9HtLhejh1g6B7h4VOcSyvrS8ysjYiLq6RGwSpphcf7JAky74UknYEQ0i4SQtQ53+wR6toqxUmvoz50pSjVvi1JnjDIwNcPf3P+BgeRdTp53+7hCHkQTNSkkhf7VSlc7LUyQTWeytFpeunefp4pbWXjrMIvY0KVRLGvXs6+9XFoK875pNM7l8WiGEco1JjM7f6dfznzi8xsaH1TEm7zZ5noo1QQSVnu4+wuEIPf09KhqKg0acTW3tbu59/ZBzZ08TT6afV1UK08hU1/rXjdUNjGaz/gz37t1nfHyYVqOFwWJQZ5DY/iW7L3b7g4MDfY4tryzrfSOC8dbKHoHudn3myEAtQ/q5C+c4DB/Q5vZpfaavQ2B+NXZ29jhzZlYbmASGKCBBgV939fRiNqIMiCePF/jFX/wBG1uLLC1tafvO3ONHHJmdIbKbwB9sp9Pfrte81JXKu0RAgTarQIEduBx2FuaeMnPyGIZmiy+//JpTJ4+zsLSsjQ5SXSrtNm6nlycPF7Q1xSDVyd1d7H14V1Ak+AMO9mM1zPUGbQEzsaKBeLjK77zroi9gZDNVwlA2EujrUOf64aFEGmqYJNp0WOXlb/brf394L01fjx+Xt8TWbhmP387+QZG/8bMq3x41UZMmvGaNZLLAS8dH+O0PlvntXzzC3/u93yF+86fYXaM0yFMMb+LsCmLGTssry3IjmXv/Abe3D3PgFFW7R9lOAgC09p9HJu7GztfYpLnK3Y25UadptNGql5QNJGA+k72DhtWBYe8uLbO0G1ylUkpiiD/B5O2labBBQUD9TaxtMzQiD7AExzAYnSpImF0+aoVtTALHz+1hc3VQt7rll0jD5MbqbsNo66RazmIub1MXeH5sGUPy63/Rks1Ao1miUazTsDiwGSs0ZQNls+mmwWjqpG4oY8jtUqxmsAn5v72FuuEuAAAgAElEQVRH6bKU6gqWMNgsFLNhTGY7Zpf0y1ox253Udz6mbrJi9BxRhRiTTQF1ZreoagXMjYZu2S3SPNB5llojonkrsnGqXjdmXFhaLar1AoZaEZx+6pUI5nQYk3+adGKP/tev8t+/+Wv88Udh3n21nayQvGNFwlnZ0DqJhOt8f7jGi31mQl4TFYuRQtlOp9vJ+08jzCVbfBWpYXKayJeN7OftdFgqDEr/cSHBa5Nebi2nCXZ7qdudrK6G6Q20kSpXFYR09swY4WiSerZEZ6ib+flVJVaPnzzGfiTF6PFpMpkc7d1d9HcPUMikqRRzCrf6Tz/6EaN9/fh7+/UQc+2Vqzx5tsj5k2d5fO+uUpQ3nq0p/ERsKaIyp5IxBdQUCxlyySo1qiQiEVWNJ4eHWXi4zNjUIEfOTHLn5qc0ak7ufn1AXYZMD3z/yjQvv3icFy+dZGi6F9pttLIumpV96sUkyc19Ov1eCuEEJWlZNaRwhs5TzIUxZTcxh85Qq4UxpJ/RbJvUTUtu+4HWuziHLmifvZKFrW2k9++oA8TRd45WWYjMBZrVIgaHqOK7DIyOkTe4ufLq36Ej4KNhNjLaFyQeLRDJJSklavzwH/wtni4tMTI8xMFuGIvNTrPVUpiTuCZW1pa0w/yIdApLdq2vi/mHc3oz+/1BHbjlhSP051Q8RjKTo1eqGk0mtSSLAikdya9efYlbd7+imEoycewYbpud+w/vMTk+xcNHDzl9/sxzNTWTYLBnmPWtdbwuNy+9+goffvwJ8UhSO81XN5YZGRjVjY1A14Z7+vVn+Y//8Q/0RfrWW6+z+HiBOk22dsQ+2cORmSmePHrA7IljKjhILWMlm9cXV8XYZGx4iNu3Psfl8rK1vMKr33qLXL5O+MltDtc3GB0fZ2drk8Een74MwoksO/s5Bvvc7EWLNKsV/ur3L/KDb5xX8IwIKwvPlukePsLc3DIdf567l/zlzs4Gr7z+hm7chOxeL6ZoNcz0Dg7x//zRn/HF5wcUDHUCXg9OR4ULYwN8+PSAaZ+Z8W43P34Q5b/8yikSGw8YbOuke9REPikAEyePVyNsRA1cPuln7bDIVjTLaXGwbIbp7rMy3dXJB/f3uHJygFZZsuAt0qkq8xtpCuIu6HVxGMvRqpk05+e3mTky5KTaMpMuV3FbDHz0rMKDiIGtYon9eINwzcTpEQPj7UE6bA1u7xVwWipc6vWqhfsgneOrpRKeDjtXRz043Tb+670YJ3uNjPdJpKnE4VaBoclBnjzdZm23zH7EiMVZ48KZECfH7PQEOlk7TLO8kYNWkbv3C6yt/RtoOimsH2BwFsnsLOD09dD0jmP0OLEUoqRjD7B6BrF4JmiUWjTTP8PccRWsPTSKD2kWUli9Z7A5DNoeYWzFMWPFYGqnHF/A6erD4DcxcPx/ZqLXwfRwgP14lHhKYlxOgr1uhkZko5bCYmwocX1zc4djx47qUCpipAypFy9dVMZEOBJV2rPWKUnvLC1Wllbp7e/We9zfEVArrtgi5c/Lhm2gf1jrA3cPtrh08Qq729sqaomFU7gfoa4eHRYnhoe1TjLYLRCrmNr9+3p7sVnMSjgXsKa0Awgsc2Nzg1KpqvEY2RiGggGtD5RtsvS4X7p0mSfzj5/TmL1uGg2DWqNtJrtu4J88eaJ1k7Oz05w8eZrf+49/gNXh1FYD+fuIui/AzDZ/AJOxqRl3aR+QSieXy6H2RnmnSWWmxWDUDOjJMydZWVrWaqdqq870+DhrqxtawzYyNszqigDRntfvDQ8O8tVXX+sQLTECiRtgtGr0q1ptas67ryfA7S/vYjVZdYPXMkGt1KDeeG4/3DrY5ZWXXiSWyJCIRXn4eI4XL13S359UG8rWVLZBYu3tDHRhlUpL6aXPJGmXIc5kxuV0sLW3BS0BcxkwICBGN0azHZNJHA4W3fxLxEL6toeGR2lrEyeCiHzbeuidnhihZTCxt7fNhXMvqKgi3fPyPBVStFwj0v4ggpHAUCUWEpBB+fFj3VS2tfvUORDokqrFAwV/HTs6o5A5GUBFvAmGfGxKH7bJTCDgVxibw+li+ug4bpuX1c0NDnb3lPwvi+Z0PEV7p2z2I7rt8vna8bp9rGyvMDU+xkBfn4paUifbO9hHNBLG2+ZVerzk+SVi0TKayKWTuuUc6OrlO9//Lv/u3/9fOnRcvnqZRqmJwVRVEKQ0yGxtbzExPqb3jdlqUWCf2OM3Nrc52N/jrTfe1E1+LBZndGqc3c09of1qdla24rLZGugdoFDMYzSadeMt7gJfZ6eK01JVWCyWaG/363Ut7hezxaj1Xmvr63hsbVjdUiEZYWx6hvBumFCXTwU1sUNvr28zKD3rB3taAylVw75Amw4sc3OPOX78hG7qpQr0W998i5u3v1BR4ujMJB0dHWojjsXTPJ1/wrRwBXY29fdntTv12La9v83M0Rly6RTpbEmdjB/92Uccm5lgcWVNeQZjo6PaUDAyOqHuiHAkodC5WOqQ73zzG+QLBQ4iSXYPtsmncwome/TgiW7VbVahfUsETUCEAqrsUj5TT3cX96VC7cRJFp8+48LF83z91dc6OEv0R4Zgu8PFs2dPtTlD4If7+2EdMgRWKzZxV5tX+8eF5SF1bZV8lccPHyjTwUANp9evA9fS0jz9A8Nai1atlzl/9oLS6f/oR+/T5jfx6suXebYwRyHbIBTqIBvP0RzowdnvpJKuUC7VGZ8ZZ+H+fW0c2d3e1Wsmno3rc2N8dFSdRI/mFxnqHdA64SsvvcAH73/E1LEpjQ1sbUgDl8xRRppNKUlsqpD2xluvs7K8RTGX1jO5CJsCtBwfk3vWzU/f+1NmTx1XKrsAEq1ms943ImCIa8LpEqHApFl/cZm8dO0VdcndvHETX7BTo4DSkNDfJSJkSj+nYjGrgFfZ/s89eMzQaB8GJN7bpFwtae97KNDF5tomTWNLq1xffeVl1re2iYoI4/MqIE7g16NjwwoIlciAiDjjE0Pq/KlTJxGNMXXkiJ6tBK6Xyae1QaZRrlKvtbS7XlxO4sgScU7OsXJ+k68r4rbNZKRQb5Fe28VfMREt5jHbrXgcFrLJLEOjY+ytrOKcHWBoYpzo7gHZYgGnzaZtLAJIFNeYXGvynBOXpLhER6aGtTJ3e2uLYCCobkxhH1jNdhx2m7bjhHoCCqJMJZ6LaDNHp9nc3FIOidAwJY7VG+xRJtUHH37EX/krv6Axs4X5eU6eOM3q2jqBUJChgX6WV5YoFESU66CvL8TdL77mO999h62tXT786BMmx8Z465tv8v5P/lTfq8JAke2/NOGIACWfU14ivZ1+Ko0K+UxB37Mej4PhgUG++OoB/b3yPk7pPGIwgMvt1GiyPLvl/SVOArfXpVWscr3+3u/9Z30OiBNRYp9XX7rMwU6EvYN9dWAcHoSp1Rr6Oco93+GXhiSnpNVVKNzfi2oLysTkCLPHZ9gXkSmRUhE1Gomo40ZA84VskVBnp7qSMs0isUgKx2aE/d0kUxMhAp0O0hlxh5To9Xn44mmE//Lf+jBWbXy+vIHT4cZQatLb68ZkdvB08ZCzx3vIVavUm0astqbGRZ/MHxCPZVW4Hg46WM7Y+MefZRjxNAknihwfcVGpmLhyuo9/9PsL/NFvXeG7/+R/JD33kEa5RqtcxdkRIhldwdExibGwCrUyVmeQikUa7rwYqhlthTG6A8q+M0jW395Oq+mA9m4MpW3lOknco1LKYHMKjDmD1eylVSvTbBSV52a0lsHkoplPUbV5cKU2aLb51RlQyyxhabtCtbaD2eShbhCx06CL+KqpHUNxB4O1DaOjE4PVRC0VxdRI0GhIRKRF1erVOd8Qvf0/tayuDlWUW6l1mo06LaklkAtEauI6QjQMQvbPKaDBYvNRt3dQb+QxyV+iVaGR2cLUNgz5BEZXB027T2EN9fQDGtkYRpsHU88rGKwejLUUtehNDL4XaZZyWM1VDDYf1dIS1qaZqvcszexjLOU0+Ed0g9+qFHA4emlZq9SyZUzWOuZCjaq9hK93ikIrSmj4H/PuKTe7mTwmp/zlykx3drKVr/CCL8X/8J1Zoos7fLWR56UTQba3cxxkMgTtZgZ73HQ425VGmW+aOCiZmSvZ+CJs5mbRhc3kwFre55emgzTyKdLlBuGG83nNn+Q6mhXKRjMWs4NiKovR2WSgO8Ty6haFRIOuLidlk5GzL77Mk7VVfv7nvqtD6L0HT/jlv/ZDbn12nUQ8q1s0IfyurKxpjZLUaEQONnj1rTdZmHtIePuAfCqrmw+hre7Hk3S5zHg7fVqpJjbInslxipkExkqN5OEh3ZN9FIvCNRAeg4tUNsXhYZHNaFJ722Wb9avfH+SX3znO5IlZ7L5jmDIL0HeJbCZCa3uFpnS7Gx3YO12ko3Haff0Y3CFSCzcwG+OYA8extw9R3PgZJmcXjo4TFCtL1HNZ3O1d1Ko5GplNTI4RbD3T1CPzVE0Gag0ffacnyBwkOHflNzC53fSPttEolXD5fdQLRr786il/7Td+RQdiOQzF4xnuP7qvD5nXXn2N+YU5tZEK4VoUYa/Hw7GZGYXOCOV1bU1U5jHtUJWDws7uDmfOntXfdU9vN/7OIO//5CeaeRUFWvqlV6QCyuXC3eHDaGzR29XD48dzSrMtSkYtk+X06ZNasxNOJtXm83RhXh+yWSEY1+oKvzl2dJamuYXbYmZ3ew9/KKBqp0AJ5QU/ODSqmx4ZMiQjlkgnWNtY4+/++q/zr/7ZP8fl7dADSq5Y4MWrV7Uq7GAnytDEGF1BP48WN8gkY9z98Xu8+MIx8tE0GYHttJmxm11koykF3wkMp9A0sjCf4YVZsQjamR7r4zvfOMve3irJcJkXrpzjsWykvC78gXY9ZP/ZrQeE4yVWIzUezu3R2W5kqK+TWDpHd5ubUJuN/VSOZ9EaJ/rNLMeruPJ1fvZLfnytMg8TNfqCfu5sFGlvLzPq62BrP0ZdaoNwkI5l6Bpqx2mBYsWKw1rCZLIr+DEVL7NfaNDbZqbT56JZa2J2WGlVC3RIJKdeZqTPzNOsk//jVp6nsTyDwU7m96oE7XVOjRjYT9RxivXVbeJyyMTTdJFPn+b4uePdFBxGPvj6kGINfnCmi7zYeSsNzHYb738V4a0ZL6VqndvLRUqpOhY/9NtNfOvyKN/5e3+ZjpMXqFf9fOdbf5XY6hKJmgGH2cbp2Q7m725z96f/EvPoAJntbWpFiVLVMPn6Mbus1AtBLNVVTJ1BKrkyRnufgjoNxVUM+RhVUwiDqxubxUk5G8NpT9Nyj1NKxDGbijTtXprJXWxeO44z3+BYz8uUKiZeOztMWLYlLqHG1ugfHibYK/nBMIn4IbNHjrO2uUF3X4Anc0vaw37p4ml+8t5HODxOfO0+3SSGpC4rElM7t2xYr7x0mcX5Z5jNFgVGyTtCoi+3b3+p4Kg333yNhYWnOpx1d3eysbHHqdPHqZSKSsOvt1oaI9iR7uTRMc2fPnfCFDFZTAyNDuGwO4geRHQ72CGVm4Gg5pClFkm4G5KOlG5wyT+urK9x+fJlOn1tCjazmh2sb67psCOE5P/6Jz/j4oWTnD5+QoF2Ttkq5XIcmRqnXm+ytLiiVuDxiRH2Dg4ZH5sgHhOYnYFMLsmkiJL5subbpdd8YmKE1dVVjkwd4cLFc/zkvZ/ilbrOdJzugVGeLS4zNTmGqdnk3uNH9PcMaL5SIgcbW5sICTZ6GFFgmTA8vvj8FuPjEziFp5DK6QAk/cnzz57pVnJjZxOrxagd1SIkyxZE6pzOnjqp1m+JFZw/d4ZSSUBqLrVryrPp/r372uMsn5XXZSWVLGBzyQFParqkPtDOvQePdWg6fuoom8sbSuqWYa5pNKt1W7a8IhV4fe1YWzZyxTSnTp3gs89uEgqE9JAn23jZOneLMBPoYHfvUGsB5VDV39vHV38Bajsze1IddvNzKwS7OikVsip6i+W8Vm5pJaNU7h09OsnTxRVCwS6tT5ODqTzvpRJMusLVoi8o55aJfD5PW5vUJdrI5UsM9/cQTyW1umx4eFg3cWJhd3osHJmc0WtIXBVSUyW0bznISrBWtqa1SlU/P5fNqvEPAbHKBlecIXKY8vg6sEnW1W7jICI234C69SSTOf90npljR0hm8wpxlJ9pc22Pk+dOYDOZNC8tsZn1nQ2OHTnCjes3FEgo7BhhOUiEYGx8kkf3HqoQLaKb1A0+z97u09fVpXl0IfufOHWG+fkn3L//iF/+b/4KX4lInc+p2FWryHKkqCR/p92mFmtxwGzvHrC+tcnwQC8Ws5Ge/n6213d00P3iy684OjVFKOhTYV06xtc31nU7L46CSqmi9YSyXU3Gn0Pi2tweEskUBmNLgYnTE1PKdRCL7/kL59nc3FACulzfcr8HOtoV6jk4NsDW2oa68+SDtzvEZTeoW1/tuDc0OXn6tAo84rIQhs/SkjRaPH/XlvJZunp6dDMr4tfZC2eUg9RsGvR7zwmZfXBQ/9/hwR7uf32fM2fOcXi4SyDYRSDg5encikZOJJokMMSv792nw2Gjb2BIaexCyz9x9qwCJTfWtxgbG9ftuAyR0sZz59YNhfFKDG5iYoDu3gD7uxHK2SpLe1Eu/vAq2XCadDLH5Okp9pbXyZfKCufc3QszPDqgAs/84hLpWIqLly4wNjnK5zdvqdMAc4P5R8+ot9BqutkTR9g/iKjzVLLi++Fdenv61RavjqNiDaOpoXDIlcV1bTeQASidSaqbSIbP2ePHWF1aolKuaZxBMuwCkxN3xdSELKQy3LpxW8W3kbEJBXPaLXD23AV15Ny8fZNxOUsWCsTk+SKsi1pN70OHw6nPdeFByH33C7/wA27dvqUORrvDrm0oEnUQV1l/3zDPni1o17ssPxLJOA67U0WrRDzFS5cucvvOl8oKECZNpljEbKxz9vxZbt/8nMmxKYUn7x3uMz05yfrGmlbP3vn8jj6vv/HuW3z0/kdYHHZsVgPRm0v0DvWQqWfxWD2UBNgG2gDmnOqlbnews3NIZPeAv/N3f40PPviEeCrDlSsX2dvf5/AwzpHJMR7PPdGmAQEgh3wh5dLIu0AYRbFElKH+fhLpPI16RcGqAsEUfonEr+QZVanUsFpM1OoV5udWGR4dVOCjCLHq+vD5lcMkLoOTZ07ps27u0VOmZ2c00iQtKA6XfNZ2komkbvol9iFsEWkh8fs6FDAowoXNYdZqPqnANjQbKsCKvX59dZN6q6kcBBFQurp7njMLXB4FQB87Nq33UD6XU+hovVJnbHpMmS6f37jF6XNnGBodZH1lXVsZRkcGiWdSmFvPnSDy7h4dm+DWrc84eeKMgq0X5ufI58r6jJuamVJ3kbB8RJw4cfIUG+vivrXoe0liKqFAJwOjQ3z8/ie8dPUKcwvzhFNRLr/zOtnbi+wKO6O9g0qlQKHQxCvNeTR4VnTw2xcNvDDr5Z4Q/g8rjPS2q7NBoKTZFPjaDHRKC0wqwepOguPH+vDYTOzuphmd6GJ8sMi/+ZMyfzjf5FxfjbU9E2VDDYvHxJXxPn77D5/yR//kPG/+rX9Idu5LMAtNP4fN1UfDaAZrgFrkDq62EfC0UZIav8BRyEZUJDOKcmrxY2rmKddk8ZnDYrLSMrZhtEoWH4zpfYztImxbqJfzmF1+mpUYBpuALb/G7A1h7jxNq7xGZX8Bi+8oTYcXSmUawvcxNGjJPS/zuKkNU2GbhncSQ8uojnyqB9TjGxgsHQKY0ve8RgayBUxSEZu887+1qBxQaxSw97xEK35P7fkt3wjmyH3qzl5Mbj+1xC4mlwND3UqzZcdsFKp/HKN/hnr0Kc7gGNVikkalRqOwARYPdm8/9fYxTGL9b2Sp+CawN20Utt7TDLnRPkDNZtWO3WrDQiM5h90WVKt709akmo5i9fjUEmMolWk6gwoDNFTSWPuOkd55SO/5V7n+b/8dP/ebH/BP//YpojtRPl+KUHJ7eCdo4d/fj/Evz8NE0EfJ0OCgCsl8nrPdHdzbKeHusGoUYGnjkJrDwpkOF353BbfFwmakiMtW53rMyL/fsWLrnGJuM46vlcPeKDE90K0Wo0C3V2o18VgNbB3EyOaqCjRpFdK8+s2LLN2f5+Awx/Z+hnQJSk0Ynxph4swJcpEdssU8Q2Nj9PSN6UtqfHCIn7z/Pn5/gGh4j2B/Pw6zSeMIif0E1958mZ2NZSW0bi4tK9k6shunw22lbyikIEazbISSSWZPn+T3f/+nXD53DrvTwI1bd/jlH77DxnqESi3H+kGRuWfbUHWAqcRIt4uXpx38d7/yfWbOn8DkrdAwdFFeXaaa2qFYy0LVhHPwNIbiIVjbyVeMWPNZDMYEZoOLQq2BkSoObx/l3CEWS4OWIUiluo+zrQ+zpQ2LsUkqMk/PuVdZXE1w+aXf4O1XZ3GFPNy9/oBAb7fWEcVyWX71H/59lpfX2FhZ59iJWc08Ol1eVteXtL5oZFS6RFe1IzedyvD4yRMl0ErQQ7KptXqDv/3rf5OFuWf86U9/wjvvfpfdvV1K+ZxWqDz8+mtee+NN7nz5hVpFTZh0ey+2MKG3Sh1KIpXg4ePHfOudb/Lxxx9z4fwFVbejYdkutTE+NaW5yDt3P8csD+aWgd6BLqWKyyCQz2SfW8uCAd5778fMHp1lanKc99//U4Ihv25+xIJ79aUrvPfeT3F6bEwMj7G5vsXZFy5w/8F9Brv6CQ72kEwn2Fpb12qh6NYBbsl07y7isTm1z31z4RlnT01SbMHu1j5gpVSqE+xrI5OssLCSxGozIh2Zv/TGDK9cmyIeSfPZl18x0j/G1m6Ejb0EhZqNjZ0UPZ0ugu0GfXEXKUC5ychIN2sL+3hcVi6e9NBpNfFP/zjDH//QRsBY4G6iBRUL5loBn5CisyVWD3K8ODvE/v4hHZ0OpqaDPHscp2WoYbQ1cdtd7MeqFDJFrl0b5vffW+F7L3Zhs0m/cJEBl42DTIP70TRmo5PfWbGRCKc4Pekhkq5SNTgJ2Yv82qVe1pJmbn+9wrUzY3z1bJ9IzYDbY8NGhZkeLyWDifh+irMjHsyd7XxwJ8qt5RQ5I/iw6GbtyICJv/HtaU5dOsXwpbdpOurYLVVKhyUMVhdmhwVn8C9x4YiLH7xxknvzO2pjXt+u8uDTf4Z3cIb66l1ydjmgGkg/+4CGc4z2oSM0ks8w2Pspbd3E7LJgMrVj6b5EoyT0Zg+UDzSu1LAaqSUOsbp7aOZ3MHpkWxzA7R+glF7Aevol/sG3/xJ/+MEer17oY28zjrXLgzlrYCeT0sO5zerVLKHJ1NBD04UL57Q2TIZFq7FJPlfD2e5V7ohsYS02C8sra8QiMR1yhDidzWd0S9fV08XHH91QgNb4xLgeMAW+JsN3vlBkZmaKz7/4SmM0ss3t7enTPmihLIsQlUnG8bZ16DAsh9CpyRHSuTyLC4tMTR1ldX2ZYMCvncapbJaZqWkdzMrlqtLWD/cPdCCR7mwBm2VicYK9PZRKOTo7guoEkMFDKNHdoS4WpOrqL8QEOaC5XQ5OHDvO1va2dkY/nltSSJPYuCUnKgP38WMzfPTJpwrWk0iCDKbFcl7dChubu/pnhJVw/95dtTsL2K7D36Gb11xGSBbPs9Cnjh/n+me3dTt/4sQJrWGSZ5Hb66RermgF1cLCspCjGBgc4ONPPub8+bPqsBCwmnTY5xIpXn71JR7ce8jy2qpuYPYP9vV5IbR5o8XKnjBRjk7q8Cg50UpZhC+HHu6EGSPgFrGZ721uEwr1PY9PnD3OkwdPcXkcGpd4vLBIIZ3iwsULPFtaYvLotIL8EpEUbWIv94t9XiCMcXoGu3VjJFC2w519NnYOGBseUAFVeuW//+63uf94Tg+07777Jh9fv4Xf78Xr8WI2W8HQIB6OK0U6EtnTJoG2Nq9uW4WmLw6Np4uL+Dr9hMNRdVkZLUZ1elhMJt36P3j8iIHBfo0eyDUt4DKhzIsAcPLELMOjvTyee6oMB4kHZTPPgYh2hwiKAX1OSt2rQPy2Nndpb/PQGeqkt6uL65/c5LRYpvMZ+nv6WV9fIxDoJhINq2NrYGCIve0ttbFLrZzES8SVJiLLk7kn1ORMEOrC7rSoG0O2cHIoFSdaRZgSAnhyWjVqIsKIzWRT0rpcVxJ7EWFMnH8CHWvr6NDvefnCee1Qn3syr9eK3Asb67v0dHcrV6Jaa1LMZpiZPcbO1i6RaIRXXrmmlZKlQkm3+JV6mbHJMXY3tvGHOvWsJs0YwU4fi8trdHS06T/y/eX+NRpRp4MA/vLlClvr6wwNDqhzQ362kZEhFQiF/VFrNhRC1mwZVQzJF3PqEpEMuQj0Yq2Xf0uWtVau4WkXUaFNxXRpemhra6evJ6Rb1Ww2hxGBjHo0P+x12bn79T3cbgE1ZxgZHlb7ubAa3E639sRL3ai4kkYn5Prp1IpNsbSJoNkV6mZtfYPhwaHnYLl6lfff/xl9vd3YLYI9tdAW9GM0WEjmE7qxFZ6GsWViamqSYjHFwsI85UILs7Whm3kZ5mSbn2taufhzF0gcxLDZ3fo7rFeq+ANBctmMOhMlDiXOoGZdaPhFuntDfH7zrlLNxVXVpK4H9kCXj8hBRG35AksTF5LwPuR+ljx8/DBGJBYl0NXL4vwTZo7NKHFenJB/+Ye/xPVPb6hIKywfaRyZOTpLMhlXaKbUssnU7WpzkUpkFFhsMhnY2drRmInY28WhIy5Ai8muTiSP163XgoDZxEkg7SHCg5DGAfm7iwupVm1ofV04FiboD+kQajQbcTtces92dYfU0SPRn5++92dav9rT3avNLdJ8IHyLGi1sZjPhWFzFnUuXXuDGjZvaXDI2PqLAUGnzEWeMAInr5bq+G0vlAm6/m3Q0zdGzJ/EHnHz6r/8rvo42AgM+ttble1ipY2L/6SH2QQfH375ERlyVsSLxVJz+3hBmm1HdWm3dsBsAACAASURBVMKFCHX1KaC1UM1TzVdVkDbZLCpsRQ7C6paRmrydzU1ttBkY6lMOh0R4RKhcWV7Wlg+z0aLMi96ubo13zM3Pq0jTbIqAalIxUcTrnt4u9ncPdAHbN9CviysRLSr1Kna7B+mRE8fci1dfVGfMxx9c59KV88q+efjwkUKss9m02unl68p2XaIv8u7w+TwchA+p15oMjQzisLm08lHqOqX5pNmq4/ZIPLehIq7APmUrL/wZaVwRUWh7a4/vfO9tPv3sC0aHB9k/PNRFwfTRUVLxDPtaGdzQ2kc5NwgJ8cSJ4/q+l6izxWzVM++G1MoKFd9oUHeK2+uhIos+dxu5QhaX1c3nd79kpK+H7/3w23w5t8juh7chU6Nha9FmsxEvtQi11TFbvTzaK/Drxxq8O+thMdmgEKvT2WNgd6fEkZlu0umi1mCvr6bpDDlYW02RL8C33h7hiy92qTSavHaxmz+8X+K3frTDz5+xM3FkhM8+e0ZHp5OC2cbtB1nuvfebHDl7gsz8AyxuG+VwHEuHjUa9iLHnGMb4Di2bm4bRjt0iEeldWlaxVgxhTOxQczqgWsaIOOmr2pjTkhnaVMfuHqNSjmEo7WHEgsEZpGW0Ud6/gWvkNW0KamaWwdiD0eagYW5iKMWwOqZpVDepYsHs6qERm8MTnKWUi2A0OWnarVoB3ErvYLDbMdtCNB091BpJDBVhLQg4XoDpPgzpO/9ry+jtppKVvtVeCePSyG1ohr/pncbQquiDy2Ao0HBNY8k+prrzKabB72Bt1cnk93H7T9GKfU7Z2IFn6HUqqfuqdFhsNvJNB85mmmpym4YMhjaHHgCM3mFaTROGwiblfBSHux9DxwjGeolidAGMkltw0szs0XCEMLRamDxDNGt5bNUkhWqatp5hbEELP/7tO/zW7/yYt8/7uDGXYnrYyXDAyftzDb4bKvD3f+Bja6PEo7UC7R1ORgcshFN19vcKug3dyxjJ15tqF3MaG5zstbOXNtEwVDk/4SEaqbJ0mCbUYSJXbLJrGeKDSJG7SzmCARvJSpNro524bbCRymKx+Cgktmm2rPRLzmQ7pz+n12QhcpDC7bbQPxQgni1RjBRI//88vQeQ5Ol5n/d0zml6uqd7co6b4224vRyAw+GQQUmQXJDEYEmUKMlUKpt0WVaVLCpYwTKLtMBkiRQBEgRA4HLceHu7O7uTc57pSZ1ztt73VEYVCqgr4G539t///r73/f2ex9DkxDNXaQt2Mb+2R3hApr05evuiZGIxpTaG2qOUcxmsNhf72zvMLc3zwktfxG2xcpRKaMdn8bP7mA1Qks2P3aR6Iau7STZb1I2GpANWlrdoD4fYP45TLyY0cr61e4S50SRbKhJwhPno5hwO2S5aavytb1/kK199la6+MBWLBWuzSCOxz8aTdSVOegJerC4HhVQZX5sPc92LpbWN1O4SLe2nSaWPMJcPaNj91AwWimvv0RroxBTs5Gh7ie7X3mD9zjSnv/SveeZymHMTQ0yt7tM0N5n7dBHjf4vo/+I//EdK0V1YmCXaHqU10Krbprfeflu3BK994VV29nc0ouP2+jgQnUo0rJq/rd1dVtcWefmlV/nk5se6mblw5jTbuzsabZNe5M7OjmrxpqandNp59eo1piYf8OyLL/PBu+9w7ekbrK0tsheL841vfI0/+eH3CQcj6tIVeE041E7sYIdY7JBvf/urCt3a3NxUimqkNYIv4KFeN1LIZZicmWJsYITZ6Sf0j45Sq5dx+oLUy3laWv26eZThjd9uVyhXa7SLldUVzl55iuETp/nxn/4OLgFl5uOsPpzE1+qlvS/C44ezhB1O3G0eBexkkxU8HgsBJ5gbVhwBB5NzO5zvkW61g+mNuHa1rAYHqwcZSk2IBCyc63dqwmV1v0St0ORL56M6kW1v9fN4u0TYYSddq3GYKuhl6svRBov5PA8PLPzcgImff6aNn7y3QbDDitvv5M9upvF5anzjWohK2UQpXcTf6iHfNHHr3jZdYSdH5RpfGG9n/niPvWNocxh55oRL+7g/+TTLbt2MxSGEYxMFW4PdWImM38HcYpmBdjOvjYT5s3t7nBp1Ua44mF/a48q5AMmsjflYnMHWANOrx/T1heiOhPjph3N8/fkOJtcyzKzHSR5BT8DMy9c9vPy15+kcuUybr0nd58Lh6odCjgolivN3SK/v0Hb5OtmGkdagi+/9ux/yz3/rPb5wI0RruBOrPchvf+9D/vF3u/mr//6/kL71Z5gcXqyRSxze/vfYQ2FMLWOUYg/xBs9iaKapWf3UTGaa6UNMEv80yZfAFCabGWPHs5hlhVHfpGGXSK8VzE4sJKnsreF9+S8z+4Pf49o3/4Br16Mcbu3QHmmlkhX/b0r7wNlSU2E327EjqsWsblKmZuYIBPzqUhfwkAynBOp0+vRJ3bjIIaFcqatyU2KWndEIW1v7BPxuVWbJ/0YuYMfHxxztHzM4PKjqPNliSp/P0BR2ipvtfVGOSaRbOtRRtQM8ejxFs1ZTrsD4yJBenPfFj16qatVAYsBVoeoHA6TSeYUHScxSKMsDgz2sLm5gd1sZ6OvTPqsANuVydPbcGQ4O9lQrJXyKJ48maQu3cvHiBZKpFDdvfsLo2AkikbB2vqXnLRfu9fUd3D6fRuuFASM+7J2dbQWbXb92mdnpRRIpOYQ9rX3yBaF8j4wQCYVwed2qETQLTs9k0sj5xuKy9vQnJk5qNaBUKXPy1Ck2lje0sy8DAXGYHycS2K0OKpWiRuXFjCGbGfGTy68hm89pr1feMy6fm3wux9DAEBubW9SEo9DdQ7NpVOBdIpHQWL/EjqUrKyaE1pYWvaTKxe04mdQ4r9ftxet1sbm5rZfgjvYIK5ubDPb3kksJzK3GxQtnuHfvAd6An0qhop1XqRYIV0C2o6MCW9vc4jiVwuP0aI1KLo5Su/hs8gkWjITCHRTySSLhkKbdJArb1ysX5y0aCMRtTwegLf4A61s7mrQSr7cYB6RXLgdKgecdHh/yzLWrzC3M0qgbtGcuqYGNtU3dQD7/4vM8evhQN1j+gJdQMMTWxqaC10RLapCkVWcHNodRAU8CsQr6fRwdJXjppRd4PDOjitG81K1qZiZGBrUaY7WbdLBgMoqRoEEmm9PtpzBQhJsRTyZ1uPvs00+xtLSqnW0BV4rLXjbSooqrN8oa+4+njvG6/fpnJEmDhYVVVcjls/K5cGMxGXSYWC0LeNeql1ZpV4oWUTZ3Qto2mOUyG9KNnwAtpcqRTiWxWMS2UVIwZbUiaYspguEWunp6NGF1FD+gJRTm+OBAh9ICBvP6/LpYsFpEoSiX5mHW1pY1Phxua1VwpkSBT4ydUKiXVMuq5bJe/GT7m80lsZid2tV+5fWXuXP3UzUWCFjyylNPcevmh7rR8vrcul2XQYBUbqSPX280OXX6NB9/9KFu9V96+WVNXCyuzOvArFqHUi5H7CCBxQxP37iql5lMXpIW+3op7ulu11ivAEbr5RqhaJiJoRHe/fBDKsWi/iwkfSH1Beky78X2GRjqpVQo6cX+0vmLfPLRuyQzFfo72phbWuUb3/q6Dm+cshUzmbQGIG57SX8c7+9RzKWVou5xWUjLAMPhwC5DykqT6LkBECuGwc7Uk0dcuSQLgyOOJT3hFEVri2r5pLf9ZHpSa6OSAhCopaSsnkw+0dqKXG53d3aUASRsENnkr6+vatpRmBeSwpGf3ze/9QZ3bz9QWJwkFaUqsrUuVg0jI+MjeiEUHeCZMycUoiibWQFxrkly6KkL7MUO9J0t71Kr3aLAP0nFxGIxzkycIhbb1zSJnCulVnTuzDlmZqf0mZM0kjw/yeQxm5t7jI0P6vZ5fXOT82fPUKoW2N4W2KaZSEeISq7E+s4WZ8+c1jO8zxdQIJ7osU1GSffENTZeFnioVFTNYlxIMzQ4RD6XYfrxjELrSrUymVxO7RD6+7h8iScPH1Go1TWdsLm6RntPF/u353Rx5BLltKFGMCDJnzR2M9gdLeSDRsbOTnC0s68shqdfus7tT26xtrLFxcsXqFPVZKcMal1uF5MPn+hSSNgJAoyWKHts71ATp7V6hWh7J4EWL8vLi/rfBXj55MET+sXc1eJTa4Lb6ZKFMMvLq6pglOGcwEmFd5AtZDU9MzI6xsrSCufPn1EttdlgYGFpWeGr7dFWbt36VNV6oXAQr8eJTQwYxQLXLl/iJz/5GXuHh3z1y19UW4nULIR9tb21q+fbQqmoCQKpGslzJoPHTz97xNBAj9zJ9cwpQ6Tzl05TzpeZXVjkhedv8NmDKVx+O9VijdXlTV595VlVUovyL3GU4vqzV7nzyT01jXhbfGyt75FOJrHIZlr1t60sL6wSikQZGeri/v1J/VnJ4G53c5dzly7wzlvvc+7MKdVQyz9j7PSw/tzfe+sTTvf1U11ep1yrU7PZMRTzWMRy4LCztB3nL55u5R98CabXjcTzBYajXh7PFYgd5GnvMtHqtvPeR3GGxnz09rtYWUgx2udmJy4sGjvXhw384LGZ701VeLbPxvTqLt4WNxPhCMsHh/x4MsXWzb9Bh8dEYq+EseM0jnKCSqlAXSL3ohd1RDAe3qbum0Ao9s38LiZDg0bDSF24eQ5JPllUWW4w+6kVNjHa/BgsHh2WGGpVao5WyGxhdkqFoJvcztvYhC1g78OY21Trk6FZwGxoodnM0aikMAbHFEhYrmQwGMwYPT4oxDCVjRQcZpzCGTB4aBjiNFNxGoEhDDYXjfQ2lKuYWvv1mTQcffLPm6ZGSS/b9YJsd7dpOAeomQIYG3lM+Rh1iw+jpw9D84hGfIN6eAKTyYth/U0KxTL+E69TbtQxNTLU4jsKezCHB8lvfYrdaKHuimIOdGMUInNhj2bFSsNS00mh0d0rSEJq8UfUTS79MqR8iMkepBnopZHYo1E6xuYIUc0nqRc2cY18ja0Hv0PP4DD2c9f4n175h8zul7k+4SReMzK1uIXHEuTuUpyH/6gVu8HNk/UM782UudRlZKzPx8Z+ikvjrWzHizRix5w53cmdxRyJVIb2dh8LyQa93iab8RJzW0W+dj1KPZfXifFoFLKHCZJ1H388n+adXQsbaTgUwJjFr7CyznYjpbybw71lXKEIJ6JBDpIH+kE8TOUoZBukC2kGW9vYS2XIih/Xa2Q/06CrN0pLdy9nX3mNo+VNtg/2tS9Yq+S1YyQgKtEgrW4s48HFqfMnFYwnkKqdgzip2A6bKws4XR4MGXFtlxWwIzomZ0uIbDJPW4eXhcdbtHf59aAk+sFMVoj+FTr7e/j0/hx7ezmOM02dHpvqBv76qwP80neeYfTp81i7RhQEWZeeWbnB9uwtgtFuLJYgNbuBVKGJs17S2KfbG6RcNWP3+zHkdnE4OknE7iEjubY3/gL/4df+Db/yb+7x1Zf6cBidLK5t0TXcyaOPprAHPPzyr/8aG5vrPHw4yfkzZ/VQuby+qjEkmV7KYW91eVkVP7dv3tLfp2jHZHsvfTnZ0BlNDSWfnzt/Trf2u9tbuNxyUTFSN0tPv5NircbK4iJtkTbVmMjFpKu3i0h7F7HdHY1JRtvCCrQSIJ/FbNKt1C//zV/gn/wv/zOjoycI+gL8+Cc/4dVXXiHc3srUo2laIyHVrRzs73Lu4iWFN8khVuKOiYOkwlt6e6LE8gn+8Hf/iGvXruCSTuvyDPG1JXaX1lSbGDSamV/YIOiG9p5OjhNxHIUqkWgLrREXMyv75MoNRtr8xEtyuCgz0BpgJylxLSMWU502m5X9KhSTORx+O7mDLBOnOnk4c8BI2Ia5aWErm2BsrJNafFsTObfXBeLZoLvNg92cpNpwcCVow+wx8Yfzac677Zz0l3lpWDp9LpZTFdrbHFTiBWb3C/gtLl56vpup1SPeej/GlRG7biV9Tjut7S62Vo85LsLLJyTt02R6NYWj1c+f34+TNtqYP25wudvO5KERn71Bpl6g3ePAaS4y3Bvm1s1tBsfC6u712O082TqgN9SKx1WnZnLrRu6tB3v8rS8N095r43/4pzNUig3cGPhrP9fP669f5OzLz4PBQs07gjk5T+l4DpPnOQrT75MpbuAymTC73djDfRTKLtJby3Rf6uPmmw/4hb//A17/wjB37q7jCdnY2Mjx177Zza/+698mM/VAdWoGUthc3WCLkN29R2vkFJncLlh8uhW12DzkD6ewu7v1kFfPL2E1NDCGn6IUW8DgttJ0n8VRPaaQmaNhbMPptuAZO8VH3/9/efG7f8g3nupnY3sXhx1awl7W1g40MvjF177M//Gv/qPWT4IeN06vh1q1ohFoMVnIgaCtPaJAqaPjuHY7JV4sBzAB+wiZXS55sgGRbXBHezuH8WPdTIgi6tSJEzpQkwtTrVolGmnTzZ5cVGXzLEkBGVD2dveoGWB4aIhPbn3Mqy+/wqPJJ6ysrHHp0gW92MzNLlDMF7jx7NMk4kcc7+3j9LeQSxc0on7u8gli2/J5NjEy3M+b737MmVMn2dgSQrNXNzUPHnxGb2efmgYkWikbQeley+dMNsSpI9HVRTk+EqBSlQsXL7G/v8fGygYXL59XvZv0+/sH+pRBMD83T3tbl0I5Hz58xJWrV/UwFj860tqDdF/F9DE3vySWPpxC5D84VH2Xv8Wt4CSpYayur3Pm1Ak96C8vyfurpINau9lGKBTg/LmLbG5v6IFwP3asPnj5+ck2WC7/TpdofczMzC7QEY1qCkIOx0+ePNHeY19ftwLt5F+VWv3zLmqjRDQY1YOobPTcbjfJZIpSvsiZ82fYksRAsaTx703xTIcCnDw5zocf3SUsFoB8VV3xsgkWPaAMM+oNVL+azhaIhFu0VvLcjSvkC+KB7+Xtt99meHScmanHemi/eu269u1lIy/d4tMnR3lw/xEnT08w+XhKt8LirRZf/Orquj5THZ2duik3WsUV2GB7a4dQa4hsoaDsAr+/hXRG+CQGhbcOj41ylDxUh3t7W5j2aDux2B6VSlO3an393XqJp26kNRJkb2eb3u5+VURKfWVosJdAi/z1mPrNZYMtqQKkGiEEafn+PkyoK1624zLAkW2ZbE/nF5YV1GWxmVXvJ3BEiUtLSnRz64jengi+lhYm7z/g1NmzalW4fPkCS8urapRZW13T7yLZqgrbRjaGouyTnrPUaKTvLc+ZaMXOnT3DjyQd2BLQBEUqk1NmhiQ3xGkuHWK5xJttNpaXFnA4PJw4OaFxWwHFSexY/jdt0bBelsW1Ls9BKh5ncz2G3W6mLFYfk1X96+KtFrL93OwS5y9d5gc/+D4dXZ00KxJDN2K2WVSbKBGD+GEcm92mcLGvfv01Ht5/qMpHsfqUy5/rL0Wp1tPdTSaV0MFKS7CVo6MjAoEW1jc39NIgpPt0UpzcPqYWFwh6hNkhJo2AAsdkIC6ft3j8WC9LsvX8zne+Rfw4xYOHjxgbG+Zn77zLcN+QPs9CvJdLUzKT0qGZ2EZS8WMsEsVubWF9bZuL166RE6ixzUxPz4BCE3d3N+kWts7aCvHDA1069Pd0sLl1rL/HYMBDoVImYzNy9bUbJPfjGrGXlonXJUmKrMbinS43G5vyvHXo87R/eCCicAUBh7R3vqOJJ6kbCHl9fmaOYLCF2dl53YBLJ0Y29ZKC6hIf/OYqLYEATqdXzxLjE+M6uEykkgovlbRHqVIXnRbJtJxnO9S4IX1vVQvv7mkkf2VjlfGRMX1fSy3C6XLQ09tFKiGJgaY+53KRezL5mKefuUI2W9Aqo1SXpJJgd9n59M49rl2/zurKMnani+6ODr7//T/jW9/5um7Ud7Z2NZ6/sbaB2+7Qn4ekLgWKJ+aL2O6+Dvxksx5PpLR+pgT6UITjZFxNF8JR2VwVvWlBk5kep0tj9lJfEsB0wOPmOJOmu7+LqT95j95IJ+lmkUo+TzKR1efJgpn93QOiz47TlDPQ2hYh4UEUiowMDWniTZJlcoE9c/aMPguSoBI6vQyGxZYgyaPf/O3fp7sjqoBKGUZtbm5ondNqNOPyiVYypxUqs9lMpVpV8KnUpq5cuqiDlaPjY7ySFMtlNK0hfx/RyB7u7+nQShShrS1BfTalvnSwu6/2l31JZyDDLwGTlnR4t7ywxMiJYaqlmr7X7wv0VhIVtSo9PZ2YTUbt4Hs8TgXAyrtTqiDyHS1WsqXlDbUrjA8PM/n4sfbvZQArZoQF5VNcw2xxEdvZVNaApE3kORMWy/rKlgK5O3simgCQbbWAShfmlnXZKNVLqfvtxNYpl4243Q5VCQpIVZ7xh48eYTaD2+2hp7Nb04FivhKjlgxaYskkEZuD1TcfEO5pJdIW0KRZW6ubaqHAw90G17rK/J/f6GMjW+Ltt3cY6LTrXe2NL3XT1d7KT360ytiwg2rNiMlSJ9TqJLabZGojRW84yLdeaOfv/d4G/+m+ib90rsbcgZnOoJWt46LsqPl0LUt293ex7z8kk3RhinRQ3he2S0bhfsaqlWphQw4ZNL2tGA1mmrkcFtGpGyzUywXqTSNmg03TGdL6N5sdVJvCoRFqfwaqaYzOEaR/Y0jvK4OtUTjE1n6RSvEQY6OEyd6i6fdms4mxWadWSWMxmqkdzWOolrEIWNrWDfkDKuUjXK29NGrya9unWYrRrBppuLqwO/3UimvUTO3Y3D4MuX0Mibv/W9OQP6BukZf6Gmb/CQyOHkh/Sr1hxlDN0XC2YHW30sjGqCQ2MLZfwirExOQkpqaI9GSK0YvRaKNRO6JeElesC6Oni9zq29jd7TTdEYxCoJNNV3ITsy1I2XCMpdKg7unD3ExAIU2xksTZ/0Vqu7PUy7uYA6cwN0VvUKG6cx+8nTTbr2MvJrTDYAun+M6NX2Vh38hgtEEy32AobKVcsRGv1PntXwjx/T/dwhc24i37GO+tkiwbyCWbTB/mGfJ5aFgNOExVhWmMRux4fHZ+/+1NhjsDHJcaLO+neXG4g7KAtMwW7i0k2E3k+fozUUZ9AlxL0BZy8eSwxp3NJv/3pxkqwVYGW00MhTuZWVqkPWjhSIi3Vh/eahYRMBXrBlJmqOYr+FttFLMV7YOfGujno48ndQPYef4E1q4e7ezJpf+jD+8QDgQ0WpTOyhfOMf3d/fqFtrK2TsNk4MbTT7Oxu8VgVx/T8/PcfuttJb+baehWqXcoohAe8UFLN/DeZ0/obW8jn0qzKV5n2V5dHucotk3hKIW/Lcxxqsx+tsnC9CZyxvy5F07xxisjfPEvfwGbW5RcTuoJ2Pn0z/ViZe3so173Qm1TIZKmZhaTw0chWcDS2kG9LCqnNN6uCL/1W2/yy7/2AX/7bz3Pn/3oFuNjYqWoqvbQ1d3N+edfZHdthXC0g0K5QPzgSKNmr7/+JZ5MTvLcc8+yvX/A+uoKPd19pFIJph4/0khxMp1WWNYbX3mDJw8fKmQmkTiis6tHKxUSr5PJv1z25ctH4rsriyvqpn3h5ed58+236Ix20tLaolrCkydP8vHNm6ysbzHQ3UGzbuIoITE/C329fczNLOgmv7u/m3qlSSK+TzKVZXdzmxdfe5F6qcFxOo7d68UuoK5wN4vLj7DVDRysbWDJFiml99hdTWCqQ39fO8EOJ7lsimQxT6EoVPQqPoeHsnzBVK3YLA3mt2P87W++ws0Pb5NrVhkUvsDCDsEOB1vbGZw1M3a3j6NChu42cDZMbKXTdLsC6ml1OCwcFJts75Xo8huxuE10Oe3M7MbpDEqCocZxzc7RYY5IwMCIr0mh3MRvqvDXz7jxOMzELS72Dwq4paqSLlA2GHl6LMjj1ZTCEG0+Fz2tVrKpJkeJHGbK+DwWRnr8fPRgl+ljC54WC+tlEz+by5Otmnhx2IytaaZeNbGTznAx6sfhgXzVxPZWjrZ2B49nk5zqbadQSXBmwsf3b+2CM0ybNc/mdlFTO0d5aLOCzQ2/8ovnOTlyjrGXL4GrlWY9TO6z73F0bMfeZiexfBOz3cvAuV+mZE5Q2p3FYpLI7AYNt1unrMZkEs9Xvs3b//Y/8Kv//Ke8cC3I3XspWvxmVlMWvnqlhd/43r+gOP+QWmCQanITWkYw7d4HWwf16CDmvQc0vANQPILcDuJjNQTPKFNEvlRNzQpObwfZ+AMcWCkbRd9UwlAuUHNaMfkm8ATTVJp2Bod+EVu5TkePj56wl0Slzv5OnlQpyze//gbbh/u4HV7SaYmEZnF5PXRFIswvzeNyemgJhnlw/x4jYs0QerTZrKCjg6MDhgcGdRAgW1z53MlFoi0iXeUDHDaHUo5lkyX0aPELSw/51MkJNuXwZ3NrH35jfVVhcffvfcYXX3lR6eQSYZeOt2wuHR4PAZ+HlaV1vH6fHhxNhjoXLl1gc2uTQr6sFZTB0T6mp6f1Qjo63M/s7LI6jjd3NvRQdOPGDZ48fMLDxw+5JofWZJZCvkKumFHI4PrqpsZbJ06Mqyv77r1P6e/uodaoKSQ02tGhlONz585jNjbZ3NnWpFA6nlLNnGzZpf96FE98fsjPprRTL5eZWqOB2+ci6AvpRV5o9HKpk/jl7Nw8FoNVNYkBibvnRSNa1m14Z1cn9UqJleUVCcPqz+byxbOcOnuCj97/SIcAmUyOkxOjeola29hUBoPomfYk1VEpk4gn6e5u1y21pCHsdru+j4SyLIdm2XoXSiVNDKQzGa0kWZw2wsGQbmoz2YJexORyXSnVKJWqOvyQjXahVOErb3xJvzveevdtwuEoHvvnh3aBX0lsu39oiHt37nHu3Cl6e3pZWl2jWinQ0hrlYG+LYCTC8eExycTnl7DDRJwLpyd48OgJJomFWi2a6BC4lBw2pdIxNDTGg88eKhtHOA91Y42uzk7Wl5fVmS7PqDjhxe6Sy6d1895oNjA2pGfeoZeuYDig9TG52EpioLOzG7/bz8buKptrMSZGh/RgLJwD6fbe/+wx58+c0Xis1A8a9YYSsqUez61HQAAAIABJREFUIjCt9dVt/WfI9kbgXQJpXF1eY2ysn9HxUR4+fMyhJGKG+nWzKb19ucj6XG78LUGSqaSqCGWosbGzy0B/t9oGJLHRqFbUXS0wToddagN5bty4zgcffqQe9Xw2rdU2iVDvHezqplOYFkJ8l9qGgNpkcNbSGuDu7ds8/+JL+lzsbO1on12ek6BAB+Mp/RzLRdnqkKRZDLfDyebmLpFoiBeef4633npHzxZdXR0YjSYOj/fp6xnkj3/wFn/37/0CucQxC8ur5AtSvfBisjTVziFsHa8ngMdrp8XvJ5srKfBMXPFyYRSjQTDcqj9ju8PGRx/dpn+gG7fHT/zogEgkws2btzl94iR+SaCUq3z22X29dF69dkUHWVa7m/ffe1/72EI4TyWTHB7uaoxW1H6VQoFkNkfyIEmunNXhggw7ZRgliRCf26Wu8o2VBcKtAdY395TkPTgygtMmxqWg6jSXNzZUfUe1yrvvfMKVK6PUanVN9rl9fk2DKOejkuLZ119m8tZ97U1LVF6qJ2I3mDg9zNz8qpo0Bod6leuTiqc17SOQ1KN0ir7uXo1GHwkbJZMlEgkpJNNmtSuctGGQ6ouFqelZvvLGF1WBev/hA7LJjP6ZPvv8DdbX1lQlKoNCIefL+6WnPYLDF+Aodqhsof6eAa38NJs15URITUl4R5FI9HOuw+io1hsklTT56DFen4fe/m6atarGyicfPVENsEAvt3a3+Ru/+Ev88Q/+hHKx8t9TR3sKk5RajqSEdvd2FCh647lneDz5SFPBqUwavy/I4soCZ06fYubJNOcvnOXg4JhEKqE1jYP9A7Z2tgl4P08w3bpzh/b2Ni49dYW3f/om/cO9lPMN9vZ2tJ6QTsX1XdF0GJh6+xMae2V8YRdtUdHwCgl/TXWV5WSO0deuYXJKbepAQZPz84uE2lq1riGxdNnuS3pNkl1ul4ftrXWGRkc4OTHO2++8r8YVqV4cxA80wSKQ6XhiH7en5f//vDSpEduR4XuXqvk2tjaoVYvYbHbd3Pf29fLowWPsVitGU1O/70ZGxxVyqZwBk1UHOIMDPXz64CHDg32cOnuSt//8XY6TKZ559hrHh3H29w4olvO88oUvcHC4R0wsUG1hYrtHFCopom3tDA+N8dFH7+kz0xYJs7O1xdDYmPLcbt26ybe++U1u3bqF3enUGsPW5obCvMUiJbWlo8NDNdnI95SkCeR5K5VrNGQrXxPl7IgmWKrUtdufSqRVIVxr1j8foJrMlIuS4stgszhoGhtcu36NyQeTeLxOurv7+OSjTzhz9iTB1hZ+9Cdv0dYWZOTMGHffvElxPY2/w0a3z498Wwp3o7PFxNurFa4PNPln5wy8uVBmbNjF6RPdrCxleXBvHW+njb6Qn9FTQW7d38FSr9MRaf0cNuv2k0pXuRi18Mcbdn7rZoq/dDFAHhPTW8cE7Q2G28LcWdnlzvoi9oWfsLu2hacjSHF/GZMpit3epGl2YXL1UE4tUW+WcXjHdKiRSa5gNLpwerw0KpLoS2ENXaR2dBejM6K1DlnImhoCo5XhgJVa7ZBmQhbfDky+qDJyDKYqzZpBYZ0CSG3Ui5jLCWqi9HUPUmzksVQrmCoZmv5+1DFdMtAs3IeaF0NoEGM9R5MQ9dIutvoRVWEBGJsYHS3Upbad+ew3ms3SoQKFrI4ohq5L1A7uYs4d0gg/hamex1TOUK5LVNSByd2BpZGmlDqiaQeTpZVadhtjLQfmELXKPoamD2tLhLq9DVNmG6NovioG3eTbW4Yort3GJJ55bz/F5DxWZyd17wAW8hSPZzAFxjBk97E4AuByUIrNUml6cHScxmy208ivUdl8Qsu5FzGQ5uTlf0bIUcfbYSe7X+O5C14+nEvR8d8gKv/0uocPnsQY7Q3SGRIHrYm/85/3eeVEkO8t7lNp2CjXm2wl6pwLWbgSdBKxlugJGhgMejk94WJvN8u7MylqxSp9HTZ8XidHiYrGOS11CzWfEWfNyLk+P95AlYcPY1gcrUwncvynmJfFWJHjqpW2jlaye7uM+y08cz5C4zjP/G6a7p4giWyJTNms3fj1WJKeLp92yVenYxontfrN+mVdslo589QV7cAbREdkNnH33j3aw2GsJgsTp8dYWFujv2eYldkVGuYKl65eYvLRA44P0yT2tlTduDi/QqvPQ7DVr4oaIUkbBDpVLunGdHCsi3v3phjtH1egTmvAqaCWglQOjlLsrKfI5M2YyHHlTITvvnGev/pLr4O9Cq4OcnOfsTU5i9nfQWRwRDWOB8cN7TnVjTL9t+PvuQytNr73G7/BP/pnt3ntpXGW5tfxR1uEdc79R0tcuCHR97OsbW4RbPHpRkK84EIuldTK7PQ0vV396gaXlITZbNCYn/y1L732Mv/1j75PtpCjp3eQ4/g+A339PHz8SH+2l85d0sPwYfzoc4qrw8kXvvgFfTHKi1u2eTJlvXrlCrfv3KO9o42Jkyd1yySHv3QyzarEtybGKeQz9LR3KDH11q3bHB8eclKc5wYTNaOJUxMjHMuAZW2NS+dO84e/+7sc7x5y+sQw07c+o9NjwuQwUyibGBoTp/i+dsB8YQfzy/u02lykamLbsNEbMDM9tc7EeIR6soglYOboIE2wK0yy3GR1NcapoV7yNgNr01uksRAIeNhPZSiVrbS4bRRySaxGC/0RN4ZmBbfcqgtZrvZ7+HQjy3innaCpxu/cTHNtyEyuaWE/Dp2uBqMBE4YWEx3FJH/huX5WV/ZZjZuJdkJ/yMeb9w5VbXN6oI2y3Yij3uDtm3tE2w0Mhdx0dXpwV01sJo6Z3K+zUzazkbeznjUpNfpcsI7JJMMN1OV+sJunf6iV9dgu/aGAdnXfub/M9KGNEXeJyyOtzGaLWEsGZg5ybO0YiVqrShl2h+Fkl59f/bW/Quf1F7Hm6lCbpFpxYinX2Lj1Ed6T17E4pD7gx1zfVWBmtZagWnZi8popJWKY7FGMlYKmNsqGmqpcgk9/i3d+81/ypb/zA/7m1zpYXivwSz93nR99chdDsc5vvfs7pD/8GTVnCIfo+wo5shufYA91YTC3Uq4cYSuVsEbEiGKmXjrEYO6CxF1qtm4svhYMuTwGb5hK/gBDzYQx3EUjcYS5skOlVET6C4Fv/wP+6kvf4ObdGNevDSiEz9diI+T08nBpl6+88TrxTJL1FbkYSjzPqps/2VSYLAb293ZpDUfp6m4nlyvoZVOGXQaTGTMQCAWVbi4RYbnotwb8epF56tpFpiaf6EFyYmKc1fUtpQdXqhWWFuZ5+cVnefPdT4gEgwyPD7OwtKDsizt3HxBscetBc3NvTy/KAlQVUJbE/0TJKQaOZ164wccf36NcKDAw1K/Qt6MDcYlbCbdGdGsfDrfpJdtoESWtkSczMwz09uilSuj7M/MzupXeWN/QmPr+4aGSpSUNIRvceqOu25pirsDw2AiPn0zy7NM3mJ5bUB/3ydMntCqRzZYUjNURCdPe3k42m2dhaZWJ0WE8PpcCfWRzbRHavsHGyuqyHiwllru6tELfUL9aD0qZvA4xZVgh2x5RgUn8X7afoUBQI44LC/N0R7rU3VytNz93oouizWWlt7tP+++Xnrqs0eo333pTK1BSg5D+v1Ds5T1lMstnPKd1g9GxYRYWVxTMNDgwpDwTgS/J+170ZvL/kWitRMrl1yye+YPYsXISpB/eNJoVLra/v6308Fs37+Jw23BZLUqxF2WhVAxkgJ7L5BgZHdEYr3SyZXMt7yZxWYvyTg5gA/1d5Ipl3HYnPp9Hf54zs7Mat5bUyNCADI+bmrgSSGuzXtEKleivBDIoMfdKXQ6gNSVNX9Dqh9gvEhRL0kM30RONcJw40m6vWeqIFgtXr13l/Q/fU12puLmlHzw/t4jFaqWnt0d/v1I1aW/vIpdPYjbZ6O7u5qOPP1arjWy09jY3cflaMZlqtIbCZNIp3G6vfkf29fao13tn+/N6RVskSqVW06GH1SomhT1V450+PaEb3g1JXLS06Pe7qDVpGpVUPyF++qNjjc/LxlYGSE8eP1FlmAzBNrZW9JmW56dZryvMSwbPcnEMRaN88NaHeINeBfeJCq4qQDK7VeGboraT53t1c03TlgajVbWQ0XA79XpZbQmyiTw8OmSof4THjx+rlebUuTNkk2lNU8hl4CC2TVt7B42aQWnk0q2XRMzIyLhe7Le3N3jhuWd474PbWu1xeWyMj4/roG1jdZPPPp3k6o2Luu0Vt3pR4LkGI9VSkWK5SiTSRqGc1T9vp92F3W3nv/zBD2jvbOPKUxd1QCUD01s372gNQj6jsdgBX/rCS8zMzdLdJYP1Bc6eOs/88iJtQbm8lHQxJd1ogWke7O/RFg7qRUY+C329/ZoGOUimCHu9ulFOFUuEW4LcfP99TFb5fjJitxsJR6Oa/JG+fzpgo2Gz6IUnHZehSbdqM2slMaXUNOHx7PPPUTfUuXfnU+VCeNxOPc/pJtggQOSmqltl4ywx7+N4nN7eHqanFpT30NEeVqibySqAX6sCpAeHujkxforVjRWFBwpAWhSTp0+e4s9/+ha9ss1PZ4nt7OjWtb2zgzt3b2kVp1ptKjND0qSS7qJZZ3Rsgtn5WfKZEvHEERcvntX3gNvjVFuHPNNnz57Qi9zG9qYOkoUJI6q3E6fGdXgrFbaVlXWtN0laVYY0YuMIBD3KLxA9nJiYcqUKPR0R/T4VwGpbWzslOXuKvk3OS6dO67MX9LlxuP3auS/p5trPifExZqZnFTjYkOfAZCAUEQNOnKGOKItvTeJyGKiYZAtbwmo2IoEIj8HAoaGOqzOI3WtXftTWmkSsDUTbQ2ockY1+JBrRYa4MQaR6ITWOP/3hj4l0hLlw5gIz01NqvRAjgdSj1leW6R3spy0UZfLJJH19vbpFLxaKJGWBFvRx6fIllpZXWFv73K5RyBU0IaSJj9k5Onu6dKg7OflYbVcylP/oY9FfjtHAoNW5lmBQ31X7ezEO9+N4A17MhqZaH6RPL+8KGXrIkG10YkxTfsJbktrswsIyfT39mgCQJK2k/drCAQwWi9YsLl66QFdXhI9vforDbmV0bITFxQX6B0YoCHvg3ZucPTOKASMtIT/xVIp24XO4Xdy6c5eBgSGcTrfWci5fPc+DB48wNc1CW6XeqKjxQxJjO6KrPtgnEukk1Bbk09v36ero1oSgaLIlRWR1mgl2d7KxtMapYonDmoWN+S2MTjOWuoHxPh9vTh0wGvLxX77dYObIRWebjZm1PJ3tZmIHJfa2RbFpIp0pYvfZ8PhdmOuSjHBznK7iNlpw1A/5p48D7O7mudBtZ+1YtNdlvvLqeT68NU3dbmVy+Q+oPZgjZ7Zjw0Ipt4nD00XpcFYVxpb+FzAmpzVOX8rHtV9vC44iHa5Gsyg7Roz1MoaWbsrHUxiqNV2MG20RyG1SLWcweboxmKXeKRv+GM2Kl4a1icnkppBZx9g06gCuJu+fmhmT2Q12L6biHg1LiHp5m0axhCnUg7HupJ5fp1bOYnfL92iDuqmO0wqV2D2M/lOU8mXsviBVswVD6rP/p1krLGDy9GOROHR9k1LZgatZp2QN0MxNq8LP1KjSLC5htoaoNSX63MQsXQarB8wmGplNLNYQlcysugdxB8HmlUAk1ewCvvbLVGQHLTWDRoJ6LkGzdQSne5T84duQzeFov04xvYK5mcVYc1P2dSnMqJarUdv5KbbQBGWs2EprlHN5vCMvU2SfjuF/wv/6rQESuQyrqzkCbRbemW5wobPOP75hoVoyqyZrfSfP//jjCsfmBi/3mbFbjFAt47N5WE8VcTlMNKw2nhwVqJUbhJvw1JCJ1/r8DHXC4qo4a+0k0lWm9jL0d/qU0O6sVyjJF0jAxZaku4xFnh4PsbufodNYo+it8p8f1fjk0EzKFWS1JMC3Q/pDboL1OL3hFg5SR0RcXuLlMmG3lUS5SqpooJZP4bUI+dLPTiJBR5uPtaMEpy+eZ3pxi86xUYZPSh+1jU8+/ogWv08g9OSzedbXVzh5+py6Sn/61s949YtfVHCHzx9UD/zWygqzDybJHRxjsFvIpYq89OJl7j78jEg4woULJ1lZ3GMndki0J6TTXaE0++w2/aLL1C24XUZWV3eoGLzU5fAX9nPj2XF++Ve+jN9eJVfx4Hb3EPvsv2L0hShU/ETcJRwdTv6v33yTnT04Ooxzd2GLgd5WWuwNFncqNCoVEocH1Nta+Mvf/XnyybSC8OQQPTo2ps5kOfDJC+lzWU6NVn9QN2xyQRcVngicM6kcAwMDGjNL5wpUamU9HBwfHhDb3dXD+tBgPymJO5eFuF3Xfw8ODXPr5i2evnGDYj7Ho8lJwuGwRtR396QfOYwv4Gfq8RNeffHFz4noh4dcf+aa0pft7hYqGDg7Mcr29hY7K+vMP7jLyHAv84+fENsu8YVnhsjs7mJtcdISCbGynVJwoWx+Y6kcDpOTRKnOQKuTiNfK9uYu/oiXv3h5nLduP6FmbfBovalDmbb2FtJF2XhnCLdH8BnzpLf3+e75HvqscWwGeGbCx9pOltnjJommib20iZlUlY9Xioz2mAk73Gzlisxs1Tjbb2Ms3FAaua1hJXOQpDNk54UhDxvb+5qcKVTLOqkem5AtdVZhLsmmE7/DTTIVx2Oo0R71KihzpN/L3mGDVKrJ+nGaP9xxsl+XAZpTY83UypxqaRL22jFYzDTLZVYPU3zn5fP859vz7BfgL1weolAp8sPbm9w4NUgkauFf/8EckaiZmYUqHcYq18/CF14d5PyLNwh2Po1xoE2ZI7XYDsZ0jEpdtssLeNI16D2DxVijvvM+Te9pXIEgtfQe5tZTlA/uQKOMIXgRq9NN5XAGgy2ITS6ru8tYPUG817/Gxs/+I4Ov/Q7f/WInlVIeu9PK2x9s8dS4nz+6/T1qcTO5Rx9Srj7G5H0Wsz9A9fAzHPYgxuAg1e0ZiE5or6tSFsLsAMbyEcXcNjaHg2p6HXPgHCZXCzXpb2VimDweyqJZzR5pvMz76s/zK1/7Kr/54xgvP+Ugnwar20s2WSSRzPPCSzcoigViao4zJ4bZOTjE6XSoSeTG01f58z9/S+Oe+WKJFo9bt7NCSZeUjFyW5JAq7AzZIMgWPZvO8uDhJDanRNdDpI5TOF12SpUasb0DvWy0+F30dHXy3ge3cLhdPH31Ekf7cZom4QQUcNqEsB3V/vz4qPRWcwqZk8O+bPnl0iR++YD/806yaKOWV7cYHezl8OhA1UNC5RfCtMD6ZOsgeqntvZhGWYvZkqqIZDsotGwBqs7PTdHZ2aObVdmKyjarXMrq9nt4ZJh8OsuT+TmNIQoxXqLUcsGcnllQ+NwLLz2vmzbxL/f29mofttmoKfxNOvUyCBk/Ma6AKokIy2BBDvECiJPYpQwWxe0uKiapWcggQ95N29u72l+XdIEA74rVCg6Lidv37jExMkw42s79+w+YODGqQK1yscbk42nd0Nx45hJLS0s898wLmjKQz2BvT5d+8YvLXS62AhJTbkClpgOg7p4e1df5fD7W19fpG+wnl0gpyE06pLL5vXTuLG6Pg+29PbqiXcqTEDBprVSnaTKrreDjT+4wMtJHMVugXKvqRf7g8FB/tkL8ln55T18XyVSaWrnAF7/0Ku+89Y5ybNbWt/TSJodUiTi77A7qhqb+OczOzlLM53E6PQqeMlsMrKxJwkPgwwZlJLRH2ont7Qg+jWg0pH5wccPL4V2enbW1VT2Qnjl7ShNh8uchvd7+3i4FL4oxwGCqqR9eGAKSDhDmQG9fN4f7kk6D85fOs7crv58NJaML6FH+3B9PPsTpcnHj+jU+/fQhXr9bo/+lQoXu7i41Y5TKVY2C26xmpYNL7LcpGrpQh/bvhyeGie/HNUkiCQGJhUtiQ7YzAtizmG2q4t3Z3tILkKgOZeAX8Ps1BSIDDxm+LMzPMdjTT1t7m0a8d/f2VM01NDzI8VGKolYSomzHthnuGaBhNFKuFDU5d/rcOVYWV1V/JnrGuZlFvva1L/P+hx8QDAiUr1dd9OG2qL4H1rbWdJhy9sxJhfAJ0EzqS+LslnRINpcnI8rDYIuePwRqK38eMphf31ynu6tLBwxyUTGoQLLJ3MKqxpClVy76zf6+buZmF+nsEGhVlVKxrN+r4Y4QezvHtLR4P0+epNKaXOvr61GOwsbGJg7z5xvmPSGQj07Q39uuMfpCqaAq33wmS+zgUFkGcimW/vnJsQFlBcwvrfO1r76mn4vHUwta1Ym0tbCxvafJp7X5Bbw+p4JH69UCqxs7lKpGOgJuymEfvt4oe+vbDA0NkJa6jsNKPBYn2t3N1NSMDmlaAl6WVtbwuH3UqzW2tje5evUqqxtr7G4fcuXqGa0FSRxd0hlyAZVak7AAJNkjW2ypYclzfPXKJRaWlsikczrYlGSPpBinpqf19yeWkxdfvKH2EHkvGk1o9UMGdGPjMtiZwWIx0tfXz8rSIr39Qxztx3D6XHRG2xRiPTe3gNlo1fSfmAYEVFcoFsjnhOfR/d9p/y7MViGOG5hbXFWd27UbT1GqFllbWMMm8LJmjZGRUT744GO+/MZruhw5TiTVniR8qnA0rB106WULOT0cDTE/vaDPlwAvK+WaDj6yqbSmjbp7uyhk8gyNDXGwe6iJraeuXuIgU6BaSJN7skOmIKytkJ5DuqIRUtksiaMM4aAH58luBkcHFNq3uxXDLOC1UhGDyaDQuoDfw9TMLB1tEbwtAQqFrL7LZcj98Yc3iUQ7dIAjz7RUKSJtESYfPmZjfYdLl84yNNLP2+++z4B8RxgMrK9sMHZyjFJetHxu/ezKZ9jhtKm1SipVLodN+QenL5zVepQwB+TzLFpr+ftiatLd2aFwy95eSTH5mJ2fYqBvQLlXW5u7uLw2VYlGo51ai5pfmNetvgxp5DMVjoTp75GhUFrf8/K9cHxwRHtHJ9lsStM75y+c1xqPDFgSqSw3blxka/NA9a6twRZ++IOf8tSNC3r5l1SMgD9HJ4Y5iO1rZU6G6h2dHczNz3PxwgVdkMmQb3BYNNVr9PT2aj3geP9IAawCfixlc5o66+iOKoxwQsCb1QKZUhnX1LImuZPpmsbfQy12Bjp9PN7MY7OU+HfPGjiweEntFokXG/R3QTFupWCqUC1ZCPicVIo1bk3GGOp3Mdjj4TBZI5Or8vSAgV/4sQDKwWGocOPiEPenl/E7jNyfLXJ+LMIPP/wXJB9Oa4o9nVnE3X6KeqVMNZvE3nGayqHAnB1YSmWym59gCY1illSp3YWpaaBREX19lXp6C0P/81jxU4/foVGqYQh26bCrejRLtZTB2nmDplkmCVWqiVlMLhn4tNJML2EOnqRmCdIobWB1dNEUNkAtpYDvmq0NS36dpkGMdDXqzgBmbzv1dJJqeVdNNg1HK426l3ppFWNpD0PreazVAobk3V9vWgwWms4uKrUkRtH8GL26/cGQpBzfwBI8h6F6TD2zg8nbScMgvdU8xUwCi0ygSindwDSNVnCEsNlDlColTPE5Gq4oVtFxyPasFMfiFI+Dm6bJgSG9RcXkxOHyUctNUze1Y/e1UUscUSqnsVrK1ExhnJERSkeL1Cyd2AM2SrM/w+ocwn/uCvtTdzj90q/z9780zG4mSTZXpV4qsZq28ZVwmb/25Xbeu3vIxEgr//G9DX64Z6ArECBoLTNuN7OSN5GkSruzSiNvY0l64j1BBlut3NlOs3PcpM1U5C/daCOer1FPZHBg4KXzYRymGj+ZShHwCtwhzbkBJw6fhffu7xMKtWHMFZS6Pj7hwmrMEG24cDgqvLtZ5ZOYj9VqhXd3jfhDIXymigLSTgeMPHV5iI/vPyEXr3Hm5Ajb8SNqdiulXINs6ki9p6VMEbPVRqLW5LU33uCTW5/Se3KCb3zrDVaWVzG5XCT3j8jmU/htPpZWlmnxOvGHuohn4yRTwj04rT2slfkFrJh48uQzjcctP1nC43VRKOfJJAq4PGZagm1KUV6ZW6ViMXHp5JDCZ3KVBsV8HGPDwu72BrG8CXvdrRq57/6Vy/z8l0cZff1rUKvD9jK1UgVzMMqf/ugm3/ibv8cvfv0C2WqJJ1NbtAZ9nDk3rNHhnfUDcrkyv/av/iUrG8v82Z/+mGvP3ODmrY+VGDwyOKyAo+HeQUx2M9l0ht39mHaderp6WVxaxC2H7YF+ipm8vmxECyhdQrfNwVEyhdtpp7e3Twcb0gUV9Y5AfMZHxpmdnebq9Rtsba3R3d2pG3LxqB8eH2g/6tyFpyg3m9SSJRaWl3E6HAyM91DGxNi4wDMrfPj9P8KcFdd6EnPFgLFS1S7T7Mwxl893YXJb2Ekdky9BumTB22wQ6QhwtBFjdKKf1e1NXuzy0tIR5ZOZDXYqdbY3Kuw7LUjxxut0kCymCZeqfPucnUuuJh1O0T1aaWSzdIYMFI0uJlfSerA0OW34nHVODbo42C0QbbVR+m8ayJ2DOseNBnc2cpy0W2nt9PL7j2qsH1X58pBUCcsMtZvIpKvYjEZ6o2HaI0ZWj5M4TQ51wKZLTdLHTeyeMpc6zXitJmpmDw/XihQMRgpGG//7Bzn8wbrSgfuMcCrs4XHsgKd6bMSSZraKTY2+x7MVXrkc5s0HRzwTDfLhioAyC0yEbMweVVjaahIy15nwNRjrhBdf72H49FM4Wt2ER89Qc/XAgSgzd2kYoljKKxytbhDtP0EDJxV/mHpiEWM6jq3nKbJbt7GYJMI1RK5Sx+nyUbf6qGcTpGL3aRt9gWJ8h7qhjEEMFuUUxf0t2l//FovvvMX1b/0OP/i3P8f7H87yszvC/GhlaSvG4k//Ls5wJ6ndRZoVsIVOYGxUKWf2MFZzGGWDYY1gqRxQt9qxVKDckN6xh5rdiN3ShcFqoFbKYBJIaT1D1SHu6iz1w0UckXEyxTRtp17iJ//hV/jurz/kxbNQ0KzaAAAgAElEQVRdGAxlDipNGoU4B4d1OqMdXH/5OW7f+ZTh/n4WF5fVBTs2eoL5+ce6+crmK6ysLHHu/CnVH01Pzasy6JmnrzEzO00k1K49e4F7pVMJPVh4AsKEcLC/f6Cec9kmycm+Wm0oPb813MKpk6f42VtvKQG8xefHZDErgfrOzdsao5UDvEC6JC7caFQ5SiRJHaY1eirwr9Mnx1SLJxT6t9/7gJdeuEHAH+DTe59pJ7w17Gd5eYWurl7t0QqlWojqDx491kt/0O8mIhuQ+WX1SMvmXvqIgZbP4+vbsX0sZovSnOUXv7ctm9x+7e1WqmWl+svpWeo2Eq/NJDNEoxEFjQncTVIm4paXC+DoyBjTM9NKVrZaLLR39rI4P6sMBVGYnbtwSsFP2+tbDI8NE9vbZWZ6ke7+DoXppTNpHbQIQ0fgb6IvFDL6wsw8DYOJkdFhDg4lxeHC43SzurauICphLEw+fESgtYWOts8v4dIRFlq7VJfSKTkoNHA4vOzvx2gLC9E/rRcCuchW6xV1MK9vbiOZrpdeeZH3335ft66BoI+px3N6eetob+PJzJxeguWgJ8BHgfhlkkkGhoZpCbawsDRHJCwU5pRaHsSWImYHs8Go2/D9/TidHRE2djY5f+4cZoOJtXUhuNeVdSDbYHkX+71evSCKsvHkiZNU6iVKhSrlUo54Ms3A4KByWSxWp5KV5SIsxHjZ1smAQiL3Ai+u1sskjg65cu1pDo/jOKxS2UrpJlu0eBMnpUpg0Iv54vIiAz29emgVEnqw1cvDySnaQpL6aNPNuGgPb926S6S1DafXrSkCSV7090u82sWtmzcVuibk7a2tLXp6+shkkliddhKHcZ57/jl+8qOf6NBThmZSXxHLhcSA19c2MTRqdEolpVrViPnYxLj+LCu1qoIRhWsj/m2X16ugNgHGiYlB0nAWg0FhlmI02Ns9wOOWVJPUBOqqQcxkk0Q7OllZWmVsbFAH2mL6EAXozMw8fd19uF02NnZFP7xPrVJnZGiAXL7E1Ow8165dVMuJy+kn1ObXZUKlXqY1EODwWHggaNJCutqlYk7j8/KZ297epDXYobWA5cUV3fS+8PznG8HVtQ0mxiY0Jm13OHRrKvaBQIufxw+faJ1ASOyiyQ0GpKawQ6VSV1DjwECv1g4sVrPaf2RosyUw0PNnmZ6eU9ViLpNWAKdUiO7eu01HR4cS2iXFebAfI9TqZ293n/XNQ649/RSlclFZA/KfEtXvHewkEAixMD3F0sIC7d1R6sUSHT0DzC88oZSuU/HbePY7r7H42RxGs4GTZ05z85PbavqQd4+U8hfnVnB6nZw+eZLFxSWttUjsvFI36HMwOjTCcfKImel5fb9I5UrSIKfPnWZvKyZRW4W4yfMyOzunF0eMDe0Si5FlY31Tq1dS15CGyvLaFiOjAyQSMjAwEA23qYrUF27BZrJSrubVZy+99PHxsf+PpfcOsv0+z/s+p/d+zvbey91ye8EFcNEJFgEgRYqmZMuKy8SOZSdRnEnGGsex7PGM4/HYcmwrVqTYlmiLhERGJEgQJDpwcQtu3b3be9+zZ0/vPXlfiDP4g3/s3d2zv/J93+d5Po9m8bPFnMa4xLHhdDvUKSXLM6mYHh+fZGN9i1wxh90qA3OFgeFejTpEZbHbqPLs88+xOP+Y3v4+5R/ETpK66KjJdWEzc3J0pO4cATI+evCEy9cualxpenaUWx9/zsTMGE67k4ePHyvw0ut1srayoUKLxJQ6Otp0WWo2mDEYGio+nGol5SC7B4dMzcySSsepHMQ5nl8n6A0RGWzj9oefM3VpUl1MR9sHhM4NksoXyCXyDE30qptURCRZ1DgsTrr6eqhWKnqvNzEQj8ewWYwMD0/ynjQtmMwEIl79upq0JphNmo93OF3s7ewoWFaesRJVEzCg1PgJOK9brp0a6pqR5iNhJ9y9c1fbZQrFqoJQpT1CPpNms6HwaJ/Ho1/fEono897tcetCZ2p2Aq9X4JLbHO5JfW6eb/3KG/z4hz+jVC0xOCguuF7+/Mdv8fKLLyjbp96oKl+nXK1ppWR3X6cyTWRhLzGmQCCkTQv9vT0UyyWip0m8bitP5laUCyNAVF8oQMDvY2lpgVrNwPHBAZevXlZYpMksvJwVgkH53JpMnRnj9t07TIyf0efC53fuMTI6TCab1/iLNK7Ic1Hu1auXL+jvvLC8puq5x2ejVK+TeG+RSKuPcMRJplDiMFnEY4Ji3ajCwr++kiBjb2V5PU1bEPzeAB/dEzilnamxbrZW9/FFXGQyDU5iJYz1POFOH8WYkXMDdb79Y2hxm3FTVN1azhCpUoVMCnpDdd6893NiN3+Ew+zFUE1TMboxeRxU0nGs1iDVhkQ7HDTSuzSdbZi9I9RO7mLwj2OzuqgU9rQ6nnqapu8MRocbSzlKpVJQkcsUGMFQLyBNfFIl13R3YK7EFWhec/ow1o0YDBWaWYlSm6jZ2rDU6lTFPmJ2YyWlwlStIPdaDHvbBWrpJPXoY8ydV2imH9Ms1amFBjBWslTSW3hazyuXylSvYojf/GdNm82E0WCnlHmCJXCNRuo2FUMEY3AAQ7OGMb5BqSKUYS+W9jFqKbkJC9Sdk1jMCSp1E1aLH07WaTRy1ANdepNWY7ex97xKLb2FxAyMYgkp52kanWrhEyXLaDVRL0jFWAsVCghGTDaN8rIzNHIYCymq9SSmwTcw7d0jl98i0vcNDmJ79HXnmXu0zfVv/SeeGrNjsTmolBtMd1X4/nydf/6il1mvg/3YHqH2ML/+ZpanekyMdIb4o/koPXYLXREXuydZhlrdHKVzrGdqyNGjx+/EaDdQKhhJVnKsJc1YrTUCBiPfOmsnVLMTcFYYCxj1dy5U3Dzaq1CwGBlrdVMtRTEb/YQCJqg7sFma7CRKhMw5jJUiYamnafFzd/6AnyUs/HDewEEFKmYLk90ePMYCpOsspwuqjj5zbkR7ZhPJrCpTGdkY1esUUjmsHhflekXBgc2anbX1JcbOn2do7IzW2xzubOnN2zs0xO7+Ln/63f/C1776S3pArhuMrG2sMTktaliR9GmSg21pMKjhdFrYWd4iKOpFs0oyGaO3vx9rw8FubA9TtcZBrsH48BcvTLc1QN0kpStmtZZmKk3ur+bprBUYnfTx1167wTd/669QMqbxOX+db78xwMj4BPfuLdHi8dOwefmz7/6ca88M4nKaebx4xK/8zb/B3Tt3mBqfxO20kq2WmXs0T09bJx19XRweHShdWeyz/mCYYiGjA8LGzgYepxdfIEijVtabJ5vJUK9X1ZYnsDA5VDYqTYWi7W9ta3ZfbF1f/dovqVXL63Dpi0DAQpIH/ca3f1lBQtIRLLRjySqKLertX7ynlWqtbjuf/tkPKZ7maBYbBHwm8nXo6A5ohsfr8NDa4+XWwiFhv5vdbYGIWYm4bFgMeZ6a7GNuJ87H62kuTXdhzte5G41iMxjUgl8oWwja83TbbVgsFV4d8/B6W5mgyaggr3WxO1m8lBoFKiUrwYiHlY1T+rpDXJrq5AfvruOwNOju8pPIVKlYYPFxnCvTfq5O+3nyJEMmKc0DPhxSYWqCB8cJzg18cSDZjZcYDbg5TKY5zdfwuiw6aDjKKcweFyf7cSZH+jgqFvj3txKsF6zEkmX2Sk3cVguvTtg42KvScLo5016hWSrwZK9JwWqi123jTJ+bWqKCwethcT/O0laVSI+b5P4x+xmwVRW2zMtP+/nmr30Fd2uYyPA0jWYL5uI+9cQWxZKN3PEO2cwWnf3nMHvsVIoOcs06Fv8AxtM1DN42HLYg6eU/oWmy44h0Qz1E2W2nni3TTD3G3t5J09JDZulHhLvOUrO3Y6omaLq6cVpypKM7hM7eYH/jHs+9+rt8+VoHvnYXB4cZUpkq9+8es/DB39bqvcJpDtuZXyW+/C6m/By+vtfIl1LUjxdwj3wFU2GXYqOBwxSiRBZTtYjR20szs0+znsEemCIXvUcjf4hj+MtUmmLdWsVgHqJZjBK8eJ3orT+i8/l/x8szYXLNMqZqA5+Qx9NfLEWnLl7QPmeh7ktVlRw6bn3+OYMD0rO8SzqV4dVXX9FsqRDL7WYTt+98zvTZWUyGprIzZLA+2D9mYGhI68gunJ1mfV1ywKL0dnFmbERBb7JUlIP5Rx9+ovb8ts4O/F4PuVQeo82sUCUh8UvVosQFJMsoefORoQHMZhM3b91VpSKRFmhbXevmpqYnuXXzMwUOSoRnd3tfAWI9vZ0M9w1w//EjhUgZm40v7sVwiJ39QwUcSp+2KDFCwBe7q0R0brz4DIZKjYeLC1y5eJGmwczHH3+k8DbhCMghVCiCFocFh8Wm9690ODsdHlU9kukkRpOBqTOTat09ONpTwrUozeKq2N3ZZ2l5RWvTIqGw9lc/9/wNPv7wFqepJHar9DK36GFOctuSFZdhTFQQt9vJ0f6p1op1dwdI5/Lcvf1IYViDQwNsbe6qUiosg1qtqbnPze0NvB6/Rjtk+X68f4DN6cbjdqid2Odxc/XqFR7PLRCPn/Ar3/qm9l7n8kU+/PATXnvtqzqwigokuU5xUYglMZnNkE0VyORStLe00zQ1WV3dZHZmUkGA+wcxrS5r7+7kSJcLEVW50ukkpzEZ5N20drYSCbdwdBxnd3tb6886OnooZFPUGgaSp6c43Ta1vAtYTsBZXR09yjoQ7sL843lCQT99PV1fWIaFdSMRFYPU7Hk43N9nevYcJ6eHmm0u5CViYeLwJI7TZteaPjmcBkJBZSK0t3WzuLDIwEAPu1tHpHMZLl+5xNrKEn29/dQaVeYfLXLu0iwnJ3FqlaK6xh7PPdYu652tLV740ku8+/bbWB0CVnRxfHCi1ni59sX6LTG10aEBiuWmWnIdHgeNSlWVbsm1i7ony2qJxG3t7Ss08+tvfJVPP/5Y4b3dvV384u338Hklh93LwcGxZsKfffYpPr35KVaJGuxuKwBOogO7O3s6HAj48kRt2w5V5eV/IXUYnOp12DQ2iZ3E6Gxt5yh+RL3ZxG62K+NAKP1yCO8dHNDPVJYIg4MDyguQ9oann72u0FAZwqQerrOzXZkNcl3I0mZ0ZFjVYrH5y7Xj9krbQFQ5CvF4HIvLxmuvfonvff8HuoiTpZL8nk+eLDI1OczuwbE6ewSCtrO3hT8QIBxs5UgqBE0GMpmCxkskY98jKqjfrz+X1OdJo4IRIymp9nW7tIFKWiXEoTkyMsSDzx8zMTGsVntxDv3iFz8hHU/r36m9rYWjoySDgz0KjIsmErQFwwo7lGdY7+gwieN9Tg8PFdp2uB+l2qzQ2S6g1AoNpx33dA/lTJl6VcCeNuKJOC67V50s4hwIBlqVnJ+UhcSZKbVKDwwN6PBTKubp7GqnIlV0FRgZG2Jx4QnP3XiO1fUlnjxeUueBsCMaIla1tbG+sYff79PKTKkMld/XBPT1D7F3tIPH5dJrV7gDlWpNF5dStSl1f+ViVdX1o/0YrpCLQragEMiz589phPL0RLgeqS9cvnajxlR8riCHhwe0drQgGxrhM1UaVek+0WYKefbkS1msZhu5XEadM9393Vy6cIG7t+/ogu/i1Rne/tH7XHv6EpVGifWlHQZGBjk93icSaVOIoUecaxlxdzQIt7boMz6eSLKzua1LAIlpSuZffrZyuczs9Kxe2zKAe+0OTgpJjNkayfl9+noj5CoVFShkESqLp9R+ks6z/YTGBll6+JjJ2WnmH92nabQwMyNNBUbm5x7rcklYD56ATwd++aw/v32P0bExIuEApWpZF9nSOBI7SWgkdHCon/WVNWLHUQItIY1BidtFnD2VUoX+oT7+5Pvfp6+nj57uDnLZvL6T29si6lzrbO9iZWWRs+fO6qL8zu17atkXR9bszBnufv6Yl168wdrmmhL3gyEvXd097Gxv0aCpjgWX16eOKWmxuXr1af74P3+Xnq5uvefbu9o1kmWVWlU5bzjsWq94+9YdRseHCfn82g6WzqaUnSPXgyyHfvLjn2jkJnp8oi40l8eu746zZ2WBa1YIrcwk4jpbX5fa65C2nUSPoupu6u6RJb+wUwwaL5H6RlnunESlmamHZKLA4dEuM7NnKFabWs89fW6c/WiK9Td/TldHC0ZvndxJmTJmbNUyTVOVR1Ez73zHScPm5sH6Cd29QVxmA16fnbkHO/QPt3B6WsbrNeJ1WDjNN7A1a6TqFWaGOuj2FLjwOyeEXT4GOussbcYZ7O/Q6+/BQo4Xrvr544/ukv38B1TTJ9g8HSpqGUpR6qUoBp8Xg7mVei6KzR0ES5ByrYgpJWq8mbrZitHmwmDwYzKXqRWT1DOrWDpeVb5RI7VBzSpstijGuoNG2ajtZ5L1b3g7VZRt5vbA1grmOs1yCYMzQD36iahJmCPPUMkdYq7FMdnDNBzi1MpSSWxA4Q6ulpcpxzeUm2extVPd/xBp/Gu45OyQx9ooYsjc+RfNYnEPs8GJwerAFh6nsv0OuXqDQKCffOohRlsf7pazlA4fU0lvY/V1YPV0UrYYMKROVdls+Now201USylq+SRGZ4d2gDcsTppGEwZXRP9/rVFS24IhFcNgM2DuewljM0Hh/h9g8A1jdHdC/VSJl01TAENiB6PPjsE5QDO1QaUsNqVxyqU9PF1B7r39mGt/52d8edJNzuQmZIxyabKb//henN993kR/yKLW1J/Pp/jDYxcXbQUuDUf4wZOYqpapuJVmrcz5US+vv9rPxuIWTquX42SFXVEKMDLY4iV3Eifl9JJOJHlxtIMfPInjMRuJGKtMdZi53O1ipsVEOlYiPNHO2soxK0cF2tpsmGt2dqJlHI0CU9OtHGQa7C2dMDvmIOQEj10CGmVK3iD/45unFM0ufh41UcjVeGnCRn9XiFwpx8rmIWGXh6DPSSZfJpGraPWg2WrHJXUexZTm4UyBEMubB6RzVfrPztDRGqHcqPH0s18ifnJIOVcgHPFy+/Z9VRriyVOGh4cVljc02EPT4SBzktaHpvxo0WialeUVsrEjTvZjdIR9BDr8uJ1mzYg9c+UaD5aekM5WVXUvF7Jcun6BrcUldnNG+npCfH7zEccnFQKeIN5wDVPTwtNXunm8lSTssDI22M3D+TV8niAtPe3srOyone/cM89jd9rVrvbhBx/zypde1lzjwa5YE8O67JB+6YOjY/p6e3WxJFGAiakxNtY32d/dU2uX9DkL5XpwsJ9YPKabzuODQzbX1nj+5Vfp6O5idW2ZSKBF6ePS43zz5i3lBvyDf/y/s7iwTjp3SjlfxOv1k4tGOd3dwm0okz2JYhVAWqxCIOQg0OpQenbDZcdu9lCpy4M+y7PXz7C4vMfm8QluzHT2dzEcrJJNlngSg0S+TtDv5PMnMfqDRl6/1sfvf7BNxGbmmxMmBi0VvvHiOObcHgd7cVwmJ3mbi7XTMgZrjeFIkJ1sneWdGH6XXa16A11+GuUyqVINr89KNFoilazS2ekmK9VOFqPW/Z2bCbOwneW9B1m+MxvC1mrSGIq9VqNZM5EuFkgkjVyc8nBrMcHFQS8+l5FUvcTHj/M4wh18vB3V6qqkNci7+1WeaS/zq1MB1vZzlMxNxkJh9qI5ciYTby/kVGH9lSkLLcE24skSG6kC5moDs6nC26tVBtwGsskmr1118tp3vsTMCzcwhjrBZgezh+ruPLlTWVZ5KaR2cBg9VM01alU/3vYWcnvLlPK7hHuuYzBL128Fq/0LkmoyGiXcMkJF0DKxYxyBAFUZ8M1eLI4QpPc0VmIMTtIsnyrUxuTuIb/6GJMti6X3DAGfn/1HH9P3td9nuMXAVE8LwTA0nU5Od4v829/5Mm0TL3K6cheHp4ey34uxBNXTeQXB2K1uGoFBGsePMfraaFqcmERCF7uAs53S8WMM5RSGyHmsFgd1iVcV61g6z9CoJtQ6lquFCfd3YjY3CQ7/T0xNBnHajVQLYp+tEfLYiGYlBjOBT2jalrraQN0uN7GTqNqkpSGiWmvoAcBmt3P33gMuXJzF53STzOVUQc6ksko8b1brpPM5VcP7h3vZ3dijrbWDTCYtXYUcHZ/qECH2brFiW2xWrlw5r1bpcCSCw2FjfXmFwdERJfLL4PP8Czd0uPK7PZqPFFugEHWFTSJU7nq9rocKUZJyhRK1cp6+vkHmFuYVQCjfr1YXeJUF8V2Lsin1V2IlH+zv4/HcEmNjA2q9FdCU9MIPjw+yNL+oMEABpe3uHzF1ZkIJ+aIOHx/vMzt9VhkhUp9WKonVNqgDhF0o0sfHhMMtqqwLOVoqw06icTLZjHY7S55cDobXn7qisQiBEArrIC4wwZFBTOYma2s7+jm2tbaoKhRLxLn6zEW1yC4tbODzevXwKc85USuHBgc52D/E5rBrXCNxeqLVfjIMt7e1cxpPKMhPMsMCYZRKOYlrCOjR7Qzgcts43DvSpYyog2LRlyxusZAnEY9z5fJVPVSLmu5wOfE4HewfnDDY30VZFko+D9l8XjOcckhdX1/D4w7q4GhxWph/OE9fX5d2fss7Z2t7X2smxV4uTQfCBXn66evKj/jFe+/T3tpNrVpWYN74mTP84mfvKIhLMsWymAgHfaoAr2yuY6zL+zCD2WXj8sXL/PjPf0QgEuDKpUusr27jD3rV+r66vsz1q9c1+iELoZ7uLm0LsDmdHB7GiceOvsjYul1qfY+nMyKksr61oerq4f4BVpvQym0Mj3Tx6PG83jc9Xe0aHRB6uYBgi9JtbjIp12JmelaVVKG5f+XVlzg4PCIWPeXi5Uv89Cc/5dzsLE63nSYm1tZWVZGXg/Hs+Snm7j2hWC1yeLDLKy+/ytzjRQzGJi2tHRyd7HHh/CUePrxPoyYUfLELN3TAGJucZHdblk5uQiGvJBn1vp0YH9X7eX1ji+kzUwp3lWy8LBXW11Z1QTE+Ns7P3nmbF196SdkbD+4+UBBfIpXXdoor1y7oECjfS65N6TMXV4xY5uXaEe7G/u4OXp+Pk9MEwwND2gpSq8ly4Eivm2DITzQap709jHTMSeZYiPtHJzHNfI9NjKt6aBb1rFpjeHSIo9gptXJZFUAh4q9srDE9Pq7K2MP5eQJhL0O9w3xy8zOmpifUwSOLBHn2jEyMsr60oQsF7TYv1XQISWRSGhfdPYzqQiYUkXspyqZY8Z02QhEvJ7EEZpOddDpPpDOssZyjvT1dCDxZ2sBosZOJxzSiZbc5aQhkL51W63olk+MwU8TQ4cPX5sdQqevzQ0Bxa8tb7B4e8vxzTymYzed3qsVZYjlHB4caY5CGkkDYx8XzF/nen76J2yHLCzM+r0976mWpJE0X2uDhcLG+ucHTTz+lA9rG9rbCG43iqupspSjxgbUNqtUSTz11RbkaZybP8MmnN7W5ReKSEoEUFXZ1eZ2VpQ3GJ4c0jjE5PaHvDFm8xGJJOjs62TvcZ6C/Xx1Ht259RigcYGZqUj8vcX0JiVzcFgsLTwgFwsovkXiL0OEH+gd06Zk4TekC8IP3P+NrX3lFGysqJeFWjDG3sKjOlG1p/mjWdbkjtPuu7nZcLi+PHjzSisvJiTMKmyyXC4xMjPHk4Ry5QpGB/l6FQ6aTGfblGlU7vIP40SF7n62qap4rpHC43ApXbBWegM3F460tbvzlX6KczzJ//wlnz82o0i9LD4O0WSQzzExNMP94UWNFkvUSgeupp65x7949ggFpBDnSbLbRYlHHRuzkWJeTIX9InQOffHSLgdEBgn4PC0/WtN1j5twUpWwe6aaUuGlUqjkbDeUDyEJS7q2egX42NtbVRZVJJXX5Io0jBmNDRSkRr2SpLA1Pch0LcFAs/8GQj+31TX3HynJCaPyXr17AYXXquVauJwndSHWgPPeqBtha3dIqZ9kKDA70srWzr5EDeRY8eTiP0WGiNSzsiV2K1TznZ85zdHKEzWxQUGsmn6VcKuviUYSzgb4+VpbXiGhUcJCf/+wDXWDIclIYDW6HTd9fHV29UKticlq0tUbaVx4/esTM7Fk+vvkZwx09xKsSo/GQvb1EwGcmXa7isJhVyOuX9+tpjptPjvmTb7sZGTbz6F4VlxccErHYLxHug2TSSilWItBmwGxwYDZJTXiD92+VmWq18sZf6ufM33lM3eBgpN2k1Z5yNgr1+fjeO0f8y98c4e/+iz8gde8TzD4/tegWBqs04hSwBCaxmwyUm8KZtFCpisovrBWX/numeppKSQB+cixqUGmcYHKMYCZLtVbGJJtaaXkSl0AuS8NoUCdBs5SiEeyCbAxT/BE19zRmZ4impQCmCNX9mzi7vkSteaD8IkPZQK2yjzUdpdH+As3amnKjmo5uTAInlmCbqYwxkaXp9VOOzuuCyNZxleLpNobm4R82CbdSPUhpXYA10gbWJkhFgRIcmrrtbCb3sAiZsGVY5nfqiQMMkuEpGSglMtjMOQxlMyWDDYPRhL/Vz+H6PLnMGhbnIC3tvXgcFkq1Eg1nDZOhjXw0Sd1Ww4FUGK7ij/QQ25rHPXCBRjFJo2pRUnPQbyVptmNy9OMKe7CW0jQp4Oi6xj/5G9/kH31vl7/8bB/leBSr20G5YuCt+QQ//pvtjFtMHNsafOP3jjnX66RqqdAu+dbWbv7t+9v8g18b58pL5/mrf/0/cVowEjOa6HI3eXWqhZYWB2t7OSKWBjmTQQepjXiBF6a7+ODJHl8d9XP/qMJxLU8j5aDP4+KbZ6oU0inGWmwYTD5K1STvrjd5eVSiD0YOYxmaFgvVupGJiJ1Huzl2T+o812ticMxFMg8d9hINg4X7O/AbP0/StFvJ4iEdKzLy/xPTb0x2cJzeYX83i6HRwOPxYzOUydQKtDq8uP1+KlXJfhVJZDLUymawGrH6gnQO9NB7dQqn1UfQ6WJxcZ3d9U2efukZnsyt43bZmT0zSSoV5/MHDwi2tqkaI1GP7q5uHt2/SypX4P0fv4XH5W5CB+UAACAASURBVGVwsI1gpJX11WUioSDhjhZVD1pDIVZXNrSCp7OvWx/Skm10+ULaJT73cB6nyaJ5NbOrSdNo52D7kOmz4+TyKe493uZv/a3foHOon//0H/4jF69e0wOx2E57e/r4xfvv8cyNZ7l//47acXu7usmmCxxED9V9IGCYFn9IFY/Pbt7kjV/6GslsXuF/MvSPjA4yNDHBw9uf6wFJtrDibpB6On9LC3c++IjtxWWGz03pEBPd3iUXi+EpFrEbK7pAKGVLpJrQGfbQ2xHks7Vd2uXQEc1idNtxN+vKiVjbTxNyu/j28/28c3ubwW4v2+k6Hz/ewucIcO80hcXhxVKtM+WscSZoxW1Ic85r4sUpP/FChaalSK3mwR1y8HghQ7ZW58JUmEdbUoVlxmNssnxSZShowR20aVNDPJ5npDfCO3e2mRltYXo0wPxiija/g83DJKZima6+MG/fO2a0w6kdx8f7Nc6fMfHdDwpM9NV4eaKDSjZL3tJUqFS1ZOSDvTyLGcmGl/lovcxp3c3LwxY+3y3Q4qnxnXNh3np4iqlhY6BX6q3qxGJF8o0KYbuBpsWA2WXCY7Tz6f0Ey6c18phxN2oMuM1Mzfq5OtvO1IVWRkaH8PRNQ7FIbn+XStWAxWUF+wjVpoF6/D6GigGLr5VqJQvVDM2GCbMnRCEZxe52YazUadplI79DoCWM1TNKfusdvK0jGJxTlJOPlMrayEu/qwtnuIXK8RI1Q4VqVSAyZ3RwdroMZJbvYXYGaIaG8IUmKdV2mX7m7/Kb336G7cMTQoEmhZqNP35zlR/97gtc+NV/THrtXcy5I8rWM5jNdQrLb2IL+LHa2ymk8lhdZurBM1jsPsgdURd7mNmHyVrCaGshn9hTq32teoChGsLq8ZJLbGA312kYbDjs3difeoHnBi6wdGzgjef6SBaLPFmP8c2vvMBPf/YxNp+by5evs7+9jyfk0eFBcuay5JOcukSEqmVpxSjqAVxgS36Pm9X1Lc3tJpNyWPV9oWqYDbg9HrWUegMBivkK1UYVi7GpapovFGF1aVmz60I7F/eMZNwFGiWZcOFKHO4f4vEHVDGSOlg5NG9tbnHmzBnNb3d3tat9WNgAsZNTHF4njWpD3TrD/f1a5SXKa+L0lKmZsyyvLDI+PKqwO5/PRXt7B4/mZZhCYw+n6aQ6D86ePatd3FSbulQxWVFQUCKZxGEzK/DMYjaqbdHmFuBpko3VNUK+IBaBdP5FjlMylELMFtiTRG6evn6dleVFzfj3D8rP94iFJ0IZD3L9+lO6tFxfWVZwU/xU6sYs1KSVJZFkYnKGheU5vB6fkqElMuCwm3B6vlCdeof6paZbs+RtEYH01dQ5IbTtcEuITEby50V1TwjkzeW1YzfZv6DgtwV1UJJoRGuk9Yv6rY5ObGYLp8kTMVhgNlk0G201N2ltDZNOF7W3fHy0X9V+qag7d+6M/n1aOzow0mBxcU2jTQO9PdhdLs29d3W0/cUBr01tzVubh1jF9FdvqvOKSkOfx6IYtrRGtAe9Umto/EMGImEqiE1XqivTmcRfwNnMSju3i+XZIKC0PAN9PaytrGAyOylXS4Tk+kylFSIo7gOv36Mqe61co3+wV5UzcYaFI0Ea8pyxW2gNt7K+s6Wxj4mxMTLZNOlshsGBQd5/9yOtK3vxhet8+Mlnmq0228wKoV1YXKWnvYO9gyNVx0rFEvlSgYbByM7WDhfPzbK8skaplOfixYsk0ymNwzUMNS6dv6B1mdl0UTPVkgnP5Yr6d5+fX1CnwosvvaDEeGn06ensYmCwm48/uSkeajw251+4GHbp6urDYTMpAEz6xYWjsbq5ybmzM7r8knYKIevL8HDv7l2NEljtJpLxrJ7rZGkUbgmTSmWURzQ8OEiHRM0+uan0/ZnpSZaW1vQziZ+kGR7pZ/9on/7uHm0G6ero0PjFxuYaAV9YPz9RqKXCa2J0jKPjE+VGyALu8wf3CPpD6qZrmIycm55SF520X8jCLZPOaw+4ZIR7uvrp6Onkzt3P/8KKXMTj8mMyGbRGqylOHINJYxF2i1NrLqVVQ5Zs/QP9GkWam5vXdhKpyb1w9qyKHCEBrxXybKzvqrp6uLtJuVJncryX42hc2UEeb4DOzi69v6JHh7iCbh2ApIZxdXOdhfuPsDqcyh66cn6SxZU13EY7uwcZvva/fIuj01PWHqwxPN5LrdLk8GSfzpZOBSSKRVoWH1ank97OTm08SKULSn2/dGGWYCSiZHhxdGxtbGlM4NVXX1ZRRiJzwisRJ0nDgLIMZCEkA6TD6WR0dESjFBIJkd9DBlIh5AcDQWUoSGTSHwzwzs9/zvDoCCGBoR6d6M8k5HVxMu3vi4AitHeDqvfhcBiMFR1oBTYptajydcJ8EPCdcFkkIiaCk8RGJBJ2eHikdnJ5ZkvMavGJRB18XL12gY8+/Ixnnr2uqrCwSl588SkadSO/+MUH/OqvfZvHj+bx+lxanbe/e8j58zOsr21TqRb1Zz7cOyZXyGh9ssfn0ahSsVpibXFdWQClfElracOdITpa2/ngT36Ku1Cl6rZgqBoxCHTcYsXj8GB0W9mvl+np6VQ3kslgYH1rj9hhTJ8fAiuVij6JcUkc4LNPb6rVv6+7W6v10pkUhZJ8fQ+R1ggHBwfqJpFawFK5oBDTJ4ururwVp480RTx4cI+JsUnNeAvfQBxwVqeDSqGicRe5NoSh4vHJYj5Gb1+POplOT2OqoD96NI/T5tQF6+rqukImN9a3dcEpDAapxJaYiKmJgnq3trf4+tdf12VyXpYFhweUag1aw6JUQylVwt8SoFlpkswkFAIrUGCp5wvLO+vqVd7+xfv6PL/x3HNUy3mqdQMHR4cKsZR3rCy+7Q4P0zNneOsnP6W7o0uZCwIqlQjByLD8myZ1R5UqefoG+rXeVhqBRsaHGZdI29EpjyQ2Io4eb5APPvyEp546R7HSIJkpkns4T0BZCS5sXhsrC+KEMugib30vyZkuG//gcpWYtELtF3jjK2f42Qfb1OoFejsd3LydZHDAw8z5CP/1e7u88XI73/vgkJk2My+c99P+jxPMtltpMddo2M2UMNMdcvCzWwf8m//tK/ylv//bnL77X/ENzBKbfxOHrwVL72uU61WMsQc0bT5oWDBUEhhdoS+A+OUMzeAFMCaxG0PkslsqsBtdNpqZE0xOP2bPOKWjTzCbnOBrV2ePWSCY1YKKHwaz9Yt3vCtMo5QDuwNsXZiza5QqBbA5sJpl2WDDUMlgNFYwWL3UyzkMUnVlCdA4XMTkDagAX8ttYXL3YijWMHnaqFOgmUtg+ODfvtG0G5sMttpx9nWwvbzP0cEJfSNtRNp8OCTzkJeO+wy+SDcWt5902Yi3O4TZ3aKHa6wBGgRpVPcAD3VLAVu5qEOYoemVq42m6RiDUbK5G2CXfu5BjBxgbLoo79/CNPhlKqc1nME8VWsLtd1PqB2f4mof1g5WU/0Um3RcbsXJtHbjaxTwtQb49q/+Nm/dz/PaNRc+s5u53Rhehw3KRf796234a2X+bKnIb9+p8w9fCnFYzpFJWDnIWDCZ0vyXz78LtGN88B9J7RZZXIjyz//4E36ynmfU3lTAw/OX/FoFIy/o7aMyoy12Hhwl+cuzAU5qVhaP8qTKBu6vlxnvsVNLF5kadGEtF/jKhI+OiJdcfB+HNcDNhZg4+hnotJErNIh0+6kUsjQtRk4SRuwuC8vrBa73l7g208+79w4VLLZXqLKZsfDmaoZowU6qYODKxW5qW/sMtfvZO4mqOpWrS3Vjg/HBCPsnWYx+N6WsvIjbWXx8wOlpnuHhkPbyNuxuRp65qgr/6199hXff/TkjI+MKkpGbXF40YuWsmtBOXTmoC9hHMorVWoHkwRHGRoWfvf0JZ6e68Nr8zC2v/gXcqcrU+RmMxiori8sEgy2a1WxpDVE1Gjg5Sqn9dWx0mKXlRdoiAULBMHOLq/riCvX1MTo6xL/7N3/A66+/TqSrldPjI91WSoZPbFAdHV20+LzYXX4+v/8ZDqdXq5fkZSS5dXlBSjXQ8NAwd+7d0Yf5tcuXef+99zDWDSwszHHpmRucPTfNm3/0PTzhFi5cv8jx/hG1bJzo1iLBupH7Dx9rRmykN0Q6W+QkXmD2whgBi4PVpQWMLh89gRbuLK5w7dwQ1MxEE0U8lhIOe4N608Pc0Yne0PsFM3afgzQukvt7/N0XWliYy/LfXfdyMVTGkKtSszSwOHwsxopEEwWKtRp2oKMzwMOHUcZHvIT9TR5ulKjkqpyf8fOLWxlaWy24xV9jstIeNDN3nKKSaXL1XIR00sDa1gmhoIPBPiPzmwa62z24TBW2TnN0yMul3USmJAySGr1+OWQ5eBCL427x82CnwFa+yfx6gZLbxZVInjaPnVSpgMXkVovheEuAg2aDTMmC09DEZKxxlK3QtMEr4yGO8nYWo3EeLZaoJir8wW/d4Kd37jAx1MEv/fqruFs6qFSzuL0GiEzRzFZpVs2cnjwkvzqPw9uJTYb2WvwLq76rA3soQPlkiVJ0GaNjAHfrGNnT25jrDuzhQaq1jC7uhC7taG2jnipSyMTw9Z+hUc5TSh3g9I/Q9ATInz7ElD3E5h/Ww0Ug3EkhuUvNaMGOnyoFbFYjzvAksZMdwu0Rqvlles/9C56b9ILfzNWhQT66N8dP5mo8+b1XGfnO3+fw3k38NrFw5agKEC5/hKHpoe72Uq+KLb1Cs5CjWZEcnYW6yYjR6qHZKGAxuqmbqmDwUE+uU5YaLJ8LS8/LNPMbGDJpirk5wjd+iX/4G7/DH761w+VJG4WEg2Sjgsjm/ogTj7cVb7CdYiVDvdxgaHSIO7cE9hnWoVUG/6rU2Llcutibm3ukQ5rX7SMQCqsrRmBEAv0Lh31qK5XNv/QVf3rrrrZriJIryqG0cLS3SsXSIqFwqx5Kz52d0CH/1md36evvp6MtwqMnC+oEks56aR2QgUQOWAJL297e4+Lli2xu7hDw+DgQm2hQMv8RFuafYLZZNZ4WDESUUr2zs6NKrbh7WtvaVHmQ4UKy6iV1DIyytrbE1JlptSdv7e0wNjLB/Yd36ezs5tlnntbD1ur6KqfJtKphXb2tzD1aZXR0FI/TpJ3rwh0QuzONGpNnRlXVfecXH+nAHPS6uXTxgtYqXb52iUqpSTGTYXtnkzPnZqhVqlotJY0KodYWcqkkyVSK3r5+bQoQUNfo+JiSv8UiebB3pDb1/d1jpi8KKLKpkKdkIqFwrCdzTzTTLc/l6NGR8hSENN3Z0a652dXVNfoH+/RwLPAusddK37T8fReeLDJz8ayqoPmKkNm3aG1pU5dHtVTS+rGBwT4Wl1aVTeD3ePRvISqdkPbD4RD3Hz1iUqr6Hj5ieGhQh/xCoUA8lsDmdOB2OLRbWhxTovxJSDt+HKO9u510Oqs2XnF3CCjPHwiqqi6Cw7mL57h/74Ha32UxMzk+rmqm2xfUmiUh4n/j699UBkypUOLoUNoggqokNQ1GtjclClRWIFu5UGJ1e4sXnn1ar+G9gxM8XoGpHeHx+1RdttqkZs2qy2Wp6draWOOv/Pqv88mnn6qrQGzv164/permzu4hU+MTrK6t0NXbqWDMnc1DsuKI6e/U+0OWNgIzlJYgAUTK38btCaibpa+nhz97809xuLyMn5nAZjLx6e079PX0cvnqFd577z08NrtmbZ8srihsbWpmks31LR49muPKlcvKb5ActnTOH0Wj2ugwMTnG2uqKtitIxEcGLxlsZEkk1nlxyYxPDPFkYVk/07OzM8QTp1o9PDjcqxA9vzA6jBaW1lcJuCU+59FhShoKgmEvgaAwGiL8wf/9/yg1XFoFPBI7aNbwuN20Ss78NKb96S6nC6fLSluki1jiRNU86Z/PZFI88/QzLC090ftqY2tD+RjCTWhriXDnzj3On59lZ3dPifgC0KxX6xTyaWp1gy6uBscHVZuSPHNNAIMbm7S2tumzQ6I6cg3IdSEshHypSLPe1GeQy2lXQJ8sBEaHBpmbm8NpMVKo1NS+fGZqSjkWb731DtMzU1jNBsIRidWYeTj3SKHB7a2t9PZ2EI0dfpFtbzTZ3Dql+6VpdRMcbh3gdXu0uk+qIqUdZGFpmSuXL2nbhtj0pQ5RmCLSIiS0dZMBPrt1W1V0p92OLxxQx1U2l8Vitaj7aX/vSDkjkXArB/vCjPAzPT2J0dggnSvy1g9/ynOvXMfvCbGxvobb4yWdyRM92MNgMKhjQqCRS4tLXFN3wIre5/KcSCQTynO4cH6G2/cfau2xDPpmc4NYNI7H78HuEsCYgARzzC0u8s2vv8b8wqoEALQ9RCjlomZ393ZiMFuoFStando92KVLImnQiEWPFeT49W9/nT/6gz9m9vysfm2jYdDvd3S0z/j4uC5A5G9ZEQhkvozb7yUdzxEOe/FIpWbQzdrSGm3CMikWMFusGt2SCJEIj3JWq24mMOfyeLp87G3F8Puk3ttHKZnlJJFi4vnL3F1a4cbVy3z8ycf09UtlnwBoB7lz6zYOh0f/HYGUbmxu8tILzykMVhZasdMY1XqDTDqr7x5ZponDI9Qiw/BZ3vrRTzh37py27Uj0RRwRpUKecFtYmxRsFpvGRMRVED2KaT2lxHQuXpKf5SOC4ZACAu/fe6RulLHRIc34C3j3hRdvcPuTe6rc54oFLl06z9Hh0RfNFz39hAJetvf2GBod4cmjeYqFMmfPT3N0cKTNJ7t7+xQKJQb7upX/8vZP3uHVL7+ikNj5Rws898ILZDLCPLDqs0RgllLRu768jqFZp1qXaLBbr1lZFHX2dNDW0Ur08IRcLsXk1BmN2d25dVcXZ5LTl2ejwFtL5QqRYFhhvxLNEbff8vySLvL7BoYoF4ocxaI47EZsLg+JfJ5gpkxx54Ca0UakI0Q0FieWLjEQDFKz13CU8vzuqw72ajZ9J92+u8PgaIBMPMu1cwM82o6RT9Xobffw1vubvPFyNzfnTrgy1o7JVODqv0zxQo+BmoiyFjPFVFmXkfNrBX7///gO3/rNv03m859hDXgoFQ3Y8ntUnSMYHB6sGWmmMGhTnblRpmFyYTRYaeZ2qRnEJWHC7J+lePgpZncX5tYpmumHNCsWFZqa5VWspqCyPEqFOCZnl1r8TfU6RlNVn38NcdMXjzB2XdXFZz2zjrHpxWipYyhlabjbMVL/IhZqqNPMpTEIvk/i++s/xBC6gskeotLI4DRHKJKD00XMobM0EmsYLg9ZmnOStbWDxy0PVSjXoCwPKoHk60O3SXtIbn6UMO8LO/CZisTKEBJx2Wak3dXEZzfrNtDm8eMzNxkeidB3cYaf/uBjbJ4ujrMVvI1jOt05Lr70JbzeQY7ji5zuHnD2uatYClXsPSPU4zUa3gCOlgCYCmAfQzrB6oY4JpmepbIM+c/JNy5fY2WzyNcut1AtNdjPVlnNlXi+08NvnTVgtsOPF7L8s7tVngo0ydatOJ1NPnqc47ULDv717/33nCwt0zp8g1pXJ2a/BUNhhY1PFvl7v/XHHKabGKt1Ih4nQ10OnD0trD5cZ/pMN7mDFHcPUvR1B+m3V7i9X+L8YID9aoXEaZXjaB2bvcbfOhdkJZrm6yMehrpMVLFzdJLn4WGG8ZBXa5fiZegKGSjkhKwOGbtA1yx01Ys8c22Aw9g+9mYdX2uE3/vghNv7NWJVJ48MHtxlaVYo8dXhVjAZiQHRkzgOo5nOzj61MovVtmmSQdLOYTJDPJ3GXm8oROs4XqRzpAdruFeBL+V6iYkzM6pGiS1ufWlJ7X5iB1zd2lIitti6jLUv7LaZdJy9fekxrhE/PiQRjVHMZnXrLApqNpdmoH8Ig93E8cYh/kCY7aN9PXiERAW0WcklcmovTWQzmO0Oxs6e0dqSZDyjD9LVzTVmz81y5+Y9HFYrr//yV/jBf/1TSo0axXyRM7MzqvoszD3g+vUbJDNJtUZJ/WFHezuNapnD/RNdJBgMZl7+8itsbmzw0z//Kb/87V/lycO7jPS18P73f8ja0jGtLWa1OY30RaiWBWrU1AyjWexkqQyWYh172MzeeoxwWCplAqxtpzjTFUT07A/X48xODPH5UpJwt5UHKwWsDQMTnU5ea8txrdWFuRhjdsxO9qRGOl9iaLCTP5uPkz2p8sIV4QGcKvDI420w3O6hYjLz+b0Dzo6EcZgs3Fo9wWm1cuNiN/VqmfWNU8oWI7If9wS9JFIFSo0y3S12PpuLMjPaQ5vXyN2NhN6fkaCL/ZM0LQ4Hra4Gm6clsqLCSRe52cQHOzmOa06W1ktY3Sastiq9Tj9tfjjYzzI96MJbddDmbvL9+STPXB7H0UxwdztFwGKhSZbdZI1GxsKD/TyFOvR74avn/UxcmeTFV7oJDlynFu7GHLtLo9ZPwzVIdv1DyoU4zUo7tcYG7sGnMJab5I8eY7bUqZsjmGtHVA9XsIY6sfZ9lXrsCdX4I0zdLyrItHz8iGLxmODZ79As16kff4LVN0vTVKQY28URHKBW3CWX2tecd6D1KZqWLoweoQGHiS99hDfkweLspmEoagY1la5pxi66+hHVjCgfS1hbe7nwte/y2lM9HGXyVPPQFjHw5mdx3v2nLzD1l36N7E6OpiFLIXmIqW7GaPdijAzSSEZpFLYwu9owGJzQyNE0h5U10LD5tc9ZoDXVShqz9LfabDTKSWrFMhaDUfkRtu6LFJffJDg7yts/meP1v/5dJtsDePzgcRoUMpVM5wgHO2jr7qZazbO0tM7LL7+k1tloNKbKZqS1VRd1kiUUin1rZyfVQoFEIktLW0gVj72tLfr6B9Umvrm9paqhEIXFNtjWIUCxE81lH50c0tneru4eiV7EjhL6vZ5+5hp7O1s8frxER3e7gufEYin0bwEBSm3VZ5/d5sazz2qFmwC/xFYoBzxRXVoiLdy6fYvO9k6sVruS0QVUKu0GTz99We2kn995oIcrf9CnNHxRQ+V+l4x8R3s3B/vbqvhLv7lEjHq6utT2ubW9Q0uknUI+qwcYp1C3fR7u3H2g4DBRa2XJEA6EKdSqCrVrGJqsLq8QiYR1+BGbs9Fs0gFI8pXiPqhVoLO9lfXdTQ53jjh3YYZEWlgKewoavH7tArduf05ne4daygVAl05kOXthmnRK/vbS42vCZrMqoXx0dJj5uSc89/yzlPIFtvf3Nfspdm2TzUw5X+bh43nGx4Y171stVbSWTCC8C7Iw6OpQivrWxrYe1hxmg7a8SF66WK4zONDFgtZITXD79l3eeO01VldWiJ1GOX9BlLxPNPIh/AJpb4mdymLfxPjYKOlEiujpCW63R6F2uWSGTL7A0fExzz59lZW1Nc6MTahi9+Mf/UTto51d3Wxvb/LsjRvKLVheWVXlVp7d3T2igqXUci5APGFGyEAkh1hR8KWrWmyzohoK3yF+IkwVg9bQieVWDr+S/xWCt6iTr7/+Kqcnp+ztHytNXuzJBqsJl8up7gNxSpiMMig4tO1m/1Ds/pO6BGhvb9GBV6IEwplIp0t0dIryXdTquFdeel6HPvmspF0hFRe+QV3t4q0dEdpaOvjsk0+YmJwk6G9he0/o9y6FcYrjY2dfsvQRdnZ3FSD40qsvko0n+P7/+yNtLBDlr1ZsqE1ZhnEBM166eF6jSeIMkQx/sVzA6/Joq0Uun9F8r8Au5XPLZdOaWRaInzA+xDIsyqUgsMUxUcyXqdQqpNM5ZX3I0NLd3aHcARnSI6EWHs/P8cqXXtT2CakOlGG8UW2SyKYJBYJsbKzyzDM32N3aoy7+lkaD1eVNpmandOjZ299R4K4c+FfX1zk3O8Py8rI6gWSROD11hvc++kB7yAUMuL6xjMXs+oKVkT3Fafez8OQxFy5cxGBqsrm+R6Qlovn1YCRMPC62dAtjE8NEjxOcnBxTaxrxuK0aqVheWNSfRbrcJY+/vio28RBXr11TRyGNJqOj4xwen+i/UUwXKFTyHB3HGBgcYHlhTq+n9la5FqIkMwW6ukI4bDbaL06ycnzC3uomzz3/lCqd4kIoVMoEAm5dfoT8Qa2ujMYShANBjSMJ5FMWizs7m5w7f0GXpNJIcX5mlrVNiTAeKaF+anqK+w8f6VD+5Ve+otWUJlOTzu5uZWbkUgXOXjzL6uqK5u3l+3i9LqZnZxU0J0yC2dlJbn5yn8nJMeUGyABot5vp6elQjoR8nRD7c5m8Dpzi7pKYj6Fp0GXSwNAgVaGd53IcHEWV2P/Gt77O3IM5PcPJ9wj7gngjAdYXl8nkCkphP3v1Ag/uPFS2Q63ZoF6rqrPoueef5oOffaCf4+Bgly6GZRGwuSUsMQgGg5gNEnG1UKs0ODg60GeNMEpufnqTwaE+jRwWyiV6Ojq4eGGGm/ceUW2W8BVt7D9awua3kEgUGRzqUUCkfE5ywnnqGy9C2MfC7cd43Q5CobCKS/OLT9TJKs0SdrOTuaXHfPsbX9dnhlTYyRk1HAnrsiyZTlCvNZVNsrq5gcPm1Gta4mzS6JLJZfRdtbS4wISAKHMFHj18wNd/+Q3+/Ic/1AiZqr3yLpFGDbFtNmv6LpFnVzye1IrZTCavgMDWSIREIqXL9/HxAeLpPJvrqxpLEdaAMDjEPSDD/Je+/LJm7AUgKIvXZCLGufPn2dzY0YrPy5cvsDS3KPtPFeaS8TRPP3tZY1Aff/gZuwdHGgecmR7Rxb/UZj717DWaVVl85BRsOn12is+kwrqrQ1X/VC7F3u6+AirlXajdeHVxTCS1OSERT+nS6dzlcyzMLxJPJTk7PantIdtbe/QO9TA6MsTi3BLJXIrzT19k/ue3OX28C3YndnudLhFTM1ITXSNXrTDW5uB/vlpn8USSoW42lmIMjQeI+KzEs1XK1SbHhzkVcIdG2zg6ymK02rgx6eA/v7PD/7ng4UYfhIbbWZyL0huSeuIq/+W9Yz7/8H9gdGKGFwbykgAAIABJREFU7OIyZWsAe6SL+uEtDA0bTV8PJNe1g6ziCmCRdmnMmEMj1PIxjLk1DAYvRonoOAQcmqKeONTYu611kkKpiK0ax2SyartL1R7A6mxX2H55/1MMjjAm/7iyGpqJOQzeCI2mk0psDnd4imYzRl4iuuZO6nZx5tRopk+pxG5jdQ9S6r6CL7tL3uzGLs65YharvUqlKEGgmor3zXwaw28819E8SaZpD/qUQBzL1/g73xxn96DAW5/sMDoU4OFCnNnhANvxMnNrp1we9jF4JsR/eHOLfLlJ0ALd3R7WNkqYnAZ8NBQS1tJqYTdalcQAdavGPhgIWyhnauyUmnJ5aOZVcgozvUaS0QbxEnjM4JSOzKARR6NBww5nz/aw/PCUyfEQ7e0WVnfjXL44yHd/sEHEVcfqNFFKNJEw/OpJjcttLq76y3znhp9/+naSDzZqzE77WFvL8tKsj//rgxN+86sD/Le/929I3/45jaaNQjmOKZrB3Gqnbewi9b4JTLET/vB//Ue8e2eHrc0CiQr4PDA90002eUTe4MaNgclWL+l6A0MzSyxdptK0M9TeYGW5yXG9znJWrH5G/mqHgYALnmpzMDMWZieR00NMoeRiPlrk7laW/+bpNrraDbz33g72die2JiweW+m0Frg0ESLispA9jpOvmllsevn95SoPEgaFhUz6vfr5jbYHcYZNrC5HyTfqnJTLtHmcdLaG2No8ULpzqVRXS5DTWGJtOUbd6yCVLzE2NcHK1j6jZ8eYuHhVDxjJkzTWZkO3iQLtkbqulfUVWiMhZmfP8WRhSUEi+WyZ49gBTqsMgBb2Ntf59L2beBxW3E6LZhAlSyu9pAJ3qVXrBMJhzXhJ/d6Nl54n1N5GsdngcGuTcFs3W2sr3Hj6WSanp/lX//Jfae5MXgSSlRPAlWR7ZVNZyGU14/Xph+9yGs9y+enL2otczOWVxluqN0mIOmE3s7uzJVEs9j/6WC2vnS1eDo8zhNs9mG0GhjtaOEgU6PYJTKlErFBUoIynYcUnFn1TjcNYjXIjzfNXzrK4f8i7D3KMTgX5bDGP3WTEZWngNBV4pc2KvZHmr11sp5mO4w/aWM8YKcUrHFbKelDYOM7z9WsDWseSrxWpVIRgXKOty4WhYmLzIE3A09DDbXe79FpbebKRREJIDYuNzqCLo3wJQ6lJ3lDQzJizaaZzqJXVhQT+oJVWW5XUTgF3wEBLyEXA52JtN8f70Tqrh0VOGkHeOUxyrtuJoW5g46TAi/0eyoUy16ZC7B6WuLWWYqzDzMyAPC+sCuubHLXyeLPEynaefM5EtFwnYjJTxoDH0sAfqDNosfL3fvslzr/0//H03kGS5+d93tM55+6Znpzz5rwX9yIugAAIBoHBZEkqii5LlmVTglnlKlfZctkKRdJ2MVhmMUiyJIIEBIDgHYADLu+FjbO7s5N2cuyezjkH631Pdl3dH7hC3e3Odv9+3+/7fj7P8wKNShlb7zD5rWXIJKh6r9GOfUSlkCYy8yqdRkJBWjLUslsC1M0tzC3Z6mzg8lwCR43cURJbwExbSlieITwWp2ry6uSw+sex2II0CsdYLA4K+T28rinqpqaaTuzNItWGCbvDgt01jcXvp1LcIhDoZ/PuhxwdPmFuYY6GOcinb3+P2YXzOANeqhUDBpuDtff+nBd//Z8RHInSPrlF+Mq/5He++TKPVmVLt88br53m//zzRf70nzzDq7/+JqmdFFabl5YriKWwhdU3QqlRhdhDjHYrJt9l2vlVTEGJeltot8tY7H6aDSOtZhpLNUfH10NLIIC2MVo2N63cHay2XoyGDsdrj5n6+i+R3dxh+OI3+ZkXJqnnJapvxBXwsbd3RDrX4Knnnmfh7BTry7J129VLpyizpEcvB9t4Is3lC+fZ39/7QhNoF0LvEqMj45RlGh/w63bxJJ7S6KRwBOQCPDk1qfH5xaVl5mbmcDkdqoSamhzh+EA61TaNmsuBVnq10reV7WNPKKwDWqfVxcHhMa12SwnC8nfI71edpkR7xeAhBxA5mAUiEXnTEon4Ndp4tL/H+MwUjWqdjXXpPV7j5ORYIXynz57hzu3bXL58gbUnm8zPzFEsZfW5JF76Uj6rADQ5bIpSy+H2SDpS9YYSTRcriRDnx8eHaDdaeiiqC1isXNJN//0Hj3XzLfC70aEBSqUS73/4Ob/5m39bXdcff3pXv4e94aj2Z4X2Lpte8YHLwHR8fJx6raIR7OGxcf31y0bsS196lZUVOZyJHs+Gy+MlkYjpBlRoyvILlk5wvVLSTbL8WayvbpLJ5jg9P0ssEdfD2+HeIW6vl7oA24YHifb1qaIvIxt9b0ATAlcvnFXt2LnzZ5UJIeR+iZcKE0E2zM89e533P/iQZ56+jsvl4q2332Zuao5Wu662B3HY57JppqamlcMivcSh/j5NEKyubGniqzcc0U7//uGBxmTl/2MTjkf3i+1hVKKjmQxTs+NaUZFhs6x4JX4qEDoBLkoq6WgvxtjkGG61ORRUoSeK273dA4VYKhXe6+bo4EgvnxJpVVe1z0OumKfVMKgmr9tu0jcQVU2V9JdFldZtCz7CTLlQUpK70OjL1fL/z5gQVZfA5QQqK4C2hVNnFBbVaXeJJRNIQD0c6ieTOuHFL73Cd771V8qkuHTtinIFNne2mZ2a0M3t1pN9hVxtrW8r9bteb+n2fn5+hkq1gdlkolItqcM9HA4okFG28DJ8Oj6Jce7Cebae7OBx2xiRePC9x/jCX2yfBCAn/z352fq8bh6vbjAxNameeGGfXL1+hR/+8MfqBj+JJfS9KAsCp82FP+jn7p0HzC1MKYlfLoTra2u8+MLz+n6WHncw4FEnuWwtv/aVr7K8vkaxWFK9pN3iYHV9RQd4otAdGh1W04JE90Oi7svm6In2Yjd3NRUil92V5Sc8+9x1jZjL8FE2ybVSheHRfh0syqBRQHtXrp7G5fLzve99nzNnFzRaff/eI92aT0yOaKpBlicyOBSzj6Tt0qmkfl9MFgsTIyM8frjM8y89p3q7stDsbTY2V2Vg46ZQq+pA0mZzadz+7r17dLtdvYQKz+PapQuaQpJLoLRZgkGP8gzExiHR89nnL2MKeVlfWuflF6+zvRPjs88+x+sOcPrcKdLpFGaTgdX1Nf2uhf1h1jc3dQgmlQvRsOowtifCyqNlrHabUvZNHYMmIx8sLdPfE2FkfJR6s8Gd23dUUWoUiHBPkN3dQyzmLvVag+HREXJZ4WiZ9Nn/9PWr3L3/iNmZUU5iaf059/SEODg8UFZAo1FXPWEmkeHSlYt89OFNhkcHaAkXJhihrjaULC65FNscnLtwlr/69n+kUqpx8dJpatWGgv8kKdMXHeDB4iOt61y8coF7txZ1wOb0OMlm8kzNTtCVWAToVlxUc88+c12VhzLUuXTxgqaYZOgr9VaxU8hnPBY7YmZuhsODA6anZ3VQKxyU3p6wsk+Emi7Wk5X1TX71v/oGSz+9T2VtH6NdEh5tensj5PIFol4vhVIR01APLYddB5Yj0ShGU4dMrqQpqRsvPMO//3f/QZ+RQ6OjyoNpCJ3RYMBmsjA4PEq+IDyMjsyMNH00PDzCvXuLHO7vqy1rZnKene0t5b2srj/BbJY65BAmi0kTtuFAr8Iyh0bEkuZQvsFnn9/iytXLOC1SY27o9yOfyXP9meuUK0X+6ttvMTIU1V+jxWnA7wuxsb6t0FnZuEcHo+xt7zA3M8v+8T7l0he1MKniXDp3kWwmrYMbeXdIBc1itWtyT95FB7vbXLp0gY3dfdaXJSl3iv6RASqVkm7mC+Ua7XqT8clh3fbLEMHm9mrSVmqEnWZTKxOpTEGTBpLKEhuFaHNPL5zWYdStz2/j8YvRwaPAy6aAFEUF/GAZM0a+9vWv8pff+o6+/y1OJ8++cpnjW2tsffaAgYkoZkMHvyvI1vYBhWqFGg5Crgq/fclHolYjm25w/pSXRsvK8kYCr92Nx2vBaRETRYdcvY3N6GUrm+W/+XKYP/1hlW/+NMvPzzs4aXXYPqzx9WfGSBTKfPuDOCdbv4/bNUz8ztuYPF0MhhAmh5OOtVdrcMb8Q1quOayOAN3jm3TtPRjsVk1gG6wh5Vp02xm6WOlWt3SJ03HNYGiW6Ja3MfhO0e6UoSMLBQMtWUZZ7Rg9YbotC81qCmN0BlOtQ6e8jMkig/AUhsg5jJUEBosNS6dNo11Su4TN30/r8H2szgUa9iGMpiTN/BYmiwtDvYrRAtWGD2egn24zSbtwhOHXnxvoVqlRSLW4fLaPdKbA8kaKgNtG1Guh5bJzdFLkyrkQny8luDwzyQ9+tMTFq0NYRNOQT4E9QK8dzpwa497mLtubecaGQ+zs5DisFXnx2iS2sou7q9vgMDE7Lf+dEofHGa5PD/POyg6nhvo1RnxvL8UvvHwKk7HNvcU9psbC3LoTYz3b5vKIA5Ojw/21Nj2OBsmqicGwlYvjNr1Iyl/9AQfbhxUuDdr5x8/LhqjK83+a4mzET6ebo9/TpScQ5H96O8nvf2OC//L/+j3Sn7xFx+XH3DFgaNTpiu+0sMGAr59yrx/X6GloF2gksvzRb/8h/+K7+9QsbqZdJfwDTlz2NsO9Pgp5m247yg6HuiJvTNhpl20cdMpMmE2qQPx4p8JWrEQ4FCDiyNLntHPBn+cXL41oXLxar/PBujAOOnTqFiJ+M4mjAr6QneGAi5+upjG57IyGvbi7Rc4OeTDIG6nl5b+/leU7e3b1SPeFpVdr4XKPSV8KnpABv7uP+ysxvJYm0xdmOT484DiRJeB1a49yd+uAuZEBrG43n37yGKPJzsjCJC23nb6xURpY9VC/+mhZo3JOg1k7kvJSTWeSuF1OtrcETCQaSRSE9Ct/51fZXFnVztsHP/lAFUyvvfoCBqtV5mW4XDY9APdMTOBzOIXxyeOVh9qrDGhfNqekZ4F1/eAHbzM4OMDU5ByHe5uE/RGylbw+DMSVe3rutD7cBQQyMhzlzu37BEM9+vAK9IbIHe6ydf8T7LUOzVKa/XgbrxsGe3qwmerkpH8a7aWRz1NptUlVWvgtViWIiuSiVahgarXYbdrxmkyUK23WKy2sJiexVBbff9pK/NrlHs7620yZ87itJvzmAi7RXBokmm8glWuQMwZpdM0kilkmok6MNPnJp0lOTTjVUVpqt7g86qVhtPBoLc2Vc35NY2RLHZK5KtQtJFJFWgb5+QngUDacBa5eiOL1OPiT7+zo5eEbzw/QqtTo63FhrVTJGGsUGh7eWi1xc7NANOJh56RJHCNme4urw276DGZWD0Rt6STa08LnjLK/cYyj1cQ+EiCdT3NmpJ+JkRB//WlGyduZXJOlIxkCQsRi4fRUD7/xd0/RExjENzkEwVNfBHaSh1q32fvkU3pnBilInL1axRjwUU0lMbkjUCvQ6uawhq9ROHwXr2uGbnWdStdDYPIlmvEVKG9TaXZxDl/DItaRcoVyvUatmibcN4HRJZvDI6y5QzqGtsIxg5GLmOwdTBYD1Y5d49kufw82h4UHf/2vuX37M049/RQhX4BsPMfk3LQetouVumrMJkbOMzk+zMbK+0zPniY4Ok5TEk3DHkKnf4sJv53ZqIfBiUHK+RM+W0zzzr//7/BfeZ3EJ+9gLKxiCs/qga5lMtA1WbDJ79UWweQZhdwn4OihLi9tUx1kwlzMYHAE6eb3aUlfvZ4HgwNLzwDN49t0vAu6BSoncgRnprFaDIRn/zYLfTZ1pkskOxCw0z/YzwefPObGy6+zt7eL0dRSzZLdZsHp8vNk4wmRYBCDyaIH31deeomDw0PdYA/1D7Cysqy0cBm6SSRZvMbi87W7bZom6DYbGp18cP8RV65cViXmncUHnBweceXaFe7eu6uRSIfLQewwjc/roLc3xO7+PifxpG59BocHadarpFMSOQ2Sz2cI+oMKkJODeX90UC/pLq9L00wCj0skUly6dI6J8XG++/0f4XHbNQUg9PB0MqUQKNms9Q8Mk0rG6XaMevhIJDJKEZ6dnlN4WyaT5le+8Q3+5q23OEmmePnFG5ykxIu8q3orsYvIUEG2HJFgD7lCSvVvsrmVjbAME8VzfXBwrBtq2dbUSjUFbl3SS+aKXhzjsSNsVicXLwgMdI1oX7+q+LKJFI1uV/+dojOTQapA7GQgLx33dlM4L18kxaQLHfD5qLcaHO4fURfgoterl1XRd126cl3fB+KmFwuByWwmnUjjC/o42DvWi5psMCU2LmC0ZqOuQCk50IRCQRLJHHaHlXBvSDexEnPd2dvUnno4ENK+qfxsR8fGefx4jXK5oBcCq9HEgwcPifTIlvmYoaFBZT8IMFEAcrFYDIvTpjrYaqOulYuNzQ2Np3daDU1M9ESC7OwfMBjtZ/XJE9Xr7uzuM7Mwi8PiUACaXPwEMJjPlTg4OuHcuRlVp73x5Vd5//2PNRIujAEBhMnPT6Cvklro6QtqEkZYDjeev87nd+4ROzihf6RfU2hZSciBWhBcDhdPPXOd7fUtap2aOs6FgC7+cavZyf379zSCe/HSZbVmCGPiC62sS4FX0cEIUxPT7O/u82RznZnZOeIy5Bnop7e3l//wre/wsz/7Jgf7x/hcHuUCyCZbCPQSF5cLttS4hOwul2bpRp8/e4b9vX3y5aLGaGXDK0P3gf4e/Rw/XllRMFlPj9QrCthsNh3arG5s6rtDqjBWo0Tae8iWC5oekaFHrdHUqsfujiRjSgrCFAWjMEHkMC9OeBkkSsx4dGxULw9ClxdSuNVsoTcYUWCkDJEkaXccP1JnfaNWZmx8mlQiyZFyJ6IM9vbz8Scfc+XaVT2QLy091MucsD4ePnqkXIS5mXlu377HtWvnWVx8SDKe4fTZUwqtlO/j4XGKaDSs9HH5HIkF6PTcnA7Gpa7icLlUy+i2O7h06aIC2QSqJj9rGWDJZEMGnGJTOEnkeHj3DjOTw2RLRd0Wzs6cYnd/i5GBYdY2pU4zoErDufkZHdIcHkgHWVKvFoxmhw6wmpUuY9cnmbtxmbW769RbdRJHGa4+fYH93RjFUppUIos/GGJyely1lKKMFGBi/+AAVruFTDKv2/ahwUGN5J87fQqT3cp7P/1AbQsyMJMkizAOHjxa4szCaZ557hn+8Pf/SCtP3U5D2R7CYmg2Ogoa80hdN5fm6aef4fad22zt7Cmw86WXX+Bo/5BStap98utPXSafLXN/cVGHEdNTk8pLECZMvpRhbm6e3a09pd9v7+wSCvgJR3u0WiC1mmYNfV6IiUEsEG6fS1kukkTKJFOcO3dabRFb65ucPXuBWDJGVd5zFhMLc/Na0YrHk6RTWdUuHuwcMD4+qf8uqS6JrUou4cp+yBS5LjXN2Ik+36anptna26NSKOng0iKmlh4vmd04+cVdgr0eOsJDebKHw2MnGHLRzDWoGNuY+sOMX5qjEkvrdyZdKDIYjdJuN4j0hBWoajLbVP187fI1VU3L5vqp557iwb27ZLMljcBLVFu+p/0DPap5HeiP8uEHN/U7KM8/4TAMjQ6qLSZfyqpu0+f38/FHN5VpIJBZGTo67Q5Nu9y6dYdiQTz3dk37jIyM8u5P31U978LcjF7ikzJQMlt46vplfvLjd3UIL8mjjz/4SAG7wt6SNJkoAAu5nH6W86mM9vC/SPRE9DMsLCtJAEajw7z/k58wMT9FKplU9oXUVCRNV8oW8fi97O7sMzM+webhBlevPq3Df3l/+/1utXLI++LO7XuqQ5QBYrXRYmxkQIe5kgiQd62oy2XR57S7qTWqvHTjWWKxxBfWDK+dlYdPNPEgAwBZUq19uEyfwYozKFFzCyexkj6Tr5wd5TDdwFzP8v2/O8BnOyWM8hx5fERvxEN/2M72TpaxPh+Nbgu718zyoxzBgAOvx8Izsy7+2fe3+aMHdq5EOxzHTMzPBRjscfDR/TjZTJntxHdom0cp3PpLBfaZ5QzkDdG2D9JJ7mNwWjHZfJqyMzYPMHpH6VS7dGtp3WBbcdMxuWnXNsEY1vp8s56iXaljayd14dG1eOnaotjsXmonizSN4B54gVbpAEMtrtBlg8NFx+DD3M7RKRxDZAajSUCnonqOYch+RsPej3P+v6C7810M5SOawTOYjb10zWma2RQOzxAG9yDtwhqNwg6O3nM0ymkMb15xd21OD8f7GRrmFlGnl5rJSyZ7zJBf4D4tAn4rfpeBO1tZ/tufW+DHd44wWRyEgmZSuSbWroFiJUvAZSeRaxL1mXjq4gQbexlS5bpe9G1dN5MzLrYPcgwGTcTzMoc0MBz2kysU6VKl2TVzkq4z0hOgVKiREwCg0cToQIvekXFS8QwruzEm56Q7Vya53WIvnac/ZMBgdOLyGNnZzWC2dog43fzaXJuLp3u48M+3mO4108ZNj6nJ6IifP//oiP/jN3r46v/8Bxz9+Lu4g2O05FfUDGLwJWlm83Q6fiwGCbOlKRWq9N74ebzegqyL+N1v/j7LcfibBzkqmFQdGA20eeFSL2MCKnRUWFyp0rYImM3Jx+t5xtziFrboQ3gznmMlDYelNnacjA50eba3xetTXoadTh7H4pyf9dCuuni0VqHk7JBLZpkaiLB/EOfM1Tl+8NEmblMHl83MxRErvg4Y3A6+t1TkT5ZMeINe1louMpUuYQrcmA9QSpww3N+jU65jYSwIUM3ooGu3kUllcNlcpCs5wn47Q5EeOoUs8XiFyEg/yXqXutWlsB1X2KsO6N3NfV579WV293YVyNcT7KFULOB0OPUD3jZKxNLLxOigTqtrrQpbG3t845e+wc3PbjLS38/G7obCf5buPSSRTTA/M0+zWsPm8XCcOGJ0cFAPHUexBFevnOdgc09pykNTo0zOLmA2djnak25TGYPRwbXnLvHn/+oP6HNH2Hy0SLss3tEOM0MOVerFsxUGhvp1Gts2Oai3shSKHXx+G91qg2JFaj0m/LK57JbZOSxTt9pptDt0fFY2nkg8zsaVYQtfHXdj0yEKXBlpUWsIW6JL0Olg+aSuEeCVvRzDfX4eJytMBZwMRUwk8jUODoqanMnk61htJqb6/eRaBpbXEpwXtWK7RTpfY2E8xM1HCQrFNtfP+fEa0QtwtdqiWO0SDBgpF4XzaMMZsDLf19ThTa3V4k8+yRF1mTiqmflwFw4bNSZ7XTSqTYLGLiZ7G3fHykayjqFc5p//yjVub59w++iYabebjL1Nj8dOJm5kO9GgaWtRaQo/IctBB/qx8vp1K7/1G19j9NpVzI4iBGyQDdBpHpNPuDD4HLRWP6dl7dL2D+LsnmBynMZil7pRjdjNfwfhKMNn/w6Z+CYuqfoMnMNQzEH9kEougaP3FBbPBIkHf4THPok14KPetVAvmfDaUzTMPQpCEYiY3SugtBQmYxNvSIYgbtr2DAZTlG6zwOKPv0PXFKRUPFaHe7ZW5uKVN/nWn/45X/ryV2mZu3zrL/8fJofGWLhyFl/HqSaAurlEwD/CoC+Ms8+Lwd+HhTJT5/8Jf/vXnufR4go1Ib5WG9Srbb7zZ79OaGyBwkkGEls0I1OYXIPY61nqZpnKJsBswWDxgSQCrEG6tSyGTk1TUfVqGadvlHZhA6NMoHw26oerWKz9dE1ODOqJrVAp5OgbNoB/gLGFv68XoKsLMqypU8hJV99CMlng1LnL+CJ+mrWKpl4ajZpC+6SbV6/XGB+dpFIr80CipkLT74sgxCCrVfrveQJ+6Vd2MXXMJLJxLCaL6o1kqykxQIHCSZ9XdJuivJPObLnS1AqBEMRziSxWoQ4bjUyMjqiVQaqyyWyWbqul6aCYOJCNBsbHRznYPdDovVzKrRYb+8eHChiTg5kcMkTHJZs4Ofg8fPCYGzeexWi18GRt9YvUQb2jfd3o0AAb60/0oCGX5UKhwPzCHMlMVoFEcpkt5nOaMrh69ZpGTh8+WqTTNmicPRCUtFSdUwunWV5aomNsEQ5GNEZcrTap1irMTc+wsyOXHwe+kJftzX0FJUmMc7Cvn5xUkiL97Me2uXDhKoVMjjv37zE+NU4pX9L4v8S5RelXbbaoFAoYTEamJiY1Ei8bbgGviZNalExGcXRKCU6e17kMpVKe6YlpTpJZYsd7nDo9pzCtsYkJNjbXlVS/vLJE0BtU8JhoGmWAkZF3yvyUXswrtSKNakeBYkZbl5mpeR4uPtB6wfTUOEajUTeiO3vbhMNR4ocneAIe+npCPFxa1YqYHIDlAjM6Mqigt76BCO+/d5uZOdF9JZicntRNooBZZYikPW+rGYPRqAkE6Sm3mi2tRzSqVe0xy2UpEvSRr1Y5OTxWZotu/dqSbu2SzZUYGepXyKPBatSqhVRA7AJOEqJES0w3Fc6dm6daLfKDt9/h5eeeV5aBdMPlMyhwskqzQSjUi9dtJx4/JtrTi8FixmIyUylVOXvuNPfuL6keVZ6tEr0+Oorx4ksv6mBNtsNPP/UUK8trqlM7e/68giAtJgPVRoP52Wm9hAkLQpz3sfgxr770Ig8ePtCqndfv4MqV6/z199/Sy10mnWJldV3VhsJJKBXFIrSgW7WecA+HR3EarZoO401G9CJuxITL7iSdzrC+uYbPH1R9migA9w8O1LMubI9ivqScCYFZCjXcbrfLGZdMtqDGHYEqSmpFEprCnZCByP7BLom4XP7LzM3OUq7kWLwnCaEhrR2EgqIDFuWugVPzC/zgrbeUhi+RcUO3o6wRSY14/V7dwo8M9vPCC8/zx3/8Z5qWmJs/rWTx/d0dvvzm69p5Hh4Zoq93gLfe/oFGpuUzk8+n2NneU65QJpvgl37pl/nff+/3OHP2DBPjU2xuriukdHNzh5Y818bH1csuWsmF+Vla3S7379zCaBCffYH+nj6Ojw+wOBwMjk/q51CqKRtrGzoUE6e9DAC++x+/r1wBie+fnCSwOK06dC2f1AifH+WkW6WaKxPtjZCIJ3gNYA+jAAAgAElEQVTx1ReJHR5xnEjisNjp6Q1qXUVI6bLVlpSCxPGfbG5hdbjIJlM4nXaSqYwmaISLsbGxydkzpzQqLN+nk0RcYXFSzcDYVlvIxStnNQF1dBLXYYhcjJ1ul3IgKgWxE8V47rnnKeSzPHrwiDkBPC6vMT8/rwpWYSIIcO65G0+xLHDPTEoHucIk+ezWLdU1yvdEVH3rT1YJ+oLKnhCInnxHPv/0jqa+Gq2mdsRb4qGfnCWfz+lCRYauMpQRTsPnn3/GmTNn9fIp6U3hmsRPYjTrEus2MXdqjnKhjNNrJZPKKpVdLDRPPfOs8gcePHrM3OykPhc8bpfWTrPFLJcuXGBjY0efufVuS+P21fUjGtWSAvxcFivhvqiqL4VpJgmic7/yOtOnZ/norZ9yeJDg2vUrbDx5QjqV4s2vvMHd25LgMpLJFJB19rmzp9UK4rA79PkiFbTNzX1cTpv+HLL/mc0hymRJREiNLJVMCNaEc+fOkRZdYULsMREdpEn16YshS56pyWld+kk0XFKAooKVwdv+7rEOZ3t7gpy9cIk//ld/QvM/1W7+4T/6e3x++3N2tw/oiPkqEtJ0lfBdpA4wONqv78TenpCmirrNGpW6GAMG9PcnNYJKqaRJYBkGN1pdBYLK51s+DwJz/Ok7Yt16gWQmpWmwZ69f5SSRZGtrR9+LcwsTDEQH9T22+GCZ2dkJTeDu7Gxz9fJFEumMwjqFC3Pq9Lw+v8ymjgInzUabVpYCPrdWj4K+EPFUhv7eEP3Dg3z+6W1NKz6+vYJRKqthhxpras0q4yMDVIslhUA/3knwb37Rx366y4UZL4WWgeOdIlPzUeqNHJWOnXK8zNR8gNXHBUZHfKxvJrg87ue330oRM3mYd5Q0Zbd7UtaKSupEFhF1Ng7/LY1ijU4iTzW7i0lUf85ZupnbVOtpnN5x2lTpWmwYxF5itWNy99Gt5jG2MrSsfXTNTiyNNC1biHYxi624QdNuxdj7BobsA60LWLx9dCXy30jSbrR1q58vnWA1mDCH+unEt2mGJ3A4g1A4pltN0AmPYVTlaIRquUS7vovZNUHL5MBYSYKpibHrxhKaoBH/SN8TmPowkcbhGacmFgbRCv7y1Z5ux9JhZizCrUeHeNt1pmcj3NpMUsybODPmUfpytWOl02qRLNfJi8bGYCTaY2EjVmZ+2IsJEysHZY1w9Tpb7B9mGRz2c/n0MCsHae6uxAl5jPTY3TTltWyxYu42OTzOMzsRJFtu4TJ1OX1mjHc/21KNi0z6bc4mEbeBo1SdVsfMznaW86d7SZwUcHlb7O6UCPf7FXTUaTVJVY0Uu1auhwz8zg0HORz81tspTg84eBir6eTeUM3yvcdtfvK7L3H1N36X1Md/gM0bViiYyWCkZfZitfdjcdWgUMBoM5LfXqZez2AZmCMk3Z3pc7RMNU6+/W12DvK886N7rGwXubNbJdcxcWbYjNNs4MaEDae9w/dXGpzvNeOzWzipdtVnvnGS1170gNfOZhm24k1chjYvTltw1Wt8edzO+ISLkKvLR08kxm/lK+cibO0c45SH/2FR4X75ZJ2jaodGLc83XpqiI8qHepq2O8C91ST71hF+71aSjNlFq9PR1EGf1YA72MGFjXg6i6HVYWFqgHimTCJZYHiyF19vL59/fAevzcKV6xd4/0cfkI51uP7SWeKFrF60otOntOfvF+3Tkx3OTE/TtULiJIvNJIBMGzNTs/zore8yOTVLNDrAez/9MT3RIJ9/8jmXn76G1+km6PWx+HhJo9KvvnKD9ZVVvvv2Wzz7zFP68hwZGCJbq/FkY4Ov/9zPs7T0CIfPy53332Gop4/VxbsYq1UK2SKTo32srR7rBvPcfEDTFns7MXVV7yUypJpCahcUaoFXL07iNnfZ2i/QrKXpD/aylEiQqBvotu2sFkxYvVX6jBauh9p8bd5Bv7HOlM+A197k8UGF/qADh8tPLJXTB+PiTgqL3ajcAIfRScTXolzu4HTZ2M/W8DnNrO2U+errM2RixzzarVPLtDlzJYDD0KRZNnFvPcPrzw+xvJUhbLcwNm7l9v0c2/Eq0X63QtN6fVYmo3Y+f1xlftKF11hlK95gJ99RCND//UkSr9/AYcXFdrHMC0NWBj12FvpdlMs1FhMGirUGLwy5iFVNxNJxbG4P04NW9o7q5Ao2PtvLUavDU6e8fHA7pd/dawMmXn62lxdeO8vAwhkCZ1+hVcmTf3IX8+EusVKF/vk36ZpsGIuHNCtrdP1RLOFZKhuPMTQ2cAevUuqUMRby1Mxlon0zlA4fY3aHaLVtFKplHN2mRvir9ZxuCe09C1TTD3H1zOOOnKIU38LYTmKwByiXxFXvp9M8oVUt4QkPs72XwO8OsLe9yK0PP8LhG9QkSrTfyeD4HJsP7xPuG6d3LMxo/wJb2490m9Fotll7tIbD22agf4hwKIgnFCW+u8rVp34eg7VI4sFP8E7OYw8P8Po3/ikvX5nhrQ9XGBoMcBTPkk6Y+NFf/C2i0QmaTT/l7BHu0AjtSoyWXJ6HXqLT3qdZSmFxDdJuZdUna+p6Mfm8dNI7mCTqb+3DbK0oI6BrFKWWJIMSdGv7YDRj9p+iWzigW07jffZn+B9/5Tf4X797yN99bYZ4+kTVnJHeMLlEnlimyS/+ys/poEzMF3KFFCp7UajS7bbG3ifGhkmeZBgcHeTBvUWMRjM2h0M73VKxEWhbIp5kbmZKN0+7B3sK/BL955O1LfKlIqFIQLclF86f4zB2opR56VWHfGF2Drb1gFcVGJLDwdToCEtLj1XDKdsSUeH53D49tEtyQC5KAkuSWLSASUWfdpJOk4onCYQCOmSQyKBoByUq3GzL3y2ivWFWV58wMTJMQqjolRLT49NKOD6Ox9nY2tJIaUXiyw6XRkoFYJVOZfTiILFKMQA47BbkJCwHZ4vZpFR1idhKfFEufzL0OH1qQYcuy8ur9A1FOX16jsU7D7G73ZQKFer1As899ywPHj4idiK+apsmdCSmLwMrOQxLIkPgQ16XU2nybp9POSpdk1EPdqJHkw1gIBykXm2Qyab1cn98cMLu/i6vvf4qdrOJH77zEy5evEg8EeezT+4xMT6soCiBfz1z4xmW7z9icXWNF559Vrd54r0uCQthtJ/9g2OC4QAzU5N8cvMudrcTn8ep25z+aL/Y3IjHjvW/7/b69HAnLuqqRoCrDA72cXR0iMliY2xkRA/NiWSKleV13vzyy5SrVTLJAslMHLPBokOjo4NDAqGIRrhlE72/vYfJaMAfDpLPFRUyJ4dp+fM3mu0kk3GF+Lmddh1g7e7GmD0zz8nRkV6oXC4PMxPjGutfX1knkc/w9JWLpJJZja8LUfzP/uwvuHz5knIl5ALssFvx+9zEkwnKxSojwwNEon3qupaaiyTUJB3gdDp146kgSZNUGps8fLhEb6RHdXhilpHodvxIPvMyU+n+Z21emIPdPQWuyab1ldde5rvf+Tb+UBinw6abTRma/X8bxJ2dQ+wynJYKbaet6QAZcguTQFIvYnSQuon8Xn2+gOoyR0cGtJpiNJsp5Uoa2Z4/fUoTdKJtfPr5a3x68/MvIsuBkMLxpO7iDgY0FSJ/holYTJMbzU6Xx0tLag6QDbfT5tCergD+BMybOslS71Q1wSfEqb7eMFabDE1i2KwW3aaKW87vD+PxONX4Mzw+rJHxVCHL89evk8yeqDazki8wPTdDtC+qZg/5TgnAzGY0qS5STAsf3fyU4ZExhUJ2Oy3W1tcYHRnjyvVL/PDtd/TPTiqHdodXq02SQAiFffgDPZTyAiWN62BN2BHpkwwvfOllbt+7RX+0l9jeDnaThVS+SDpX0gpN12zW1ITN5VDlogwn5Fkh/IhPbn6GzWaiN+SnWu9gdhqpxsrkrXD1l18hGU/w4NZ9vvLVL3Pnzh1dcgmXopAr4PUGaTQq9PX1au1DKhZCth+fHMdisHB4sM/o+ASlQpFkNoXL4dGutRhUBGop1QhRrMlz8OD4SAdQMtx6+vlnFRL46NFDrlw+Tyad18ucy+tUE0a7XVeeUSQS5GD/iPjJiT5fxW4hJg5RRHq8DrY2N3H5vLTqbeV5yHNUlj1y6X362lW1ioiSOXESVy7TKy/d4K/+8nuUckUmZmewu+UTYcRgsVLMFfRzIM8O0ZbK90igfXuHe/p9GhoZZnhomE8+/oTxiRFOYlkdOInCsFypMzczTVI4MNv7vPzSy6rbFK3g9atXlV/QloHx8KBWWB89WsEnlZJqRYcFo8NjWBwGnnz2EGfHoP32geEe/fxJasTYNtMql2n2+bn+ytNkUwWKpQI94QAPH6wRHe4hfZJSnerY6CSL9+7pc19I+h4xZJw9x/qqVFhTagyQzbYAJCWVIIDXgN+npgKTwAnbdWYnZ/nxOz/WKof8s+2tTWYXpvR/e7wuqf2zs7MjM1gsDiNum+hWS1q7k4TWhQtn9Qzy3vs3abfa9A8OEzs6pH9gCJNZuu827fiLMnVlbV0BoVIPMlvMxOMZ/b393Ne+wrsffKzRfxl+xw9iCgP09fi0cnD7zl0GhkY43NvTSo3f79MktJyXZGgoasTzZ07z8Sc31ZSisNdsGrMVTi+c0mrID//mHa48dVWfoSvLS0xMTSg/p1GvsLWzqwPbGdGNpzNqt5DBULVVx+8Wy1AGl9OrFa3Tp2YIRMI8WFyi1+UkfmsLu9+g9z9hUfjdFvYOhY9gIeS3882zbY6TRRpmFw5HB6fHTzZXxm6A3e0sL798gY9vPaDatOFwNDG3TTy74OPr/zpPqg5zIRtRj5GlwzynJz00u14Wbx2wmf8LGg8/oGEZw9zI0jW1MUVP0U4fYzK5qWVWMAcnsDj66GS2aHWrYPdi6VpommoYTBGMlRM1unXkQm7poVuJQX6TttuHzSbQ2gAmr5u2mJTKW1hsPtqWANZuiTYeTcILkNzscNFwBnU4ZCwcYjCb6bSK4OzVRIG5k6NdksX8AI1AlG5qB4PTBYYAZpeZxu7naqAytj3QJ4u6Fs30AYavXR/u7p0Imb5D/4R4TI00MwVCfifhsIOg18LWZhabz4jN3mV9r4XfXGF2PMLmTo6ttAmfu0qPR7rCNYZHHaQKFrb3ini9VjrlKma7FY/bQaJaZ27AzYOlE0ZHnATsLp7EahiNdbI5C2PDTjJxiTZ3iQ74GA97eLwbx9Rs07GZdFt5uNXhuN7B52oz3+vFYGyQzNhoGmtKBn/6VC9bB8e8MR3kV8+H+WA3x/92r85z4S5em4Oys8XaXpONpRw/+d4v4Dv/OtWHd+n0XFB6af3wPXDMUM8dYzMXqLidWI1h7OY6tVxbBxz57TXCA6PYI25KLjvhmXF1PVaP9jj4/CP+8E/u8ulyingGcsDpEQdDrjbXxsIKaXu8kaNdky10GIolXLYWNSXY+miKnqlcJJ23EO63cPfOCV+ZMfH3nw8wOudie6vIOx8Xef58gHSmTDHbYaDXjMVi4OZ+iUjEwem+AMn9JD0eebHVCXpNOGx2Hhda/PjIxnuHsJUQMqYXSzunJHDpmAZ7vVyeHOXW8j6xeBZ728jk7Kh2HFudJv2RMKW2iMyFGp3EZLPhtJix9UYYnp5h9vRppTeLNmpkeJDHD5c4d/68Kk/+l3/6T/n6z/+cHmZ2Np+oTmpX4p2zc/zh7/8+v/SLv4DbH+adH77N+fNCAd5XNcjpi5eRA1E0HNUv1ff+4lu89KUvs7OyAvFdPvhwhfERJxGvA48FjmMFhge8dJ02utka3p4wdbuJTKlGZi+Gy+OhUshzba6HVLHM3eOqKjryZjNiQJNOdbrYpddq4B89O8SCbZczLhteVwOD3UCm6cNQS1FoGLiX63B03Oarl1zcXCpopPLGGQ/3NrJUqh2Ge6P09XQod0xsnzTY2Ejx7OUoZ2eifPi+xP0c7JxkdfCSSOR4sFnh3IQPsXg06gYMnTLZkp2lzRIz4w7eeGaQH7y3yZBEnJxdis0aVpuLSJ+fh2txfrhl4p29Cm2ri6CzTp9omeoNzs2G2EvWuTJsZCPWoGoxsXdSp0Od+YCboRE/seM8ubaZH62WyMfrzEYtpIU+n4KZYQOvnYnyws9cZeipy9g6UB0IY8/aqe1/Qi7dwSIqyloZc3QBo8FIOXNEwG5jv3CA1xHG2LCTjX1MeOFlVcV4gm4MxSq1RgmTfVLj+IWNd6jXMrgGxnEERjn87N8QGX8O79QrJB5/G5PdRmjgOidrP8RsNuIMztGp5mm1SoRmr7L88TuUyhlc9l4y9QJPHm+ocnJtY4/x4Tl6om2ODmt4gwPki3E9AHsGBnFZ3fzbP/4zbjw3TygcUWfuU89epNK06gH2ZPsxrrHLNDJZmoUdPH3DFLZ3CV37W5QP/4ZzL/weV870MzLiVzbD6vIOn60WWLv/O/jDgyQ3E1hNDSzOIK30tioFjbZBOrUUogQxuPwggJfsHpZQEKPBSz37BLPboWCqjmGQLlms8tCXv9pdbP5haqknGLr9WP1F6juHBF7+JXY/+jfMvflHfPWZEfayBRqpEmOjQxTLWX2BRofGFOqUT6dpdkwEfU6NTmbyORoydB2IsvR4WaFu9WZbp8uNWlO3SxajSRkB+XKFxcVFvYjIYUIODzazVYFUcrgcGYySSmY4TCYIer1YrRa1G0jMb3J8XNVAi/fvYbV56O3z6kBVtITioo8O9uNzuBTadxhL8crLz+tQVrabEld8/HBNN1NCpRaDyO7Onm5H5UIqMe1GvaWXcTlkDw6N8KN3fsLo4ADBSEC3XGI7EIpxqVzRBNPe0SEOh1MjxHKplC5622DA63SRyGQYGRpk5eFjevv6NL57fHTM7u6RxrJDOoA4YXhkBKfDxM6+vDMsClr7mZ/5Mu+9+x5dQ5darcXc2Tke31/WZ+Ebr7/M+x9+qNC4dq2lvXu57E7PTlOtN0kmYkxMTuqlv901cnS4z8DQoLCctDebSAo5u0t/fxSvW5IQ4qDuYjKb8AVCWE0m7B6Hsk8O4ycMRHvZ2tjmyvXrZDIpMqmE6uSkWtA1CCW+QK/8fGp1bt96wCsvP4fBbOCn77zP2TNn6O0Lc/PjW7g9Dv2zfOPVV3nnJ+/rBePp65e5+ektjF1JPhm0tyo1OImiGzEyPNSrZP07d+5qqqXThGvPXCKdyRAJeHHa3Ny+f18rKx4ZzhsMetg+ise0miZ6tM2NTd16xuIn+pmTS8rx7hEt2npQlSi6XKIRCnLXTLVWotmoEQpHefBgUenYso0UlkM2mSdXLBDujSjAqV4qUm22FUAnw5lyUdzWFUbHR/XXu7y4zOzpOaxmGXA9VliYqML2DyRlsUCpWNMBlcFkkqOZKs4kpt03MKSXs0QyrUrAqalJ/XnIpUYd2sU88zMz2qWVjbjwkeRCJwfwUqXM9etX9QIsaYhCuUok6NfExtb2DjPTAuJss7y2okkDvy/C1Mw4tz65hcthp1pvabUp6I/o50IqObFEgnajidPrIn5wolC0klDID04IBf002m11ygsAUyB0ZovoOaFSLmn9Q0wdUk8RNkiukOHNN97gJz96V5M2MghyyWfDZCEQDmlKZH19VSs/B/sxnrl2lYqAQ9e3MdtNmk6I9kd1cPb9779FNBrR7XAxX1YnuxgWPv74U775W/+Q27dvc+/BMleuXVamxfzCNBtb24yPTvFw6aFeYob6ovicTmx+D6vLq8zPzfDg4X36egZ1SLm09IBwKMLE5BipVFovGxLfXlg4w+H+EzKZJOfOXeLhI/l+RvXcsfjwLsMDo5y9cEaTAK2OaDftfPTBTYzWLhNjQ6yv7NATceMyO7i/f8ybf+/rOhD71p//FQMDI3iDHh1gCYfg4cOHTMzOcbS7q/qzzz+7x5feeElVepKaksu40+fWYWq1WiOZSuMP+HQxY7GaNHJ/uHescEepNsnwVIZHAmQVnd/x8RcXVjFV9fT2sLq0rPpigWNaHXa2NzYZGh+hmM9rAqu/b0BZTuZOh1qnjcfl1AGoRLW3N/Z04CUqt1MLcwofFTBsq1XH7f4CTutw2DSyL1vcZ596is3tXX3ubx0caF2hUaly9sJZlh4saU1KwIsyeJUtu/Ta7y/d52fe+BJLj1aYm5uhUCmTS6XAaFUoq6Erx8yW/rrk3SGfxWymoMC9z2/d0aHJrlhJ5iYoV4RhtcXcnKQ38rj9dmWTtI6LZA8O9H0ug1YZJBaqDfpCEY4OU8xcnCFnqFGoNHB5LJpUFdtJKpfVgedx4kTVf8JR6B/o1e+JVLOOT070nZg6STE6OcrE+CgPlh4pHyB2FOfi5Qt6tpUahqQnJLn103c/1AFHMOTXCo9UTiRxIwNTgR9ubW7LOE0HI8KGkISZpMlS2aT+7EU3uLV5QDQawu30KBAx4gthddiwO5xsbm5SKZaJ9Eb1fOXze/U5JWeGQE+I44NjHXQIv8di7/LiCzc4ODjiJBXXZJ+oxLc3t3E5nVy6dJ7PPrtDvVrD7fMoGHDjyRa9PX59r2RPivrPV1bW1QIxOTnO0eEh41MTBLw+lh4/1jqQDJDXRdeKUXkgG2vrygWQpYOcAeTnks3kqDXqPP3UFY6TcY6OkpTSWSJ9PTQ6dRrJHEe3junrczA40U81VyEu3IbhAVa2UlqXfe83+9naO6Ftcikry29zYnYLr8mAw2iiUKzj9zpYOD+m2t7Ht454ZcHNV/9SoMUero44eW8pycxAmJ6Ijfdv7+F2wuL2D+kcbZKuWfAY3WQPPsbtGdVKScdY0JRku23UOpboAVudCt26iY6AHbsZzBYfrfIBZksPFk8f7ZyoGOvYvB6o12mUE3TFsqeX/COcfVdpyAe/XtR3k6iVTRY/NruFcmKVdj6GuXdB2TbyBRG2iahIGl1ZIgTplkRi+IRGzY/FaqRjadFM7mKcfgVzvkjHGxbCFO38MTVaWFs1DD973tn96LBD126mWW7SKHUZGXFQz9Vxejtk2jYSyQYXe80cVCqYjQGcJgM3zlpY3ahTLudJVjpMjgRJJju0ZUtiqeJotOia/BTaFVrlOhNjEWqFJmYnZIsNwi4z1W4Tl61Lt2wgLTqFTkm3c828lcGQhZ10iYCxq/HE4ZEwyVSOg1iVL78yzM5uinA0yIePijRrZSZ9Fo6LMNpToWMdwJc65heuO5W0+w/+Y4qxoElfvKlKkz6Bx9Xa/NVf/y7GSJjkB29hCPVhbVUp1wp4J17BVHhCJb6EVSK4lQKELmGwVmmlNrD4R6mlVujUa/jkCxcrKhTOFAzjPPsLtAp3sToclB4u8Xv/8s/4YDXHzV0YDoPF4ualuSgeU4eIpU6uXkWuYh4brBwZKFNlYciL0wD7xRols42bn+YYHPRwMdjGXM/zj782ivU4TU4c2zkDFZeFXpOBnVobU8lI29KgVG/Qadkp1FtMhQycGQzQbJXJJNvIUcXgMfIX2w0WU13uJbqULBZChgaTYRNOa5hSs4SpayCTS+KyWei27Jw9NcHyQQxnrUqta2Fmto/VgwSZrRQnqRYDgy6mr52l4fbgcQZ125ba3dHt0HNvfIlYbF/7lAfbewwODiIrpcW7txRy5PKGCYUHSGf29TAyMDiifdONrROczSKmRpPN1fu0kzk6mCiV2pyZCJHr1jk/N8m9R2sEQ25CgV4ePNlWR/JQ1KOHuUy2zexMAG/DRCdfJmcLcD9dJlarY7e1qJfNmGt1bgwYeDFsZKS3QdTjYbgnwP3tI7IyEPBZiBda2M1m1o7rxJIVXr8qnUIHsaMcw6NB1XCsb+fw2F00zV0KJzWefW6Ed360z8y0l7k5N7c+KzI+ZeQk0SCXbeD3WCjVWtrPDEbcNI12NjYOsDrdmrLxBuocyTDIauPpM3aoVniS7rB+VOaDQ9gvWUgXJbpkIui28NT5ELVinlKpQ2+fj05D8qopniQajAcjtPxWTmI5TCWYP9fH92/ukE4IQMdA22Tg2oyTKxfDnO0z0DM+SGR4gejsORiahE6QbuKYwsG7UOnQcUA3VcESGKRmsCHL0npKAEB2Wgqwy5I/WqT33C9jiJ6idnQPV+95GpvvqdrO6nJi9kzQrBQw1HNgcmO0WTVym0se4470YGo16XSN5GKLhAbncIZnqSYWsfRPY7UGyR0eUTs5YSe+p9CbWrmK3WtVdc/T165wkmmwtbHE+MiYOrwd1i6zs6d59OATfG4/bbuXGy99hcLuA9Lbi9z4B/8DBluUVnYfQz1NsTZM7uCvCY8/h7lTIbm5jMdpwdk7RTPai7GT5fLCN3nz65IgyFPPJQj2Rvj++0c8/Ol/zcjcJAeLD/ANTNI4WKVps+L0T2J0helKBSGxjGP4WWo1ExaXGVO9SqddpC6bYV8fjeIxZotTt/WdUloPRw2huFr8WOwWuuUy1doaHcsk0ZEITz79iLO/+jY3FtxaMxrt9TI+0sPD9X3MXRPPvvYaR/txvRBZrFYFQkkcX4jGjaaBzz75lIuXzqtK7snGjh4YRdeVy2e10ygAouWVBwqyOj6KawxdEhMC5JS4ppD/R4cGtd8qm0m5UAgISbRzEv8d6BvUTvnLL93g4dJjstkCU+PDWO127Q/Ozk0RDIo7V8A2RrrGFh6nQ3ueJ/E0I6MDesGNRvv1op1MS8f1GvfvPdTDjlycZUMlVPdMPk3yKMvwxCBn5ue5c/8+uXyZ2ZkJrZ2tr28wNztBPJbk2vXLbG3v6dZFNpqZlJhSspwSVdnurv6slAGxvq2phHgyzfjYsALAJCZcqRQ1LipbX4nDClhRmAByYB8cHNNI74PFh/hlw9buMjY+rJfhrb1t1SgJj8FmMtMb7dML/uqyQH9M2mmWi6FPqgghL3arg89v36Gvr0+3rAKfkmReJp/n5HBfFagS2ZeNoGyievujGiVevHWXQG8Ef8BDwOPneP8Eu9uimsAffO8tXnpsFQcAACAASURBVPnSDU4SWdWQPXr4SHWEXVFdVUt6KRCKu8Xq4OTkSCPgclAWWN/hwSEmc5dnn3mZ995/D5/fo3qzCxfmWVnd1ji9pM4k5ZWSgcrYuHJajvb2lYsg8dODoyPtWmfTJzqASyVTmp4QaJhYCzbW1zTxtHD6HOvLj5mcnVYrwuaaRKdtWrmJaX0gwOWLF+h2DKw/WVdFX0vArW6vMgbWNjYxGDr0is1mbVchcGcvzLO5safbvAvnzqkOT3RSohXb2N3F5XIQCYfVoBCUSlyzxejkCA9uP9BqiKz6hd0gGjmp0kyMj7C+ucPU6Bhmq4nengg3P/lcTQZen1djy+/++B2uPXOdgD9AtVxjZ29DNzuizBKQlpDPJXJbqpV0oBgND+APutk/PuboMKaRe6GGp1J57e8Ojwyw/Hidje09fuHrb9Lt1jEYbHzy2S0djLz26ks8WV9jbX1Tt3LlSkW5B5KScNht+h42m7t6Wd7f2mNze0cj0Dc/+ESHgwIp3j881prM7Oys2gCevnZNBAIKS5TPW4c2xq5RP7PNapOxiXE2tzeoFstqArG7XBwfxXBJ1cBspFqpKTshVynrBlSgfPKzlmTa9MQIxUKFarVEtlDWoZD83Kbnpnm89IRaRYwG/dqpXt96oqYK0RW/++OPmV6YIuB3kk7mtbaZypzw3I3nlFHQalR5/Y3XWLx/n5HRcVbW19h9sqpcDotVAJFpJcyfuXCBO5/f0sTHU1cv8O3vvkXfwDCTY1HeeuttfA4HVrdDVYPi+TOKDaHbwHV2jmKjzJnxEY4TcR38iVJbNKrDQ30KdRTg4tjoGMlUApvNQbvZ4q233mN6alR/dl6vW+stcskT3dz8zBS1VltVi5VKnagAW+t1TmJSeWxSaza4eOGsXqxExxn0e+nr76VUaDDQ18OaQFpnJnSYJEYUATpKxeDx/UUmZucZHhvh7q27NNoVBTMmYykdWrh9kl4qKyFevj87+zsMDwwqpGz58SNVU9I2qMXh3IULmjIpFkp6cZZ0iQxpZWAk7BhRYUbDIX0nRPtCDA0P8ZGwDUZGdKO7vLbOxNiIVkTk87W8vPwFMb4lTJOzPFndoyaGi2CQSCikQEC5/PSEepSgLu+Yd9/9Ka++/hqFUoZiskyuVcFptpJ47zHe/gAGY1efh/JrEnZSK1di9OwoptFByqUiEbeoSncIRSI62JRhuIDszFY7Xq+F3Z2YRv9DvSGtPN367CEen1uranJ594dC+NxOdvZ2OXdOqj9L2sOXFKrXFyCZSNAVHe6VC8pQOT48xBsIUs4XuPz0Mzx6eJf4cQqn26EDD7FDSMIpHkvroMflcVMo5vD7IzxZXf1/WXrvILnv807z6Zxznp6cAwYDDAIBEAygGEQqWLIkey3bcu1avi3X1trnra3aqgtVvqu7rVtXnX1Xd7eWy+f1nqW1bAWKkkwxkyAJgCBynBx7Qs9M55z7d/d+cf9REqgaTHf/+vt938/neVR1z2S04nQ71PdK/9AQTodZXfqFDSA1LIfVgdPtUpWjhUWBdE+o34EANw8ODhgbH1XJI/nekqGSDIyufHJNPSPk9x3wh9XnRs4e8f4Yic2ESt2J0STeF1ZDhZ3kofq89w30KNihGGJEjUirQ71VV6mZyZkpVYP67NYtTp04TX9PhOX1VaaPTfPWz9+i3e7w6pde5ee//CfiPb20m1XyxRrjc2OMDwa4/H+9i6ZrMj49zMqisIme6AmPqnb2UmX+8ssGol4dVV2AauWIW48rPDXlJ1OtMDUQpt6us5+sk8q2uHAqSKemI9zb4N/8PxmubHU5N23HULeQquQZiHv45ec5fuNpH3/7wes07/yKZs2J0eVXNUkBgJgbeRoHd590/t1x9K0mWm2bdj6Dqe9VKK+jp0HbKZVPO+xfo9m1ofcGsFlDdKt1ah0NY3ObVmgWw/7ndHY/pzPzX2GnQqe0SNcyiN6kx2gfpVPeolvYwBAYxaB5oLJMtXyIMTiKEQ+auUsjm8DqHaBbPaCdy2HsH6ZTOlJQcKN/CM3hp32wiMGoo2twYzJVqJdb6N78lzHt/FyI3GGela0Mfr+TvbSA1NwU02V64w6urVYp1Bq8MD/KBzeXOajYaZjbRHUmnAEHewUD99d3lf4qXzKTrXYJ2J1EYuDR61jcqpLutshXOpTLOnqjTioNgQFV8dsd5CttolEHxbIoJipKM+fyNKkVwS/RU1Gu2XSYhXLaqKBhJVfRCJqqlBtmvn3GR6XUZLtuwGvv8u5Clf/mPPzLL/Tzoyt7/M3DJifHnRjbOt67n+P8lIXcSp3/9a/+BH/cRe4whzUYoVPaQ9e0YnJFaeRX0csUxdOPrm2gW9+kXe5gDh3HZjJRyj7GoHeqiXs+v6GACl7fJKWOhUriU3pPfRH7QBCMXSh12b59i3feuMz/8Q/bJFp6XC4dfpuRFhpfPx1SpMdCtcHKUZbRaADN2uLwoEOjWGNmPECi3GRxT6ParTIad1Gum/nt/ia/d0pTL+hPP99nIi4wtSp5k4Gww8Jhvs7x8RjF5hGFgpmjQpWHy9KFr3N81I8+reGwlkmVjGyavHzvcZrFAxcZvRGfuchoMEDcYlD9SK/PpC7etVpX0biX9nfwm7wYLG2cPgf6cge7fPEeFDnay+Dp89G1B7G6XdiHhhgbGqBe19QHefnuAzqNOr/7+7/H5u4Oa5v7rCyv4TbA6Wcvsra2jr5Zwetw8uC9N9FrBrq0sLfEAGnH1xugWWmQrrcoZLK0NI2ekIfUUY2ww8CQdPAyh+g9fsUtSGSqjHqcJCtl7le6mDEx44NZm55ToSaz5ipOr4Uhv550uU3ysKUm0dd2qnz9bIRUo8nnS0UuTLqUUiyfrDM+6Wd42M5PfrmFyWZmbStHJGxmuEe+OLtY7XoKZRmi2Yh6jWpjt7tX4fFumQtz/dRrdXYO8xwbD7OwW0Df0XNmxszSap5CGb51qY+jzX2swRjlUp5Czcg/PCiyVGwzFA+STj+JBJvdLTaTTaJuJ1853csHD5bZ3m4zHnUx3eviSiJPj0fPUMDPRxv7rK23Ocg2mfLBv/5ijMtrKaZO9PCNL7+Ay7CNbeg0hJ4BbYdKO4BV4krVHBv3lrHafdgG+rA0SzRboh2bptpcxG02KtVJu1yiqa9jN/gxB6PUc1toRg2jPkw7k6Da2EDfMWAKz6FvHdCVyIXJQ9cVQsseYTUZ6QgB1WQl9/A9dRA3+gaoaw5s/gDVg01u3fiUiclTJB4+YvdQhkU6+sZD6DSHUszZbG7GpiY5kJqMVeOjT24yemyYUGSEpRv/xLe/9S2adi8Wj5fQ+MuUV36G0z0LpgrlVhe9LUTm1g+xhmYhfAZz9RHt9DZVjHiD0xiMRRpag8pRiZ7+KG2DmfPP/RueeWGKG59u8vTZXkw2C//nDx5z5wd/xOg3v0ruvV+i93ppFo6whvromnvokKG9t0XHblK6pdrhMtbALJ16DoMtrOKA7dIKFv88kKRTqmOyu2jq7VSXfoa55xLGSC86qUG4vOgtg5hCTizGTRyRP+afPRPhznaKsNeLWSfPlpLyWcf6R1VkXi7z0tWVba10AuVSIZok2fBIhF0udgdyaNGEGB1WYL39nW3c3oA67E2OT6rN5+rqhqJo+9w+/BG/qmIJXd5gNipnsriZ9w+SDA8Mqme3y+1Rqje5/AjULhQJk0ll1MFMDldffu0V3n73AzY21pianMZqNRAJPUkLiVZqZLCfdPqIna2EGIYIByOqE/r5zdvqMnXpxWc5SCZVEkAI226/Vx2+bHY7hXReHfA0rYXNYSESjtHRujx89FBRiSWueLh/SCgWUtuUWrOFoY0aauwe7hMIeFXVQGKYO7tJtZUq5OtKKTckWsFcQfWpp6cnuf75DQV4k8vq22+9w0svX1JqKKk/3Lh1R8EoJ8cnaLdqakAq3fO1tRUVs9bpTepgGe8RwFRb8VUMXUljjSidmPiYp6Zm2dleodO1qC2SAMbCIQ8eT4B6vaD60dubCSwmHblyVUXQR0bHicV62NheVRCm3d2EuoxJJ1UuJe++9TYXLl5Ep2uxtLzKmVOn+eijy5RqdS49/wwLD5eYOzGjYun37j3i2Wef5ih5yOjYAL/8pw9UxHh4eIiNrS1ajRYDAwOYDagNndRLHj96rHSRR8kMUzPjNJpygZIhRh+FUoG9fbkUSTdYAJAutYUWzd7E+CC3btzh9Jk5LFZJgjQV0Voit3p9hy+89CI3bt5hoG+Qyx99hD/kZWhomLWVNTXwETBqOp1jZHyUvliIkaER/v7HP1UxcofdhNVqUdo46b6XFTQ1pC4fksZYWV7gmeefV4fl+3cesruzR09PRHELzj39lNKbpVKHikNRKZcZm5xQFx2JAvf3xZWTu1gqqpiskNlTh3kGRwbVBjWVPFR0b4l9Sxz6Jz/6sVIzSk/32rVrSgu3s71OrlBicmpcbdpFMWm2GhWob+8gpRIRcjA/ffK40uteuX5Vwe9EW1bK5wgGg8oQkNyRBECHY7OTaiAhrnGJ4Pu8bna39hmZHCMU9pE+TLGfPOTFLzzH7Tv3MVuMGM1mxQGQv8ONmzdV4sakN2KyWrDabWpzODo8pEBgUtsRGr/P62B1LcHpU6fUhc3tC6iFgEAWXS4rtWqT4eER0uknHvRqRbgC0yQSm9hdwqhpKCCabGOrpZoasEiSNHVwwLFjs9itZh49XlJUctm6appBWTA8dhvPPn+Ora0dkkc5lSoRMOfS4iqzcxMktvYUx0TI5A/v31dWj5kT0yTWNlWs3hMQMKwVq9mq9GU90SiNjkYk4MNos/Lpu+/j8jqIhcNoBtT7QW8w4LFY8Zya5NbDR4z0xzl/7qxaOP3irXfUa5QSNXKtybkLZ3jrV+8onoEMX2QA+41f/6oCHi4vrTF7XGCPW8p84rDZWJVtcDCguteidJQ0RzqTZ2ysn+XVTTKHOWLxCL09UdJHGfWZmpmbVn8vSYvI96EAOAWAKBvo9fVt9byfmplU3BVJ18j3z8lTc+TSeaUclPfyzm4Cg95IqVziwvmnVWpD6hfr66v09Y8offSD+4959uJF7t2/ic3qpNnosrQiYMoYx+dOsri4qGoWElGX5FSxVKbZadETEZZJmkajxsTkBPm8mFZGnpgNgvL8aqh0wYnTc3TbHba3dqnXSypZKrrWC0+fVdyLjz+8isfnwmV10tW69A8PKEOHRbOQqwmnyYtHoKYmA4nDnDJAxSNh2iYdzXxZnZ+0qR6cdicH26KUjKmudLQnSFr+PYuRjeUtJo+N8tyzz/K9v/pbZSWRJJTwCuSzsZXYVcNCjzvA6uIy80+dUj97Ymed3/jmb/L59etPmDcjg9y/d5+engHFQRA7iQwNdvb2GRzsx+fz8OjRQ2an54Raoj4zw8PjbG1tEgz7CXiD5AoZVb+T2kDf0BCbm9sqjRsIRni88EDVTz1u3xPmhqSb6k0azSrHZma4c++BYqnEQmE1IJKLvd1mVaR6SZ/R1WMyCr3erGqPwhmZmhKmzJFKLmUzOS4+d4EP372soLkC2h4dHVLPuV5lJghw6+YtRkZHlM51P51ibHQYl91Bt92l1RHGQFp9B4phQtI8qxsJTp85jq6rI5/J4Qv51aCqNxphL5nD7rEpxkby/QU6WovYoIvMQYGevn7qpX2WE3VqJhvf6S0SNIPF78BvcdKxVDA1TaoybDeZGYyZyVRqpA7bBOMGPCYjx+NuvvuPBR4dlnhu1s8ntzKcOuZjKBrjz374kF876eCndz4m/95foPfMUi0f4fANoLOGaKz+mI41jLN3jnI6gcEexdaW77gC3UAcUz5F1yJnvCJGY4iOQK11Dhp5qa6ksej0aNYYrfoBtt7XKN79c2yaAd3kl9FLUtPsRVfLo3c76DZt6LoH6DQXerEuGIM086uY9W0MJg/17Bpao4DOGceqiRKziXXwHK2dOxg6OYyR8zQbSXRFUSmG0cx2jF2NjsUDpSS6n/1BVGvX2vgjJmIBL1atS6YsG8GmOmhQaVJqG+kaqrgNbkYHjVh9Ld7+qMBw1KAOk3qzEa1WUwcmUcsNjfgoFLs0pduym2F0dICd1W2mxnoop8usJ3P4Ix4S61nW2npcJouigqpen87IUbmspqyRkJXPV8sYHQ4yxSwBgxOPT2Mv2ybqdvHWozJhX4PJoIMH+zWcZh0+Tcetip5vx5r84YUAr6+U+MHDDheielri2/RYSey1uL6Y59rffZWBc69x8OgWFs8A5mgfrdwB3fIeZscg7aaJVvke6Lw0a7tYbBJ/6sotlHbDjtWRolbR4Xb1UNG6OPUWmvUU3baZdnmPo1KVvrEJugYz/skJyG1CeZX16yt8/6+v8fNljbW8ETddnp21qniSROr7+900sl3MNgOZfImnT8Z568o6eredY34rm3tlbrV06NsGmuUmrw01+bcvxZ+QQ402jgpN3B4Dtx+nOT/XT6ZdpZkq0DSbMdfb2MSIYDSTSRwqcrFsrk/E3HQtXRYSRyzkrSzkLNwswicb4rp189qxAT65eZd2pcO3Xxjn7tIeUZ+LjVQNiwRL3Fa0eo1oxKX6bDubuzSMVnzSSaw2Oczk6boc6kDcOzNKq63j7tXbvPSN12hmK+wtL1MoZeiI3qNQUL5W+YKVDaZOV0NrmdGMbTD7GBn2oafIp3d28bdslFpVZgZ7+fmtDb77YpytjJm3HiTQO1wEXCayhZaixH950sWEDk5Fypzvc5Iu1nFajexW2zKw5KDQZnZ2kM/uJfC4zcz1muk4IX1UolmxMj/s4p2baQpNjTPjTi7fS2MFXr4Uodkw4PK5ufLJKj094sBuYvMaWV8tEPFZCMWdJHYbGJALg4VKB8w6I5lml/NjdrwtPTstI+liEX+zyU7DyV9cS/OtCz1sVVFeea+zTqkOr8zE6A/rONiuEe0Lcnd1n7K1grnkxNAtcOr4GMv7CXr9Yd66t8/GloGnx5sE/HZilgBRP/zad75IqNeIKTCKzhGlkt3FlN6gM/QKuhoUF9/C4XTQ8p/FaNijubOiooKi2Gsl7qN3WXD0nKaeWqFrNNAuplTU0Dr4HJX9FfWws4ZHaJbb+KJxKuKXzt7DXD3ENvU7UM0oBUq7kceo6dFZrJgx0DK1cbkCGLz9VNLrNOqyWWiy/XCdQ+lcF46IDs9RLR7idTmxuiO0tabSN7W7BRUBDofiLN79FK/fRSw2hcVcIhAbwDf2PO3cBsV0A2fYS/XoIZWi9Ms7ih7uiY7QzpaollewuMbRQiPo6zlM+jadep1ms0LLEMLn6ZLd/JT41CX2d4947Tv/G1//wiRvXl7n/PwYvTEbf/p/3+b6f/4XnPjWtzh67xeYQ70Y3WGaeVGhWdBsHqwmq7poVg8+wBt/AYwaXZn22gaxGF1Udv8B/Bcxe46ruoahU6VbWKcrSpfgKF3NjK66i97poV6qELa5YX6WIfcr2HUt+kYcVGt6Zsf72Ezskjwo441EOHnqPI1aieXVdZrNDk+dmVXO9ZXVDe7ev0+sJ4Td5iYUCpA5EPhkWW2tJWUt2xy/z/ckdri6wu7uPi+9eImVlRUFDpJLdClXUM/K/f1NLCYTtXZX9bolrl4Uj3kgrA5FAgaUvq5E+x02u4oRiv5JgGTiVM7nsyriLBeKfLmknMrxeITVtQ3SmRR/+Iff5e/+9u/VzyUKoY/el9fcofrI+UzhCcm63VZ9VXFYywFlYKCfQqms3ju+oJd7Nx8qvsn2xp5SJoUiAQb7+7l97wE90ZgCENZrRdXdjEWjCtwW8AXU4XVgaIT3P/hIOaiF2C70dnEvLzxa4rUvvaiAaja7hf2DQ8yyGW10sAnFPhpT6YDtzQ0VH+2aDYp2Ln3ff/WHv682Sqm08BZqrG8m6AlF1MFZ4pkS9xWS/FHqECG/5dM5tf0TO4L0L3/15psKsicRwv7BQbJHGUXoFgja0uMl9o8EhOjBLfFiratAU9KX9HocmIwm7t5/zPmn5pUFQpIIF89foN1qkhCDgcmoer21Sk1R/N9/7338oQB9fXEVnxaCe6FcVKAr4T5ISmRjbQ2jxaJqHBJvLlVKT9IJPreizterNaYnJ6h3arSbHbKpPHPHpxShXDZVVqeNF557npt3bqnLyWj/kBpU5SsFzs6fZDOxrSjlP/vJG7z2pZdZeLSskgYvffElpSNTcMpMjpJAGOO9NOoVzGYrqyubSoWWK+axG4WxMqrMFfFYhFgsyvrKKjqLnaP9A8LR4JMLqEXP0UGaaCyC1xdg4dFjRsf61dKiVi0TjfWq/25u/qQ6uEuHWwBnMzPTqt8t0LWPP7nK6Mioupx3dbJ586LTmxXcUS5pcrlPH2bU4EevNyg7RqNWJRgKqUvTwVGK49OzSoP5aHFJ9b2P0hm+9pVX+ODDj5VyTTa44pqXgUw2V1C99kw2T29PHLvDyuc3bmGx2RUgUSovzzz/LD/76c/VUEEO9TJ8kqFYKl1kfm5GJX3a7SYDQ4NcuXKVF158gfW1VQo5GUxMcevmDTVYkvSJ9LSPHZvDoO8qEJ4MfqSbLZ9FgWEK1f3SC5f4hx/+kNHRccWyMBlEretmeWlZvTaBYJCNtXWee/aiGsTcv/+AS89d5ObtO0xNHieVPuAok6bVbPP0+bMqCWSQ50m+SLPWZmxshHfffU8NaERRWMgXFPhQOCdyoXz4eImTJ47TaTcV+0N+B5KGcCoffIRIPE6tWMQX9KnhQ2JvD4fLyuzMSW5+/jEP7m8Q6xFYWhuby0W51KC4l6P3xeNoHrNk58ll8or/0dsfpy6polhM6fokfSEb3q31BCdPz/Hjf/w5l158Tl2kJF4ueuTv/sHvKKOBDBrFEiLRc71ep1JRohydnpqhVqspy8b0zCR7+2IyySr1pTxP5D8LjyEejasN8ObmOpFoD5OTYyrdMzo6RrlcopiXOHuKE8fn6O2PcfnjKyoVI4PdC+fPKUq7QCxtdheZwyQn509RKBaepHzyWRYfrqtzlWg+nVIl6+1TW2C5YOazeWaPzbK+tqxglTLku/DMBa5d/Yz19XWOTU3jDfgUd0AuqgF5r+bzyhQh/BKBvMrnQfr+YkFoNlrq0i3PDL2uQzAcVgOIUCionm2lSgGDzki5XiXk8VHVWpw4c4a3v/dDnI02hoCcyTL098apNJqUcwXM3S75uF9ts8PhEHev33sytLQZSO6l8XhloOpmQ+wjLivRUK8Ch25sJhgaGCR9tM/M7DS1aotcMUOj3lLpIonWi0lFOEy72zuUayXmT54kdZRSQxVJk/n9HqXYjfXGFJ/kzNkzrK+uqUGYpMTEaiUQ05KkRrSu+h3I6y9D+bHRIaX3TB9mlbJTB6rmlsoVFbckGPCqz6ssq4L+AKuryyQPM3zn936b9955Vw0o5CLudNt46sJ5Pn7/MsdOTFGWNGGlTqVQVbwWSV2dPX/miULUbKSvv5f0waFS4wpDaP7UrBriy8+U2s8yMT3GksA9BwbUsN5pN9Mb71FDG4vNoWpP8yeO8c7bH2JSgNauSlcFQ15leZFkUX9vv+JSWOweao0i1UKV9LUVwkE38UE/mVyW/cMKPVEnPSEfP/osyf/waoA/OGvn/Uc5vLoOx+YGuHJX1I0tXC49rY5JJZwkmfvRg21O97s4NznE2T9fZmrYhc+gU7XdeMDOeL+Xv/lwjz//9iB/8v2/oXTlbfSeGO3iDs38EUb/JFRW0AdOoeGE+rICO2uS0jEG0FcX6ApjolXBomuiOYZoNfMYtAZYotCpoKeATvNTz29hjZ6hU3qEIXaWbrVMs5TAbg7Qqm3T0cwYdRpdX5xONquSZu1mmnZmFVvvOdqWATpil7J5MfhHaa2+ryrMhrGXaVeyUEuqgYGunsJY2KPjjEDXit7coivg6U4Z3dt/1KfpNAN5ITSajRRLObyyldN1qIpLt9FVw4DJYz6KNQO1TJWNgzbj/Xpq3Q6lwwoN7PQOWKhnG0q7Mtpv5fq9JHfWCoTDFuYHo9QbRcxWA4vLNQWuePHiINVmg7DdQDaZpWTQlG8y4HXhtZrZOWwod7yQ18XdLJGo3ohDbcDlYSLRmb/6yQYlu4PtbJfLGw1m3DoCXgP7dSPHTFX+4teCvLVe4Y3FNmGvnVSupB50G2tF3npUZGvlz+TKweGS9ECla6vH1Kqi1zvA7kIvqopqGqd3gOz2bTzhKTrVAqbwGK1qgcb+VTSjS3mjjYRpm610mnto7ToWe4865DfXb2KxGWk4RzF00zg8IcwTl9DX12E/QXL9Y773n9b51dt7JNpgMLbpCRk5OerBK27fap18qow/7CZgc3B9a5+JsJkeu57FQouC5uH+apbTMelIdfnWGYvabE+PBNg5rLEtm1qTns5BheiIj4XHSSrGDmGzjdlhJ2u7VWptA7u5EkNBH8Vihi+di1POHIHJz4ePk3yQtPFJxkjG6aeRLeHW2gwO9zHrbtHSS1c9S2Ilz35DT7kBAz47Jb1GXOjQq9v4nWam+wLqYNMsNNQApzduI9fRoxUrmI0wOBYllalQy9UxO42Eh/vIbh/gj4VolYsKPmc3OnAYW9xa3SPodtIXitIwlii2bJhcVt65fcg3zw+wuZ9RneYRn5X/7pSOAYcdcy2nLnl2h4kMTu6sZtD0VjazNS7MuMkWmnisZoJOqFVaLCQy3N/Vc27QpL7cHD6T6tt57XYFZqk34e5Sli8918u9tQJuj5WwT8fOaoF0scnoiBe/w87CXpWBoIU7ixkG4xKvj3H1cpJwyMxw0Mq9RI5M2UDbYaFSa/PmJuTLdQJxO3aTDnehoDp0R8UG44M+3Hoji5kitq6Za5s5JmIW4h6HgoYtbuwxNBahlD7gv3zeoFHv8K/O+Qn3mnn2qRHOfOVFdC4L1VSBTt8ZbDJBbaySze7g95U6jQAAIABJREFUsbhoNL10ug3MhgStignn4DilcgNdLkenuY/DF8PiFWJ6Bauzgg4b5fwOWkuovaO0NIOik+sbOdCZsfWdo7zwOh2jHrPnDEZ9lcP9ZUXktfmquLynSKzdIOh0YRu+gNbWUUmusPzgA7BGOUrnlVO1UMlTr2YZGj6Fw2MikThkbGaObumIB7c+59wzr3FwsMimRIUNFs688CLVbIrhwR4Ck6/Q6eapL19XUD25gFqcXRoVmxpYGF0edBYn+Y37OLxOzM4RMOppFZeppzPUa4eq52p1hjB4xzAGptFV1qkcbhG58DUKCx8zfvF/5ve+Oa0uAqK/cvg9/MM763z8vd9i+te/xNGNG9gCfXQrBRrJFSw2PXp7TBHQ240qnvhpyrVtmk2HSri0S/uYjU70niE6pWVq+3ewDkkFwYnWFcvCHI2jyxg7emzui3Q4pFxepJHZpe9L/5x/91t/wp/9ZIUXxoM0dS3sYl/QdIrSbPfEeOrsGZYWF5TJRQ6++k6HgaF+9pPiSO+qi0Kj1VV95pnZSXyy/d+TSGtF9fWk6yxb2GAszNlTx7l2/Z66zAqwq9qssvhoidHRCbUptNotBANBrl67zoUL56nVquzvJHE6rTxeXmZiYkpxDuRCK4dPr9/P0X7ySRTT6eQwmWR6ckr1AwW4lxWg2bPPsL27h91iUpeUbqepfOaba9vqcCoU+8mxYUanjrH0+DGtdpOpafGur+APRNRWK5NPUy031VZSDkOiCZw7eYIb168Ri/Xi83vV9mN4oF9F/gU6JQduoZ13mnVFEu+TuH42hT8YZmdzG5vDyLlzz/DTn/yU8ekJdVkWoFe8Ny53LcUrcLsc9Pf3qm64y+NWvxu5IJUrJdX5n56aVFvKa9c/Z2ZuinKpxvT4iNrSGGRQcJRWF3sZHK1vbarDohyWJYbdqAnvxa5YDJtrm2SKRUU9l416oVBibHyQg92kIgBLB7NWle24R12EF5cecuH8Bd774AqnTsypFMsD6e9aTUxPjXH/3gLNZkttJpOHezz7zNPKIy+JBr3JpKBjAitsdhoM9MZVLFpo0BIvl+h72PekZ54vyKW/rtgamlFH2BcifXSoKi9GneyaNLomjeTuIUMj0tlOqbh/KpVX22pJlQgdPF8uqG6vdJWlZiGVD7/Pg8/jY2llA71eVJcBdZAV3oNcwuW5vb+3p0B9c7PHef2NXzA9eYz9g11FjZdDrUsGNLGo0p2emJ3j+qefq/dWuSKmBr3yLRtNelrdNlpHU/C6WqWqtonyeopiTjaKkpxxeRwYdAblbZfBwGtffJVHj5c52N9Tm8/tpAwHxvjsyi211ZNzjVzaNzc2VbJGiPfDgwM8ePQIXaerAJCyJZ6YGFKH247BSH+sR8WMFx49wupyqE2ebAkvPPcUzWpD0d4HRwbIFQtkjlLUWx2GBweV6ksYEhLvtdqs7OwdYLda1Pbvzp077CUPODU/j9VmVEMb2epevnxVFo7Mn5jF7rRi0nSsbe6o+o9dVVVqagstgw7ZpsuGsa+vj5WlDUX6jsWCKhmSTgs3Y+jJICgotpi2/NhYjSacLoe6WMuFTAaUAok8f+6cYix8fuMmLqdTwQDlNZXusUTNl5fWsZgMamMuLBABzRm6Zky2J1Fos9HAiy+8wK27D7BZTP8/JDRM8mCXezce4PM5GZ4YVcMjYWOcP3+WzfUNZYCoVjp4ZWmU2GFufp7E5oqyPIgmTSj8uo6OQDzM4foeda8Z93gfNqNZ8VKyhaIa2gUCAQrZnBo26XXGJ6kKOQTrupSrDYqlEnazBY/Hq97rAjJdXl7D5XUp7Wi1XsaIgQl5vtZqbG+sKE6GxMLXVjfVZndyfJydxI6CQ8r71WqysSkcpXivOnc/evyIqakZdnf31CBEfgaz1cFwfw/vX/6EL77yorqAteqaIukLFV66/kKmF6Bfq9vhxPHjSlEnwyhhqUiaS1gbwgVRw3+zRTEZ5P2QyxRVhF2SnsI+KBcK6gIsLIzbt27T0yc1lhbhQEAlbZJHKXVZFVCyfEeI9lSGIi6Hg66mKcOHnOnkPfng/n0mJ6bxBbxcu3KFaE+cXbESRKNUZJgQcHD7/j0G4oMcPN7EWwX/WASr0cLO9i4YdPTGY1SSR9jnJ2lpNTy+IAsPF1SiTPS2lUqVuZlZ3vj5mzz3hYusr2yrmocAVT/+4KqC3Yoy0GC2kMmlCPpCnDp9gmvXroIg0XXQ1nUZGRhjd3cHh90qMjxVgdjb3Xsy/JSB5viYYqdJJUTSOnLGFNCgxWBQ+tJnLz6t3jei05T3zvjEEFaHi8f3H1Gt15WdQro4D+7dVdq+l17+Ag8ePCLg96tLd7VaVnUB6fCLDSQtQMSemOJKCJWvIOmabhsBWE3PzCq7Vuooq9JuVpuT/d09VZ+SwcBRNq2ApzPHJllcXmZ6SqC6QT768AqFXIaXX32Ju7cfqAt9UQCubq9iPGVSOYwWqxquyoBjfXWdoZFR4j0Bml2Ng0RSDdCz+QLTM9Oq8tVqa0TiIQbiAd7+3i8ImO2YQyYCYraotNjYPmB0PMziZoVJb4u3/90MS0cF7tw9UMYKqfQIryQW8fDGm5t8+2sjJBJZ0qU2Mbces9bhDz/WM+jRUSi20bUbjMejZKpd/mnhiO//19N8+3/6O3J3f4VRuk7NNrpuB4MrRL2QQqMM9iDGrhmMLbRyGs3mopU7xBKYguIjWqYIhGIY8mI5KqN3BekKSbdYod3KYnIP0DUZ0Wf3IDyFrrUN8v9tExBrGZvWoJ0voYsdh84u7b17WPxn0MkiqVNRC1eDqasqBVarD5H5Ko12eQ+is1i1Dk2tjsF7HH11g1byLjqzl1a7jN07QbPrQPf6H8S0YqaMx6lj+liUu4+K6rDx5ZdHWHi8T6NtRNPrMRrMVCtZwnEvn354wNS0n3NPD7G9fKiiKaEBH4W9Kuu7BYw2Nx63PJDNDPY7uX4lQTDqUDTVnaMqAY9MwdqE3T5uLSTJVDtMD0fxm7t4w04++Gibcq3BV14e4N5ikfPzYe6uHRF0WFlJVjG3dcwOOPi3P9hhZMCNz+ZgL99hMNYh5NLzj7ervBJo8CcvRPjh/QJX9xrUKl11Qe/3a5hLLT5eb3L38D9TfLyPhoVq8hZm1ziEB9AlP0OzHcNgqqjebVcnUYwtrP6JJ5vA5G3sw09TLdUxtmo06wmMzkFckeM00lt0DQUw9agORzH5GKNJADsBNGOIcv4AzVzHbXGrB40p6IOol/bhBru37vKPP93ljZ8+YLPRwWjT88KIEafHzNZhnbFRHwerZfz+NkP9IT56mOOZuI2O0cqPbqcZj7iJxxzYtRY314uMO6v8/gUnAbeduysZzkz08zCRI98pM+t3cGtN9DxNNKMBt0vPbNDO/ayORKJC/6iTKb+TIW+TOlaSqT3sjgHeXKvwxkqJm1kLpWYDjB7ODboZDmhYOxWlrLLpLGSaegJ+GyvbGV58aZ6rnz2klC0xOtlLo1ynkC3iEyWYxcxutsTpU+MsP05As47RacKr2ai3NIyWMqcmRllPyeE/z4mJYZb38yymCsoccVjSYXF16dfp+PachylXk2inwLmJEMVKmbUMFGttpkZ7ubNwqGoAox4HMrzrVpp4Ak4sej1X7qeYHfSxXWhiN2j0xd2YrGZMWpdSNc/D9RrRqBm70criapahiJNYxK6c5teXcxgbJSpV2XrFWN/IqNjsZNxJqlzj1QuDrC7sEYgK7bqg+rqaxc2dZJ29mp2NowqfpTpcGjQSsxu5vllVHaEXZzzcW61gdNtoF6vMjAdZ38zhCTvwtDX8YT3X1xoE3Dru36mjQ898T5eTx0O89OIsgtU48RuvQmiWTsVOZ+cylZqGcX2Dsi6Hd+gYlZYefSGF0dOLZqzRyDQweVzUs/vU8jsEpPvvjKutvsHsxGw3YbTHKK58ogBn3sig2tKYwsfVNrmbuAwOP/bQMKVsDqNJQ2cSE4aZRiWJ3deLyd5Du7KFoeNV3tNy7oiNnQdsy5dzA658dJtjp+Y5ee6EOnDe/+w6Yb8Lh/+Jokavs1Mr5Gl3Urjdbnp7p3H5fBitElf30TGJ+qaDtZFh8dOfMjA0BhO/id6QR3ewgWYNqC+/bmGLRjWDPXocY+8UnUaVWuI2ZnuQjtZGa+bQm/uw+73UsakHqMlmp1VrYLUFcZ+8SPb2O5z4yr/nuVNB2k0dIZeOVE3jk+tp3viPv8OZb7zI/vUFvPEBqtUjmukCRnNTxepalQxG6wDW+BjNzQ8w+scwuv10GgXaljBGARwa/VgMNUqZdWxmA5prgHa1jlGrQnmLlm0Gm6GkTAipndsMvvr73P7l33P6m3/NN88HMVq8pLIlTLoaO4kiI9MT6tIvxF2JSDbk71yV/qcPs1GnIpUGnZk7d++pC7h0NLPFvIo+1qsNtbmQA8ijB7eIhCOYzTbVMz339AUVub925SoXnjrL2tYaoyMTZNJHSr8nqj25wBcLRQXQ64/H2djeVRsOh1vihP3U61WCgZgCgIoDWhzDEp0U6Nvm2obqGAsBXqwGolwT1VOPXJr8IRYXF9QWUnr/Y6NjLC8vKe3X17/8a3x69ROkMC+x3Bs376pLbKPSxGjWqcu/vO98fgdjk6Nsr+9SKJRVmiGfzaiNjlC8ZQtblQ2+xcLEsUke3XlE0O9VwK5StYw/6Fd/XqKgkiIQ2NDW9ia98V51gHU73OiMBrwut9qSSde3qb472uhF6dWtqQ31xtLKE71ZocDk9Cj7u0l0Or2ChOmsBjYW12i02/g9HnVpkS6pXOiEKv7B5csKjuTzBvC4XGozLDRp+Wc5+EciQYKBMIvLS0QjMbXx3NraYnhkWJkH5AI7PjrKex9eJh6LKQCXeOdFhOt3B9UGTrZe4WgP5VIJn8eLN+jl82s3lZ5OqiHTx46TSWe4e+cuPbEeRb4XbaN0dYVHsL68rn7/ExPj6s8njwSSV34C3at1FWsiHA2TOTpSEWq7283qypr62cX5/ejhAzxen/LSH5etVbGhtlCiJuyJRVRM/ZNrn+G0uZicHGdjc0MBwKTLbHfacVhtLCwuqMGT0LvlAu92ia4ro1SKzzz/HI8ePiJ7lMfiMKmhg93pQmt1lTVBhizBcFDVM/YODpUjXi5wYscIBf1qo7W0tK6UiLLFE1p2rljk3FMShd/H5fahaW0217aUNq+3r1+lLWTba7ebqbVa+D3yOzug3eoqmJakZSS2LTUcNcC0OdTAYm8noSLh08dmeONnb/DqK69QqgnEsK7I3aubG8xMTvLuu+9y5tx5Bvr6uH/vAflCgWgkitfrUEm8teUlxV6wyGDW5SCrIuKj6jKYyWRUVHl1bR233cZRJq9qj+12nXqtqaoncllI7h8qkJ+8n2IxYU34lTlj5vi0sv0cO3GSWrlIIrFHIBwkFglzeJhSsXS5bFXKFZU4EwtHt9vg1PxJleS5e+ce3/j6r/OXf/03ShE5NTFMo9rkzoMHTE5NMNTfw9//l58o6Kbo2Da2NzlK5YmGwuoZ7pGEUa3G6vqm2o4rzZrOpOCLEp1P7x6qi2V/f48aTMql7Vvf+CY/ff0N1d2fn5+h0+pw+cqVJ8NKrc3Nz28w2BOj0ShzcFDEHQ0Qc7tZyR/x6h98i5X7C+SzRWVPSKaPODE3z40bN1XX+umL51hbWVfAU4n0S2Q7W8gyOjLMTmJfRe1VDSaXI+T309cXJZ1OY7e6OUrvq5/FKEOCRp3jJ06RyRwpVZz46OXvur65qT7vpUoNt9OlrBVTx6aV9s5mtdLqdLl94y7xvph6Nvm8Lj795Cp9Q4MqoXDvzmMGBwYUf0AunYoNcnDE5lZCba5npqY5TB+y9GiJS88+hyfg4eOPP2H22DFu3ryB0ylQ14DSVwocVZJd8vmUIVLqMEco4KOrg2g0SFe23C55fSoqkTM7O61Uf/G+frY21pVW9/TZE3h9UjU1kdzepXdQ+F/bBDxemq2GYlD4fX7WEzv09UQVqNGo61Co1hieHGP1s3uUN5Lqs5wtlenribG9uYPeaKEt34OTfbgGI3j1VsW4EN+9wCtXl1eJy8b7MKsGREaTlU8/uc6Zc8d44cUv8P77n4i0haLYNGQFj06BTWVoMtg/QFvTqXSV1mlRLJYUwHNrY1dZyNxul/rfBocHuHr1M8ZHRlTiqVqsqUv63Xv38Hr9PHPhaZa3F5U9RwbJYWF0bG4pNtbLr77ML994S9WxRLl5mDlibGyYYrGiBgwHe0l1PtPpRDuuU5BQqYwIA0CedzPHplXaT3ScM+MTqmozOTxEMp1VvJDnnxdI4K5KgEwdG6dZbXHqzJxKetksZnyBAFevXGXu5AwOq0s9o/IZqSfZFctjT2p4AkpMpRVUUC7ld+7c5Stf+SLpdJFiJkWsP6ZScteuXlfJ6vn5ebqdlvqzohOV9FPfaISP/+PPsDR1GLx6Gi0dBn0bh8lNqVnk/m6b757Q+NNf8/PBY43kQRVDp0ZkIEA1X8fr09FumLBZjeqsIYaPgbCTcqbBb39QYsRuYGzET2anRH8syFExz4+uHbH8899h/EvfJHfngQL76bQCmtWn6hldnQFzJYvB5KBuNoPBhq1Zo62vUjvawOroQ+cbpFstYrT50JU26NqCdEsp9DIobZbQN6tYIxdolVOYDZKOTWNsVTD4e+gaXXQrWTruHnS6CvpKBVzT6FoH6rsY/xSd9Z+ja5ZpGmNYjWVlI5AbgNXopn7wOd1KBmfkLJg6NBt12s0U5sAXQTuks/+QrsWG2duD7pd/1KNVMy3KnS7lQoWDwzqDQw5iET97okbrVBga8NOsVbi30uKFM1FS+RI2s1AWhT5voN0xEA2ZWVmWh5YVg9XA/YeHRGIOJgYifPhJAn/MgVtXVv0iZ9DHzfu7BPwunPq2IOkwWi08XNzhxVemSWzn0LQO2xtlpRGZn+uht8/HD//+MbFhExfmgmwnsvzxj/KMxV04zGZK1QYeS5ces57vP+rwpy/Y+b1nA/z4yiHvrjcVoOwgq0f4FNlSk15Pk++991fsfvQLnLPfQZ9fxNDRKFSKmLqHWN2TVLc+wRg+jcFqo57fRmeNYDY1KSV3sHrDGLxhWs0uNoOd2tEdWs0ClvjTmD1xSru3cdqMuPU+6r441SNRLpWx2Dy0S0k2Fq9Qy9eZeeGbNPIlgr0ROtEYlnAUHr/Jwzcu83e/2iOb1bAEnHywkMKNjlcuRRTF2Fi3cdQo49cM1KxdgjYbepPG/Y0KZZ2ZnXSDY34DX54w0ClrvHLSQTFd436uzhdPjfDhgz3sjYb6oDS6XeIuCzWjgaO1A8rtOkG/j1SpoaBEor+Km4UwbeCTzw6YGZPER5QfXDni8SF8VHSSbHWwmSyMDgfZ3d1k0KJjKBBhfXONi2ePkcwUyZeypOpGoqIJy6VoNzWcDhNBi4XtgyJVE9i7JoIBN+VCnq61zqzPS6Jq5YP1QxotMLmcBP1d2vUOnkKDf306zHMjRqy5bSJ9QT58mKYv4CVfb5PVDLhtsL6eVcTOV74wwfpmimSqxItzA7xxe4NyVUcsYOTYkJNcpUsm08BnM9E0ddlPyeXaQNdkolPvYjcbaFXaeEMmWrWOmpRfub/Pb35tiLeuZ5SOcTZuweUw4Xe7cLfLPDyoEYjYubr6ZEv01r0inpiHwRBs1S1UDwr4fGaCDjNHuQY6TAxFrCRKDaml0xTZUsBAZrfIhbkA+ZqOZCnN5et1oh7YTrcYtOh56ZLAdTTmn/siw5e+SFNzo1Ua7Hz6Otj8BExVqvtp9PEhbC4DtUIH/8BJagfrlI5uKhCdwztJpbSMpulx+sY5WvoF3r5L6PK3qDfzOMPnqB7KIEyAoaJMAIOnh2ahSy2zR3A4yv6Da3iCIzjCQSp7iwRPPk8jW6Vl6GKzekis3mUvsU+t3aZVzKEzdLl1f53hnjgDg2PUu3nGp55iZ+EhhXoeT3SAe1feZ3hkDIOhRj5Vp9FtcvbMOSYuvka5dkgzsYJ37BWq+QWqu2vozAZ0Vj9WS5CGdoSp3MBktlPV6dG1yrTaFnQ2N/XMEk5/mHJqA3dgQl0UCrsP8fUOoFn7MWFFM5aop7YwhE5DZZW2vEKNMgb3KPb+CKXNj/nj//7nTIzHSR21SO5tU+2YWNoo8pf//ju89PtfJnV7DWuwn0Yhi8nQwqK1aDmjGKtFWoUE7fYhluCzNMoPVJXC0fcc3W6Hbvo6beckttBT1Fd/gN4ZoKWzYdQ1MepcNHRWzOYOOrGkVIry4cBz6inKi7/Adep/59cvDnJ4lFH05qFIkPXtNA2tg88f5uVXX2V3f09tqaXPLO7naEziiFmlaTp58jhdTcf+fpKJsREVRZd/ttmtaupv1KM2W1ubuypW3Gq2lMdeurN9PT0KjvbpJx8zNDyoPN4S62xUqjS7HcKRqIqqiWtc4r8jo4MqHv76668TCcWwC2Hf60fTdynnSpjsJpZXNpkaHVdbr+s3ZSAUJNYjus8ldfEQQI8Ap2S7vrezrzaG4aAffadLIBLiyue3FdtgZWEZm9XO6NgQt+/eVX9GoHUzx4+zv7OnNpeypZJouvycWxtbHKptaVjFwCVp02k2WF3aYmxigHyxiMvuUqBDSQB8+OFVFaWXzfzQ8DCbCbkQxWg3WopQHgiHsRj1VJst+vt6WFveIhj24feJuqjIbmKb1776Nd5+6216hEVQr6uNp4AwhRA/NjGC1+Pj1u076pAo/VaB6MllQ8BksXBE8RL29pOK4F2u1jDrNEUNl4iqdDfFWS9VDa3TVNFhofSfPT2vvO3nnn6axPqW8lDbnR4ePLpNf+8AxUKBk/MCt1pVB7PlpUWVDhA3uETVJd5ZKVefVD28XnXJtZktVOoVWg1NHewtdivD/YMqfXD9+lVlXgiEo2qbHfB5n9C1W3Xm5+bZ3dsmGo5RqlTYWN9QYCq5ED1eXFCaSHnPCr1aou3yGgjMSqj8MuhYWd1iemIUi1WH3eVSAC/xwYtjXsHGbKKTa6pUREY0dAKhlLh+cpeupJi0trroSwVtoFcsOPu4LFYyhTzHj5+gWCyonr8YD+SwOjgypDacwsqZnz+utu07iV2l0Lxw7ilWVtY4SB0Q8IdUlNvpcrK5vsapU2cI+jx8eu0a8Z5+5eD+7MYNTotDO5WiXq4rWFc4FsFitqhIbk9PjKvXrzPQ36fql/vJXcL+gLrIy+V6/uQxNtX7RIYfm7iddgYGRlhafKT+XbE95Ut5QsEIe3s7ChgWisTY20+oKLYMNowmkwKWSepHk2qjx64AdLFoTDnlJ0eGqbY67Gxt0Wi0GB4a5sHDe2pjKH335F6SaG+MYraA3ii8Izd98RjvfvAB45IMslqUFeLpZ86rRIo/FFSXiv3kEaFQSFkGhEsh20e7AHW7cn6zMD9/ktd/9gsV95chkqQBbHajMuhIykQqQ/JZE02oqM002uRTOZ5/8XmuXb2mIHOhYEjpOg3y3BkZ5M7t6wqsKWoyqfC4/B4uPfcFVta3FFRWNmzyrBOt8W/+1j/jZ2/8hK2VNfXvyqXMYndx79Ea/UE3ln4vnskBlu8vMzjcg8Vs5eGDFeZPzqqBntvmoFArqoRGf3yIwaFexWOYmhxjY2NDpeacThM+f0jVegSwbbKYlOXD4/ei62gKyvrKqy/z4MFDxVcJxAI0q3Ue3Ftg/vRJdSEWdWlDLt1lAbn5yJdyqnayKVBLl0sZWwT2ubS8rMCEfb29KtEV7xUeS1bBLKvlGsGIT73v1L8/PMFBco/B4SH1WT9MppX6NZXNYZDGuSYu+jA6gxhUnKqeIsMd+T7Y3tnmK196hbX1LTVULFXqagASDsp30g5Wi55wJKKGobV6RSWg5DknkXMh4D98sKQuXo1qg17hamwnOD43pfge1658zu/+7m8qa8zSwgpurxO3N0jmIMnU/BxbDxcoLOwT8LupdiS99iRlItwIl9UKQQ9952bY296hLxBiYXVdDbuF7H54uE80GCObzymAbSgYJhCxsbG+r9738r4Q4N3o0Bi3797k4oWLPF5YplorYTJZiPbFuH39DmefOsmtW3eolCqMT0wqZsuzz5/HYrZx//5jNQgbGuzl4DCN2+UiGhNOjaaGkpLeGhodZndrS0FTNzcStLsNJscmFelfwI57e/uMjgzxaGFZcQv641Jzy/Pya6/x8UeXFTVeKlgCQpQFzu72nho2S7pKdKxe7xO2QiQWVsBCrStwbLuqlMjiN1fI06HJC5cu8U+/eJN2S1PWFHkNC8USa+sbKmkmg9vdrR2qzbqqmRVKOVUv+43f+Bqbq9u8/e67XLhwVn0fbG1tqCSbcDi+9utfVVrcm5/fplosq0Gx3W1ley1BplAhVmzgcsh5p4quIwmeDu2ujr6IiY+3m/zOmJH/8VUXP7uWJ95jw+Gz0W3qqbbLRAIO1rer7CYKOF0CWNWo1zoMhex85+M8EwY3VkMTs9GKZuqynmqweVAj+/g/4LHqKKYqmFpN6voOluAUWrlMqyacHhtGGW6lDpQdzOgZRq+zoaVvUNd3sXqn6RQ26bTqaEYTBk8/7VIaQ2AIrbSN1tbTbmYxmqPoDE0MrQqaM47W1aNrboGYn+wWDJoRrbyM1tDRsf1/4K7MFobeOXTZTVXj1mxO9F0DWtuErlvC4PSjaRa67bxKVTVSqxjKCSzR0+hcEdrlMiZXnFa3RKeaQffOHw9oR0mBcPgV1fLdD7Z49lSIQqvK3mGTg80KdpeTyWETNrfG0noDn93Mhef6+A//yy1eeL6P3WSKdrXBzKl+8sUWmcMqx6f8CjDxwSdJ5o5Jn1R6LUYyyQoLW3t89UunuP7ZY8JhL61Gm56Ig3S+ydZGlrOn+7B4nVy/+oi5qR4SuyXKtSaBsJuLk/1UCinurZZ5Z6fJR6vlq7rOAAAgAElEQVR5PFYrIb+FXosOh6nLR4kyf/piDy9EdFzda/KDWw2Ghr0Y6gV2K5A/LHMibuC/fe8XbP7wz/DNfAtje0/RMinm6DZ20YefQm+UTlkXuz1Eu5am2WxjcXqfgCCyK5gNdQXWscXOU958E61exjLxNQyFHcqVAzV5o3OEOfqUMH5p5NfQd0roei9iONqW+xOtbgXNZFMH/kpuB4v/hIqb2+Nh6CTp2Lws/eOb/PQ//Yr1rMZasstOHb77lSiVlpUJp8brt5OEA1ZEQ+kzthTEb67HRq3S5I1dK516kX8+b+JSnwWKTY6N97G6lSJRaqmeV6stcL864YCdzYMuX74U48fvbzIWcmJsddhMFImOBZkcdrHwOI1WbzIVlZ+5SX+vk3ZNx7uPs9yptNEivbxxN8dh2SyDMb5+MsDNxQNCsjnWDIzHzCo2mtPZsJj0bO3n8HmtrG0V+NqlY9QyRe5s7dEN+Fhbq5E11TDVrIz32Hh1yAH5BP/ieBCvpYvdpEfnMLC9lWQxCz5PhFK1wkjIQa5dU3Hqva06upaBirmIz9zFY7cq/ViuUMPjNuEOGuk0rNy+t4MvYuep6TBXbslhzYDdaqNZaZHKVhgdFU1WlaWdCpdO9fD9XyTw9/6/NL13kKX3dZ753JxD3+4bOufume6ZnpyBGYAAQZCgCJIibYm2JJdtybK3al22a+2yvVvlctq1a7e82nKtVyutvaJlWbQoZhIg4gQAk1NPT0/nHG7OOa7PgfcPFgEOa/r2vd/9vt857/s+r4eRLhvtFthKRUb6TfT1yc20ykGtwVbKzHdfZKm1PIS9ZnIGaNTLHETNfPmUnUFHh3dW09Sads6HoISZJ9EiEwE3DouZYrPGYMTKtN/PD+8lMVerrMRbjPlN5Fod/rtfHeaVr55g4MI16j1nseW3MSQbJB68Q6olVTgeLK62Niy0cis4emcoPL1Pp7sPZ/9XaGZlW1mlUSxSz0fp2F1YNOJQxuUZp+30Ut+7A2Kn9IRpu2Wj7dIBppU91EVBzeymEL0LjSqRsTk6jgmc3YMYSy+olOMsL6xjatrZ3tlmfXOJtvAiDBb6eoeIJtbxOd1cPHdOh9FoPKckXelv3txc0pyew21nZGoEnyeCxZBjdGoWW2iO2v5n1OotbPZxitHHOnxZnEEq3ik6hSyt0jqdagl7/yyGepbM9mfY/CfwD81QyWxIYxgW+f86Ph+gO9lNMFko56PYunqwWrzUD1/QaDWwCunVIfEtB66Ro2S3PqOTSxK58m22n77DF3/zuxwf7GZ8MoyhVeOw3ODjTw/4v//hGb7yu3+dw/tPcNgC1EtpDKYiLSFej75KbucZbmMO88BJ6s4jmHN7lHY/xjX+JrTbNBLLmGweDMYGWH2YJAOWyWK0Q7VuwOoIYPN7adWMZDd+isU3SGjyK7TtSSYHvkPG0GasR+rAfFgMAvgxkjwsce7KBcxWOYgVWVhYUoKv1H319g2Sz+TJlgpMjY9oTvn54jpnL54ln86oitQTiWgt1tvf+BXufHZXLf6ra5vMHTum1l4ZxsVOPzY2wfMnz+kK+VUBisdzXLp8jmQsrjCzWDzGtVdf0UPs3buf8cYX32RXOqKjUSYmjuhCotasUynX9O+ef/aMyalJbt97wOS4UPzz9PeFVD0SBUys/2IvlqWBDIfjw8OaTXS4PJSLAlSVeior00ePs7DwnFMnjvJiVbKoR8nl82xtruP3BijXqgwOSBtJilQqo6qhVBc+e76oB0EB9r1y9TKP559SygnAbUwH6Lt37nPm9JweTuSAL7EBj6j89Tp7e9tK0hb7uNFs0Nf2+MkzzfK2mlWNLAi8UMBMRSHsB/xqVzeZHVobJtVRpWJdafsSBxJbrBChD6NxtXELoG2gf5BOUyBcy3z9a2+yuXvweYVjTWBQFbqDPs0k+7p8PHnyjNnpo1QasuiVoVrI+kekn4n5+Ud84erLamN98uApx88c4/mzF0wdPUKr1uS9Dz9gqHdAD3mjo4Ok0nm1r0tFmRxaR0eHlCBtd7poVKqqfskh0uayqsqdSSX1d7DapBrYTRuDZkz9fj/dQT+1Ylm7uoWRIPVgMmg9efhcgcFiZbZZ7AwPjVMs5bSu8pjYzaOHFLOiok7SbDf1mhGlc2x0gKfPlvB73aoivlha5EtffIPFxUVVyk6ePKb3kDu3P1N6dbFcVqvxzOy0XivbO/t0Gk2cHruqXP4enyri0mEt+d7+3kHlgggHQya2cqnOiZPHuXP3tlLqfT4PLxZX1Mq/s7ejIMxYPKm/pzgYJN4hbIiBwQFVwQuVEqODo1TKOXL5kh6QRf0VVUxcOdlMitnZI2zvHdCqNZRDYDKi15lwMrZ2ttXNIws7UeAE8ChcC4fdquqfXMviQskkc2qXz+QlV+rQ2INEQbp8wmgoapWawMlEcbfZjOosGx8ZYHFtnUa1qcwVsRj73T5qzYZmU4XdIfl/ab+Q66BWbqhT5+njJ0xOTanjRfK7snAUx5g4NcSuLX3hMqx7u32YDQasFhu7+3uMjY4od8RoNLK6ugYtOHvhJPvRAwrZEmdPneZHP/+pRkKk//zgYIejM7OEenv50Q9+pDWHEm2tlRpY7CZ1A8jfKbV7/QMjVCtljackE7vUKwLhjJBKRZlf3OPXf+Pr+B0O3v3oFuVCgWvXXuHOvTsMDg7rYHWwu0eX106tIjWUFjrCXdqNMTY3wVL6kLnzp+lyeRREKO+PwP4Oowl1NcwvPMPlcDE6Ps7u7o4uBkVZl173selJ9rZ26A50KzdDuBLBSEjva5LZd9jcNFs14okoLqecYXJ6jfV0dVOtV5V3EI0nVVGWxZTED6T68J133sVqc2pUpJgrcuWlyzRbTaX/v3z1ZW0+ebGyqotNYZYEQ300G1V1tQhIVHLuEg8WboHAS7uDMmAnSWaSuNyyTJ1ga21bXR9iu5bGCBm0RkbH9Zkhg6cMi4HuHppyLZtMbG3s4PO49L5tNNoYGR3k3v2HDA0OKMPA7/Xos+QwdqDKuNPtotXs0GhV1T03OBphazumC9zV5RVdYLwuMYan85w6eYJmu6MVsN/+ta/z7v/5XwjZ3ZTtLYrxvF77XXK2dTg5TKTovXKc7H5Mbd7d/RHqlYZWYsaih/QOD2JoN7U6Utg9sjy+ef02Fy6fpZjLUygXNDIUjab0mXLj1m1lWAiHQyz+srBu16UlR95Xt9btbe/ssbW5o8/4cxfPs7WxqSwD+b0FKCgRikgoqMsBcb1NTE1oq8bH73/MyOQ45y+e5Hv/6fsUSnleffULbK6vKwdA3qP+/og2aMgzRVwtUnGbjMcVHDnQHyYgVYb5orZwiDPLYrRppe7s8WmN/Mm9xu/v0kXQ1JFpPvroQ42XCHxWrrVTp0/y05/+QhdzIsq43S6K+Swr62uMDPVjd3vJZfO0m1WC3b3YnXatBZQyt8tXLnDj5if4vAJZPFTX3Km5WQbHRvj0+qf6bHS7gxxGt3XxJVDdM1fOcPDpEsXtbexet963rQaTzkyNSoaltJmvjlf4F28N8iRaUfhhqdnAqwwGOy6Hl7uPlnVZKiDJU0dGaGR3qBWafOfnbcJ2B3abnEobeL0ujTL98oacVf8At6VNZqtAefVHGN1uvOPfphmbp20W58oADZOL1sEdzPYwHfcIteYaVkMIEw5KdnEJpDA5B8HswFxeU/HD7BulUzrA0OzQqqRp+Yc0HtGpN2hZQxj239FniTX8Ms3sCsZOlVbgBJ3UHVyDF6mXy7TSazQ8g1i8fbS3r9Np22gLN8kZomVxQ36LmmUAWyCMtSjPiiqd4ACt5A5GWzckn1KXULVtBMMP/sZwp10rUG41MZsM9AbdxGMV/F6TVs/QsvBoPorZa+LS7DCxZJ5nz7c5dTJCwBvis6ebWBsdhqb87GyKLdDxuU0u4mBk1M+j+zuEu/0YLAZeLAu110i9aODLX57inQ+WCfU6SKUaquAfGe2imGlgdxm1g1fU0Fyljr6MVpuZ6QjzWxlMpQaDIx7+zR/t8rBmIOI2Yre5OeJv0TDW+Wy7zb88a2G218CPlzrc3G/haHcw2tr4vU7yhRJ7u3XeTb1P6b3vUXEEMVt9mKVyLBCinRSIkZ16TYixThzmplbhOLtGqOVWKIsy7grRqmWw2J20AjO0DqQVwIjV66awv4MrGFbVuaY9WVGKZR+94TDpg208kTBN7wiNchry+9SbLsxeF3TSWFt2dSsUUhWM5m1czl4sE9O0I0GMGzvc/U8/4mfXH3HnfpFnBZjrh69dHmA5niHitLEXbRAJ2zHXK6TKBqYjDlb2Gvwfz3NMBx0ELU2+NWtlzmFjaNiAz2rhz28cEA530e2U6kYru4mKxgaOT/rY2s1q13HY7SBfMbKUS/HSsTA3H8Rx2pscHwzRKVVoGKsM90q3e50XyTKuUJj7uw3+yYOmcCS1fsJlM+lnJZapXq+J0z1ODP8V8nRzMcpessrcaB83d5JkSzDnN3Jx2MGco8TLA1bq1SIzQ37y6Swr2RbJgomtVIlgt4tmy8Cp0QDr0SylRpuTk14KuSbJVIH5jQqnjwU4f26Eh0/3cDkNPHmQZPJIF2apqOl0OHYhwsN7cXKZqi6iKsYW1WwNh9eqOTkZjswmB/FMifHJAAOeBo8WMnS7Wtg6ZoqGBtPjffybP9vC2dvDD+cLuMWq0+XQQTOXqnFy1Ea53qar06R/KMBBukQh32Swx07A4+b6/DZXTo5Ay8STjT0uHunmP78fI1MzUis2mBiBr786wLEjY1z81regf0S3utH7HxD2D3Ows007k8c7ZKFasCuFndwLbMFRjAUT+/srDF38daqHt/QG7QkPQuYJDf957O4+GrUDLPUqbcxY3P00WjVq9RRg1QWg0RykvP0ZFkOHhjUIxUVc4bO4whFwRagk9ukUolTLec3H3bl1D5NVHvwZhvuH6Pgi5A/2qFcLhEZ6mJw8xvMnzyjX2hydPsLW2iLxxD5zpy/wyfUPOH32DFe+8Jrm3qq5DAbJGToDtKhCy0Mlep/U4RZm/xChyeNUYutkDvfonX6DUrtAM7qgDzPv1JfIvbhBaGiCoiFEce8OHmkWKMZwR6Yp7MzjGRimZe2m0zJizDynbuvFJZtUmtQ372EdfplCYglv34zWLpmLe1Tzu3S/+rt09j+ib+af8tWXIwqSlOxxaHCE7//pA/7j713j5d/8XfY+eBf/0Vd1o97YvUfbYFWidEeItQ3X5/+8/wiTqKkEaLtls7yA1daHJTBMPf4Q7N0YrT0YbXZquzcxe0cwdQ1+Xj3j6KKeX6NtylMseeh/7Rv8z3/lL/FPvrvGxXGPHuK9Pps++KuFFuHBfubOvUQ+k2T+8XOuvnKZ+/cfcuHcWa1PPDhMEIsd8ju//ddYWV3TgUdIzTaXjamxcR4+fkBf76DEBmm26jr0mo0dmlKJZTQQDgZVDZYIzf6etDE4tbqwJIpVKKg1j0JGj4S7+ejGbc6eOsXS2hIjw2Nqnd7f3wIsmiGWYVIGEIfTqpb2Hn8Eo6nN/OIyJ0/OMTU6xKe373Hh4gXNO0shWai7R2vdJC8/deQI2XSGgN9FIlNUgFy70eJrX/8Sj548pSSKQ6SPerWqkYZENqVD2/lTJyiVi5gsZvb29jg6O0NPd4DPPnlMV7db3T9C9Ta0BZjb1oy4VdowTCa1IveEIuzv7eCUPLgqMGju3ykHwe4AsVyKWqWuOe1KvcVAf0ijD/0Do1SLWcK9YaVhdzoGtaEvLL5Q9TqV+jxa8LW332JnWxwZNs1c/7vf/wOGRoZx2awMD0lrwh71uiiXogqf0qjMO+99yNd+5cvaDf/8+RLFUlXrpkSZktc/NjbG7dsPGBkbUMdAMpXh3JlTal/utCVtL8Bbl+Y0P3j/BmNj/TgcbuLJKJcunOPHP3mHV65d1UP6/nZMe8QF5CWHqkT8kIGBQYrFMums5LItGgMQxXLv4FDjE8Iu8Hm9bEkdVyjE2osXVFttzpw5ozWKK8+X9Gfv7O0STSaIhMNYMeLpkqagIrVSjVYbdVTkM0V6errY2pahuMrI5ISCKqW/PeDr4satOxqV8AYclLKyLHbhcduVNbS6vsL4+ARdPi9PnjzF4XPi9QbIJtJ6TfT29eF22Xny6Kkq94HuLuUAPZtfoN02fD7AGQ0MDQ+ovb9SqWmX9vLKiuaiZ44d43BvH7vTqcu0ozNHiEYFHObU3KxA7oJdQboCHp4/X9Fee4E3SjbeaDDq0sDj6+Le3adMTw1Tb5QVbDk+McYH71/nN7/z63x657YezkdHJ9nb2WJgqE9J27sHh6rqBoMhAoGAfu9nj0zxYm2NyZFBdYg8fPCAsfFxrUktVorsbO9y7uxprVrM54qEQj3a3y3P9Hy+yPj4uEZkRMGX2kJRWGURNXt0WqMKu9uHpNJxugM9CsGUZY/EfXZ3orx05RIff/wxA/1yLVkpVasaE5KfOX1knKHhIeKHaWVuCGNA3DDiDnq+uKisFuFVCC/B7jbreyYd9qJ8nTo5q3FEARVW6gIZdTAxMcEvf/ELgpF+rRobnzjKwvwjVbCFbSLRCXF4vf2Vr/DRzZt6DUZ6guzs7jEwPEg5XyKVj2PqQPQwrsOsxWCkb6SPhcdL9I724ZoYJFHM6ALok3duMXt6lqmJKW7f/YzJ8RFt5HAL3G5jRyGM8jOnZ2Y0qiLW7MGBIY1XCHhQjhAGk0Qpu7QS0ufxfr5AadQ5Pndch9H5x/PaonDpykW1OC8uveDq1Vf4/vf+TOs3JQYjZ1fJbgtEbm1ri8nRcRLpmDo3pOpOFqDDwyPs7m4rDFaGV2GTPJl/TLvZoSvQzfb2tsJUZSkgDAC5x3l9AcqFPOvrm4QHeunu6qLVqGuMQcS0YqmOwSiOr7AuNovFEn2hMOVahcHhAWLRGJFwP5V6ic3VVVLpEldePs/+box0NqX0eIHAynuZzib1u5HPFjl2bJqf/OxnvPnmVzg8iKq4GPB3s7axh9VsZHNrlWMzx3X54gm62fx0icUbS4xOeenui3CwH9fnlc1uV96A9/ikwrAr+QptU4NsoqBROLHAC+Sy1mjRaomNuqPtCJa2kUuvvszC0ycanRAo7vsffsT0xLjCYmUIFcV6bXNdnW6iLkvEpq8/zM72Do1mjf7IEJ98+ol+F/oi/STSEnky4LC7FBzaE+jRCJ58l8ThVcrm9R5utTmo1HJag+v4b/doWSb4u7x6fcnzR5Y5sszeXF6lpz9IJBRRgVHu+aOjIwo1FdeBxNJWV9fp7w/h9Yu/2KTxjTuf3sPl9dKo19UJbJajZKGskTujyUguk2ZgaFArTgXkazCZ9XMU8KS0PcjrliacmzduqNuJtplGs8IxaRc6iGO1mOnviyjYtpQtce/RQ4JdEcIDEZKxQ0K9QSLBXnaFnRDqYeFHH+G329XdIE1RsuSXFh+v0cj9vQpvHbPwV2cMRFsW0ocFVjcLXDjtJ100MDoQ0LhMTbgi3S7e+eSAb7zaS+6wzpf+OMFLY9Igl8YvznSrMMGKHKxnWF77Pcz1PKVcN43YbTr2EAb/LK34Q8xWCyazh7o9QMcawHDwMzqecQxNKbXqBWlxOvgEQ70A3knaZgFUl7CX4hr9Nbn71cEgD6tGaR1DsYAxchybP0Qr9pTawROM/mmcoTEquUPsrl5qjSJmg5mWtQdTaYVGtY7V3aXzAtY29aoBk7TWmTxY6gc0xOti9dEy2jHWE9TyWVpmG7beI7Sjy2ASUS+A4fo/GOukommyZRNhvw2bo8HyWp6h4YhCrV4sZrl2rReTCRaXMkwfEWqtic0lycd2KJZanD7dg9sF0b0ygYiP9Y08+XiB6RMBNpaLenAYGrPRrNo5d3mYnY1DPryxT6Pc4Nu/Ns7yWoKHd0tcuSyQhCa5hJHBCRd3bu8wOOrDa7OxtJZkerKbRK6MuWHl9Std/NGPD3hcEgBSg2axLjggrCYHN3fbfO9X7Jw9HuEffW+T/7Le5NdmjXS7XWQsZtb2G9iSFf544xcU731EObGI3TFDlSyWpoeG24HF4aAd2yRRSNGstGmWS4TGR7GaffSMHKWViZLNSN6/i5qQwp0u7L4etdta6jVK0WUanhHc7RoNhxcj4h4IUxMojRyWXV4snRzNbJO6uY3DKhaUCNXsU5wdI21bN9W2EXP8Ia1WA2PfIL6J01h7hul0LBhaGT77s3f5p//sv7BxWKXWgkG/gXCvibOnJklv7LOfN2he9Ksn3KzG6uxgxtqxsZJIIAzgVqvGRMvE1Vk7V46GqMRTeENmsjk3m4UMM90eMvk6G9kKXQ4DnaaZ9XSTCxM+tTjtZCvYKyWyLSeJvSgnZ3yUDTaGPFU6JjvBsIPURo6YtcP3nrZZLZt4lGiprTBWNOPusjLmbNGqd1S1m+6qMm0vcCkQps9b1MVBn9+A0+Um3zGTj5fYiIlFtJ+tjQTPFvN851sDrK7maLck3mFmcb1EOGTA7HAR9LRIVcyUygZSYg/s99HMd1jdLXL1ZDcGqywJWgQ8Dt77ZI+JCa92Sh+Z9BGNl8iWbUxHwO21k02XiATDRBMbYLKRbHhpmeG9xQy5pol+j5v3lvMIXgABRNUkE+rWPusuS4mo9I+P9zMXdPHv39vA47My3NNFQzRxc4Vn62WyWckEQ5dHHAUmJkcbfOevfpnQcC99s6/TCVgx1M3QKJN5eJPswUO6hi/SsofJrbyDL3QGU5eb0uYCna5BbJFZbMYKhdgaDncQQ2CK/Is/0QG4afXQ3N/AdfJXMTUrFHJxnN4QiXt/QOjIFeqeo7TWnmAy1EhnYoSOniGX2CTg78E+8Tpb1/+MkdfepLJ6k4P9As8ePCEyMkU6GSN6sInXJz21JnyhLvr6BtneWmFwcABr3c7K/hr1Qpx62UiqWacWP+D0K5cIubxE+iP4x85jsDlopLdJba1ph6w12IfF3Ud27S5mV4+6Z6y+bkqHT7F0jdK22RSK127UobKjan+zkcTgcNGpm2hkNjHaPdSaSVzOIZq1OGCjVljDZOrDFT5Cs7RLu9HRajYLBdrOAM2OF6+7m3L6OQRP0dp9qBRVY/ck3WMz7D+5xZEv/R6/9fYRatksh7Eox04M8gc/3OG9P/y7nHn9JKn5RXCbcDojlDsd7NUajXaFpsWBqWXFaG7RPPiYjmUQ28AsrWyUeqODLTxDK/+Ect2DzdqhXdjBEZihIfUtRlEKpqnl16h7g9ic/XR2f0an2KTnL/x9/u3/9D/yj//V+7x1bZBStobB1qGUqekwtrIR5a2331bb/JOnz7GYjLqpv3L5LHu7UR1EZbkkNWyT0yMsLCwrWdtqNbK2IQqVj1w6S0fqWl3SMyxqEczNHVOysahLwgYQkJdYGAU6FYvF6RsQmnMdk8mg3zOny6O5xdW1VQUYCZAsnkyqGiJ2ZFEA+gb7EA1yZGSEGzdu6YJAKjXlAhDmgChQMiTLQbrVbKh9M5XJak2cDKc2s1kPEsFQUBcO8XiKk6fnuHXrnvY6pzMZHeRffumcqoRysJfctkTSaqUKZ86f5Xt/+n0l3R8/NqP53WQmy/TkEaKJPbwuoRVXCHR3k89m1TUkCqcMWXKCz2QKOoi22katLxwZHdW+7Hg8rge6QNCnB9JAt08haCtrW9q13JLpnY6C9oQWLtlfOcTIUPnhhx9z9sxZ9nZ2eba4xltvfYEHd+7rAVn+zljiQH+3Ln9QI1jSrSwZy0qtTrtV0+zszMwx0umcQlFz2aK+fwJ7qtXqqibKoTSXy7G3s6/WUO3dDoZYWnim3AXJB4+OjPDoyWOGh0dVaRTb++7ODpdfvsjC00VVKOWA6/O6FRgWjx4yPT1NpVZi8fkK1VoTq63DzJHjtA0dvv/n7/Ltb7yhNHRxVUhDx+lzszx+/IJyrcjxuZOsL79QpVMGfRkMKoUitXZTlcaxkXGq9RIWg5mV9VVGBkex2a26SJHhfHpmWuu3Wm1REjvMP3nC7LFZLBYzmVxGc8+nTpwmXyywtPBcX6vUUsmhO52J0xce0N99fv6xwvbE3TExOa7ZVrHXS6RBSoKsJoPatp1elw5P+WyeYlGI+ifUYbLw7Ll+V8Su/tmde5hNJkqVIqFAUA/mHUOLbn+X9pEbDCbiBzFOnzvF3bsP1R0xNTXJ9NQ4H310SxdsYrFdmF/UxY6vq1tha6Lqi20/l83qeS3SH+LF4rLS72XJZ8JMX//n9mZhOQhATiCPYsdPxKOcP3tBayLzpYqqknJflqWe3W4mEU3pMCPX8cr6BjNHjmilaKVa00YhqfMT9+eTRwu6kLMYjRQKVc5dPK3d4fF4jGA4zIvny0zPTqniJWBIiXtWKg1dfsnSXWII8v6998F1rly+gNVmUsK6fLcsZrPySIqF8ufAyfUNHVwFNCkZdlEYrSarVNUzNTnJ2uoLDBZhFzTVvn7mzAksZgPP5xcoFLIaS5DPoVJtEuqV4aSpNcTJtIhabr2m7955oEun1c11Csmk0v0tTgfmdpuCXHctO91nxjAH/cS293AYzGQqZc3bH2zvkc2XOHViRp1cq8tbCg4WJoQ4H4RXIrwRi8NOIZVlcGCEbDnD2soq/f19qgRb7RbsNocuYw0GNMIiMSJZKqXSRXp7Q7ogsNnN6lBpNlosPpd796j+7812Qxkmcv9MJRNMTE3rcjInFu9WS7//Dptdr8FwJKifv5yn3V1eqgIM9YqrYZveSL8OjFvrGwSCXVqd2h0M6fB36syctlWI60eGPwFlyneoW2Cn1TKx3UONsF5+6ZIOw+l0lqnpSQ73D1jf3GZqYoREKqWuA8nqHxmfwuV38sknd3j9C6/w6P4jEumULiokprW3tcfV1y4rf0gaEsRlJBGuvZ09dR2ePn+G/Y0t0ot7DPgDHGQTONwufc7L8mZ/O2+hyBMAACAASURBVMXlb5/jECMbt58xd+mkNpAJMHJ2Ru73a7q8PH7qBEaLlR6fn6NzR/nZj3+mcOD+oUGWni9gMNqYGB1hc2dTn0EC8gx0dSu/RZ4n4tpaW13l2Al5f6Jqwa+UpBL2CX/77/wN7j14ytKTJU6emgUBVe9GFRIsZP/h0TGtwcvl0hSyBb0GwsGI0v2l3Saxs8/EiSNsLm3poH/x/GkaJvjs1h2mRsfY3t4nkU3y9td+hc8+vatLiVA4pI0cxaw4jQaIJoRf46TRNmi0YGt1g2I+z9kLpzXeF0/k1eEjy8iJqVH9Loj72S6/18o6v/lXvqMtAgJlFCaDPOeHhob0sz842NfrWRR/ASnev/tUn4lS+fhiaVW5EBKZe/x4np4evzqmsuUSuXgaX8hH87CASSCayRpGh3B7WnjcHvL5CrGGhTMB+B+uQksqx4125aU4HTI/FVjezBEM+LCIm8jU4SBdY9JfJWty8Re/X+aVEScWmpjqDkK9Fj5bzdOJl1jK/DmGspma1Fcv38UyMI3J0kOzIc48G43EHeg+i8Xhpx17htHbj8FspVHKY+iUMRViNMNzGJp12uUdzJ5BDIU09WZWXQEdKnTqLUzC9mm2aEiVn9WDzTdAMxfDUJNawV1MPZcwNVO01n5AO/wK1vAM7Zy0shSwWZ1gMGOgqa1Ydm8PDeyYxO0pdsP0Ih33JFZ/N/XovMYXWnY7JkcEU9eIxk8NP/6dcCcZLfPG20e588kGAZ+VjsHI3k6Mo3N95PNCfe3jw/eX+OSTDN/81jA7WwWG+93sJUpsSzb57BilYo39eJpGBY7OeWhVWlSbJpaeH/LaVyaxmYz8x+++4O2vTZPYS5AXO73JQiBiJ52AlqFMuwpev2S66oSCZiKjIfafx/EN+hQosb+aoKcvRKlQYG7Myj/8YYl310pMeTu8dsRHttJhsNtMrNLmbx114DeW+LcPW2QFvjLaxVa8wGYVbj7I8JuXbPzjjx5QffALjO0U7c4AbaMoCGWauQoGlxk7NgqZlFpad2M5DneX1G7+1V/9ina9+kJ+LD2naObXyKVbuCJTFJ//CR3LEAZ3N+bECuVKA9fYFPVakU6pgVPseoUlGuZp3C4fnVaSamoZS/AsVkeQVnpVyfo2VwCHd4D0zg3NkXT1zJCpVLEakhT20owd64XjX4aDZxw8XWFnc5N/8C+usxNrYfZYiPia/K1vneCDx/uMD1o53CpQyZQIdAfZLdYpUabaAqffx+pmhssDZo76vCSKeV7tazLT62e7mKFcsnB1ro+bTxJMz4R5+myT3c02J+eCLO6nODPpxWWxcZioYbU32Y9W8XZ78JjNLKwmOXsijI88XS0zyXKW4bFB9tNF3nleo252srST59IxC7YizARbHOTb+Dxm5sa6uTGfpGCUKhMzbanIOxBAlAuP06rMALfRos0QRRPcvxvn7Bkf5aqRSJdNH+CH0Qr2Tge310q+UWXxWZtLF71U6kYWnsZ4441e0tEcybKJySE/6XiO5Z0K1y71Ui23FHrUyOSJC6zGZSVmNvHnNxIcpM0kGy0CfivxfINul0W3jD0RG7GsFUuxxJfOD3NnYw+/kJWdTvKYePBon6+9PsyLtTiFcptavcZ6ssV+1kK/rc3X3w5yqq+flsvMN3/tbdrhMSyNpPZ3Vos1Dj79I5yuURzdIxQTS9idYSz9l2jlH1LPJ3BOfIH6wSdUtxfxTn4de/cQ2a2bNHJxTIYSbXsYageYB67icobJb9zE6pfvey+dRhGHP0gtn6DTdFIv7WD3jmg1pDW3j/voW5Taddz5NZpOL3d/8Ps0zF5+9N5DXrv2MquHzyDn4PzLF3CYDFQ7FWxNuP7RDa6+8YaQDNjZWyOWiWPFiqVVZ/rEcfoC/dj7/Lg9fYhHsVI41M1l7mABa9OEJXSCXHEDc+0Ap2cagyyCKlFs7Srm0DSGeolWS3L6KVxC1x+5jKGQoZpbwyRqUmYF+9RvYTfG6RQ71I1F3aia2h3azTyy2WymdzF0TWIxNGmW4xjDR2gJubV0oBYtKz6K8c+wO3yY7D6oRinnXUSm2iw/2+fqb/yQ73xzksPNXR16X74wwe/8k4/5d//8S/ylv/ePSF//Eyw9R2iZezAXbukWV26UbU8fJiHqJ9MYzTlaDRPGQBiLyYSpZMTitFHKVXAE+yjmNzF1WnQMfsyGHI3cGlZ/hGauruDAMg6s9Rr21Bquy6/zs/d+wrf/8vd540IP9XIHo12aAGwcbMaZnO3H4ggRi2Y4cfoYL+YX6B3o00yzDOvDQ0NKPBcoldNtYXlpk4GBXnr7Ity++4CR0RGOTk/yox/9nJNzMwpmzBZK2K1W4inJtw7qYXB4ZFgPrV63l0wmq1T9SCSsSuB7777PyPiQHtY+u/WZ5r2F2i22YwOiuKAP8lQmo1A0sVN6vT4d8mu1lna3FxoFismCQtDi8UNVP+RwK0qw1DBNHJnkxfMVYvGoql8vvXyFlZVVXQaYxBptdbF3uIfH5hHHO8+fPeXySy+rQvLgwUPt+pZIhGQSZQGeTCXp7Rtgfz+q//H53DjdDgrijnA46e4JaE2fOA66uwP6GsW+fO78aULdYd7/+CNOnTjFskAA/W4dfIwGm9rbW3VxwVXUEiuDR29/L4V8VnOu0kW+t7/L4UFcD26iaDZrkicwagzBYDZw5cpldrd3cLrdunhbevECj8+vg9ONTz5ldGiYjfVt/TOXx6H5dKn0CnV3EUumsNnsCiJ78mT+c+igz0tXwKfWdOnf3ljd4NS5UywvLlKWn21AO5YzhRyn5uZ48HAeo6FDpL9XBzexfMogcObCGe2JT0kDjwxWjSpLq+tcOH9e6w5nj07wYnVNeQXSdR47FJeElaahqVExYRHsHkZ1GeVxOpmaHP7con4Qpa8/QrtRwWw0MT45qjZYaQAQ/sr41DhbO5+3Kbx0+bKyCSSmIKpTPC5LQCtXX36JaDzF/bsP9PoWyJbwE15++Qq725ts7e5TKGaZO36SJ7IsmJnVxZf8zmfPnqFSKFBtV0nF0xybPUY0GmNleZkz587qAu/6zZt88+tvcf/+YwUxTU5NKPzP7nLoolKu54nJKe4/fKCOCIELKiHeYCCbLWq0QrLgmxtbXLp8iR/++Ce8+ebrPHu6oIyAY3Mn6HSkYeAZf/Fbv6ZcCHEb7Ozu8o1vfFUr1NY3tzh37izPns0rLDLQ06UKq9rOo7sMDY5pA4UMFpLhjiWi+LwuatW2NkElokl1HIjqFY6E9GC/urLB3/ybv82Nj29Ra0qTTE1dPcW8MI4kUmDXWKfJYiKZzH5+P7GaVElMJ7MarRgc6lf+hNvhUlfo1vYur7/xqi40mi0B2AV4sSRLmBn29/dVeZTPO3aQIJPLaxf8wc6eLgLFyeJxOdR+LpAyIbWLi8Pv6dIGq929feaOHyWVSdHlDWCS6gCbAZ+7i8d3bpPM5Al1+2h3mprzDg8Ms7O7TUg66estni885/UvvcoPfvBTvv7Vt6gUy/z0R+9x4swQm7sx2gYDIWkvqBtwnOgj2BcmthdT5V4cFzKwvfLKVX7+7nscbh8yd3pGLfFvfumLpBSC9hkn5mZZW9tQp025XicRjTM8OszU+JgS4uOxNDMz09pqIJwWsWTLUlaszeIyEb7E6tqy5r0vXDjDwrMlvYckYjLwOui0DJotdzqd6nCSiEwgINyEPJJUFZikOJiWltZUdRZyvED7qq2aOlsvXrygVX2/fOc9RoeHddiWuIa/q4d6I6+wvGvXrnLr9qe4XR6cLp9Gj3q6/HpvldYJYXEcm5VmoYpGTUQokSWBfJ6n5o6TyeQ0+jU9PUG53GBpWe5hnzs+pI5VFkRSQyvXtyxjZWlRrTTwdnmYf7TAOfm9ny/qe9BsoFV4ji6Xtqi8+Og+yeUY9oCN3n5pHklTF26V1Yon2EWxy06/x0eyUKQt7p1IiPXtPeVfzM4e5d7de4yNjGk8RZwOAnQUEdfUbms0WB4QoiLL57q6vMm3vv4WT1cXP1/cuF0k96LEY1F6Q31U2xLJElBmlw7e50/N8sv3rutSq3dsQJ+TR8Qx9GQRn6dL20TEsi1cjGqprLWs4nTIVQUmbKc77NeFrAWTMk8ePnrEiWOzVJoVypkKqUSC0bFBjQfcuf1YIa1v/cqbGr3KZktE0wcEAz2cPHGc//Td7zMyNoTRKG0QPoUplopZZZ3JclnEAmGepBIp2nR0OS9uiVKxyvZ/c25Jm4tcVIVCgdGRIYxWk0ZpP/jwQ15//TV9DonHW2IusjwUh2GhJF7pGr/+nW/x859+yNr6Oi6HmcDYCNWdGDu3Fujr78LT/XmPvSwcE4kST/ZzXB328y+/bOUgY8AX8vD06QFOr5Uuj4dkMk2wz8PWepaTc26aNgvH/mvs6g8/SfPPb7d5+2QQR6tGyWJmez3JaqzGpWEzP370cxY/eI+wqwoWC9bALJ18jI5JoL1hmo0otXIBT3CEhjhEjA51ejTTq3RqUR28DWYzho4XWz1K22qlllvDQhWj7yhtWxfUanrubrsD2j7XquX1rN+ppTDKidni0oWOodmg3Mphs/bQyr6g4+rHag+oW8mALBhyGItRjavS1Y/VEqDZkOidEQSUaXFgdQ1gtLswpJdptquYnB7axTKGX/xuX2dhNUVPl4twnzzAw9y7ucfIsAuz2ac26kwhyUAwRCZfIhhx0ig3OXKyiyd3E/SEuqlWs2CSbLWBbEbqjAS21VYYQzojtq02dz4t0jfi4MwZP4fbFQwOC6NDNt5/P8bMEb9C3ZpmA5WcgVa9qPUuZy8NcfPmFovrdX7jL0yxthnVbsuwu0aXx8zv/EmZmsnAd2b97OVqFJsVduJG7I4G3/vVMI1mlf/+JzmyDRunIgaexQ34PC12dpu8NWvn7/3iF8RufYy5ukpdNir9lzEI+MVootlIsPvsNlVTmGwuTbRQ5fzpkwpyefp8lYVnj9T6PjkxxuVXzlGrZQhPXMTutNKum8gldkkfPKZ3/DyV8iEm4zTp1Ce4bUPY+s9QTSxql7qQd0tbj/H0nqEUfUjL1kNg4BKZ1e9j9Y7Rbpnw9PVROjwEVz/G8hbZzCpm5yTNZpEBbwfL7FXqniNYC8ss/vF/5KPHD/nPf55lo2XieKTJybkedg4b0PZybMKMTQ4NW3EqGTcJWwtvp8R+E4IuN36bRbNQL020aJTcnPJJzUsJW9tDoAvubBYZDDtJ5JvsbRYwdLkY6u6QL7Zx22zafZksdugLWym1IXpQZmLAwkHMwFa2w6++FMQgdjYhlFpbxFMSGajS4w8SLZZ4vt8mGGjiMxjpd1vp9orSYiTTatJuGgl0mzE2DKTLBeodNy5bG2NTerAtFLINHO0GFreVdKZJtdNhN1NnbtxLj8PMvcUo52f6EKP7Lz6Jcu2Mn2bOjD3gIuItEC2Cpd6i22XkwV6VarvJz3Ys9HisPN1tshwvEgxaOT8aZtye45ONMkODQbY2clwZ92Gztljeq3H5ZFgPULee7tE76KCZaNHVZea7t3OYJQ/mgNGgnR5Hk7Gwmd/8e9/C5e8mNHJc6/aaWSfOkI/SzkNK+TIYPGD10jhYxzX3Ep2ygVLhAe6eUxjySUweN+XUHs14FIM7gP/IVQrbH1DPZzH1zOF2G2kkEnS6+rFZwrTrcWqVHcxmG+mNJdw2A5bQCBWDDactjCs8QXbtewSOfANzYIzizi3ST5+SqLeIr8+rhc8n1Zi1NC7PKFcun2d+/hO2VnY4MjPN7nYUq9ONxdTEaTLSMFd4dH+ba699kdXFDwl09/PGX/nX0MrTjl2n0vLTwYzNGyKz+pxqYYVOMYXLNYZj8qTWWDZiUmu2jNsxiNkR0gqxSmEHt8VExR3B17JQLm1h7rpIJf0ZTu8oJnsEgyNAo7RLp/gCi/UYLUeL4sECFocHq2ucWmlfoz2V9BNouXB6ByhV0ljsRqz+Xuq5CiZyWoPjtvVT6gil2U0jekho1srhgZFXvva/8s0vDPDe/QMunx7hy9eO861/9EOuDjh49/b3iD2/gd0ziM3SpppbwNp1hmauScWYwWRuU9pfoGfiMoaGk1ItidNkpuEKU9udxyKfjU9I8jaMsjVuWzDY3TSycTptA0Z/iFp0AYfPQds4RLu8SuDst2mkf0H38D/DFzDz+twAiIOnZePpixVsZhsvv/IqJoNNbbQCXlpcXFELroCZTFY7t258wqlTJ1Wh6Q4F1CIvBxSJbOxubeL1OOkbGNQ6v4pYZxtSvWOiyysAuA52u12V91hMSPpBJaKLkiDqs9vp1Cx6MplR2v/k+ARbO+tMTc/w6P594smMwtOEFH3v3gNGhkdU9ZGOcFG7BAb20Uc39fVIbVQymWJ6cpLDeFIPYdHYvg6tAmoK+P2qpIgdWpSc/v4hNrY2tbf32LFjXL91Ha/Dw9Fj09icLhafSY3RAAODYV0qxA8zFCtlLl66qMTmoXAfDo9D866ZdEKVuPn5RULBiMYCDKYOHqeXWDKpoLlTJ0/x8fWb2iQgh3SpIJyemiQaE5XeqSrbt7/9bT67+SmJbF6bcqRiTsBMEk2QWN7NG59oFePI0CCf3XvE8Zkp/fnZdFoP7QajRfPMB/u7+t/+gE9rAcWyWRcVKRnlr//2X+OD9z7WQery5Yt89z/8EafPnlXIayqb4vy5syRiKd599yP9PovLwWm163JBPs/7Dx7oe3z0yDj7e3El5kvk5ejxCW5/elcXplPTIwrRE5VE1ESpJPv/SfZCdZbecTmQRfr6aBvqNKptdQWJs+PLb71JMZMhkxP7rZtGs010f49r167x8Nkjzp++xOOHd3UxJDbpT+7dZXpqDLPBqvZgIez/5e98mz/8f77HyPAgfeEgTxcWCIcGwNQi1BPicD+mFGVR9KuVAgFvF/F0nLm5Oc3DxuOS8zWTiMfU4nri+Ax7hwe6pNuLxuju8qrFf3VlhUgkolVumoXv8mvVlwD1VtZW1Vqv16yoxJWKgr0k670fj+F1epg7c5KHd6Ue2KrZ4pmjM3gDXp7OL+BxuPH7PQr083g9mkF3uNwcROMcn57UhYTV6aPdbHJ4KE0IJ/jZz97h8sXzrK2tKSStVq8SCoaVBi7d6sePHVXAqaiTkUhIuQvri5ua+5WFkLh9EumcqvWtZp3x0VE++OiGDgQej0tVxocPHrO2LH//gA6WQueX8+bc3BF8orCZbTx9+pRqrUH/QK/+mbQ72Bx21lc3FLopYogZtN5xbX1THQSBgJvBoWGlfst3QRYf05NTSjDf3txibGyUQjGHzWxn7+BAM9Wzs7PaJ5/P53np2mXuP7jPq5evUWu1WVp6oUDJUCRIpVDmwdMnTE8dVbW41a7T1xdmcWmFo0eOajxN4hGmjpHe/pA2hFgtVl75wqvs7G/RahjVGZDPZzQf3Dc4TKPe5Nb1W4yORRRE+ujZc70uyoUiFqsd02REgYJDQ8MU8jnqzbZGW2KH+xqb6AkGeP2LX+B7f/oDGrWWugsrlYoO4w6Hl4kpaTmo6lJMPjPhUTy49wCnzU4inVZ6e6FQ0qaG43MnPm9ZiR6os2tschJDp6Wujr3dXXWcrK1saZRB3EeNWl25AMoHcHt1Qedy2TU61PxvjiuT1aKQN3kuWSwWrVsUB8WtW58qkG9sfJSSNFskUxw9dpSH9x/pIi1XLCtFP5lO4vd26b/H4/v4JAPfbHHi9BmFOvYPRph/8pyhkX7lqQjv5NHD54yPDZLRZgQffUNjmj2fnZkmK9dlq8HpM+e4df2mwg0lHpjPZVRAUUXcaVfK/vLysrpj5JqT33V0dIxkPqFVgx/88GN8mQaRsTBb+wc6+BeqNUb6I+yt7NGZ7eXU+ZPEV/Z5sb/K8dFp8sU8br8fp8tBpVJSEaZcqxPdP1AIpSzWJAYk8akjR45ohbpwAYwGKztbWwQHg1y4eoWH9x/qnOTx+dja3mdqeoqFO/dxma2Ymx11xdSKUp8awSj5FYOB1EGaRq5Iw2L4vGGkv4u9aFqbTNL5MuOTg7iDXsqJJLH9JJHBAZw+H/FMilqzxkuvv0Td0KZeqmkrTTFX4PnTeZ0njs8dI5FJkIrmcLtsupzDaMFkbLOxsqXVuC9du8rtWzcx2mzMzR1XUr+0Pjyen1cw7he/9DrPFub1uhTejTjFpD2hKcKuDO7dPRrlER6LMBIkhiL3HVk6RyRa0xfmk5u3sMpZpl7D63IwMj5BLpPl+o1PlW3y9q9+hRxNnvzZ+/SbrPh7u1lZ31XHktPcYnw0yDsvYlzrhb970sJaVpaRNjpVE9buBhfPDXP7fpREIo/bauXymV6uP4xzOtTknZ0m//qGhVfHZIVh5qBQYKDHxe1nKb56qZff//lPKTz+uVZaN51+zJY+WtlnOthbjNDsyA1uX5cBYtYTroVkt1vVJlYZXu1hGqn3MbYMmL1dNCtu2iYHJl9YXTe2Zo1G6jPMrgFwzlDLvcDcKYBF/rxOp5HDFJ6lEdvQms22bQhT+g6d7rPQyNEUjkDXCIZqnbahAM4AhlSWZj2DyTtAo7xLx9KDkyYtu4t2aRuj0YfBM0K5ksFuNdOqZzF88HeHOwJjSezlmD3Tx+ZqinK5yYm5ILu7GTots9IUJwb6WN9LKlTIIhWS1SbFupGvfn2UldUkT+6kaLbg9df6NFe3sZQnLbZ8Uw2v08TQcIBsqk27bWJhKUo+W+HE8aDa1K68MsKf/oenTEx7GZnsZ307RTn9Of342OkwT+7u0LSU6fOFCPW6uH/vgJFeJ3/9h/s4TW6uDnZIFhuc6vPxx08LdMplfvm3J6glc9xLwkfLFQ4rNS6NBtiqGfjzD6P8b3/nNH/hX/0v1D59n6rFi93uoJWPKu3f1D2B2R2hltglebCJ0ezgw/dvaGXR0VOzDM8cpVMrko8lWFyY52Arz3f+6rfYWFwgV80rNfn13/jbmM01WvEUpbaRYvyAdmFDcx32wBDV/Y8pN/1091+jWtmkXZLDcULtGqZCmWx+j/Dsl6il8xiaabKxe0pQTcTqeCbO4nU6aZW3KJfrtLNZisYhpmaN1EO9GLyvYT74JT/43/89P3+8RyvW5MPlBoNhmAs7yLdNvHxhkO21fdayRrrtVTJZK7YeCx5DnUzVTLfLwEGqxHbGzJmeDl8Y9TEcyNPl8DE14GApFmd1o0OlbeBEn5uFrTxNc4eBbhflYotIv5Euj7QRVPS17u7HmRkN0jB22I3XqOZlewld3g6liguTtUKrY2HcZ9ce6MebGTxuGyeP+ljZKPLkSYnTZ12a/SmnW2SzZUr1BpOjQa0UFNtLsd6hUO0QCTixO2vkU01MZjt1s9TFWPB4TLqc8XR3CJtMbKQL7CWFwF/XjedGosXRoQjFeoZ3F5vci9UJ+6z4nS4OsiVGIjZ8VjPJwyznTrq5/qyGzVbXOh+t4Iyn6QpGcPqNbGxlaZQNrCeMHCZyfOuUndET09jMu3ztS68zdOYsrW5RFkdopzd1k5d7/CF4QjTDM9RXPsXVM47N5qPWqVIpHuL29oPFirGwRaNhpWww0KmUcXcP07S5KK28i2foEiZbF9ndu9glyx4Zopg81IMeFKjWSphNYnuq07T14PYNaQRGFluGoVMYEpvs7X9MIHyBzYVnZFtNMgerPL27yoljRwhOHCOXi9IfHOXJ0/t89Zvf5Pd/719x6dWvKATuYHuFo0cvKlk1lRQw0wTVfJnwwDj+sUGazR6q23cxBUJUShlc3mEapRy56D28wXMYHEY6lQadxi5t9xAuf5hmuUkrt6MUWHPDjcHlgWaSdjWPJTAFhRgWTx9t3yCNwyeU83G6h66QObiOt/scbZuZemoeQ7uDNTBOMxun2XFi7e6hU8piDR2hFluiWV6nY/Di7jtB+fA5bYf0eNugXlBrlpDN2628drqmD0pMXHuFuz/5Cb/yt37Ib31tgESqTiqXw2L18Hwtxr/7+9e48pVLWCKvUMsdkFn/FEf3KcrmCgHJxbc7mMoNOu19DJYhOvUyTXubTn4Xa/csBks39cQTGpU6tp5+pbZKFtHSNUm7KupZD6VGDbPBoUpDKbWKoVOle/QVjD1JwuG/QRIDf+lyiGpTho2k8ga2NlLaQ+7wBUkkYgyP9+K0eVh68VxzoWJXFCqwdDpLJlvy9K9+4RW1Q0YPY6q4ywArnd/hSFgz1qIoWq0mcsUc0b04f/E731QwnoAFZciXA2lvpE8bYg6296nXa5w4fYLlF2t66JZauVqrSl/vAKhFNSn1xvQEpdLOy+2791SRkPpA2XQvLq0yLFZfsfsJ6XxgQKvsREE3mc309IR4/OARFruLTqvK1Veu6UC0v3fIa29cZWH+BWtr25w9PaeWcAHEyeFbOsVFRRUolYkOszPHePeDj6lVKvqaRXWTCjGXy6mDi1RtzT97rhlvAa9VywVSySyBYEDtogLMKpdLmoEt12vaWNNoNLE4bOLwZ2Vji3ZdQIezFMplVeKkv/7ug3vaCnD+7Ck99Epes1Kvk0okdUAUS6/UptXku2I2kImnCYW7qVaqyuxYXlqmv39AlyBHj4yp2i71RYaOxAiGiaeSxPfjSouffzYPho4+t1qNDv39vTxfesH+7j5vvPmaHtCkAUIOvIvLixzu7DM2MayxK7fbw/LSEl/56ps0my1+///6fzl3ZpaucK+6BgR81O31q+okh35hKSwvLmlHuTgOKsW61qDl0ilOnTqhA+ThwZ66R+q1msICl9c21QVht9nZ3FqjL9LLubNn+cP/8McKPHN5Paow9vcHcXp83Lv7kL/527/F5u4eiWhCFWQZNOZOnOTOp59oRZfb6dYedmmLcFnM1Dt1cpkig4MjqqgKzfvSxQtas9Yj8Y6iuBHsZHNF+sI9GlEQXoIMx9tbW/o6RwdHyOUzugjbr+ElAQAAIABJREFU3dmnb7BfLfexqDgYTPrdqdU6pNIx6tW21oB12g11S5itVq1OC4ZD9Pi7NPcrMZpmo6yAM5fPx8jIIBura0rpv/byVSVyTx2Z0OXS8xcrGj8R+7zkEGQAziWzWF12mtIXbbIz//wZFy+cZz+2j6Fm1Dqxvd1Djp84pqCu3nAfLqmcrYtqfqjsjbe+/BqPnj3VYVgAjpeuXNDv/S8/vM6J41NMjE7w2b17esifnTnKgjhEilV14EjrTbkk/2zXTvdgdw9ms1EHT3/3/8fSm0fZfZ/3ec/d93XuMnfu7PsMMNiJhSRAUiQlUpQoWYvlOnYW28lx3LRp0jR12zRpc5ykznHSkzhuzsnxsWvFliXbsmVTkUSKCwgSALEvg1kx+z537r7vt3lf9D/+AYDA3Ptbvu/7+TxPiEsXzvHeB+9xYuYkd+/N6uCiJxzSDa/P69cNuMNm5vAgqbWMVCan3eJcPk0xX9XrXrrbtXJF7wny3ZdDlhygZHCWTia48tIr/OU7P8bptOu1arOYtWP85MksQ0Pj+jJ/uL+v/fd4by9t6dm26/QNDjM/u6CVo2h3tw76ZGstW9advR221za0ktMTj9Do1HEYOwpd7r1yCmfEz9PHqyTTWX7pl3+e73//r/Tw7HL76e/t5uaNTzk2c4qZkzPMPZ7jwYOHnDl3Spkl0v3eOdhlcnKKqx9d1Q2rXDcj46OsLm/QqFd0CCP3LAEaChhvaGCIcG8X7793VX/G9VaNLp9YVJp0x+I6bDp56pQaJeS7I/eY5eVFhsfGKeTyqlssFYs6GA4EfCzML+L2ujj/3BnSuYIe3CVxcPq0WAYK6miXmoFYDmRBYbO7WN9aUfjcqdMnKBRyWByygfUSDUVZ31qjUKxy9swZlpYXdfP8+puv8t0//lPdAItGcvbRPCdPnuTg6IjtzU3iA304HTasBovS8BPZBCePzeh3RJJVQpc/2Dvg4sUzPF1dweMRP3yNZPqQmZkZVlaf6iDFZDDh6/KT3E6RX94i6PbQNDXx+H3CldSKVm09R/9XTjJ+/hSbD5aIDfXy/T/6Pq994VU11SQO9xSC+unVT/n6198m1NPNBz/5UEGSAmMUjoCYcBL7h/RNT+LtDrC5tcFU/wDFVI7U1h4DQ/1kk2n2l/ZoFit6jTYrLWxdTh20VNIFSo0GvYPd+H0OFhY3OH32JJlkglQiozpQp8vJ2uoGlXyZvqEeWh0jB3tJDK0WrXZT7TOSsGoaTLQMHdwBDy23Te8f0b4YnrBcG+BsmVVP2WmZqFUKuscPhkVRfcTU+JRWMA6P9jl2Yoqt9T265V6SzqlFReo983MLZPIZxoZHdTB/tHfEyMQI7XZT38Unp8c09SXctlhvNzvbu7gdDrWNiJkkcXhIMOAjGOxShtq5U9P8yR//KbV2i/MXzmpS5Pnnz7G6ucrkqXG2bj/l7ju3GRj10jHb2N5IahpM6raL+zVeHvLway8a2U44OHnOxV+8s6jDuYEBK2tLMmQyqs3DYWyzs1/jrctduoz7rQ/qnI47KRWyeAN2np8a4D/+ZJlvne/id65+TOHej+i0spjdo1QzCTAkMbbMGIW8j5NGcQuD0YrBYMdsddEx1mi7JuiUFukYPfqeiCWG0dqCyiGtxApWby9NS1N/T0eAgcY2HaubdmYRAQWZnHGaJgvW/BwtzzgtYx1THYx2P/ml7+IMTGPw9mFs12mZXFhFBW0LY/AOYypt06ol6DjCWFslGq0AjeouDnecVjNN2xpSLWE7t4lRBktVI4b3/n5/Z2gszO3ry6TTRtxe6XuFiXd7SR1l2ElUmZjsI+Rv8OTRkcbtpHeZyqVZWyly8XyUze28/oMSiQzjYyHqovgqt0iXGnrDffGlAe7cEm9zHX/IQiFfIZ+xMjLmJBwKsDh/SDZf5sK5GLlChWyhTijgZnEhgcvuwuQyceG5OLc/W6VaaxPyePF5yvzKDwq4LB1Oez007EaChoo+NB8k8vzuG+JNLfHtGxZSjjqj4TCDES9L+QP+7Y9LPPqd5zn+83+bjT/5TYInfwmjPUT58BOMrSZGUxe27jHMhhrNZg6DzUlmc5HVjQ1W5tc0TtofHycQDpPJPiXWM8byf43hLawf4TZ16OmNYPKG6Qt0CMSCHD//Ze29pzbuYLA7MNY9mO0NipsLOAZncDj9lHNZKqUkXYMvUN39lHbbjCV6mur+LaxdQxix0Wxkadcq2Fwusnv3sXqOYeufxpLeobz/kIZRXkwKlLMWus+exBAfxJLdpd6xkvzJT3nv5iO++84mmXKHri47oaiRcU8X+508L8/08+GtLRaPqkyNeXSS6XO4WDnM07ZZmMtAsNbkn77moVMWDV+RL5yWbVuTUtWIzWlibq9ColDFYe7w/PFuCukSe7UOp/rCXH2wid9lplroYDG3sHlhMhbm6UGOpd0Wb553kkq1sHZZMNQ7DITszK6WtCc6Ouzm4LBGqd7BZW6wlypy+lQvS0/TlPIt+uIW6hUzfQNe5hYOGB8I4ulycW9ul2reTnfMTLoo7AIPT7eTmrqQw6DPZ8dm7lBqmRQWuZ6usC3qk4qBkNvIUMROrWlSQFCq1KTXYQdjg/eW05yd6NEOoLhgz5ztZ2l2A4PRSabS4OFcXr3cx2LwC18f4rnLL9M30od5fAxyVTpdcVpPb5NYXcHiG6VV2cFk9mNsg9k3QLMwTzWfwxWfop0rYXCA3dlDKbdLPbOHbXAau9lH/WgRU3iCauIpdkcEo61JMZ+GZgWLxYfZYaSSzWNxm3A5+mkXj6h3ikq1txhquoGxumyYbT4OD9aoZAxsCQRu5SFDp57n/fd/ytjoMWbOTvH41h2lHAdCw3zw3W8zdfIkJpoY3T6S+7ucvHCFe9evUi5kOf/i83j8XcR6RjC2qjTMPhyRXvau/weswdMYrEEyy1dp19OEL/wCZqudamKNytEDbK4IZtco1eRD/AOvYrLUOFq/R6Crj0olgy18AgxCQj3QF1RD9wzV/TsYiims/kFachN0xHBYO7r5LRXaNFMf4wxdxBrspykIhaO7+KIXdTNR2buHte8kBnsMc61Cs5nBbA9TryWopHexuQIY3X20Sik67SyO0CTGapNydg3/xS/z6Pf/Da/84/f4h9+aYHUtQ66ewtTy8Vf3Dsl89r/gixm4+icfc/kf/R6JH/46tYqTvskZ9td3MdazGkW1BgdpN3NqR3DYxwR9qqoZu7+XJk7MzRL5ehGHtxuDfD/bDaqNEs1CFmt4RA9v9fwOhnoduzFIrVUjeOY0/+JXf5l/8seH/PLrcYo1SGeLtKoV6m0DDoeLwekzZI5SrGys8ubnX9MX0Ua1pdRsecm8f++hHmAazZZuQ1rVBgOjgwpekijmQG+cW3du4xe3c9tAJpOhN95DLl8kFg2RTKWUPC9RtEDQry9pspHe3NjEbDfj94j3u0D/YD/FbF55JXK4FZfz6uoyIVHmWSwasW012ghRU+j8ZqONy1cuKqn4/Q+v6kbDLFrBXEnjquJy7hK10da2RtwF5Pnw7j2iPTEFHAaDHo3OCtBMer+CFNjfP2R8fEjBd5IakAPM3duPmDo2QqArqptLiV7K31EOj1IlkJeYRCql4Cs5XD64f083v7F4Hw8e3efEsePcvnNHO40C03r6dIG3336bzc1t5hcXNTEgG9xSoaaEYon4i2LOaLJqp1yGDBIBnF+Y5XMvv8qn12/S3S1VjIjGkiUKPH3suA4FJN4sHVmJCDebYHVYODo8oINJ3c/7B7tan5HPQLbOwj54/tIFjVpKFL1DWw9TAvTKZp+p05KHRxyljtQOMD46zMLSEu2WgZGRIf31QiwXxZHX49CNv6jxZMPY2xvXpMH2xjZGq1k1YxJtFrCb8HqEAWGxOLHbrcoHevz4EdNTspGVf7vc66xym9Vrw2J0sru3jaHT4dyFC8RjIb7zh3/CzKkT2m1Ppo50uHDlhcvcvvUpkUgPyXRaN6KiIIwqebyjvXExjcgwyu31YjZaCAZcuk0VwrmAskTDVSimGOwfJNYd5aOPr+lhQ34+QgDf2t6iT+BXwaBu2nZ2DvR71u509EDWE5U/40BjzTJwXVhYVNq7fKZWuw2r2YrVbFZgnwy6VlaeYrEaGB+d5Matm1y59DyBLr8OAmRTvLq6wVff/jL3791lcWlNN97S4711+xZHqbT+Het1Udcm+Nxrn2Nh8QmRrghdwQgffPhTZo6fwuG06PfHaLTrkEmsDDLQE+VdpdrCajJrwkq69XIAk89+Y32DF168pLUdORjuHyaYmBzTFEM6n2Hj6SavvPwyO/vbhLu6ng0fbBamZqYoZMvcvHVPX+BlGPfB+x9rIsLulMGCpITMpJMpjBaTWhjkuyvxYeEWCBjO5fJweHigQ0F5NskBrlFpcpDa183yxPg4hwd7tJsNumNRtnYSeH1OHVDJwGGgb4BKuUQwEmL+yTzRrjBzi4tMHZuiK+jXg/8LL17m5o07Ck1MHRwwO7uIGOEkaSE2JDlED06OkDzIqkni4ePHZDNpVbi5HG4KxQz72xvYJC0pJpx2C4v0+J/sMvDiMfzH+ll+MKte84cPHujATxSVUnHp7evjo/evcvLEFLliUSGKAkSTpNDtu3dYFVd7KEg2l1e1W8DrpaoDmR3leEhaRe49ylwolvH5A9pJFqX2wsKyDivGJ4e4fu0WTRp88Y03ePen76uBQp8TtYZyJHxur6pCJcG6vrmFqWPQa2Rja4vXX32Z/cND7t59QG9fDIvZijfg022+aN+kI769uavXhlFA1426sgUOEoc6XJDPJZ3McOXKC9y991AhoTLkErWg6E+nxkf115pNFtX9CePp44+uMTTYR6XW1KSYVKhkGLW5uk691tIhVXdPhIcPn9Db183RYYI7t2f51re+ytFRiqWlVdWSyj1ZcKWibpWUVzT+zMYR6+vhx7/9bai0iY8P0KgUSOVL2C1WTLkm7oluuk6P8Oj6fWJ9vdQLNSqNil6zonmS7bUwR5afLjNxbILM0ZHCbw12M6MT4+wtb6gxrFYp0a5X6XJ62F7f08VeuVKBRpOww6lQWUfIhSvo5vHjVQZ7u2gYLdisJr0ni664Vi0TDYcotSTeXccuNajtHa0kj06OkjpKkC/ndWC9v5nUxJUMdqwuK+a2hWI+p4kXsyjk7GY6tQ5Wj5mWy8apy2f47LZUnuJ0xaIkD1Na35CNcN9wrwI7W40aY+OT+n0TfV8uf4Tb61cLSd/wEFaDUYGm0VhM62IOhw2XKPFaTXY3d3UgKxWynf1dZo4f597te/SPDZNLJLDbnfTE42xtbes7xuNHTwgH/HrvkHrP2paAc4VH9Bw//fEHuKMBvA0j2fk17A4Lbr+PxFGSeChI01Lh3mKZU101fucXhrhzP8tzz3v54ONNsHro77JhM8HTRJXebjflSpVGoc35aQff/H/2qLudjIftNIx2olYBmmb53r0iv/33x/i7v/mfKN/9C+p1N+auuIbtW4VtzBZRMTuhncPUqlJzRnCm71MzCifPgtnapJHeoR07q1BpeW9oNbJgdWOq5+i0q7SqZUxWF03/GJZySu1bjdI6FmMXHaNN+McYCgd0nDGMjRRNswurM671q87ex1jipzU5UpN3vu5RheI38it0rDHMgX4a9T0soh90+DC0RCuYp11NYew+RjPxBHMjR9t1AtpHGL79rVCnt9dMoWJhYEhgbgUWHu0zPBFWvZk4WOWgf+x4kFSmQb3SVA3YwFgX16/vEgvbFUhls3u07+n3mHg8t6NRs1de6eeDdxdJ5tsYzTWcVi/RiAuvz0TqMEvHbqen18719/Y4eTJEfNjPp+/t0NVrpzce4O6dTRzeBpFIjNx2hlKzw8BwmONjDp4uFfl7P0gx7ndg6tTp6bZQOKrR6LSYT7b47dc89IUc/LtHORY36kTsZnDb6Qs7+N7He/yfX+/l7X/wq5RTNQzVKkVTEm/wBM2Gh3Y7j6m+Ty2ziS10EqN/AGdzVbxhmPy9HM5d59qHP2J+4ZDhfj/HT7/Mjfu3mZkYUXCTxKrE9Xnn4/v6AjkwGCXcE2H87JfAHyW7fItypUSrksHYKONwd+MOC5yoRSVxRK14gGvgDM1qGbMxC40AHbPANP00y/tYBSBGHYMzRDu5RMfaA06JLPfRThbJHswS9lg5KtYZmDjBViZH90gUi72PTvGQu3/4W/zWt9e5sw6RSEeZD3/9YpSGpYXJKgCQNLcP8oz7zIR9PorFDDafk0zRwl4xy0LejKtm5v84b8ZnL+B1dXHhmJ2HKxUCVptGceZ2MrwwGGY9m2e0z0K7YmMnWcLuNFJIF7l8aoStQoFyukChJmRZF4Z6lfVdiEUdut13uUxsbQh12KqAjmJC3G0maJs0ylk3GtnbFiJpAK/FQL7QwOdysXuUJ1cxEvQa8HsMjHgCeOMtSrkOa7tpwlEPpbSN2XqTf3MtT77SYLrfwlTUwnYa/T4Zm1YFaexmi1w6MUbIBf/uR095+3Q/Eb/EbgysJHLceFDG17GzXm1xMtxgLGLglVeP89V/8NdxNavQToB/hpoxTmP2z5h7cI/I+V+gy2lh/7PvEhgaxGoZptZu4xidJrt8HUenisFzXD/TVnqNejGL2RnBbnJTT8+prsc19TUamVma1RKuQLdS8DuhfqwtBy1jFavLRz29TdvThSd4ikZ1mdzGEvGx12g0s+yu3KOWT7C3W8cdC5Pc3uOTzz4lHhvk8kuvYLZZ2V2ZZ6h/gnvz97h4/gqpXJJPPvgxI1Mz2mEX+EgufcTFS1d0OGXzhRiYPEsxvYPVHqFd26OUylE22gi6JihWVjCX5rH3vsbh+l264sep7n1MyzmOKzxGNfUEp3cEg81MLbGMve802dX7GEwFrK4+bHbfM4Vjag2LzY/NGaJVTmDwejGW87QbNeodM+Xdm4QmvoTJN6wTVGPmEZntZbU+ED6DobKPod7C4LTTLBawe7wYvH6q2RaWehrC47Szs9CyYglOY7SUaGblge/HKdBKexe1zAqRs6+RufZd/ub//sfEfHZKTSuD8QhHuRy/+/ERt/7ztzj76jeJh36GT679BkMvvgR7W2QTaRzmKmbLIe1yhFq1iNkSolrYwdwqUWhKpLuD0yu9VKfqccw2J4X9Far5I7xd4k5v0cgtERi9TG5/k3YlhdEvL9BeDhMJJr/wt5j/5I849tZ/5BevBCg3zewc5InHwuord7h8vPrGG6xubmi8XGJ9Z86d4faN29rjjcW6eXDvkUZuQ3KItpp1qyIP743VHdxeN5evXOL+nYe6Jekb6MdAWzcVt+8+wGE3M9DfS6ks3T6DkqGlZ71/uI/fE8bttmrkWXz0Ev8VWJvonUSRtba5qiYBUez99L0PdfMpByKBXg0MDWk0XDax0vmNRkLa6ZYDu2gpy8U8e/uHeOQQb7PqBlLioSPD/epLzkjXOejXn+nRoUToLXqY6u3t0RdPOUCfODHF3u6RKreEIlZp1OnQ0eqCvEQnE0nOX7jA3PwiRpH+OM364hfoipA8SuqzT7rkg/0D+ueJAm12YY5IKE69USAWG6JSy1PIFgn6PSTSOe0Ai1c8kT6kUm4TDT3rKueErWCxKJNBaN3yjBUFU3dvlNlHc5jNVk6dnNKagLz4Do8Ms7t9QP9QH2F/Fw9mHypvYGhwhPX1bZrVmr44Smqhvy/GfdG0jYkKMasd275YH4VKQc0A5UqNWqVKX1+fRvUfP7qnLmqjWTzDddUPCvjp1KlpSuUqK4vrDI+M6pZOrD/SXfe6nv3M5AUqFBF6uIf9/W1NRgiAqlQp4XR4FBrXqleJxaLPVIqHR5RrNZqVOl/+8hdIHKX5i3feUd90JpXRNNy558+wtrBNoVRQpoOABOWwIhVUOYB43X4yuSQDfX205Npvi5UkSe/AoB5qjc0GqxubTIxP6CFmY3OHUEhi2GN4PE5WF59y/Pgx3v/wOpMTY8+2jxabMgAQT3ulrH/f/v5edja3cfmcVEo1rdNcvHReoZDLT1dVs5WR6kOsRyFaSwsLGiWPxrv14CrVDumsSz94b1868AIibahdQMjrMugQ9aUAvAJhL9lUSgGMcrC+duMmb7z+ecqlglZbJOIrEe/93X1OnT1JtVLUYYR0eOUakwHX1OQoK6tbCmgz2Yz4XX6sDjN3bt1mdGJSPy+B8g309nHn4X39Ocom/PBoV+GBNptDhyj1alnNGMJKkEGVJDM2N3c4TB7pcMItxqVMEb9sIqXC1+7o4FEiz9LbNslgTz6TbJpLly6xurzMwJAcVGF+YVGHE7IFHh4d48bNmxw/NqMx+idzjzj33HMM9ffx4x//iC+9/VXm5uaUFyK1qK5wgFwqpxUKgdfFB3pYnH9KwB9Q8Kkcck+fOK2aUdFHLi4u8bmXL5FI5lh4vMj0iWOE4xJVf6KKRUm5SI1iafmpVlNkABGLdLGzuk6t1dLqUCqbFAY1lqCTl3/lK/qz2Vvf5f6DeT7/xivs7OzrcK3LF9CDQqGa1nvdwOCQJlRkSJAvFDG02rzx5uv4urq4d+cO6yvrqgIcH59gdm5Ot8iYbap6TKYSWq+SRIbYLnqicaI9YbWEeH0+jVkLCFFYC5JuEWi31GDks/r8659nbnZOkt96zQgDJFvMYcKkNoHBkUHy6TT+rmeqyfWNHU2GDAz2P3t3bYthJEF3KMLm9gZ9A4OqO5R7kxiI9nZFq91k5ekGMyendNgu91dJfa2ur1GtyrUe487t+wyM9OF3+ll8usDM8ZNs7W6S2E/QEw8T9IX0+TLYL4rxDKl0FoOho9Ulk9HC4UFCU2dDwwOEw2G1pFRLFbXMDA7263fg6rVPufzqZXZvzZFdPMAadenAuCsUoZzPsb2Z0EWdZ2ZAtbSW1jNw5ObBNi0ZskTCWqWJSF1gYwOPP0B0oI9WpUqz9OwefvvDu1rvpFjVe7UAiWULXy01CcTchHq7eXhnXivWwb4uNte28Zgt+IKSjM4qY0OSLC6Pj0ZbziRSeW1i9zj14DoxM8Fn1+7jEH2q30m52iCZyHDquQlKsjTN5nX5mU0c6UBP9J5iZBNCv1wL1WoLm9VMqVLBGfHi7Qsxdu4YG2t7amwJR0LMjA/zne98n8nj45oU+ovv/7nU1PX+Ls/C7miMZRlORiO4PC5u3bjLybMn8LrcfPLxNaZPnECQdLsHu2oZkedyJBpS9kog7Gd4YJjrN29y4fw5EokjVp6uqe3tl3/xm/zkg2tkUmmG+oY5SB2yt7ejaR8sbjw0yT5e1jRbJl9jfCxCoST1PivvzueZtBe4+y/O8u2/ekLE7SbXsRKLOAh0mVRh/sGHh/zSNwaZ3cgrs+7vvN3DN383Q6JmpNvSptWuKpNuLBLm47ksf/nb3+DiL/xNdq79AI81Tquxj7HrFK3cGjZ3hKbVQqfawtwS2LmLBlnM5h5ayTkMnSQdSxSrKPoMFTV5tIsHmirvNI0YbQ46pQT1RhG71U6ztK81VYwRqOzQcvmwYtIkoQx16oU1HM4uGi0DFv84TYMdU36B6uEc1r7PYQ5PU537M0zmFuZQH53sDo3AOXFW09m8jq37BA13FEM1i6m8S9Pk0OEpxgAGaxnD1V8f6lQLQpQ20hPxcF/Aa5kSw+NB/QHmsk0Wl/K0JZ49YsBjdbOTSGFp23EGn0UKSxXICWAuYMXps7O+0qJUzlEvt3nuuQjFapOjgxblal6dmD09IfbTZXojHlrGAn6vC2vHzGGu8iwabrUwPOIin24TCVrwxyN879v3cQeNerh+5WwXd5cb/O3v7PKrr0T4aDHHdJeVVMPA0608f+tSmG8MGCm1q+xWXfzne2n2KkZC9iqT/V6++5Msv/8vXuTS//qvyH70U5qZp9jCPRhdfbRrcoi0kzzawlLZpW0fxOo26CTcIlCy+Ai+8CDV2iYWU5Dv/+b/zOxSkoKhyaXpac596WW+/X//PsdPxymVKsR7plh6coNgtF+hGQFfkLf+2tfBE6NTKlHZ3aWSP6ImgwOPg2pqF4PNjcnbj7mVh7pE0srUM7OYnH6svZdplgXusYLVZKdVzOAIiU7pALvLRMcWx95pUCulqNfz8kQiWKmStpow+rzYfMO4+mOYE+sUl2f593/wp/zojw+53TYRtbUY6zLQO96lh99hZ4m9nAdLw0zKUKGda1FsdDg3ZqNhMPCde2WE8fJan5NBc4crYy1GQn4aJgM3FhJUqzZmdwucHnMS9bhp1erY/TY6jRb7uQ6OTp2A1UTVYFGlTkU2OskirbpoPizKmrh4Ls6TuQSOoJXkfp6Az0o05MTckd9T1xdNAXdUskZ6wh0ereaJRV28MG7FajJhbLZ5sNSg7WrxtODkt26kyTVMjMatrGwXORGz4nOa6XMJeKrBWrLCz18Y5f/9ZIV4WOZ3FqxuO68Oe3i8n+Fwz8C1R6JAgr4AzAy48EYsvPXWcV78yn8HnjqUCtTb/VSP7pM5PMRYLOvDHn0hSWKzh8VWSr18hNs2jdEh3ebHNPItzN4wVls3zZaf+tFN2iYb7oFj1CVaKpTRcoNy5j7B4Qt0Om5qiTt0bCMKDql1WtiDUdyuGAa3C5so82wROs00W9e+pyyMna1NjjIldcgLxOr8xZe5efVDTp85S7GWodooa1rF6AwTDdiU2Pze+ze4cPY87XyOcmObs9OnqRlDRMd7cFodOKUShAVZiFSqbRrNHMamgXKjoh7WfEr0PGYcY5+ncXBf3HEYOnXskUFKa59h77+kkSoZGDRbWUrip7YP47BbaBRlEiqJmgEoH5Dd/phQzzlasgGpgTE9jz16AoH/t2sZnP0TZGd/jMEdU1NFxxTG2TNAc/eRulm9fa9iL2yx9/CPcYy9iSsQpbz+mW6dBYDXauewukeotyrY3WEagqvZ+wxaQ9Z9AAAgAElEQVRLeIZ224iFEhgdevjpnhrmr779h/zs//Yx//rvnGA/1WJP4n69Bn7vL8RaYuXzL0/xO9+ZJVlo8w+/1sNv/MF/ol5PUN2Yxzt8RkKI4D8jVz+GehJq2ygkwtYN9ZxWHahUwToKlSyIVqeUBVcIOhnoBMDkp1PZoJbMYHP4aWQLWEN+Km4X3ZE3GPYZGB+JcpCtEQm52FpPkC21+fJXv8jmxhbPPX+O2QfzFMtF1TzKGlZi956gj9WldY0vSjfP4/Wyt7+vRo3BvjgXnjvP2uY6s4/nGB4b1YiweIcrxQonTk2rG3llfU2jgp98/Akvf+6yvghKauDNN9/Ul6p2q61Rc9naGgwGwqGQRr8l3i49zuMnpvns1h2lSLeaTY39WkwWHj18zEXZEvz0qh7eXU67WgG++XM/x/Vrn7K7s4PD7dGDYqlaUaXU6MSw9iBFoSZqylt37zxLkZgMzJyYZGFuRb/7Ekm1WOxa+ZDOueirytWS6gWlP350sE/baFTTwOTxaT0Ubqyv6t9R4spmi5FoJMJh4lAHInK4lZit9E7lALK+scXU1Dj1dpP1pxsYTBZarQ6lbIovvf2mQvmufXhDacuSopCXaumQSgR+dn5WO9uy+dvd20NIVOfPn6NcreD3uVXl9EDUdVYrJqtNf49UrRwemx6OhNwtIEPZAofCIc6dleTCQ46O0uqI7ht49tzKZQt43W79TjRkEFCvqsZ0YnJUN7YHB3ta0euJ9WiceHBwWMntd+9JisdLyOfGaDEzMTHM5vYOpYwMup1apRDdU7VQ4Mn8kkbHpS/dbos5wUWlKvT3Nk831jl3+gLz848YHh7l8ZPHBIIh+nujmtwQg0Ribx+TzaqHIrPdQk9PmHYDNXEIZV82OotL65yYmVZOxPraLhfOzygF/OGjed14CrBQFF1bO1uqSpM4rnThBajo8Ho4Nj7O7du3VJMmyUfZXAnEsljMaky9WutQqRaIRSPqU19a3WB8aJBivaLbRQFjev0+7t29T/9An6r/WrWmQgGlEnLi1HEe3H/MmVOnOdjfo1itKX1bhk3yeciGTOLKYllYWVxRjeb+3j6Tk2P6HRdWgUAyf/zuTzhz9qxyDKQ+I9fS5PiodtiFS3Dh3Dnu3n1IoEvAg6Nc/eBjLFab8iYMbZg+PsnW2qYOUnz+LpYXFwl3C7SxwoXzF/nLH/wXYj1hTp+aZn1jl2K2QLy/h2pd3u0O9d5gs1lJpY546cpL3LjxmQ5VZMBXyBdIpo/0O28xOVhbX6W/L64pjGvXr3H67HmtcHhcNvKZEg6PXePl2Zy8BJsxyfrY0CHoD7K8sk5/b5967be21ggG/FoNKhVzhKPdlKpFDnYT+nK99HSZ4f4hPD4v5VKeRCpNMBIkHo2zu3+glagTx2ZYnJ/D43Yos8Rpc1As17j82udoVpsYLUYeP3hEIOBXZoPUGy6//CLv/uAdKpU8ZpuZTLJMz0gPaQGDhruwTsQVBNqst/EF/Go6ufrxp5w6cVK/59JVf/2tN1icW2JhQSj9g3T5JUkxr0pP0fQKk0KUk27RkzmtjIxM0qg1ePzkkW75hTIvgxnpgkssPFss4XM5iffEmZ2b57nzp9ne3mN1ZV3riZdffEG/N6IzlMj4/MKC6vm0075/gMVoZnp6TJWK09PjalCRyookWoaH+jlMJDV9NTI8qht1sb1MHTtGNpfT7+LDB7N6/5eawP2Hszrwkc+r0ahy9twZKoUqyyvLCpwUWKuknKQqINeHcFzyhSqjI4M6KFxaXFbgodRsYvE4H773kfJprE4rxXyFwaG43s97euTALpBKGTBnFSIo17YkC5wuK/duPSLo8WD3+WgaamS3M3Rl2+A2UqzVqRTyON0eAkE3Nr+TViio3AqPO8DGkyVqnSbPXbmgEflH9+8xfmyShqjd0k0e31kgFOzCZTKR3U3i9nv0vp8XmLLdhqmJmi/MXiedZoVzl85oImBxTobbQTqSgrJb9XqzdMzkkml6+qJkymVNASW2EqqDFPvMk4cLjE4OU6u2yEvdFQNWu1Uhiw06qgDc2j4g4PYQ6Y8gtM3k/qEmwYyGFoFwF7m0vBtYqNfalI6Em2Ally8RHYsyfvmS2kse3L7D6OAAyWyOTCLB9MkZBQjmCwXl7VSqDaxO27Nnbammgw75d4s5J97bo9Bas9HM5PSUPotv3bxFR4CKfX06DBKI587egVYC5DkiCZit9R0mRgf1/5HJZlURKM/An/zwXYwmi8Lwcjt7RDpGff/NVcsKUj86PKSvy8NmyUjc2eHXjtc5SDeI9voVSF+tiO2jRLjXxcVjMZqGNj+9us3zp/0U6lV+8fcaROM1not2ka01qNZNDERc/OH721z7D69z+r/9jyz86b/Wdwtzs0LN5MNgqNGR+6WnV5MvAvyTIaZUBY3+IVWVSyLCUMvRFkaAxY7Z6QNziE5ul1pxHbs3RsssyndJTXdTliWzIU3D6MHQamB1dVO3eKFZxVSv0KrtYPJNU89t0CksY41dpmVx0Uw+xCzQ6PoWHWsEQ+QyHVON9v4nWCxB6sUU2GoY6yWMgeM0DH4M9W0s0StQWKZZq2BqGTC8/w+GO3NzR4RjFp22R8VHvLJHOOrF53eTSZRw+zt8djfLqRk32XSdpbUm0bAJi8WIw2pQAmsobGHvIE8w7GDubo7R4w51eMfjfg4Ociw/rhAfczDQ5yaXLlGpN/VldGklox3B1Y0UI1NB9rdyDPQ7iMS7mH1wqAqZ+LiPlUdJhnu9rO4VOTbgwhHx8K1/tcZEX4dU0cZkT5tkuc16usXLgSa//KIXv9fLv/nhDt64l0yxiN0cpKfHyj/5ox3e/7cvcPFXf538nXd1q9+qWNXDWVi/Tt3QIjT5s9QrW7rpcxhqVNryoVSoFbZxdEl3zIqrK4Y11k2nmiO3Oc+7715lYztJKNJDrV4m5AvRocXh1jbxvrj6aXc2F3A6YoxMTdE/6CYWDmFyhbE7QxRzWXK7i4T7xyhkM7RS2zj6xzF7xyjuPqGdWcAZPUu1loT0Dh2HA0v0DK3mkR4SLI4e8kvvY/OHaIcvYRGzwuEN2v4h3DYPteQ+pv5uhBlRMxwROvNVTK0keDxUb99i9qNP+R9+7z6frVT5Up+J50/1UsoX2G90KDVrGsuMemQH4CNbT7NbdlJpFii07cxvFxmwtujzm/jamIWvnHRhchpxGxzcXj7k/YUanzvbxcMnaWJBPw1zjfFgG1dQaL85fAGDRvj8Nh/5cgZvl4XD7QrBbidLT/N4zUaGBjzc3qyTOcwxM+LBZ23gszk4yBTp6bExHA+zd5gllSriNbu4vlvld5artG1u5VVU03meOxFmLNDkaL/NK6ei3FuvsJU+4OxQkGTBQMRuYi1ZpJCu8be/Mc5ncxn+2Q+2eXHQwrkxP7//yRFvjRp59c3TfOPnv4xj5jytQpGOIUX7aY26J0Lq/vdw+AL60LH6T2EzZKnmE7QMAUy1JPbgKKVyUrVF5XwNghIZ7SZ969u4J1/A2DApwNJY3aaRyuAauog5NEI9cR+j3atxOnEiG+xCxu6i1ShhCMRweEegscnB4w8pV6206jk++Ol1mk0jTp+HvsEZygK983g42MpQKh3xxs98k8cPP6XL16XfuVq9STZTZG1lC5vby0B/kMsXzrC7tcjEuddxDx3HWtunXsjTaRuRJWkyuYY7FFeQkNnqptOxU6+lFOTk7ZmgcrBFff8BtvgEuM9R2fsId5cP3DNUNuaxddZoeuJYHd26xZQHesPmpb16U/kH9v6XMKTmye3ewjfwAu3waZrbH9M6nMU5/XUabRM0d+iIi909QNNsw5RdxBo6pdP0cuox5qIB0+hLmDsJGultLBYPWPpom7YoZ5tKVS0d3CTQc5yO2BKw0MhK6seD0RHA0KxhaBzoRh5zDSxh/MEo23P/hRM/931+/efGWFhO8HCrwlsXYzxZPKRjsxPJlUj4PcwvpMm1obsLYq5nvfCByS72nx4yNBLD3C5xlMrjCnbh13veEA5DCaN0y8Qk4jBz5cop2rkqrXaa4JDEbWtsbmUYPx7FYiwSFEBdfETBQE5rEsPgF/lrX/gZHjypcGnGzMZaBl8ogsvn4dPrC5yd7uVzP/NN/vMf/JEeNmRDN3NskoXFdZ4uLvP5t97gYGdDXxIr5TIn5AVWgETiaF9bIZfN6Muo2+Fmbm5eu5DS6zaKFeRgXzvh7VaHiIBi65JmsupBYXNtgxMnjrF/IMrII86dP0sw5OeTa5/S19NLoZinWm+ws73DxNgEiXRSIX42myj9djVav7C0yNTkhKraPnz3PUYnx9nd2mNpdQW/161d7sTBIX2D/ZoIEAd6tdOky+elXmtqRFJ66x9f/VT1QK1Om1AgQHdPHz9854cagU4cpfTFN9bdRW8sxtHRs5coOTgWiwXVD8rL8MrTVe22y/NDYEcSjxUGgPTZLbLFz2cUEiSxZhlwLC4u09Pbq/8en99PW5gARnmJzTO7+JjRoRFiPXGN2UsvuCn2h1ZHD6cS0Y5FBXDb0i269C6lU291OPX/LwOGZq2t22ZxrUts0mK3US7lKOTqDA+NkCuk9Gcrv99htZDOFJTFI1vZ7FGSgeEhjaHLgSCfL1MtFxmfnGJrZQOXz8380hJvffE1CrmcxtSNMpis17Xqcf7cOXYPDll8uqQMBHkRF0iU1erUbWDb2FZomsctoELZIu6pkkteWlu1mnaqqw30+7a2usa58zPq3xYQmFC3e2Jhrn1wC5McioaGleswPDCkw2AhT5dKRdUdyrBj/+CAyy+dV52kqAEf3HvCl7/yOu9fvUqrbmR8cgxDu66qQtHdid9d3ODiZJc+rWziJUESjgZ0m9UbjypTRiLmUnOR9x7ZhD1dWVHLyfSJad3EmQ0mwqEwVz/5iGg4xqnTU9hdbq59eh2r0YrdKfDAqA4MXDYL+4dJpYh3WnWN7d+9e5vXX3+d2SezGDsm5WvMLc5xbFK+Y9JFL6gKTngCkVBAFZuyLZoYG9VDmsC4BJ63vrmhP1PxcicTBxSKdY10y7Bzaemp6r+Es3HvzkPt7Z6YnlL6fSjUjcvt4N2ffqTXYzgcYGV9Uy0Lp2aOsbt/yP7OwTOjz+6u/uzcdhvVWpW+3j7dcs8tLzMyPMC9Bw8Vcihx8ysvXuLmjVv69x8bnyCfS2siQO49Kysb+jN78mSOaHeQ0ZFxrl27rgM/2XJL171eqajOUPgEQnCXhIzA83pice7fu4fNZtPrzRfsIp1J8vZX3uKv/vwvsdvdfOFLX+BPv/M9xiYnVL8myZqpY2Na55SOu0T8pWYiVSOxoXzt576lh1wBOG5s7Wjd6AtvvqypgMGhfu5/dlcd993RMEepHALPa3eqJPbznPzS8/SPDimJf2NlXT8PSVTJwbDcqGK3ulhZWuS558+zvLSM3WrTgZbo96anxtnePmBnZ5OJyXFVL8ozeXFhmZ64POuNCiyVWs+HH11FPsCvf/Or3Pjkug48ZbsvYLz4QJxaraag0Yf3HvHGFz+vtSqH06VAOKm+iMov1hNVmOXSwlNNJsjQRdaW8vlbRHecSjLQ36cMAzGCSM3LYrMpBK+QyWkcW8CA2azUJYa4efMzYj0xHS46nVa1Xng9PgUvRuNR3LIBNRtxGB3Y3VaOUmKGietQ50c//iH9ff1MTk2zvLzA7s6Bbq3zxQpnT8/o/eL69Vu88MI5HC4Pt+/c1eGXxOe9MkB59ISZ01N67WbywoWyKIleiPiJSorD9X3KT3Z1qCWee6vZRCKRpS/sp1Cr0uqPEZEE3/Ye/SODeKN+1pZWcZsdVDMZNmY3MRSr+EMBvQe0ynVM7mfPg0KxTMDjxu516bmpYzOQSefZXRWb2ij5nFh+WsT7e9nb3FMLSV1426k8tUaLQHeI7dVNTQuNjA3w4OYCQa8FZzigi4zk5qEmaiTub/f7yKVS+LvcFAuiqbapuWFreUMH3laPi1q+QrVZV4CrDBkk/WSwtDUZIkdWuR9KUtCMCavfgiPUTdncZni8n3S+gLHdIZ/OaY2nKSDygIuFx3M8//wFTdpIGk9qVgL/NZslkWHX4Y2AX/XwazRjNopJaJ/hkQH2tnYJRmST3aBSlPSjif7BQR7ff6BJleljJzjc2yadlyVxG5fHrt/VJ09WGPMHSW5sUi2WNX0hwyWph/jMNXaO2hQLOf7ZFRe9cVHwWmjZWziNTjYTOU0KhO1mZjfLnJ9y8fKrw/z5Dx/xK39U4bVz3VhLJQ5KDWpNOwFfi5/cy7P6/t+g5+V/ROn6n9BqGtTLbTbZaLSctHLLWA1lDPYoTYMZiztC63BOB0P26Awtu09mlbRT6xjKO3T845g8fTT2PgGTC3PklCZqqkcLOkBpW3xYzV5apU1apTXMrknaFrEHVBRyabMFMMpCLjhAI7GCqV7EEJ7AkF2mWM9pNdgg9rh6Wu0IVYsNWyFNq97EEp2kbbTSST3Qha6xkaVucmHqOke7vCxjJAyf/dPxzurTDNEeL4n9lH4wvXE3h4kycw+yxAbtdIWc+D0OImEXB8kqq2sJLl8aYmMzodTalqHCk9kcl6/04XSbKRVa3Lu3q1DASMjM/l6T8eN+drZzmI1trGbY2WoxedqKqWEjna3i8ng4FEfz8ZjqE9bX0jyZS3NmJqzQkaN0A6+zxYmZHv3vzZ0k/9cHFc5O+tUF2yw1cbqMuLw+nXx++xuilTLzP/1phqEpL+ZGkw8eJjg32c3CkyR/4xtTvP2P/3sSN35EsGuGRsBGpWzE1s5RKxxgCJ2kffQIky2MxdSh3Mxgsg5jM1swFreoObzkdud1khIYmiA0NIMpco6dT77Dx3/5fQwOJ05rh3RN4D9ZXn3lBdweE+WygWqtyDt//gMyORMvvXpGNwC/8qt/jb7+CSwG8eZCWzaTG+scbC3hGziBWfzSxQSGZgVHwEH1IEvH6cfTe4zy2g1atjCBnlPkDm9ga0k8s4XJWcVq8WIOn6OdXqBytPNs2FEqYjTUsfYfpzj3IfZwk8DEVzF0T9LJrPDD3/qX/O47i1yfazPgdZE2Nxno9vCFCQvFjoO1rRqpQpJo0KlTOTpN/E47u/kcdw8MHCU7XAoZ6Q7XeWnMxS8+F6ZRLPFkOU22ZqReajEw42VlvshGosiXr/Sqg/jwqIzJZNXPeSttxRNs06nW2T0s0d8TVMCfy9Sk3i7R5/AR9DbZqjh1O2n3BNhItfn9Byl9Ybb5Aiwf5fmV6RDhXhPX1hOkC07GeyDgiPCjm1uMRC0KC7I1yoxGu1nNHfL8iQHeuZNhbrNBmTzRtoULJ424jEa63Q5+7Z9/BcfUF2kldzEe7lMobmFzXaJU2KfVLmLxj9ESB2h+AUslRc0xhiss7utDLNIxz21ij515puyo1p/d0M1tsq0aLrMFa98VEC/8/lMsNhPu8DSJrU/wBCZpZ3ew+cyYvDHtdLZKeUzBblKLd6mY2/jtDhbnF/jeH/xAN3/PXTqDN+whc1Tmzp3PGB8fZmr6OMFQVHuMV9/7LwR8cQ5254gMnqJwtIHJ4eTc2ASG9j7H3vh7GDsNrLEhzPUGqfl3SB7sMjDxCnWjg8L2HAan5f93C5dpl5p03D7s9RTN8DlMxoJuuzDYoQ7p7Z/g905h6x6hujWPyeeghQ27qUM+uY976ArN/XfoWIexxM7SKq3qZ9MOPE/r4CNqqTVM3jFMXRGMrRadTomOI0IttYe5PI8r/BrtRoqasYPZN4qhXqZxtIg5PKRVm1rbhMFmopM/wOzs0ViVqb6kVghv+GUadenI79MpHuGKztBo5SmnkziCE7Sbe9RqThyVBLaAn1oxha13mKVrP+W/+bV3OPlcP2f6LGxu5WiY2lTaVW4tVTk24qGWqeGNCqjPws5RmWypznjYzEcPqsQjHSqtDhUzDEW6WN16BlPtCXnY3CoQcUOxAwcFEASFRx4eNXmeW7BaGvrfRSBqlmeukedPeEkfttjMF/jyiwN8cv8Ih7/DZNTH2k6dYiWnYJ7ZxV2OTfbx3PnnmZ17qp73RrnI4PAIH179mJPHZzQGKjHPu3fvqxrocP9Iu9zRaFAJ/qVKlbHREY0qSudyZHRE48xC+t3Y2CAgL2WLCwwP9Gv8e3N9l4PDfT14lQslBdGNDQ5jd9nZkZeugR7tYc/PLzE1Oa5AoKera+xvH6hb+dHcrPYwk3LgMRswGiwEZLA1MqhkaZfNTrPd1EP57u6+wvCmxke4cfMOX3zr8yyvrDA/u6ipAuk8F0pVggE3F86eUx/xnvwep53x8VFVm137+BOOnZjBajDptl60YBJdlMFGJOwneZTR/rfA+s6dO0EikSAcibGw8FSHI4ODvaohU61el5d8IcfowKg66R0uO6lEip6+mKrWRD0omxTZSEXCIebn5glHw/pyKeYEeSaGvF4lUkuUW+LKh7u72imWQ0y1LjoqSXj4SWdz6nN/cP+RvmiePH2Og/1tedXDYharkVUHEPce3iPkDWnft1qrMDUxCiYLy4urjEwMPNM7prLE+2OsrK1RKZW5cPEFZh/cZWJihkBQlFOzz37e+/saLZdN0d37j+kWa1AmrVtv+TPSmSxvvvl5rn50TQ99sd4oG1ubmA02Rkb6KEjKolTA5fZoZDUrtSerDa/Tqwdsr8/Fz3zta3z4/lWOkoe89cU3qNfr5PNp5pfXdcN4/NgoR0nhG+Q4c3aGT2/cpjv8zFc/MT3J44cP1W8u2i6B/sqhplap6YFUBionp6ZweG1cu/opP/uzXyedzfPhBx9x6swJ/X6IPUFqFJVyEa/Hq5+LgK7Ghkb1Gukf6tGu7O2bn3Hq1Cm64z08enhfAZATY5NkClnqAlxOJpVDEQ5F2dnZVaL54OCIxv974zHq9Y4q3c6dPU0imdRtUTgSVC3g6tMNpUxfuvwc//53fo9f+Lmvc5DIcPvuXaLhLhx2ux761MThtrO/tU93vFv/zUGfk8ePH2O3uZicmaGUz3P73l1e+9wrGM1m5mZnSSQTzBybwSDD3U6D7t4YqWSaUqGo0Mp6s6UGELlWBKbn8/o01ZErlugKRHTYVZLhiN+LzSLcAyPlRpudzXVN9UhyTqBkUteRLa9suy0Wk5oU7t15gMPpZmRwkEezDzl1+hwm07OoswDbRPF2+sxxgl4/iVQG6WGkDhJaRxBDiFl61LmcbuVC/pDeh6Qv39UVISOmi3NnaLbaWnuRzapo7DQen8/RH4tRq5UoFKWOZcFgkGGlR40asskWEF2mlNXBSnI/Salc4GBLDmwOBasKh0Ku2+TuEdEXZsBsYlVAki+/qJtQuQ564/3MLs7isjnIZvKqPBUNoiQi5Icrm1qzeL1NbZaXnnLp4kU9YC0uPVUVXCDQpbaJsdFB/b48fPhItaijo2P6Z9SEk9Juq7JUkjXyWcmvd9hdeliTe1KzIQA8L4VckWq1wcyZKRbnl7WetbG8yeSxaXKZlCog8/kqXo9LWTr5Uo7p8RkW5mcZGRvVwYAMRQVcuru1Syaf4+tf+xJPVd8WYOXpIjanAzNG3ez29/fpICOXy+gwJJNJaedbIJoS7ZaqlKQ96s0aVqPAIyvKBxBQ3M7WliZVQoFuVtZX1ALxybVrquOTClSlVmVibFgNI8VyRfkpe/LMGBeQaJP1jTUGhvuJ9ka59r2fYEnUMQStCmStNmukUwW8TjeR4wM4h6KsXH/E0PkZ/F4/65/OkpzdwGhvY7RYlGUjqahwqItAxM/c4io9XQFiwz1s7yUwN9vKZmlYjPTHethbl6SUm0QmrYkpGlXMNq+aIkSrlxIIn8XM4NQQA+MjbO0c6HJna3OL5y8/h98b5s7Ne7g9TrrCEVbXFpRFc/bCedYWljX9ktxL4JTrLF+kLqkVSYLabKR20zQMZirFEt3hIC1Ti8JhhlB3mNRmkt6pPnKlHL5wjKPNHdp2C0MXT3CQOGBwbICleyv4Q05NMsnfVSp7opIcHRnjxz96n5nT01pDkvqT2FNk0OywO1SHe/3qp4yOjSj3IhAM6rDY7LAQi3QrzyAei9FoNclnU6qSFKONMAXsThs3rt6kf3SAgrA8fH7Sa/s0No/oGQ6RTBRplMvUzRZeujjOu9fnCQUc/ObzbWWvpBpW2qYOpYTwgDqcnIzyZ59sc5gocXY8yNsvBbi20+aX/t0WU6MuHBjJFWtarWjUasytVNlf+C3MUttaOcQYClLf38FoFx3zSWhYacgAoLSL0TlMu7wCtQodfy/mpoVqaRdzu4kxGKdVSNLxDesS2FzNaBKv1SxRb7SxNTN0XP2aZK53yjqQMdjsYHHSlBRBeomG/DqvndrRAfahF6gkVzAaXVjcfTQqS5grUk20YgwO0slvQUO+S/L77TjcAYryjlo6om73Y/b1YDQ5KTz+I5w9l5Qd1cjuYnj4z6c6d+9tIvDUoSGhA+fI5irs7WR47QvTPLi9jtlo5+ylPhYXdrV3IyC/rdWSxvElKuty2MjmGvi8BlYWKpw+L/7gDmurOTx+MydOxmk06yw83uXS88c4Smfpi9v50Z9tEB100xYgWdFApVTh+HiQ3YOCdjqFLnrsRBcbqwLWMqlzti3RmlIaozHKv/wkRcxdJWD306hXGYv5eHc+wed7O/yPVwa4uZXhD2/VONVvYjtXpWa0cVgwkvyv0bLf+LsvcuXv/V22//LPcP9/LL13jOVpep33/G7OOVXdyjl0dXd1ntAzPYE7m4dckoYZVhQpGZYABUiGLAtyEiRLAGXBNGVBFgHalMxMLpfc3dnZmd2d0GE6p+rKOd+cczber7n/DDDdmL1V9xe+97znPGdqERNmavGnGHwjGMVifPCYpk3DUKjRtRuwuwYpN5to+RRts0HBqQyBc/Sap1T2H1MspfGHR/FOnkNrl+lWKpSFoZ3hDR4AACAASURBVFAocuvjv+LxswOlTk+cm2VieBSDqYlRb1IvNV3HRPr0VFGGjRrMTA4zeG4Bf2QEhR8xWDi695fonIN4h94gs/4drI4gZucomsNFO3mHqk6aDIKYqgXK7SK2wCT6bovUzqe4hy5g0A/R07L02jkauTp2b5CaJu8pyd5aoHCoqJL2oWmss2fRkvf4/Af3WPvoc259nuRhwaAGbsnU942HkOK2bCFPn9dDPF9nOOTmNJlD79FTrNsgX2A9CzWDjivuLhFfl//1nSiNUpXtdIlSy0HIWqOCjSfrMa7OhXm6UaBYa9Mf6uI0OpiP+CnnknSCJuR9fz6qw9oysJko8KSo56TS4aTgINarcpA2EnZL7Z/GO2cNkGkQ67QZD9nIxfSYfB0yXQeP75/w5VdDVLvSAdugpw9wcnpMtmRk+aDMqFtPOtEh1G/gn377CkFXjcu/+m1MRgfY7TQzeoqxR5DcommdwOWYoWM+Ibf9gtDs16kmXtDL30XX9/OqzqO09znusauYPTPUCktYJD9uH4XkTZx+eYEKdNKMoetQW6BOeU89iIRy0G0mlPVdKx3TcAxjNrbVy1UIw4nMAT5XH6nCMYerWzQaJpZ2d5m7PMsvvPMue7GkakaolLt0tK7Kxbk8HpZfPCa5d8Cl66/RbDexGxtMnnuTkYvvUN69hUNXRz/3ZTqxR6SX17A7jaQF4uMcxRsdo7j8Fwrq5xi5oqo+9d0q3Z6JrtmPyWmlkktS3v8Qd/+rWDyjtOL30YcGMDnOcfLFv0ZvnyZw4VvU4vegrmHwT2E128jsf4iuVMFks9LR/Jj9Loz2Plqny9R7TVzTv0SrvIdW2lEQFp1dumqhtvsA/9lv0iVLKRHDrHVodgo0cnEMWhWdYxbNY4aWE4szQC21R6ccx2DIqbiMvlin1ariHJyllksraq6526Td7iprV7WYp1ZPEpq4TqcUp5PboescBeMQwUk33/k//yN//98+4X/8bybY2DolXuzRqmlcGXLxZ5tFXHSJ9plxmy0k8wUqjZc5WKnArJb0+BwtNcxWygb6A0aadQ1XyEYhlqely+J2BNk7bVHXamqbateZaJkNXJhyc3pYZmMvwcigH5fNyAefH+Fy2IiXq/QHzUy49Dw46mEwdPG6TES9Du6uxejzuwh4zBwdZ5ldvIbZLJmzitogN9s9jg+PWLy0yP7hHm67l8HBPvUy2lhd4avf+Brf+YvvKWq1WE4/u3lXbYDEuZFNJClXSzTaXVWhpmr+ug0ioQEKhYwSXJZevODy5UVVVydZ6cHBiOoBTyfSaiCQerCp2WlymTyHh4cMi1XYIrEhTR1MfF6v2jBlUgli8dRfVwHa2d8/UlVd0WhI1VtK9lr+FwpJJy6Eg16KVYHEivVUhpke27uHDA/3E/Z7lZ32OH6qhmgB2bmdbtXhLdVM8XhKDZt2m12ResUaOzw8qoB2Yu9PxlJqwJdaL9n0yGA0NjHKk0fPVWf2+uY2Q0OjKitrt5nJprP0RQeYHB1WByQJ0Lg9AQVvEteMOAsk/iCAwpNEglDARyqVxGa1q1yksjmfCi37VHWziwV0bWOPkZEwdotD5afF9ux02FRl3kn8lOPDY268dV3Z52WzGfSHXubPxwaxOW0YNRsnJ4fqmT4zPo434OHOnSdcvXpeVX4JnEuy3DJMiyVYLM0DAwPK2imMAamCS5wmFRMhXyoxNT1J7ORYQfkOD3ZxSfyp0aBaq2I2WlXnusCiNsQS2x9UnAOd1sVpd8u8y+jokGpfmJ+ZVcKAbEPCkQFu373NzOQUyXhMXUNDQ1H1z0K5RK1con84SsT/MrM70B8llckry6k4I6RuTUBjIqbv7GyrXm2JVGkGOcMJh8Ko/ns/+fGnXH3lMuFgmJW1DXQGPWFfgHgqQSFfptmoqshLKOilUmoSTybZ3t5RgEDx/h4fxuiLRJSLQyj2IkZJvaMMo30DUcZHRhmfGOFHP/1ENQcIl0A2wGKFlnx/uH+QpWfPuXLtMscnMfJpEZraGE061foj8QCn28HJSVyB6GLJJK9duaau0a29fRw2I4V8jYGhfjWUihNGLN//5L//R7RrDf74z76rDu4CHSvXKrx27RU+v/UZvZZeAT3HR4f58Ic/5sy5OWp1+Z2Nqq3qcxFQ+kNK2JNtXaAvwkB/v7q2Dg4PKBUEvhdU3fWxZELZZM/MzXL3waOXQkC1qgbBvcNjdR9KROH4WHhREbWplRjg3tYhbp+XYMCHzWbn9u0veO3VqwrENzQ4gsmsw2H3sLGxyeiwuMakfnCZq5cvs7+7icvvY3BohCePHqnoklj2ZegVQc9hF7ZUlFt3vlAVoPJnixfO8tHHPyITTzA5McHO3g61Zgu328fc/AzxeFI5OmTr/fDpY/7RP/h73L51m54wIAoZ9Yzw+70qbrO9scdA0IM2EqJu1NEf8GOyWJRwKhl/sf8LIFuGJI0ebp8Hn9fH9uaOEkdyhYLaevb3h1SjgbBHTg5OGRySNolF/vhP/pShoX5V07a3s8fgyDilvLgobCraI9yTgNDcMxnFLpAFgoiULqeXfDZNo93i/LlzKv5zfHCs2osyuby69l997VXuPbjLzNQczWaFYklAdH4Oj2JoWoe+UIjTZEpFmfQaiuny+vVXlLglIrG0NAwPDnD33mPMBgPjc5OM9Pfx6MkzzCaT+o4TiQQH+0ecP7dIJpemXq3S0YHNalH8AhExxM2RLeY5f+48+webqvpZrkEZuHd3D8hnRYQZUdV24jwSF47wSkSAdru8LL9Y49z5GQUTlWd5VVp2tJfPbKvFxNTQEJ//wY+JDvhUlt7u8dHQWuROE2TyJV779tcJ93v5y9/9IeW9JB5Z+GkwdXGOzfUtQpEwXeq0m5oSRfTSyqQzUhbAbqetXE9difg061gdZtKxEpGhEA06tOo1LC6XqrocvTCmGCDHUqlaLNCgi9PvVbBds86gwI9Sd7v6fI3d3T2+8pW3uH//IV/7uffZXtngzqcPmTgziV5r4RsKYbY6SB3H1VlKnGMWg5E+cYEUC2xvbdAudbGhpynDbsjNxvNV5cbI52pEfG4FFjbpjaTrJfzDg3SNXdz9EbrNnqrnlHpd5ETU6TA4GiWVlpiNTZ1J2l2pZK4pN4e0tbTaAqjM0dHrlHAg9+rVS1cV20EgmzajFb3ZoOadUqmoKmQl0iAgyb29fXWPdntddc+ODg8qAfTe733E5TfHSGXLGGptXD4b7W6XbLFOptDi313tktYJKL3GmfPD3Lm5RzTsgV6DTLOB1WSm32vitUk///y7+/z7BzV+YSFMo9MjW85jFAh3r8mzvTxHp38Cx0vklmIYIiYFhRc2h65ZoOPpR+edpJlexaoTB3QRsy1Ep5hCp7XBP0A3f4jePojW0tGqHKC5+6FZQzN06fTMGBqysulg8EyqGmpqKTRHCD0WWrG76KQNyzeJlt+mq3dhMGt0a2l0OgedVhLN2o8mkdnUZ+g8I+jcMzSbVRBgfSWFSc68zSrNTppmz4jF7qbV0jCaDbSSTxX3IjA4SavSRfvPv+jt2aw6JqaCrG8kmZkJkEk3qNR6mI11HC4nay/i2O1GwmEr5VKPTDGD224im+4ST8nGxcY7Xxpkbe1YZXFlW1sTUna9o8BGomoabCYGBo3s7dZYXiryN39DoER5qo02nTYc7GW5dHWMQqLKvfun/Mq3J/B4TXz6WYI7D9N865sjDPWbuXc7xtBwh4OEjd/4UZ23PTVGIyE6nTwrGXCbXXxrtMKUrkXPrue3ngrcrUEy0+HcmXHuLh9yf6nCP/81P7/xf/wXSgcbijRbTr9Qg7jeGACLRruwitl3gQ46uq0yRmMAg7lFNbakICkDI2+SO32AMTSBZrTSrCTo5k+xDr1GI7WLXtfAf/5d0ntLqqbMO3pZ2b7+w7/635lfmGVQKqySh8qxYDa1GZmc4bNPPqOYKSiK+s7zDZx9LhYnZ6BXYOziNXS+RWqpTYrZOJGBq2RWf19ZbCVvZAiMUKnpMZvraHo7XZOG1RyiWT2gVcnS6VnxCXQtE6OnE9XaRqteQd8+RAu/hqFZoZVL0+zUKef28c9dxj2yCLFP6JgCbP/oR/zOd5b54zsJak0d0aCVy2NGLo3ZeBKHqtgnGxUOczW6VT2vzjnZLcnAXqbbbLGd0egaIGJq83fe8OBudelKFqyhI98s4PdZufMix3sXRNhwUE5leXZU4/XzEY6zOZ5sNvjSYj//y+04u3E9NgN4/GZOqiUGTWbGvH5K1TpoORZnh/iDn8SV06Tca2B22hjymVUucqHfRbzU4f/9wS4LHjv3S1VsbSPfWBT75SSvnh1l4Xwf3ouvgtUIqSzVuhetkKBWStKI17BHB8BuoV6rYPaFaKf3aRZi2DxzdPU1jCar6v+V675V2aTVDoLY9bXWy0563wL6WpV6r4ctKBUjS/QaHurVOG6Hjk4zjiVyCb3VT3H/KeV6FZPOST5TYn37GclMHltPo26yEfYIoOgsa1vr6qUd7RtmaNxPOtvE2K6ytPSYbkvP7MIZcpkDPvvkAdffuMTVN7+Jw23C5AjSKKVp13MUT3ZxhftI5Y0qat5uN8idPMfbfwFL6Czd0j6Nbhuz2YWh26Gce4HZFEGzSf7NTrNeUtl+u2ucYmZL1Y0Y/JJ7HSSX3SM8c53SwZJyMlgGzotxhGZ5j57RhcnuoJxYxu0/Q6VdxSi5rE4Fq9lCx6hD1zVSSyxh8c+gWZx0i6foenWalTxmTxSdfZhmYYdeaQej/yI9i1fZosyOSZWZLx19iNVmQe+7RstoppPeo6dvYfOM0jYFaaZfoNfFMNrnQGfCRJlGx4Ney6Nv1CmWu5gcki+LYTdo6MNRrNE56puf83O/+ttcuzDMw80CeoO8bAzccOv5w/UyDemfHbPy46UMg1Ef7XKFXAmmhp1UpPpT7N3dHuf6HOSFOGA0sbmXx293KKtiQf68beDitFdBgmqagePjIiNDTo5PS+jbemUv74vaqOt6VEvisCnR77NjNDtJ1nNkjltkqh0WZ/yE5HmeKFNOSkasw8jkBbW1U6T3ySl1yBd7vvQe7+4eqg2nsElev/46f/In31EwMoF8DQxEMOvNLC2v89aN6+zuSCSgyNyZWba2dogO9itb6dVrF9nfPyaTzXL99Vd4vrSiomNy0MtkMkoMHh7o5+T4lLZ0kI9NUK9XqNTrxGIpdVBud3tcFFp+tcra+pqCIl06f1H+hHwuTzDo4+AgxrnzCyyvvMDr9qoIwWC0j9PTU3VY3drbY/HMGdU4cCo9zpLnNxm5/+ipoh5fvniRo5MjPF6vqhiVLVq5mFMD1FEsqWCDstGXfvaMdFO3xSZrV2KOiNXNqmx2s5hNRlXx15KMd0Uo3U5l4Wx1pNnGo/L/Q8MjymorUL9ep8301ISioItbIJ3LKFeSHMRPT44oVysszM9RrdfV53PaHEqIkO2IHMpDfX1qOJJcrxyWHG6Pqlr75JNbTE9PqYjAyto6kWAfC2dmuPPFPZWnnpmZVoOJDI0WuxykXer+ePZimYWZOXWwE+CWOLJOY9K9HKLSqJNNJdTPPL8wpdw9Uqvo8jiV3Vi+r5HhYZrturKGDw8MK3K+wWiiLxrhk59+wXvv3WBwIMqtW7eUDVxo3yLAFnI5GtWGqtCbmJ0lHo/h9wUVePLK5UsKgCfuDznYS996JplQ8FraPYICMZUtmEtahfxs7x4oO7fRbFLVpL5gnxJUotF+5VaTLLS0Vogle3p+nod3v2ByakqB1MSOPTI+ymef31WHXp1sZv0CHzWzub7JhcUFdTAdGRrg8OiUlZU1Av6AsmSHox7omMkXiyr2cOfOF8oRIw0N42PjqjM7mcyg0xnIZ1MkZREyGOHMmQXFCAj1hdD1NJVBl02p2aBXP5umM9Ko1PAEPEoQu3nzlmqqGBM+wd2H9Lri2gwpGGUqmaPaqKv/D2mpkQo+afbIlgqMj0U5PI2Rjmf5hV/4Bo8fPVeAQLvby/HBiRIleu0u1UZFiSriRvjxjz9lUjaTIub4PMpBJoAuodQ7HUL7dnJ0dMQ777yjuByPny7x6rXL5EsFZZ/tNVscnB6xcH4Bj8OpssFCRZffkVSLCW9D4iP5Yplv/Nw3VB5fNrmhYISlp0uEB/x85d0v853vfo/h0UG10ZUs+cjQqMr1y3PGYjDT0zqcxuJE+l8+d2RwX7y4SCjoVpXT4gpptatKUBI3i1xDO5s7XHv9NU4O9njy8CnXXltU9+zxaYz3vvzeS7FsZZ3h4SE1PIobY2Njn+tvXqNTL3C6F6ettdnYOVQbxNHRQXZXdjj7/muIkT53fELPaFEsj6PDI0V3t1qdKqogYNXdvQNC4ZCKfso23uywqvddNp3Go7amZTqKQ9JRm16pUpTrTITaQrlGJOAhFk+q67rSqDEQHmB5bZl0RrrWg/gDXjLpJA6HW9WvvXnjddWa4fMEFGNgfW2DmbkpZqdn+M53vsu7775Hjxaf/PgT1Wvf6gn7XiOVSTM6OEhcWgz6ouzs7GKympiYGFXilTwP+0JhtVCQe29hfp7j2Kki3wsxX9o/xJkwNj6p3hPSECLPvrGREeWs0BsE5idOlUEMOtRnnRgbJ5lOKIr8sxdLTE1NsbtzoKqhJU50/twZfvDBDynmqkzPTvJ86SmvXHuF5dVlBUwUG77UwkpczYCRzY11IpNjBGw2Hn73U6JBP8VKhWDEz95BDKfVht2qY2DxjPp59u4tE7JaaEjwxWxQTke9UU8pXcCs09E1GGhVm6pJRPgLcpYZCPURS8boGDUFKvSPDJNvljGbdQp4uLV/SHhwmEqxQLPVxBPyEnR71XNBWmgOd46YWZim1aiRSiax2T20aeNwenA6jNz97IHaqtu9L0WE8JCPk7VT3GGfirXodPqXnfG02d7YZnpqknQuz/yFBQV+O9jcVw6J1966qMC4shTKxxJkkyXS8kys9/CE3ZhtDp49eq6u+5lL82xvbVMoF3n12uvsHe6ROE1w5dpF7t26i8Pn4Z133uKjH36M1+uib2CAm5/eVPWs4f6wEq4lLqWqsrua+h4k4iF1hVJ1emnxPC6Xl4ODPbY2dvF43MpNMjc9jdVrV26i08Nj/LEKloDEs5L0dHoVH19ZS2GxmlWd4ot/O8Sff5IiZNPhCdt58DTOV9+e5ta9Y+xGPS5nncOckWlbhVtVF7/5SZ2r/jZNo50hW4eiZqBdq3B3o02i9gMMWxtUUlnwDWGwml5WSqZW6DrDCBhI7hOd5sSoa9GwejHkDmh1EqDvw+IfpyHnX72GIStw7mk0cz+GcoyOxaUW3h05t8kiqHyKJpl+o5d2aQ2zXEgS73Uv0DPUQJOmET3d3BJ4XkNXO6Bn8aPpq1Cto1Uz1GpJbNHX0OpJ6uUjjMNX6KYqdPVlDM4RDJUUdYoYzWEMWk8ty1ulNHq3D+37f3ewV6s3uXF9gu/++RMGR9wE+5ycHtVpd0tE+3ysbcSZnouy/PyQwQGvsp0GQk72tg84d3GMWCzH8VoZzaUxMeFm9akonvC1n59gbz1Ho9Mkm+jiCxjxuGzKnv7o/hFzi4NU8kVu/Iz0Lx/xve/luPyqm6jXw90HKXT6Bjfe7Fdwmb/83h4zkw5VUWhuFbm9kuNf3tT4+oyOdK3FhbCHz/fKOBwd3hl38suLFvr8Dn7rswzpnJ5Hm2nevRLg9XNDXP8XD/nXvzDIP/3D3yb37BmtzCkm3xwWp5/s1gcq8ysHYrf/MvisZJ//iGJqiYkz/zVtq4dmbZuebYjC2ifoXQMKfKgTi4tvinI1p0BeJvekgiyY/UESO3fwBsdx90XJ7a0QOzni5kf3Wd0+ZGqyn74+H4HxGWJ7xzi9etxuP82mgYeffYrBosPrduHwBhgZ9TMxPIJn8qpqJCgc72DWdTnYfYrV7MLXP0E5sY4rOEDh9BCLZwjr+CLZZz9RdliD30snU6PZq0D5FEvwArV6DKtWQuc+Q+ngPk5nF71xglrXTmLnI6Jzv4zmNGIfEhiPDbIxdj78jN/4377P/lGDjEoU9fgb160MDfazvldg+yRDxGOhbtVjLDU4OxXi+XGZJ4keI/YG745ZeG3UjVYSeKKFVwZN6Bpd1tMVdQBfP6yxHK+zXm7z3qSdbq3Fi7KOj+MtvHoLFwctLJ0Wscjv16BhN+sYjdj56UqcdMnA63MuHMYePZcVa9VIo5FXMYINFV2AiNfGQLDN4oyDr709wfyly9imp8DoptsIoqsnOT4uoKvHVZzC4h8gtb2EUyuCwYg+NIfJ7KGWeEi7bcM6fI5eo0qnFkdnjdDtlNFV4uht/ZRPD3FPnaFVTFNLbWMLTVMtF9C6CWoGD059AKfTSKURwxWZoKbOXkbqmRax5GPu3rzN0Ni8Gh42Vp7i9weVWto/Os/qs8cq2yV1Wh2jS0V0tleXcbrDmCxejna/IBoIkCrWuHTtAuMTU1jGvgyFTUrHm5jcVgqxE/RGN5ntJ4SmRHQIUjj5FG/kCppvglpsHbPdh04rUM+doPVdp13LYmgdoe950EQN7+nR1VJ0HH66DYPqABYSdat4hMEVptvUU9n7AN+Z36CZvoMBG1pkgGZDT3vvHga7C+PYWxgqxzR6OkyOMM2j27Qso1h0VYzhWQrPfkxb6+AZnaZr8KJPbJJJrqD3R+kmjzEHRjAFJmmnV3FE31Cbdn3jPgZjFPQ2NM849f3bSC+M3T2oNtaV46fg6lM1hM3YHmazTdFuG3Y/AV+UcimHI9KHrlqimC/iGuij27KDxAnym7j6I3z0lz/hn/27m5idQS5FrdicPf6/O0V++Ms+jrplfvb3U/zdqy7SOdn8O0jlymDV4fFa8eqMHByXsLrbzIz4OUho9BpxWvUuvoEQj57GmZvxsX2cZcjpxes0oHOYWXp2oPgMPr+RYg1shgYtvZXtlSQzg26+9f55/vNfLWEzafh8NpmYWFqL4dT1iAx42ReYpupmjzM0foZQpE/Rex8vPWcgHAVd+6+r4cDj8fLFzbuqes7ksJI4PmX+zBm63S65XFGBnIQELiRsIa97PC4O9veYnp9VdWJiRb5y+Qo//OBjuu2aApXJoJVMJblw4ZLaeHeFMdBqq4309Pi44jbs7x4wPTnP4YlsakNks0Vx1fLGWzf44Ac/VBCoYDigBnWhPa8ubyuyv8CihFJSKAiQp4fNaVeQPoF1yYFfIGCSpxf4oECNzHJY0xsV3dto1GiLA8DxskrK5bAo6+7Dx89fZhy11ksKv8nN8alA4/pU/tDtFwuymVy2hF5Qr7oeLpefbCahNrsi0MihXRxzo6MT3PviDplMDrPDrYCY4xPDCnAoOXOBqokd3+2w4Xa7VC5XLMAC9YqdZtje3lCHSYHa58pFIv6AEjnmZ2fV70+qstptPbv7m4rKnpeN/syUaid49nyFL7/3ZcIBL5/d+hyTxaqG4FgsrtwFU1Mjqktb7N0SoxLGgrQZCI1eNo5jY1MUSgWOjve4eu0aJwcHnMYyagMqg65wAzxeN1cuXuTz2zcVhEry/iJqRfx+Dk+PFUBPhoF4Mo3fGyCdj7O7tc/c3DwLC3N8/3sfqE5tqWodmZrCbNSRS+XY3t/D5wtwenTEm+++STGfVTT3/d2Tl4dis1m5V6TDXQa3ixcXefbsqWqTEKEgHA6r9oBnz5f46lfewWJzqTy6bC61bpvh8Ul8LpsijQ+PTHD37n01RAhoy+sPQLNLu9dWjQUCtLNLzWBF6vz6ODo+Vbbjk/gBAacsPySyocds0iiX2ly+coH7D+4pTsTR3iGNZpNKvaFiBNFIH7tHh2qpMCWRm2xOVY75PW7iyRiDff0KBBkO9ytB4dyFsyqKIbR9ue/8fr+CqolrZ/7MFIc7x8rVIVDIJ89XVVTii1u3lX24Ui7i8fgIBL2k0ylW1re4ML+AzWFWfAun20lP32NtaY3hsWEVdZHnhIg7AtT79W//Gju7m6ytbipA3bvvvc3zx8vqWq41S1y8ePlltKZU4P333+fZ0ycqw67pDDTqFVrStyn5WHFWSfuD0Uy92WFmZlw9J5ZfrPD2u2/x6NFDPO4Ap8eniuAvjI4zcwvcuXWbWCytGjDOL8xRr1QVWf7Djz5Vw764CmSAl/tA7nupkK43a5TLRUKhsLJmh0Vk6fQ4PD1V/87rcbH+YhXp4G3WKioKIYKdnEPcfjd6zaRiSBcWz9AXjvD57VvKodAsiziwzeL5CRr1pqpAk1YLyVQ7+3zoxsJ06w0FbZQo0djYGDMzc7x49lS9v+fnzqhrQqo5JUIxtzCHXmdgeWUFo1ms5i72tg+5cHGR7Y0NesKYmJ/m4OhUiezyPBKIpPBAtrcOCIXcKlLwxa27/Mqv/FdKBPri7gMVp5C4kWzeRZx99uSZils6BI5aqdIXlYhHTm3jw1HhGeTwODw4ZZPdqbOxsU1/tF9BfDOpvGpYEH7I6OQY/cGIqi6Ue1VaWgSiODe9oNxXUzPjPHjwSEW5xL4vYFeJKjkFLut2kU4liYTC7B7sKldCvdZgeWlFDewSc5LOe3H+5PIVarUydptDAdmkTvP+vUeMT44ox7Dk/OXfu9wutrdX8Xh9NOs9nr9YxWEzq1iVuH6E85GpFrEaTNhSZY52T5ANkd2qp1JtMRAJ0DaLazlOq9BkfDBA1dhTDRACGAz5PZwexbDa7WitHnqjhsXtRCtX6KAnVa/iHwgQnRqj2m1Sq9eZOTOrhM0Htx7xzfe/wvLGOqnjNIPD/colt7Oxg9NnVc4hs8HK7tYmwwND2JxWjuNp9rZ3WJg5Q1vXUSyFt96+wfLSMyxGA+VGl0Ixi67dU5DbkZFhGo0m9Zq8YxdZfbGmRLqQ30cslSUYkYVIi3Q8Q2SkT4E/RYAP9UeV82R+cVZF2SS2cuXCIke7zI0xPwAAIABJREFUB4qjIPVjwpERd4MwbOTdYDKbuHTlsqqi3FrbUq6wlgB6XVLrm1aLBHmOmox6RodH8fr9JBMJVcNqkvOz/iX02yXP23xJtX606i31+a12G8GQn631XUw2o6pA7MRSWBNyLuupaKtEWgVqK4vIQr2klojf/zs+nqymGZntY231+OUZWFdioN/PwVFNAWHl92bUWjwuOPjBkwzvnOvj5naBiMmk2HV3X5xg12Ap9R2Kn31EV29HZ5QlkI5mJ0U3FcMQvYJRODDZx1h91+i1MzQaRUzuCeVO71KVujZ6lT00ccVawtTSdzG6R+iKc1W6kmoHGFwTivMl4Ge9JUxHM9HLrWAIvUU3cZ9mcRn76JcVRFNX11Gt7eHwhGhU8vQc0xgqRxgCc3Ryy3T1DnpyxnCEIL5O29qH2WKjtvw7WM//KvpGjVpLp1zIWlniNHmoluhoFrSf/qOx3vrmMQ6nk76wk9hxmki/h1yuSiou0CArDq9LHYg++N4OFy8FqNdrUtKLw64p8n/XoGNnPUcmX+Wb37zAw3s7SsnvC7tJZ4q4QgZWl7IKnNfXJ12ORrLCvdHVScW72FxGtfEZCFiZuxBWkLNcvkEm1aBRb/Mz707ynR+u4DIbVP2FtdEhp7PxZwcdBqX6x9gUsZGIy879vSLz4R7/wytuuhj5V5/mSPTApTeTT9V561yYf/lXe/zHb/fzzf/rtymvJKilnmELysHXga7bpttzUi8/xOoc4fFPf4RncIrR0VGOdh/h8Q0QDo/Q80QwOk1oWCgf7BDbu0+ob45Kcg+rN0TXHaJzsErb7cfZqNLS5eg5x3F7o9Ro4LSZwD7M7qMfo3U17vzwj9g5ajJ/boZevYu336zscOHRaUydEkZnlIeffQwGDxGvBydZzn31ZxmdP4fe60LL1GlWd0ntvcDuP6+237nMPk5nmGIihncgRA0r3WIek8mh6PKaZqbTLCmLiU6rUy+KNbaIve8VevUk3ewBpsAw+VoXu6hFxoLKFhl8bmVbKcbj/OC3v8/yfpbb63Uep8y8O9xmctxLSWdGXyoSq8ohworFbKOSyBCvdEiaZYPTwmlqMRYR/rmLKWOT9xctJJt6/uhBifl+AxNjXv75j07pYcVj76I1OiwGHJSMHXazFUZsRrwuB1uHOeZG3biDJtptA4WjHnf2D5gctPLxozY2rcPZQR3BQRtvvznHN371DQKRITp2P/pCka4o8KkE1UqaTr2Paq/EyMIVCntbtHtV9F1UNaNj6ArVVofi/if4Z38WrVqglV9X1R6t9K66fnAPoQnUxxpROfVSYlXRXN2jb5Hb/xEm3xQeT5hO/RRDXz9mh4PUbpZeowaVJD/98CcK6GJxmJWqHz9JMzg2SOwopmInl6+/wfqzJVWvduPrN2hVzXz3D/8TerNDDT/1QouQq8PkpYtY3REmLnwFQ6tE7XSNeiVOyzGI3Vaj3jRhMkUonaxi83nRy4a9FEMz2JXVtFHt0DHpcDhDVBKr1GsxdQ2aujYMXhuNbAX72CzVTAGjvk4vvQ39r2Jo58kf3sXbd4FmW8PiqNDUxOLboIYBh95DvZSgkD4iNDBGMZegp/NhdnjIP/xtzGPfwuLy0Dz5DOvZX6GZS9Kup3AExqGSU8NVDyMNgepoLTxOD7VGDfvY6xTXf6LUer09Qjv+DLIrWAbfptHpYoycQ1+OUaukMJg8tEsHOEe+RDXxhLbk4IYmqGeSNOtpjKEZZVtMbz5C57Jjboubxko7tYp7ZJrexJfQO30Qu8svfvl/YilVYWE0hK2cA4eej1dh9R/6MdqcXPoP62R0Pq5ExDZoUVReyc4j9NieAbfv5XNLKqn2tluMjhoI2M0cZysYrRoBk5t7ayeY7XZGQhYqAuFzu9iLF1g5yuM1mzgXduKKOHi2k2LAa0Zv0PHR0xxXZ72Yuz0KuSo2nwWto3Ecryrxwe+2snWYwOpwER0eo14pYrN50HSa2kpPTk+w9mIZZ8CD3xNSA9fB/oFqBxCbrbAmIn1RJsZGVc4/nc0QDvUpUJfb62VwaIBiTmqbsgoMJNCgof4o41OjqsZzZXMDj9Outo2ZZF7Vt44NjanDiNToSY1qo1HDoDMzNz+rhgl/wK+6uwuFgsqairXVJNdqpaEs6mJNlc1Usy4b1LLagLm8DlVFJgddGdZlmBF77+HRsTqsXLxwVmWSDw+O1aZOcssCZRI78YWLVzg6PlBiR6PZUaR4aT6QHPfe7q7KDk+OjqK32Dk+2uX9r3+De48fK3v63OyMAmOJf1QEHbvLjl6vcXR4TKPVVjZrGdxSiZRyWYhdt68/Qqv5sgLv3MK8sp+LhVIAeDI8fnH3C1wun2pSECt0q6djfWmFv/lr36bRrPHjTz5Tw2er1SQSjtCWGIFBx8j4MDabi0f3HioY7fbmFucXzypxQA7QD+4/5Mvf+Io6gHs9DnXokg54EXik+UCyu2PjUQVtlBzx+Quy/bmNPxTB7XWpAd3nlQP4HsOTEyw/ecrcmTmcNqsSLLd3dtR3FumPYtA0Nre2sTs9tNo1xoaHVT55fXNLOWekPkqsvaViRg1sUzNTbG7sqoy3bKLFLZCMJ+kfDHLtyjVW17ZU17KIDBuba7x67VUeP3nK8PAAQZ+fB4+f4/M6cThcPHn8BIfHw9nZKZZXNtXGUq41qUX86IOfMDI2rIaSew8fqRaHL737hmoqEABcX6SPnb199TPtHx/hcQvdfUTlmSUyMD4zSaVQVNtMaakoy8ArUS5h2jhtPHv2Qt1TpycJLl06R75YoduuK8K4XBMCxDLrNZ6vrDI+Nqauj5/85BOGRkZVfd2jR/d4990v8fDBQwIBP7Vqg5nZERq1jhKopMpTMsMP7j3EYrYyNTPNk4ePFEBwcnqS44NDdV8KIXtj7YUSNQTOJW4OgR5mUmkmp2fY2d5mdlayvW6eP32OPxBQ9+FpPEHYH1I5e2k1kG27XIfitIgMRJVjQW8wsCCD7b17qiXlxtuvc3wQVyKfhpFqJc/29i6XL18kEAqo4erPv/OXCtrpcNhUVl1qykR0unz5EjtbO0qA3D+Uc4yNgaFR5fh4vvKcC6rloUCLLvOTc2rzvLmzxpn5eXodjWarpezyAvdrtkTgGSZ2eKSeC/LflJ9JqOpjk2Osr67i8dhVbaUIKof7x4q/4Q8GVfY6nkjQF4mq7PKsAiUeYbda2N/dwmLUoxkNyv0iG9jRwQG2Dw5o93sZGuhXYo7YuuXvN+vgcFs42NtX50mJRJitNkr5AoFIQDl75N4UF4+IavL3pCZQuCly7ipXavj+upbvcH+P119/k0I1y2c//oJIJMBAdFh9RoF5CrgxHk8oUVFaNa5cvcTu/oGKg0xPTSlnwc72oYJ23vz8Jm/ceF1Z5uPiDOt11H0msYBEIo3RoFOtBpm08GPCLC5e5Pd/779w7ZXLKrsvkMNgKEw2lcHn83Lz1h3eeeeGAj/u7Z0QDvnQZOufLajKTGmvECeWOH+Fy6I3aMxMzylOgzhdhkdGVLS4Wq4pXoneaCArwoRY1TUdJqOV5eVl3n5bHA05isKyuPeMN25cUwPiF3fuKuHl9euvsbW5xf7uDtMTU6TKRRq1JtZ4lnwshyvq5XgvwYWrZ8jEMtTadfWOOdo9xCLgv568j4fZ3N0iGg7hsjo52jtBE2S+1UaqVCI8M4A96FEuOeE6ybmsnJaGEDduh4ektDm0yly5cgWTprGytKaq/QaH+9B1NZaXN3nxYp2piTEmZyco18oK8Of1+tQzY3h4UDWQDQwPkIynFGxyeHSA5w+X0KTurt/P6MgYK5trCron75JavcLU7JSKZIWCEiepKp6LNI9oGNT7W2oQDw/jSgToiwbpjw5wdCSgTx1jMxPsb26pJWg6k+fGGzcoFDNsbuwo4VlAuoOjg9x/9Eh9P4ODQ5SKAgx0KTe1NGb85OOfqPtneHSY5y+WGIj0Y7FY2N7bIRzqV4sCcX+J80mcf9evv8EPvv8hr7x+FZfTyvLSKuOTkzx9vs6o18Paj5/j7ZMKeSNWo7QwVXHYe+xmGxh1Zv7Joo6RkImaZqFUqzIzHubpo5jij0QievqGwhi7Tc6OWbjxmyes7dZ4bd7FQbqAodFjeq6fH9485JfeGeQ/fP+PKN2RRbCbdvaZirn1QjewuaK0s4+Vo1rnn0BrFWllTjAFFlUbWS1+B6v/PL1aBb1VoysOtUqGlnGYXm0Fna1fOcwF2m6xDNEQkUBcs7YBBU7WdTt0rRpa20w1s4XB4lWgPoNdh87koSffn4gl0kTRkc5RBzhG1aKjefgAi3senbNHU3PDyefKJWs/+7cpLv8XdQ7RXIMYgufRNWo0c0sYrWG0n/53A718vkkqLlvCADd/cszC+X7s7gbpky6tjlFl58Q+NTMzoDZrvV6Jg60yA0M+Ou0G+XJb0cCdLo39wxJnz0XQ6zs8uJnFYNcIus34Ik6ldBoNPTS9iWKpyciwhydPT3A7pd7DxGC0zeZhTVmnZ+ftxLNNtFqTw0SLbr3Dz39rmE/uFSmVs7Rben5nQ881v0bb6GHEUaeq6ak0uiw6ygT0DsJRHT9arXFQ62BuGwkGdQwMO/lPf3rCv3jfzi/95r9h//OPCM5/nW55HywD6Ht5yplDug5RGwPsbDxg497HVHETjYTV4bgu4KJoH+l0DI/LwML5a5iCQzQln5tJ0i4naOWr6HxG7KEFju7+KcHAIObQNPVyHGtgnFLuUBGxTVY7rXIbQ8DF05s/ILG/rx78lTJo9iAmPUSHI8qa2LWYCXu9PHv8iIb0wQossNnljfeuonVsTC1ewjl2jnIig15fwlhfp1wP0iicoLd4MRiDlHLP0Lc62HyDNMspdG6xLbrp1eLYB67RrGSoJB9jNPtU9kXiB0JtbVZMmHtpuu4g7c4Q7s4KNr8Tbf461PY4/Pgef/5XP+WjD0+4k4G5kImrUSOOQQ+rWxUiXtmg1WljRNepoRlNHOekm7SN0WDj7lGGWa+dQYeJ9VSOidE+9mI5vNLB7dQx4A2pDHU+W1JWT5tRQBcavV4Hl8mAp2vii50UlZQQpdsky/DffiPM1TcvMLUwSOTa63StTnp1D/rt5+QOnuH2DHOUO6GrC+L32MAzgkEX5+T+7+LyLtIzBdCbwOYbp97U0WzG8fZNU96+SU8zYQmN0xWwDjmMmpeOJ0j1+A4ez1kqeiP60ob6O4XjXTxDY9C2U2un8ffN0NQbOHz0Abc+vI074MPlD5BOHbO2ckIgaGZqbJrB8QllqxYLaK3VwNSzMb5whlu372DpJdA3KugdYfQ9M74+PdHwKK6Qh2a1hcnpweqbo3i6TKdSonj6FLMjQM9ixtTKY5r8ZSrHy5haB3Q0eeg0FJU6MHyJWjpOS8QVX4h85gibyUQte4Q18Aptk4l2bZt6OYvV6EVnC2OyOahnY5g9fZDbo9xsEeyTh5qRruakVZZceAEaRnZWf6SGsKB/BIPVj8VYxeofoRJ7gG3gLRrFDEZ9AUf0GuXDh9j6ztCsnNBudWnXT7CafRiDl8kffIRr8DX0JgvF1b/EHLlAx+XHXDJTSjzGMNKPPl9VQkpW3DCSsXL40bWrNOsVGsWY4jFYZ65T2L5Ju9DAMzpJ6UhssSF6Hjvmegr35Cxay03Xb6F3fJ9mJcnv/d49MscNlp+ncQUt5LodBRl1hw34Ja+WbPL3p9p847KPqubhzL/bZX7ADlqbAZuRnl7HabGmMuSa2LlTDboCrgraebCeJhLU+OriOHfWiuzEEnzzYj+5Yp3tWInZfjvFfJm6ZsfmNpMr1JgZ9qh6pJN0CV/Aid1kxWpsk2t0Fam6WNOTKVQ4PixzbiqCT6Jc+QZbW6dMjo1hDYZUXly26tJXLaTw+Okpw6OjxE9jpLJp1Qk+MzvPzc8/wWCyMjIUpa1pFDNZAqGw2qRK1lpe3iarVeWWAwGxRns5PD4hEgmj1+k4PDhQ208hk9utNmKxY65ff5WjQ8lpN9WmoVypY3eYqdcFzmOh0Wlxbv4sx0d7yvJqczhw252qh10GxuUXL9Q2r1yuq+zkjTeuKWCRFMK363UabTkkmOgY2oQDfVQVxM1Dv1QsPV9Whyyb1aq6ow8Pj3FKK0qjymkqjVUzKvBXMhnn8pWLrK2tKcDh4uIl1bWuyUbJZlF5xuXlVVoduP7aq6yvvyDoC7K2ua6gageHx4Qj4Zcb92SSS+fP8vTpCuVqUVlYBfxWrhTJZlOqAm1yfJqbX9wm4vOrKrJGrYXD7cRul4rCroJ/FYs11VCwur6lerJrtQbJVII333yTpw+fkClkuXh5kaWnK2oLKMPK4PAou7v7nD+/wL0Hj1g8t0DyNCFzlRq4pepOto+S+08kswoGJiDCcDCg6M+qKjA8yFEiTrmYVyTxVCKtxIxet0t0cEB9RwPRAEa9haPjQ3VokerB58+eMhAdZW5hkt3tfWW1lTo5ETxHxwfVRmlv75DoQBRdV0c2n2NyckJVpUn/uDRL+L1Btre2iEbD1JoNvB4PlXoFmh0FCxZRQzLScuiVjXNfMES2UFQMItnMpFIJBU4cHOhXg2apWFS592w2w8iwZMYr1BotWs02jVYNt8uuBrJOq6m61G0Wq6rH+ulPf6qGQ/GbyGZsY2uHb/3CN9X1fXKaUr8n+SyZVE5l6UUYEPEkKcDHUFBdQ8NDIxTLWZxOr8qERsLSnZ1UEMmvf/2rLD1fUtGBT25+TsQfUiCz09M4ixfn6Xb1bK1uKJJ5vlxVA7TA2hrtHod7u8opKZV2MuAbzCZlYV9fW2NmelY1aUiP+sWL59nZ3CKRLii6f6FS5Pj4VA1Bjx494rXXXlHOD4Fiuv0+tjd2KZeKuL0+BcE8PorTajeI9vWr6maJrBwdxXj16mWWV9fU+yQY7FMH1HKhyNBIVN278h2LGCdbX4fTpe4vue7ljCPiqAydc1NjvFgV8n1YbYifPn3OxsYu77//NdVUUCrXcNgsSuAQp4zJbFQ0fwFuigMgOjhE/PSESF+fcivI5PKld3+GH/7oY6amxymJ8N/VYbVaVMxkY2ULn9/F9Nw4J/snKk74t/72r/ODDz4imYoxK7GUVIozM5Mq7//i0Qs6dNjYOuDyhUm2944waToMPT2BgSCMhCgU8pjFOWTQ4bQ7lAgmtXoTExMK5FZvNqhXXz77rTaTqkUc6B/gNHGC02lXtZgClPQGpO1DIGdWtTGVzyLXtwgW4lg7s3BWDUQrqxvqef78+Qoen52JyVHlmpHtv0RZZNVqtppV1ak0voiQcenCBR4+fMLk5Cj5gmzb5ZlrxuowKd7F0MAA5WoBk8Gqfg5xNel6ZlXdOjIzillvUkA/+bzyO/b5ghQLFR48vMcv/uK3lNNnbWWV6ZkZDqQNKxxWbizZ8q4urxLqi2LSG3j08AFv3LiugIKVWkNFh84tvqyhk5jAt//Gr/Fnf/4XiqMwOzvPzsamalqR63F4cASr1crSi1UKpaKqh5V792j3lP5QkGqjodo5xs6M4+8P8+BPP0AXE2q7j5zEF8I+DmMp9D0dnVabodEBVVc3NDag4KU9nY52voTb7qBoAp3dxOIrl7nz6W3e+/mvcv/WIyX0iAjaKJXU/XySSmLS65ianaRaLCnWi/BFnj1fVu+pyxfP8fTZC4aiUSVOrm+tKk6ECLUD0X7VXLNwflZ9p712h3A4oIZ7OTvJZxIx1ON0EIunlZj0xZ3buB1OLl67yN17j+jU64r4L3wIYcSk8zklCjx7+Fi9e6tF2VTDxPRLJ8XSi3XFe3ny/AXXrlwhEAzxwQ8/UHWzUjkpFYN2p5uF82d4sSyxJ3GnGRTMMvvXlbLxREoR7q9ducr+waFiQ8QTGebnp1Sc1GZzK7hjJp/CbnkprJ07M4s3FCCfKqnmmAsXzqvng7xPhkf7Odza5/L58/zg//5TRgdD6szzYuOI4f4+7I4O1aK0v1X5O/M97CYdBreJsYCVDz844WvvD/Hkbo6qvsHsZICjgxTDQQN//3MLFl2FOaeNvHDdjHYc5i4fPsrw974+zb/57g/Y+f3fwjERxNL3CqRf0DF7FKxbnrvtUknxwLTiAQb3GJquTi22rCKphsB5Op0WWreDptPTqUuTkxVymy9rBENXoV6l3UxikAG8p1dCtLG0TC9wAUOzQ7edpGuJYmhnadRyyvWC53Wa8Zvou006ZhdmS5huI6kco3qLX7EydAKFrrewWUOUEl9gi76iXIvyHjRZIqoKuyONAQYz1l6DlqZH++wfTvQauiqxkyr+iIl6pkqt48RhR21XssksVqcNl89B4iSr8jQTU25yhTJrKxleuzFFYj/PykacX/qVq/zxHzzhS+8NkctCqV5ULyWB1uztZRge9VMu1el1jPQPWVUmSt8VhVwjmRPzZJN0oqoeJvmcKMo2evouZ2ZdaD3p6W7y4a1T3rnkJZmv84+/V2E8ZMGh7+HoduhZDDyLd/n5QY1/8naAWL7E02M9D+JFHux1eeWMi1cWgvyt31rlf/4bU/yDf/nrZLb3MIV+BmN5j1y5hqWXoVvN4Bp5k1qniXNgkGd/9v9w+/FdXr/xHo+/uE10ahpHT+Ozzz9mcmiY2WtnCIYniPiiFBtdaOZpNPPonJO0quu4TGP0XD4qiU2ajRyuyIKqi8psfERo5JyCSOAMYdFqdHQ66pkUhdM9tncOuLf8AktThzs8gMHao17M0u8LYvO7aGs9dtdPMRraRPuD3HuyTp/XztBEmKvXvoI3OktXaMe5exTSbeqFOO12lcCZb1Hav0MhvYp79D062XV69Srm8Bm6xja9Ukb1VZabGRz0qwYErb2niK5mk5eudYTa6XPKpgHCkUFy8V18E5exDnugtEfp8S3+47//Lh88arKT6GCwwOKQDbfPQUZ6dGdCynL3cDXBqN/AUqxNKGilXGuSSDd5ZcpOslBiN93jjUmnsutuJ1tqKyGVVAGfnaNYlVqhw83DsuowteshYoO3vjrCP/vHP4/P4kDnm6TnNmBIZSkcbyphqW2sU0uW8I3PkkmVlfjg9EfIbd6la7Zjcrsw1LrUNRdmqUzJb9Au1zAEh5SQItAvd/QNCi9+F13fDGZMWCRvabGhGULoawkKsimeOEsjlcfg68NmttG0mnA4hjm8+3v8/h/+lRLSzp19nV5TFHozM9NDdDS96rFtN2tkTvO4Q5L3s5EqpMjGT9hZf07f4CCdZoOvfe0ragBLbC0zuPA2oauvU155hGbxoxO+Q+IF1GqkTh7iO/tLKr7Ryh/hsJg42bylYgOu6Dy1apGeYQCdzYC526Cuc9HTuljL2xidZyjkDnBa9DQ9M1QO7mPuJnAs/jr1YhxTq0S7tE9Pk61XD4PeR8fYxegb4HT1Hhabm53lFRqlIunkMyan38Tm0uMMjiihKbf8GSNv/E2MLrcCeOkExKI1oLBNzzFA4vGfqmaLdieHdfAqNr2BYnwfJm7QeP7nqje6Ofoa3aN79EpZHA4vmdgujv5FdJFJNWhK1MUsbgv/K3S0OpamCIgZzHa/dCnS8oQwleJ0szn04SD1fBr3mRvY+iJg0CjuP+Gz//Qn7GcOOSo6+eiDBM2eht3WYshr4dyCSx2MClk5XnWoduHTjRT/+asBnHojbnuBv0h4+O2fppgfMZNL60g0akwMW1neaKpr9815K62GkaVUFlvPxOsTJnaSbbZaevy6Dn2WBg1HgLvPE4wEvCqms5eoYXfqyec1mh09lTYsjOnJ5uA4U+CbZwJsFuuUmz0GIh5iuxmunZV6wmMqnS5eu4m+kI9storLF2RobJj4SUwBlaZmJrh98y7Xb9xgY3sT6V9yWu30D/ar7vmgP6js1ZL5GxgcoNFoq4N3sVBUA+edL74gGAwqm+ru9jYz0zMcngiwLoi+p1f9v2Khv/7qdQWvOT49pSPMDJ2OYqmsaosuXLrA/bsP1SZMOCeyler8/zy9d4zceXre+amcc3V1d3VX58AObJLDPJzhzOzMbJidXe1qpZVXsuXD+XAKkAQbOJ9hHXDAwWfYuPvDCXf2GTrLkmx5V9Lm3dmdHMjhMIdms3PO1ZVzrjq/7xjHv4ghhuyq+tXv933f53k+T7utD8N8NsfQ0BCNdltV02dL68oBkN5gqc+aGB/XQVhy0E6bVdkf3ZFuFlZWMGLUgUHsxaLKdwWDrG/vMBgbIJVMqOpwJNyAZEoPQaKgi0IhtGlx4DgcNnb2DpiamqRerZIt5DVzfP3lazoAS4VmIp3SwUwslS9dv8ba2hrFYk0VEFEyH9x/wCtfeEkt5K3O546LTDqrSk9vv9DCe3j37XcZGTtFtZKju0do8guMnxrB0DFqFaPZamZtTcB/8mfPNO8vQ6AoyqJMP3zwWAcvAenKIbenO0Sj0fp8kWixsLa0ytzcLL39EbY2dzAarDpgS83X3Nwprj3/PJ98dIueWJ9WmcmAce65s5wkjrl7+5HeP775rW9y8+ZNhTjKMHH92guUawXWVjdV6ZP8Ylc4oP++HKij0R5VEkfGR7lz81Nio8PaECGKvXwmQsVfWlwk0CU9xhVVEw+PEwqDEwVR8uET48PYHF61kA8ODrG+sqSW+kAwpNeNiAzCZPD6hQuxr9A7h9PBjIDB2gKeXMTj8iijpbs7wief3ubqlQtqT97b3dV6Mxk4hJp/+dJFhafduH2XuZlpfvVbb/LX3/0+FqE1mwzMzc6yvLyiTTiSsRVQoViQRdUcjEV1kBGnwPHBsVrKrQ4z+VSW3oFeVToP4gmcDqfmWCWGMTIUU9K7DE1bW5s6GPREw5QKVU5NTHCSOqDdMvLZnbvEojF1uEgATyJlDq9X/+5ao6YRAFk+ScWlHPp3tje5fPUqmURKVXOhUNeaZc6fnuW9jz9TBonUr8niZ/9gT+nzQoYXoN/+1hbHVV5sAAAgAElEQVQCl5fvkLiADBY7Prc0DQh136bOTZfUU+byDI+McHAsoohHhxkBfsmQsbK2QldPD8P9/ZrrbjU6BII+fW8k357MpvX9kwOz1MEd7B1y4eI5Pvr4lsZmTolz4vCEaq1EOpWjt7cLs9lEtdFhfWVDfz8+Pq7sCVkiSh567sxZbty8hcPt1Lz9o4ePOT0zy/r6GsPDQ2opf/ToqbZvCDAvfZKkXBHWk1HPqAIajQ7269JkoH9Qh3VZorSbNToGs/7/GEwkT/aU4G+2meRIowOsuCY6oz3UzUZcGNnfP6anRyr8UBiluBOk+aBcrTM6PKANGIlkQgczqUirNaoK25N7jCznvAEvPk+AI2mMqJaVz9JuVAl39yqroVYuEQ51c//hfYUsBsNd2CwyWDSp1avaOiDuFRkG09m0gjqvvXBJoXZyvx0eHdaFlCxexB3gk2spn2VpeYOA10VLhxkBZPZSrJTV1q0xlO1dXSg4nU51UwngU/L5AvBMJ1Mag5G6vHQqq3Wx8t5KL7ywk3q6erTyThYYslgSErzEiH7685/z7V/7VVbXN7Xq8vKlc/z1X/2YN7/6RR48fMwLL1xldXWdUq5I/0hMl0yHB8caZ3jt9Zc5iadZWVli9sws84/n1eEkLh9pLQj6fYxfmODxjUfYD8uUZZk10EXqMEUxX+XC1dM8XVjFbjbSbhowW40Uk3JNmPVceFxLc/3NL3BykOAwfcTs1Gl2D/ZYfbzK81cvsXewiz8SxmMTBlRV3QrFWotcIq3g2fHpEa2zPJCa2FBQnSGddguXy6P3YoE0ygKjWq7z4N5dvvXr3+InP/opX3nzy2xtbWEx27RZQVw66oba3tdn4rNn6/zG3/qmVtN++OEHnJ46zcj4sHI7fG4fS0vLem4VeGJPuIc7D+7rexEOhThMJPQ+Wi8XsDkcWjsrPB6B7bo8TnzeENnsiS5N9/f2lCmyub7P2XPTWlu5/F95G7/7e3+Pz+49UCfLYCzG1t4OdptVF9G3P72rNX/SfCLL/GKpyNbuNi9eu6rXm0AcZakhTqvz52Y5SiQo5+vE9+P0DIWx2zwkt44JVXN4u8IkTvIcH2cYHOjB1ClRMLXY2Gox/4+H+OzRGvG8F69LAI1Vnr8W5XhPKrrblKp1hgTA6/Xw+/8xRaGQYcDrIOCTKEyD2FSIH76/y3/4x2f5zh//r2y986d46mKr78USidIRCP3GD7F0XcDgnQSbD6NUVTdytFKrON0+KoZuTK19OpJ9czoxWwXgvUsreZ9W9BrGthdjc4Vqy4+zXaDhimE2WaglbmBputVV3jR4IL+FQXhV5hAGUfnrWY0jmK0taqUCNnevqvuVxAaOngFwjtGppMHhpt2o0akbaFXWcFjCGIwZqk0HFkcvnYNfQPcsuCYwJB/otWh4+w8GOq2ObCEtfPhOnDe/GiJXqZFJtLDZWmQLTWanhOJcwG61Y7B1uHsjzsxpP26Xg6oAuwywe9RgYizA2ppYiKpEY2Eq5TY7G2levN7P8VEeo8nB0WEGp0ce1FLsYqRJFa8toBd+31gQakb2D1NEu3yap63VxfLrJhBs8pff3+X0qJsvXQnzJx8c89NVI2eHzKTydYa8Lu4d1XiWqPFvv+zkt2aCfP9eklvJDvGWQHSk3rREj6vGVsnPb31rkm+9MoQh+jrx1XcwmITCG1GLDVYnzWyJhzd+gMFq4vmv/S7JgwckDo8x+QZ4/y//C+aIlxcvv07Ab+f+w4/Y38owMurhzOwY3aNXsQWGKOZTHL//rwid/TU6XcM4S/scbz/C7HDjDMwqsM7YlFoHP5XDRWyDI1jto5RT93D0DGFuGKhktikUmzy4vcDNW7e4MDVMdGiIirHD7tMF3OEAxVyHqXOTPLn/QO03O2urhLt6MRmbnD8zjl363F/5day5NC1jm3IyRTV3DwxTOLq7aJarGG0matU2xtwmtr5r1LMHmEnRCk7Tzp/QPH6Evf8CZl+Y7PzPsfg9OEJzNAw5VfnSa6ukWy7tQvXHYpgbUtVhJn335/zTf/E+yzsGErk6W1UBNZq4NGmhy27B4jWzHW/Q6zfgtbo4lqqkipGZAT8+r4Wd7WPiFj87W1mCJiOLWclXtTisQrcDrkfhi1+d5ld+9dfpuvoCGLy0C3HKO/N0rD00k6JAmTTPKDU5LnOeRqVM2+BQSGX/uS+TvP+fqVsyBEffoLq5gKF3grbZittipGnwUjm4hUX25+2GWn+q+TgWTzedbJJaI6l1Uk6nKFg5LJFZtS1XrbIqs0F6jaePnpAvH3K4EqdECX9oHItUxWXTeHqizExOsLK0gN1uplRqqy1+YnqWd975Of19o4RCHq0V6on4OHvmOrX8NtmalcjsC+SOtrFZzDQTW9RNgqw0U87Vsdpd2D0mCscruB1+OtGXaZW3dWtrbrYo5w5wDb1CpxKnUZVKk0nqJwtY/F7a0qWdOdZr3+nqo1JM03PqeVI7D0ju3SfYO8322gKDkWFMkTGt+3N5oxysrZOSCsQmLD+bx2Y2EosGGJl5EaexhbGrC48zQM07RvvkDqXdhziiV6lkDrDYu7FbszQtw1Rrm3QKNuyxOYqrP8AXmqPmdmKrChKnQNNowdEy0fKEyC+8hTXYpwuCdm6XSnwZe99Z6us/x+mPUR98HePRZxA5TSNzoBbkdqOOyW7TB2orvk/LVMMadOIc/hIGn4d6Mc7+zZ/xox/c4v/8q03lmcQsJgL9doY8ZTqmgG6fxZ1UKpgxu9ocJqpMj0nHvJlPNgr831+zcHTY4XS4yaHBw5e+V+KbU216Ag7eWyjxyoUwHz445NsTLv7wO0HKFSOWahtvyMbxcZOb8/tEbLBSctBuW3jxjJdcqsTd7Swvnwvzwe0MZnOd86Pd7GXqVAwWGpUizYqZZLmFN9AmlWzTNBq4Mu7k39xIEgoPEfR12NoWQrfUwblZ2k4qlFTo/ZIVbxSrDI0OsLmzr5a/UzMSWfGqui1NLIFQUIGw2UIRt8uj6q1kuBPpDLFoNxPT42oJl2qnfKFAsVRSInyjUlXlWyyCFrtVIxBit1fCfF262F0KLVpd28JqFUKwHLAFnhRgcX6dJ0+fcuHCc7pdFwig9HNLBtZiNLB/GFelSujs4xMz3L5zj1DYR7Mm5O020YFeHGa7Vn4VZUC0WTRrnz5J8Nyls6paCr3/5CipKqWA2CzWz+m5xWxS67Qi0QgL80tMTYxweHzC2PgQtVJZawG7e/soFuX3cXy+gL7m7p4QpXwBu12y6S2tHJPFR6NeU5uqHHq8brfaWgWMlsnmNMMs12QmlcLlcxAIB2lWW6pgSsb70uVLPHn8VIfG0VMTmu2WRYjQm1PSPhAM0Gw1VQkXYn+pUGBtfZvLl8/r57S9ta+HLvk1d2bm8+d3pcTHNz5TCKI4I2Sok39f4IVil5b8uQC5hLItC4/ZM5M0Kh1O0mlKxZw6CIxWO3c/u6vVegOxfuLxY309A4MDWk1ZL1dYeLbM3NkzukBoVeua23/4ZF5rnpx2J/HkCWfOnFVLsfASZADqdJoU82XlElhtZoUUmuX53JZr18SDB4+5eukCHZOZarHCSfKIudkZjSVsbR8qsLFUzHD+/HMkU2ni8RNmp6eVfP/Bex9z9fmzpNOS8fdpLaXH6yQYDrK3faTKTCQaotVsaR3g0YEsfcY5PjwhKVu2TkcHwplzs3rwFRCbZLGbdXGc1Jk8NaPRh4DXqzZsyVzLICIW2vtSvxjuIRGP841feZNsNs3m6rbCvTKJOCZx8NhcCtiT3Kxci8VSToGUotAKh+DZ00VeeeVFHj55ojlfAcAODA5qNZ4MwCurq4xMTGLsdBS0J0uD6YkJ6q2ODnNt+a6cGuXR4yf098ZYXlnCFwyRODpi7vQZ8uWiLkIkdy6AyqP9Q774xddYWFrRJo+ouFncrs8ZCcGwDqelQoVf+/Y3+OEPf4I3GNAYVaNe0WaHseFh1iRqkEowOXlKs9Fut0O/h8vLq3zpK1/g6aMF0uksk6cmNNcspHqBG+7uHPOF11+mmMtw8/YDvvH1r5LNyKJpTZdaV58/zw9//FMl4IvrSAZW+d5LfZnUSsovUZmlhWFgOMaT+XldmDVrAmBt0mi3cNssWqs3MjxIvlxmb/+Yq89foVgoIAEGyaUKsK+QzWoMJykk/d2ERspOEnligxE9UMu1VUqUmfjSOaxhH/vLW7h9XoJdIR3KpbnDJvHPNqpyynf0/HPneO/DT5iamtD70EH8mFifWL5P1C0iTRDBgE+bacQJ43I5uP/gkQ5pUssmir6or+aOUeMYcm30xnqI7x9pJaQ74NMFl7gdQsGAQvik1WBvc0vV7Wh/L4V8AZvVQfw4zvTkOMsbG5QKnwP2ot1dfPjJDV5//TU+u3lbFxgy9MviUpZJAkAU7o8sLwRUKN9TiXm8/c57XLp4kZP4ER2DiVwmrayVZr2hAFWJIYibQVRxl0PcggYGBwbJZXN6j6tUy6QyUrnnUY5HPlNgfGKQp0+XsIjTIhrCI5WDWxvaZNPb26eNI1L72JYlFw3CwrAQF2kbOvLMc0B6J0N+NYHZXMZhdRHPFgkFPRisBsqZot5/xCrvCrnplJqU60Vmrl+m6rVRKeWYm5rlrZ+/zWhsSN0aoUCQwZEhbWYplQraWiDLb7lfesXVOjDI3TuPmJ4aowkc7R1qjEZeYzaX0taare1tYv396mi1WCyfO6mOjmiWDTQ7NW1ymZs7zcHunn7m0lQh902pz0skchoBkyrHuijAHod+zs12S7kFNrtDYzB2k5Gm0PUrFW0Y+cv/9F2GhmLqTvJ7A0rrHx0dxW41sndwoiKlOA8GR4fY2tjGIFBIg5VavaTtAENjo1QrBQqlki4Denq7dfitCS/AaCCeSOviM3kiS1wHkzPT6iZw2Zx0dQfVFWcANte3OHv+ORWcHz95wujgCNHefhKpOKVsiWImhzeTp+O2kD8qMzTaTbkGIUeVZNHCnY1j/vxXwpwetPL+Vgpz3czYdIiFu4dUmm2uXeohU2gxFbXwH9/Z519/2ubatIuI18ridoEmBnweC+8/LXLne7/NxS99lfTHb+OJhLRCkdBZWu0ShlIWgyuIoXxCJfkUm39cGXCVeg6Lo0sV+1bDSaedU5enhSZ1k0Mb5hoGA51GEbu3GyplBRm2agWMlhaVch1bcBxzp0zDIG5SF43KLoZ6FWOgnw4mKB1icHSBLUAruUJl4y0co1/CNnCN6vETKO9jdg9hsrRVoBUYtrBOJJZi7DSpl+S8aMYWe5FGVlhlNtrlHIaP/tFIZ/7xEV5PnavXnsPQqvJsdY1s2kejXaA35MFoNzHQ52ZpNaHZM8nDlAp5pFRYMvpur4GF+QKJeJ3f/weXuX9riXK+Qqg7rDZNo82pWbGTeAmrVPyMBqiU6uxuFeiNedRm16gV2NorMDIQoFpsMnG6i5sfHTI+7SYRbxLuNmtmKHmY4cy4g58u1PiTj2t847yX+f00EatD+03//E6af/sVG9MxKyGHjQ+W8vz1pgFbq8VUb5P+rgjf/yjN6y+G+Yf//p+Q+ew2HbuTZqGFJxqjcrSKKTpBq2XCWtrTzK3dM0q1tIzPHaTedvDpz/4GS6iLjslCu1rE5LCohTpTceJ2Qmpvi1e/9Bo9/YO6wWnbuijtLVGtlyknV/EEu2l6xQI7Q+HoNs2mXVVo6UCV+EC7nCcw8RKdVoV2A4zGDqZuH6WlD1lf2OLGR3f0wu8f9DEwOE100K+AKDlsUi5SMxqJ9Y/x07/+S+x6wLIq0benu4+e4ShdQScmqw+rJ0QufUCzWqOZM9AxV7XazeLz0EjuULc4MHu7CPS9xOHKTwjbauQFqneyQGTuK6paFuO3cbi6qWY3sZhLOAZeo5XcpN5qEBz7EtbGJgz5aaSd7H3wYz55tMh/fjtNrlomk6zTMFmYGhDYhkkfQsPRXuaXEjhMNRH9KLTbHGY6ZIFpJ0yN+Pnt//4qL714Bu+pc1DchPAVKKSorT2ilN6jUmnj6B76vHbF48La8XCy/AtoHWGNXMbacxFLfotStYAzNEk5eYC/b5hm/oDsSRz/8BiNXJVSIYEn0kstt4c3PEbx6BlG3zSNyh7Zg22ig8NYuiawBwLQMNAsJ7HYHaQyDdZu/oi94zi7h8ecJIsMjw0RC/WwtrPI5UsvEAlGeffdv2J0aIyR89e5+cF7pA/3GRC78NJTnr/yHB1fN/5WhpEzz2Fx9NMxlKmLquKIUd1+TGrnXSITr1GvB2hV72M0dGNz+TDZ29SqBoxOqS+pYbCaaUh3fCGOwWWFToV2IUuzUscZm6Oa36bTsGO2OzXHWGtmCYaGtT6uYYrof2+W96jnk+AZwmdqsTD/Ln6Ll6LJR/pog+31NezefvZXbxFyB7j4la9SSm4Qi00TGDxLs5Ymc7yN1R2gXRVwTgeDow9TM6vOBIvNiC36RRqZBejEMdRDtGwWzdHLgkoUD2P9hHq9gi18GpvJR9tlopVcpm50Yw7EaOzeoSNnq04Yi7UAnQBtg5fm4U8oZmyY+y9hd7awuT2EurzUDVYsXRYM3j6Epvf0gx/z43/3Gf/vzW0s9QZ9QanFM/Orr4T56f0kZ0cc2MwW3r+fYnrIrvdEc7FOd8DBfkau5yp9PV7W4ll+95Ifr9fI/EGLV4eN/KvbRX62a+GlURM3lhoMh+xsiV3xv7Ir/sUb8NG6lXyjxGCXk9sLVUb6LUxOeFmYl1oXG8ZOg5DXQakGBrOFk8MCXSEr46MeTrarrO1n6ZhNvPyiUO5PlGocnXDyy7eOeGHIyne+mybfMPPaXIj9EwN2j4VyMcv6ToFzVy5RLxuU0Hz9uuTe98kXK5jMdmwmI6V6TXP1UjMlYJ98oYLTbtaavy5RPDw+VXzy+SR7e3FGRgZwOD3ary7q7MjIoBKHRXkWdTQaHdDMscCZdvf3yGZynL94QWsd5x8v8ML151U5knqxMxfP8+DOQ/KlApfPz6lq+/DxPNs7ewwPCuDKpkr/xsaOwv7kHisZ/Vi0n6GxfjY3hOzvV4VabLfjE+OUSnmtD5SFthDXhfQ9FIviC/jU9prNiU27V9WKerWsmWIZmDe3thVolIzLddhQzo0+VM02zdgJXd4XFrJzSFUOiTwIfE6I8zLkSU7U4w3qMuPlq1eUdh3p7uUofsyp8TGNIEjsoVKrqzvg1deu88u3PtJ6OK0mFEeSxcBQ3wAffPCxZgzF5ixkZ8lpOh0m7j98oqwBZRAUiqr4epx2SqWqMguEGC+E71I+g9PtVSDVR+99jD8c0qx2VyhILpPUiiVZtIhF5dXXXmPp2RIff3qLv/8Hv8Nntx+TSac0OiQ2VLGm2pw2ipkCtXZDD7JGQ0chkKlCWb+7F89fIJNIKnnbZrcRkm71tFjON+mN9RMO+UnFs7qEkIYcybum8lmem5vRAUcI4NLccBiPM3vqFKlsjsVnC5w+M6uAKZtNXmOJvr4+jo8PmZk5Tb0u6uY4H3z4MUP9/UrIF5XNbjWQTOeUEZDMpD//+3IpIj09JOMpGp0mboebhYWnfOfbv0apXOHRw6eqTr1w6TllIH148zZDsX619crfa3NY2NjcoC8a0xq3rS35DuU5N3eatY0tHUpF7RZomzhdFpeXVbUWIKZQ2NM56WivqYIq7AgZ/ERhrTUa2tggkQcBp0lVmSw7xAJ++YUrbK3tfB7DlAy+xcz0qVOav5c8vhDBTxLSOoC6V/b2j3RZLYsniUkIb0DYPL09EY0JiCqWyxR0gBMGhNvlUmW2LXWxXi+ZVFqvzytXznPr1l0KuSxd4T5K1by2KCw9e6a5fqkPHRuf1CHA7XaRSkkdtJeD3V1VfUUJnJ6a4N0PP8HlcHB0dMDLr7ykP8vq6qrm8JeWVunpFuCtBYfVoeDOo0Rc3UYCyQv6XMSP02oll877ew8eMTEmi4OyMhvCfrfGEmShIxZ/sdOLs+Da81eoNj5v5FjZ3NSzkWT1P/rgJi63RR1ZZWGWFCqcv3BB4xCSbxZOQm9fny4URHkVi7wJA6urK7rsE8u5tSOClkUVZM9IjEa3k5X5VSK+MB6fk2anweKTZV0sSNuHRCAy2c9bTDbWtjhzdpYLF87z4Yc3tEVCAGASy/F6fAwMxcinC9z49FNeuH5Vbds6F5RKCu0T6Jz0r8tC4ySR1IWU1G6Ke1I+M1myjI2N6HsrWXyJJwvzRCzNP/nJz3Tx0d3bQy6boi7fEZtUoXrV1SLcLREnxCHV6RiJDQ7oQnfu3AzPnizy4Mk8L710TQx13L9zT9sahOo+Mz2Hz+NibXNNVeBKsUaj2cDlcmq1okRzIhE5nzowOGy0KjVVuqXJIZ+pqKvAYELVamkjy+Wz+m9LY0BXOEK91mZ1aVnjZ7/5t3+DW5/e0qWKuF/ef/cdLly+IqgyzXDHZkbIHaapx9M8u/2IiC9Eq9KkUC7QN9hL31CUd392m4HhMOHeAPH1A/wDUWoWcTftc/qlK+pY9to8rK4syUMYj8vJyOioMgwE1FoulrWlQa45+bkC4ZAubcR15gq4SMRThIMh/R74w9Jpn2RouI/xyREWF5Z1cWtotDBazLz82ov81V98n+GJMV2uiTNJanHFhWeThW9aKr07RPp6tOr23u2H2uIxNDLM7Vt3iHR1afQteZImFospW6NeKzE2Nk78+ESfpwIE9bjd6nCLHySwe2wMxGKsr26qO+ckmdDWhb7+fu5JXOy5c7rAEbK/LLeDoTBuh0MjRSaLkbPnTnPv3hOFDdpdDqxmK3aXDbfENCtVCsW88kuq5Yo+t85fkoX2PG1Z2BlMnB6fot4q4XS6OYwf0dfby6c3HvGVr7zE2tsfs7ufpG4w0iNsmS4rpVaNQr5BtWjnJ/9LlPlPFnmSthCy2zgz6mN5u0Qo4uIknscbsDEetvPx4hF/vhrgXE8Jl8nNs3hdF1/lWp4HiwXm3/r7DF6cIv0kibNniGo1jqVTot0y0zKaMJg60LRjKG/SsvVhttlomlqYxRlUq2NweGllVsEVxWAP0EhtYPD047SGqCZ+iTk0R6ugeXnM1bwUI9Cy90A5Qbuawu4LKsRXAIKGVoZGYh+DU0DOYTrlOCZfr7b4lJ/+Nd7Rr1OTpojEx9g8FzWq3Tl5jKFrDrPJo7B3Y30bk3eaZiGNyeqn3UzTrqSwufvVdWn45R8NdDKZEkd7op5EtDYn2hdmZ+dEbYP5Yk2VlXMXx3j3rQV6uiI4/R26ex1srlZoN8uEBBqYKuO0WaiUGhgcHSI9TrpcTlY38uxs5jDaGppHe/75KPdubdMxGYj0eLBI/pgOu9t5HF4709MBdraLaveXAPbHd9O8cqGLosCi0i1euhrFWqnwzrMc//JBid+90MP7y8dU22aeH4xw5yDJN8b9zLjb9FjrLOQMfH+9w5XhDotxA+l8nUq+wcwpJ//mnT+jdPdT2iY/Bn+MVi5Bfv0XWNXmYcBUSmOLXFIqdmn/fdyhSbLZDn3nLlDaO+BHf/PPtQrCZRrk3LWrrD35iEQ6TjpRVoKs3JTFPzc2M8CVN/4utVQep6dOrROktrdErryDpdEiOPM1mvkylfI65k6HSqVBw1DCnDvG0n8Wp8lEJb1D+Oy3MLlMxJ+9zf7aJvmy2P6WON6rYnN68AUtdIpZArEYtYZBb6By2Km1RMl1UkomOD4WZSaqrIML16/Rf+GbmlsvHx9g9oQwtJ3kU6sEeoextKXnskGnXaOe3MYS7MHmm8To8ZJf+iGW4HlcwT6ON+4S6T1LzVIld7CNy1KhKYGBVh1rZIpOLkNorovUxiaBShbj5TdotSL86f/2x/yH7z9SUJLHIVvsAoW2kWG/k0atiL/bzTeuxDj/hev0eSx45s4pcMuQXoNam1Kti6X3v0fX5BRuoWu2i1SbNYzGNl1Dr1AUqF3lmLazi9LJPu7uU1j8vWR3H+iBt5DMKBDDFh2hUa1S37uNa/h5SlsPMMXOY07vYBu6SuNwXq1vwdgljhd+zOC1r2gvedvpwdiukdu4q12fjz/+kK21TbpHx0jtb5MsNKgVmvzd3/lNtp6ts7C8xjd//deZ/+xDPH2DmNtN5p89ZOnpJr3RMCOxYUame+gLhilk0vSd/iJ4zTSWF2nYIZ05JmjxYuidgnKOSloYA2cwkKVVquLoniN/eItyap3u0Vcw+mLkVm4oM0EsjLLdDk1eJx2/j9vXj61UJlfJaw7TYmqB2YyhewZbs0Q5fYzdFSW+9ZkuaaTntVrO4LF0Y7CbePL0Nv7AAIlkHI/Qrqs1Xvzif4e5Ov95ls3m0RaKdqdGM3NE292rpHpz20Bx52MCY9fVZdKpFDANXaX59E/oDL+BqZqnbjTisEfIb/wSd/QMbbNPF5MywLUdDZxmJ9XDBeieVvZCo7aK0z5LKrVJb6SHnMWIrSH2xxZWc4R2fJm2v413/DpWS5ta9xTWlb8h8XCfW4/3OdrJ8MnDZzzcb1Ksm/jSc258DhMOh4mbT1P88bfm+E83t5nqddDtNLF0kmYk7GfEbeLtgwzrh3W+cspFMdvk1madP7zuJl3sYGq3qRhrDHplS93iX600OOszc9KyMBtpc+ewQV/Yyp/8rS4+mc/j9NuxVDvsxlO8cKWLjY0a8UyBWCTA7lGG585FeO/dfbxBB/1Rt6r1V64OcOPeGpFgF7lilaVFAXbl+f3fOcPKZoG1owRfn3bxTz8o8pP5BhdHnQS84LYHKDQrPJ4/5pXXLnN65qJWQUkU5fTZOdaXNxX8JYNEsZjj1MQpknI/sTt4siA98kEFqpnaLbYPjwm7/YzPjrHwZPH/z27Kwb/ZrqvaebC3z/josKo8yysrajus1IoM9Q+ztLyoQ4sMRMtLywoisjutWGwOIgEf5WqZQqlGtxyUt7ZZXd3h1Vevsb39efVfZOAAACAASURBVG2bKM1SyWZzmLCbbJ8PmMGwksvNJituv0u7maU7XarLdnf39CF6Zm6WBw8WlOgu28ZGs6XAvdNnpnnyZEnVxHDYSyFbYmHpmR6Qm7UOg0P9bIs1utViemrqc2Vv93M7ZjAcwmZzsPhsUenB4UgXzXaTc2fnePDgEdl0Dkk0XLw4xwfvfYJflVKzViC9+Mo1PRxJ1r6cK2OyGtQi63C6lRaeSsW1Q14WQAJT6+oNMyfZ5JME2xu72mtfKOVUxfd7XRwmjrCbPITDPh1cRBWuV1pYTDB7dk5tvpura5y7fEkBdsfJNGdOT2q1Vjaf0wymvPal5QUG+obY2t9XNfnZwiqnTo1IgQHRngiLy6skUikmJ0aRYu+V1XV+9Ztf5+NPPlDHh5DrZegQ6NrqxoYOYal0QjvgRaE4d+459rYP1I0gwLxUpqCHajlM5zI5fIGQxktGx4ZVoZSKse7uHrY2NvnO3/oNfvLjnykDwmCFWHeUXDGnvfRGg1ljY8IyuX3rM/38xFbt93u4d+8+8WQWj93O9Revsryyykk6R1+0B7vJrCTyZ4urai+3WM0sLmzw9/6H32JtbZV8vsD06VPaNlCvtVheXmZ4fEwrEsW2L69LFkwSfZFKq66gj4ePn3JqZopytkQmk2Rs6hSpxLEq4D6XSyFyoa6wRjDktXeHw7qAkviHDG+yQKjXKszMnlayeX8sqtGJWKxfVcDunl76eru16aLSKDMyMsbR8SHlgjQOFOmP9iqwy2y2aNxAfJXyHXA7/ewfbuvC47nzZ6RUhseP5/H5/FhMJjY21rXCMRQMsrmxgcnipNGqMDI0islk5PjoWCv35LXJz+G0C+vHqDV7i4vL+P1ubZN4+mxBv3tSpygOGIvZwsP5BQb7+xSAKf3lrU6DfLagQ5OwQEQRV3dMJqcLY9lktGp1dWRIDEDy4MdHKQaGB/B5RCiKK2BTPrNIMKSumLDXR7g3zPbGDoVSVe3+uXyBbDapDR2DA/1Km7/58W3OPScK5aZC1WTJ4/T41FWQzuU0WtJoCBOroW0SL15/QWF2779/j9mpAN2RPgqVAjU5RxTK7CXKnP72C/T4Ako0lwo5cbFMT06ztLaqf1+r0dB2k4H+Pjz+wH+r8zRhtnbo6omqmnpwuMP0zCyFQknP4cI6kAq3zfVdBkei7G4fYDVadYgVG7wsSKSW09BBeRHi8pFf8jqkc13uFVajSSF5ssQTdXF4sF+r4z7++I4u3KSLT5ZQAnyMRvp0uB0ZGyJ+FNclltR6ihosjQsWu00BmeVyXh1h8j0dGh+lXCyw+HhR22H8IS8jYwPU6202Vzfo7Zefe5Oh4TG2t3aVpSHv+8WLF7HZLFoTKfyLc7Nz7B0daHxAFh0hv1iizcSPD9RdFggK8b9FrK+bVDbDs6dL9A8PU8+WNKLTO9LLyvyK1qVmJeNfbetnI1wTk9QZW906oObKJdEy6ZOKvkyG5aU9ps+OYPN5qXkstI0G7CaLuiqk9ULc0PIMEBeLuG2EnSCMFLvTTqMuC5eSxkPEUVeplHWgFW6Z1OGJm+qx1Fv2dtMWgGZfRBdpsox+cO8xX/nKl1ndWGd3a5uenl5mZ6fZ3t1R4G4yecLW5r4uXOXzkDjJ4d7n0brUSQqn26XuNmFKPbj7kK985XVl64hbRXg7svwWAOuzp8u8+PJVjXo8uH9fOS52uwuP3c38s3n8QT9joyPqPNrdOsYoUYhsUZlFr756nYfz87QbLR7en2dsdBh/yE1/T4xitcDCkyV6oj0KkJ2bm9b4l7jxFp6uKK/hyvOXuPHJp7z22is0WwYOdjdwe/36vZdZY297l57eHgb6u3nnw08YGxzF7bJQeLhMKNzL+kGS3qDUCEfV+degyePVOm/9oZ8ej5fv3jjk9ICbibEu5jdO8HmM7B5UsQNvXO3jX7+zy7+7WefKmJNypUm2VGesz0+tXODubp2T7e9hEJbMwZFk4CE5j8k9pDXqJkuNemqLjrMHR2CAdjlLq7iNweLH4gjpEqNltWLI76szoGPzYBBh8uhTzD0vQPVEW1DERYE1T7PtUwigOM6N7iidxFOMxiCNxgEmj1j7u+hUTmiV81gsdizuMcrGNAZTAHtdAKgOzM0U7VaeeqeDzeSkVS9pQ5y5LZyrEg5ngHr9iE69isHpo2UOYJXXUz+hUy5j+O7fDnXqtJge76LSaPPpB1t0R3xEe21097tI5QqUMkaO4gVGxnpw2lskklnihw1GR71UKwY+vXPIlUvdCsPZPzoh4PPjdhtIx5tkCwWmz0axWJo8updkoM9FsdxRC2S0//PNpeS2djdM+AN1hse8tOpWOsYGR/t5YjEP8XyJLneIhrnJ3laKX3lxmLcenvDP301wKubSOq1oxM3yfpxS2cqzVIn/+NUeLk8Z+ec/SfHpsZFXzji48zjNSL8fs6XGR59UePedf4CLHQqG0/ijM5T238XistM2jWH2eCiln2AuiVXpGKNvHJ/dT3bnE81u+bqiWKMvkNv6iD/7s+/it9h4429/h8UnT4XbqLntajFHLtfhOL7Hb3z7y3Ra8gBuMvDym1gNHWq7hxio0RL7rrAS/F6aMliWMhRze1jaRWwyADWgWd7F7BjHYizoIdU3OUGr0UUj8Yj0wQGHJ2ml2e7sxZk+/wKpvQUmTl+iUS3gsFh4cu8BVq+fsxcvUs6f8OjREsmjIpPjPcyenyI21Is7FKWVL9KxeHAOn2Pvw7+g0Sli9w3RZXdQsIep7d7CFbtMK71IuZbC13sdsnEK7YKquHZbhGbbQjO3jsUbxhw+Q37lBh1DDe/YCxhTOxw/+4zYb/4etTs/5bf+6M/5h7/zMmvxBPaqjez+Nt/5J7+HY/w1DOk8rY4sMUw0D1L6PtQSW9SMXrXQtcx53F0T5I+fYjNYsXbP0ijGMdaaqhrViss4wpcplXa1s9wZHKG89xhjqBvaFgxGofDGaNWyVCt5zL4Ihuwxwkr1REeIP3wPT2wKV8Cv0ByrO4ilmaHVslHFwcHKQ370V9/XAThfMVOmRo/DyNCpWQZHhfi8TzWR4KVvfI2PPviAUrnO3OQ4P/v5T0ilmrx4aZh62cy5c8M4/BEc/m6Fydl6umjn90nuJ/B092veXgattn+SVnIb6nsYA+PYzEFa7Ty57DbByBUwVyknnmE2+lT9L6ZWMHRK2PxnwDVAMyORETfGUhH7yIu0yke06nUsrl5Se0tU4lvkW0ZSJ2lSe08w+wfJxlN4w3aioUG6xybZWVxhfWue2PBp5R0kix1eujxF98g47baNXG5Xhw6DP0K91FTnC8YG9uCQKqY16Sl1D2B1WillDnH2X6JVKVNZu4HJP4ixc0C9bcTokt5sN22zHUMlS/n4bTrOszg9Ieq1OOZWC/H1NTopmmWf0stLoW4aBwlsTiNm+Vwzb2H1XMUxNovR04SDA+68/zE/fmuVJzfWSdSapBvg6TFizrT5g793gfmtNRJHNcZ7ezjKFbh9VGbQYsQbtLFxWGTAasITceuBPFfq8GSngsPe5J99qQtOEtw77vD6+V72kwl2ElbG3B1w1OiPevhn72eYiPSQbhV4dNjgbKSb7kiCNyYFmGYlW0yQOO7g8hi1FsZtt7CxlSHaL8vEDl5Xjb3DOufO92p+cX27w+CgEJpt9PibYHQqPXlowMm7N49JH5fp6fXwd39tij99Z5n//a0G0wMe9reSVE1wut/N4kYOh9/Fi6++xubahg4lp0+f1jaA/d1DPWxI1d7I8BAPnjzWbL8c+I4OBBI4pPna99//SJVHg0ngdOD2ujQju7SypvGBmjxoDCalNfuCQVInJ1qBJgO0kBPWVteZnZ1Qd4ewKuwuux7Am80mz50+w63bN1VBmD41QTZXJuALKLjv3u27FKsVTs9OqYVSHAaSU7//8DHJ44TSsEWR3NrcVchVs93QxYbkewUwF/AHGRqOsbt7iNloIJ8rYDAbcDvdbG5uKsgtHAwQ7A5r7vP4JK6LwNdf/wK5XJ711S2N36QzKU5NT2Fqm3jybF5rCWXAqdbqqqYZgWOpNBuIqoPO7wuozVTys6KMLi+uYBJMl9FAu1Mnly0xMz2lveLirBCad09vP++/9wHf+tbXeLa0zNrKlsKqeiIR2p0WDx6LLbuXYMinCwRD26yLXhn0pEZM4IRnz5xWK3CzVsVsc3Drswd4PVa++uZrLDxZZWljQxU7yeLLMCeHbT3wG02q0rz0yjU+/eg2/mBIIY27u9s0qhDu7aKYz6iSbbZYuP/gIdFoH3arhUQyhdNjJ5sqYjCKM0lspd14/C469RZ+n4/ltVWGhgc0tnb701tMTk8o/LRSKuqg+f7HH6nKKyAymWw2tkRdHOe5c+f5wd98X5XemZkZHUTNYquuVqhXaszNzagDUa6XR48e0/hvr1tUSIvZpAsescbKNSoqv6hwM6cmSeUSqpQdHx4rA8nqcpCVbvXeEJGebgUYmjDpYilXKFAqVpickqrFOHaLg77+KPcfPuLU5ARrG2v6GVmMZqVir26sUinVVNEU8UOaH8KRCMvLS+zvHqkKLBVZ0uXutJjU0i358FQ2z2BfP0tLz/B4hOLd0iGi2WpTLJXJpvPaOiDLLOEliJtEnoEupxefz0ko3EX86Eh90FKfKKpqMCLW/V3GxqeIdPewsbHK0cGxDpPidpSueLMMUj3dmC1mXXL1DfQz/+ipOh/MFhvbO/uaYxaQYqmQpVGrc/a5s+rYEKp7OBjWZgpZyklFZDKRpX+oD4vBzIP794j29TIwMMTm9jonJyn8Xq9W8QWDIe3bPkkm9Ty5vLZBrLebQEi4AU2t9ov1DbB/nFAeydSpWdKpY2ZnptUy3x3p0iXGp5/epn+wF4vVwZZYjZ+bwevw8sHHNxQgKZWaUv2ZSpxoDahk5s1WK5lkmqm5MyRSaf291NwJVE2WlL/4+S94/oXrGrfZXHmqXCXJestQHwkGSUitZrCL/lfPcuPDzxiM9akr5N7dJxoFOTU+SsPQIZvKa73nk8dPWN/aZXb6FNubuwwM9lMolzje2+fC5QvKV2h1PgcpXnr+Of7Lf/obvvrGG9y/95jJyWFyhQztthnpIVtcluXqMPVaHZvTrtGksZF+ysUa4UhAozjCexBwp0R9RiaH8Xn9rKwuanxJFkGLy4v0RaNMTE7w4OFDyqW6qrsCuOzv7+fpwlOFcQofRcQDcUHMau3rLplskUhXCKfTRiZTINIbVi7B3Tt3sdntNGoysPeRSMswJK0oO4QDIfoGByhk01Rlq9jpYDRaFUwr9wGbRCOrVUq5MvlChq99400ODo7Z3tjAanWoOyoQ9hAIdPH2W7/kD/7w9/nZO++wu7nFF37jVyht7XHvBzdwSn98Xxcdm0HjVsWTAoGeMMe7h1SbTSIDAfw2J1sbSWw9XsrNEhaPj+hQH5VUklBPDzvbB/QP9NCqNz9nI2BUyKA0A4itX3ggiZTk2AucO3+B+4/usLV5wDd+5Q2FgC6vbikXpaerm48+ucnZs3PsSq3q5SvUyg0ePXqEyWplWICkpQbbe+tMjo8rAFMqXqVSVpbEwS4fhraJdDalzt5wJMiTR091kS1NO9LcIte7OCK8Amlu1RWWuLe9hUvA3zQpl+sEpB3lyVOmZ8dpGzoszi/x5ptfo9Gq8/F779HV06dRntmZWX7wox8ydWqULnExmQ20mx2taQwF3ezuHJIrFZgcG9OaQIkEVvJlOrR1wS1Z90B3mPXVVSrlKlcunydXLrL2bEMbg2SZ0ag18AS8bG7uMzs7qcsDT8hDeueI9uYeHauXQiqLP+RkZzdFV9hLrl6i1nbzb78GQ71uPrpzTMTjx+RukavWCHo8PNtJYqjbmO0x8/axhV+slun3GOVYSlfAqovM7cMiiYqNtZ0fU1r4mEI1iN0dhPYu5paFttVB0+ihLTOhsYXBd06t/uT3sLhiNDJbNLwhHCY/rcIBnbYBg7EO3ijt9G2wncbcfZZW8ha2wGnqhUPazRympoW6sYHVHcKcXqDuiGEwipxZpm3pwkSJVr2IwRemk01p402jXMLs60cCsUZHGGOjQju3pg1e7fAcnYN5ZXp1goOfz0KNFMaGk2b9SLkWmAJ0LBaa2U0Mv/i9wU53b5iT1KFChCJhD5/dWNNNrdtrxGxxki+W8QUqFDIWpRgX8lK91ySfbeAJConVrFal2dNRzW8+vHWsG7iJyS4MtgZHOwWqVWlAbHD6fJRkPMPObo2RUz5a5Sqp4zIun4Vaq4XD6tQ6IIGVOBxdJDOJz7twSymFrBzuVfnSCzES2Qr/8/cOEDljqMtJPFXSN12q0N49bvJ/nDHzB18L8MHTEn/0gyKvXXKweWzlzUtdfPRon08f5Hn0o18lfP4a8TtPcdt9JMsn+CdexVy+z/GjeSKXf5vi3j2a5RO8wxdpNks4qOrh29Bo4u0RyFyU5PY9tlfXadYN3Lz7hDe+/jpGsWC061TzJ9g6dkxOFzc/+jnnX/g6937xPV7/jV9j6tIbFHYe4A6aqVoilI+kD1PqPBpYHAO0rQL96KGRX6VVSpJN7BHoGaOGC0wW3K089v4ZWsY8RgQyZONk8SmJnR0S6X1iE5M8uLOEwZCn2bRoR7J0ThdKDbViCZTm4GAPc0MWlmZCAzHOTfVoNuz89TdxTZ6hmjqiuL9OVZpPgqMUln6J0WQjOPN1yocPcNgdmGxmiicJmu0sDqeBlrkXq7uLsgzeHSOmepZC2Y1nYFQhXoXVj/GdfYXv/V//D9//5Q5nx318tFgiNBJm6f0lfvin32bgpTcx7q5j6oqRWF2g3Gnikoqo7InaFa3uGMXjJ3i7BigV4zj9s1QaeSrJHXzD1zGV4qT27hIc/iKG9C6l6jxt+yTWRkk74wvpDd0KdromSd37SyXROwPdpOI7+IcuYmnmMLv6KGTjWGhh9ftJHlc53rrP06ePGIiNkE5USWePmLr4IrtrSzicFobHBzna2cfn7yOdOiSdLbI0v8blC2cpNfKc7O3y3IXTzJ1/ifDMKXK7i1jNftzhcSqFHRq5Mm2nn2Y1S7N8iKnlw2WoUG0kMXRNY+2aoRqf1/7PaieAwx7F0Eog2ZqOEPLFlp/ex2rzYrQW8Tv6pAOTlrX/807V3XlMZhv3btxk9clj+k6N6IPHZhOw4oFGQl78wm/y7NlNPBJtsLjI7uwwM3eaSrmAweXg1FAfvt4xDtfWCI4PUhFoVmoPi8OJ2dtL7ngfZ3dMwYz7G3fxh4NYo1cwFDKU9uaxDpyGUhJDu4zHO0pi7UNsA7OYnH1UV35I6Lk/oJT4DJNHWigsmNJFGoUjqpEu3AYTRouB0tERtsigZhlbbSvxe98lPHcVr2uIhmUXy9BLtHMnlB5/QHx1m3/072/x6WJbQZHxKlw762Ek4mV/L0nH5qbeKjPUa+fuUo1Ku81XZ1ycHuohX0jzvZsnmHxu0rkCF4YCHORa1AxVNhJ1/vh5D68O2Lm/V+dMzM1mucb6eo6BsAe/20C7biRmq9Pxu3nhPxf51mhLaewfbnaoVpu8OdLmO9ddxDNOEtm0LgrELrq7LdAbpxLmj/czlIsNvCE3XWEnO5t5KtWi2vw7thbbG5JLdWOxNjX7eOXyFDavbNNTLK0ckcm5GR+18j/+RZJz0z1UinltE8lVBbqaJFPo8Pt/9HfY2jxUsnSjWqery6d1WeIVFfU4k02r8nlqaordjV1VFXLlPC6rhanJaQWSinpvd3mUhtysNlRxErVahkWr1aZ92fmMKLlDCr7KF3M0q01MdivXLl/l3ffeU56I9E7LsG21mpQq7XM59YAmlkmxbMohXbLhAn0bjg3QNsL+7i7Tp6b1z3c2tukfGFCwkhyoQpEQR/tH2rNdLJb0ntUdjahleXp2jo2NLWxWAfw5NPfYarSxO02aw71x+x7lfJ7f/ju/ybPFZSrVOoVSUfuQJ8bG2dre49xzc/p+iCIoSwUhxlcaVSKhCDa3jQ3JAXvtnJk7zdFxinq5RL1Vp15rqsIjkLB8Nkt3XxTZtlQLeQr5ktZxBoMRjo72tLZvb++YTqehUYOucD/BsE+VM6H8Dg9E9RooFAskUyUSJ0cMj45goqOkaFGtIpEQtFvatezzudjbTzA2NMRbb73F5ctX2dndJRbroS0At1aTVCZHd8ivn784A6emZnn7rbf5zb/zHZZWlmjVGuxsHfDa66+ys7vJ2prY9AOEuoMMxgZZWVrBbneyf7TP+XNn1Z69ub5BqVjS6IMcFFPxYx12pibHNXNe0prGgKq501MzClY8PD7AaXdp17rZZNZnl3TLx+O7PH/5ilaXiaAg9YliRU+mE4R8YTL5lOayxUp/8fJZHeaFZfDii9fweNwKzJLBKZPLcurUOOl0keGhXu20FpZKXmojyw1VqM/MTvP2+x/o4uDUxDQLC890uO7tC5NInqi9fmJyTAerwaFBbYVYW99SB8jO+iYWo4Uvf/ULPJlfplipsrG2wtT0DNtrO9SpMTQ4qN9nWXAcJ5L0x4Z4tjCvaphwLkQBlgWXZK/FESLqt3yfuruD7B8c4nb56dAkXchx+fwFHtx/TL4o2eaALqQkwiDfl2ajysDAAIMDAzxdXFRKv7i44geHChYTwOGTJ081whHuCjN3ekZjPJ/e/AyH08lQbIj1zQ25jDBbZKk0p/GSo8MDon0xbDazKpsS3xG1XQYSt8fH4eG+qljy+RpbbYWKSYOA2KhXVzcp1yqMj419bk+XZoNsBoOhjd8rTVNtpmcnWVlZxOX1a3WZ2Ivr5TqxoT6FhApRXH72YMjPwf4urZZBLdvCmXL7ZPGQYiAWVWeGWJavXrlM4iRFPB7XHvnE8RFb26vYHS5i0V7Wtvbpjfbhctj0XjR7eobFZys6nO9s7dHuWAhGvBg7LVafLTAwPES73mBpXVpzzDh8ThznhvB7JMJWV7fKhcuX8Lps/Pxn72IwdujpieLxeajkq/T099BuN3XZJ9ewfN4YW7r0+eiTT9RtEo1GNWctEMWDgwM6JrT9Q+r77t97yDe++aY6WWSRJNEIqT59+vAJX//WN/jTf/+n+MMBjYnOnJrRYfTpwiJf/dobfHbzljZfSDRBXCPhUFghlCJ6yHtrMnZwutwKmZPqNlGyZQiU54hwHySiKo0xspjr7erRXHuxVlHoZv9gjKfzCwq4rFbqZNIZTk1Psruzx8FxnCvnL7K5u87Q0LDyBOK7B1TqFYaGR7SJRX6G1aUVXn/jizx78oyzF86oYi5Z8aHBEf2ZxKIuMMjnX76iSwhhCBilDliWrFhZefczxiQf7zDpwrlcKCrUtZAtkznJK1spIq6ErR3qbTB7rQxfnGNyapSf/OAt5drs7+9q1WYyniUa7Vb31NFBgv7BPvpi0kBTVpaMRcQjr5tSqaLtC89dOEe9Ia02UvdY4sn8EqdmJ3SBJs8scTuJeCHL51hvH5liRpfjDoeFTFIaN/wKYN1Y2SLS162w1JXFZZ6/dpWDg0NaMmCbLEqSl6W9QEEzuTSXLl3ms89uaw7c5rBz/tIF7t97RHd3l8br5LksTDMBEEp8S6Jg0qpRzBdoNuDu3QcMjw3jsFtYWd3QesNrz1/Qz0OeV0YzWjU5/3CJL375C8pbEaaOgHklgibx72qxRqgroMDZiUlxXvlZWl7SJbC8RxPjI6yubWgDTyKVUfdVtVEl6Oti/skDXLKkdPm02Wf/3UfUDDA2HFGYaiFfZDAWYnEtxbOjBu//noMWdgwmL+VqCr/Trbb/9+5sM9Yb4Wgvx6mYif/pXWE6tOl11LG6rbT+P5reO8ruO73Pe27vvU/vmBlgBp0AUUiCBMlt3CItZclypLVsRSeJLSU6ShwdR7Kd5DixpRyX4xzL0rHXWkkrrVbaIu4u+xJEr4MBBpjey+1ze6/x96XzHw8OCQJz7/3d7/d9P5/nqVYJR0b56N4qNp+OxcWfkP3oLzD1TaFpWGlpczTKCYzWIHWNDn1X2dAKlNoajJ5RKOzTtfnR1NN0W2U0qoKt86HpKmtXFk34NQyHD2jrDGKA0xS20QUug9kOmQ0xUzXzy3TDFzFgpdvcpZbdR2sPYzKGaFcOZCCqM3qpKTaR3oK2k6DVKNEopTG5J8Sq11B1Z7uC/tXk17WOQVrVAtpuHp3OQqdZRWMeRBoMjaQAk9ulHTR/82sD3c3NBFOzXpYeKxdsgFDYxn40w9rzAu6wBqvZjcmopXhYZvpMhM3VKCabBafJLpM8q8GOO2jGbLSwurQnwwOtqU36sE7QYyKdaoiKoqupkYx2mZh1iL5O5c2ePT/EaTfyxluDfOdbKxyd8VFrdIhv5fnV/+Eyf/YXD3B69BRTJcp1A+MTAaqFFuurUb6T0jHT58FWhIV0ltMhJ+lujdW0hb/bW+SV426M9g6/+r0GJwNmrH1tnt4rMjjq4Yd3E1z7/S8z+Eu/zua738Gv1EOOCKX4HrpGglZmF61jBHPfCPXoPF3HIOa2Hp07BFblZFTJiDUMWgtOjxutVcWfinRLBzy7cZutRJPBITvtlurWm1l49JSpiTFOXH2Lj77359RycYxuH/2hoBzKTrz0Ep6RGSqb82hNioK8SrdupGVyKayP9ANpmbCGptDW0zQqaUq5qLhGtSqm7xjHaCzR0ajOqgOd0Ur+YJn13SSpzA4uS5BsoUE8FadaM1AprHPy+AmMNh87m+v4eyJUSm3WFp5z9MwJnt/+FK/PwYWrVzh74QTYe2hU9WjLUWrZXWoaL8ZmlXJhn1a7gbvvDDqzg3J6X34WHb2eTmYBe+QUlbofvblEbfcOrXoRvauH8Pm/x7d+/19w/eYznq9FZet54kiYf/XDDXbu/QtCwTB79+9gGz+DtVbCoClRdY7TzCfR5J8pGSam4Dgl0SmG6eqbNNsW+dl03J4mZwAAIABJREFUWi06ui5a2xgGTZ12cRet2Qc6GyitZX6ecnQFZ5/60BnQh13oTAGJ91r0Wgz+QVLz35cvB73dzYfvff+zyGTLSs+An8NCRbqnpXyZ0mGCkckp6aUpUFSp0WGoJ8jc3TlK3RpfefMiRq2JauGAk1e+iiZ8EqqbAvhIPH+AZ+QCXXcv5Y2P5O/UNYXEe6/FiLVnGlNglvzmPcqb7+OdugrWMN3UJuaeCWqpeczuSeqFHZqVGnWLFYvOKn0xjSdCWcX9DDrW7/yQjz/6BGdoFIcvJIfR3cV5zlw4L7HXJ3P3eONLXxUQ1s0P3qdvuB+XJ4LVZsCgoGkeP0e/+AvUnn2XYteKL/wSesMu2kqafKaAbfI1KutzdDsVAchozX2Uuk2MDQUmcqA3mqm0MhhU/Mk2SDP2CM/ka8IOEJ7E0a9Qbdepbf8Uk3uQeqlIrbhJYOxFyrk2ldwuoeNnBcxZz+fQ+IdprN6lnpvHMX4KW88UlsgAOPqgESX36KfsLO7yf/7BDb43X+OlQS0DPWbur1b5lZdClBsa4rU8xXSHVKXN5YkedG4dC/NxXH4bPWYDd7YynJ60c22lyaP9AjPDDnxomfZpKNbq/P1JPaFOi7JeQ9Sg56PnJc4MOnCbajQaBvQeK0dsVp5uJfjW8zLpron7m22uDBvxmfTUrBo+Wmnyf3+9h797wcVfvLNIaDDM2nqScEBF3y0cxKuYTBoCfgs7e0WpvUzMuvjgwyhfeX0Kg73DBx+sMzRhF/LwwX5DvYWkDxzs81DM5hkcCcig6u3PjfDLf7jBZszAZE+dZ9EyqqE0ORhi7tk+X/r6l9ha2RWIzMjwCDpNm/W1TflyUR1Bk8ko2+uAovJ3kUPqvfsP6BtQg668gHxmT0xK7H15ZZ3hoSHSyaTE6kO9IRx2C8V8lY3Vdfpkcx1h92CbSKSfhYePGToyKkqqv/ru9+Xwry4W6WxWHNiq2xuL7kt82evxCa1YbTvVwV6AcQYdz54tMTY+yO6OGn6ZCftC7MVj2KwGrrzyMn/53e9jtdgYGR4mGosxOj5CsZCTbenu9q6YDVRVRnU096N7lEs12ZQpuFa3rdQ6DhJplXR7gfWtbbEbjA5PkDiM8cqVl/j4w0/l4uh2uPB53RKJ/uE7f8Pxo8dEBai2OIoTsLiwxfjEkPyZ1SY21BMS1dqpEzOAnk+u3eT1N64Ikb5Rr3Pv0QIzk+P0D/RKTWJtexuv0yP2g3q9wuzJk7z3/odcefVVUdyp5EVOKdUsToFoqe2mNxAUCKrSpKn0QbmqiLgNZmZOkkwliUXjGE0W0WEpx/e9e/do1itYbE7ZlClGgc1mErCV0k0Oj/aQTGSFtaA2sgtLy3htDnLFPK+88rJUOtRBUg3kj80cY+H5Ipl0mmAgQiwZ4+zZU3KAPoynVJBLfOPXb97ktZcvyyY+c1hga3cXm9nIxuYuL146T7NdIx3PCtFZ9ZpV7DWVzMgh8vniolzc1OVEgb4SB3Gq9ZpEyJcWVpiYnMBgUgrAFGaTTSolJr2RLg1RTqohV29/WIjWityt1alUR4rjMyekm221m7FbDaJQfPb8uXynK+CWYhz0Dw3Sabck3SKAs2aHcrVEb8SP16M0Y0U5+2QyeTkAl0olUWS9fPmivA4q1q9qBEr1uLKyjt1ml0HC0soKw329ZPMVghGl9DPyRF16RkaJx2MUMmVcXg+VcpZgICTxdLVxV5+JZkMNlxryXlYVErV939zcYebYLLt723LRnD52jHKhLKlBBbdTW/v79x/IpljB5dQwamdrXRgQas9pt5nRalWqRcFkmoyMjHL/wSOCPj8Gk1GYBJ8NQSYlzWAyGCVy3NcXxh/y8cPv/5hIJCxDNRUTjybiNOstOYTH9mLMzBwTe4NKDqgL+dKy0p91GZ8ck2HE2voOo0MDwpBQ7zuz1YLLqd7rGSGjK3WdSqAur67SG/lM36aeWypdsBfb48jIEdnMqmGaSjv4PG7WhaxulhRT7jArm3wF5VOpELXJDvf0cfK0+ozsU1evkTIuVMrUWkpL3WJoYpQH9+/QKpUZGh/mYHdfoJfqsrm2ske5383kmUkONg6IhPyYLXaMegO3bt5n9uS0XORVpSQU9DM+Nsjm1p7EosuVsrAwVG1Iwf5Onz1LNpOiWKz+V3iqHo/XLQNZBTtUUfxAwE8iFWV8chqr3syzhXkhkzsddqLJBM16h+npaRkAPVl4zqlTs2xt71AuFBgcHMDvD3Lnzv3PlKaqPhRV0FgXRyfHcKhL5/KmnA8CCoSYL0ilIZFO02q0BdSYyWSlinXnxkNOnz0h6av33/2IqelJidwP9w7IZ7pULTI+Ms6tm7e5+uZrMphUVHw1UFUcjW/8yi/z0XsfiA7yyLQCjqp7RByDzkA0ecDx48dZWlxFLS1HRof5679+h5cuX2Z1eUXeX2rIqIj+5188LhWLH/2/P8RnVaBegwzQUlk1xJ4gV8nLcK50WBA9o6pYqWRvxazhlbdeIRqPMzw2yKObT8RGopZnygCjgHoqgaLTwMH+oSRHlGNegwLjZiXxYrPYqFSLJOIpXC4HL154gU+uXZdnsxoMjw+PyrD8/KXzMkBRzBKVXlJU/tGxMWrVktTb1Gun0kA9PUMygM8WslINMhrNokadnBqXbbn6+UV6A6LTVEC/m9evi2L85KnTwv+Ye/SIV1+7wvLiGru7OzL86OkLE/D52ItG2VPq1YF+sqk83pAHvU4rl/fzF8/w4MFnyY1GuYndYWb+6bK8vkpvqpI/586f5oc/+CFWi53XP/8GO5u7JJJRAWwr9eTs8Wl2t/aIxuJ0tF16w2FZ7nrcAfmzKSuMqs6poeGp0ye4+cktRqZGycQTOH0BLB4LhXgWz16ehrEt8E+DFkJeH23KxAststkq//orBtY3G5jtFiaGrTzbqnBqysWtBylmZv2c7nWRKKc4+c8yHA87MBmzjEf8xDIaLI4G79w55G9fCvEfr32L/P2bmJtNCoe7mHzTdDo1miY/RkNL2VrpNstoVdTR5KbTSNH2jGOsqzSjYrZ16VpVBactZycF42t3feh1TTrOMMbDKLWNP0N36tfE2KOp1T67s6hpastAR323V5t0OkpT2pRnrdYUoppZxOA/irbZomOyo2uXaBe20TiVhlCBSyp0TA06OQ06Swet0U6rGBXFocbeI/UDBetVQxI1BG1l99HodGhu/PZEd38/I8Tdsyf7WFiOUck2GR53y4tIq8PmegWTuYXGpIgFRrwe1ZtpMTVj4/HDFE6rC4ezSyZboVnRMDpmpqO3UkiUCQ+5SMXUZMiCQd9mcSElPTKX04TT1aHb0eJym/B77Pznb61y+gU3wYBd+nnKy6m36KimalSaWiYnAzS7Hdp1OH1Uxz/6dpqHu1WmXXoC/TZ69DoWtnM8LZr5n6Y1fPlcDwZNjffXi/zz94pcGdfJNESB5T5ZyDLkd/PBe2+jH32b/OISh4sPCfaMoyoR9VoWvcmAxTtLLbaEvpmi5fZCQ0+rtoOxa8HoH6edX5fIsn3wFLpODWoFWpTQeyfYePARXY2NTDLO/KPbvPLmz1EuZYgm93HawnTaGYYGh7h97S6Ntgmfq8SLr/09Aczk4uv09o9QLWaln9I0t3HgpaZG73SwWLziFW/mnlLMVLANnaG8uygTPe3AFcg/xWTyYQ05qSbVpFYpvqrkG3We37tHoVAj0D/Bn/zFB3zhzSMMD0zQaqSJHmzRajnkYaTVtjCZg3KgTCWSHD86wNCJE4QGJ2nkFjD7BmhWAlRKqluq1DgOdLoqnXIbnXuITmkfAr3UoztojB30zkHamZTA5EIXXuaf/9o/4FHWilNblc7aSMTNH3xnkYP0+9S37gvN3uJzUs5uUz+M08KOKzgBxgaVdBanf0g83+jbtAoxWro6Wk0Ah+qem+1UD5/SLJcwOFUP+AVK0U+g65DXx9NzSjq2CmqjtftpF9Ok1uYpNeuyQXv69BaampET5y7RNzzB3N2fUiompC+ntQZYfv6cgaFJYpuLeLwBcrkDmeTnmi2O9bmZOneFwMgkuViCwMQIjVxVOlWFeAyzRSt9Ub3didntITV/E32nhj08Cp5Z9JoU2nKaSsdGt6bqC0Zaei9WT5hcYpt2KY/L34e+uYVj5i262R3ShSbuvikMtW3iBwdsLidJxFaYe7DIzIlpGjUNNjfozAZ0LT1Gm52dpRV0WhN2h5f9zcdorA7OnbsImhIubxCvigvpbVhDLnSeWZrPvoPJ7KVqHZaHi9UfJLd2G417mGD/SaKLf4XJOYnVPwQGL5XoXbROH/bANLm16+itRnR6m6j5mvZp9JVVuiab6MK6tU10pinMgT4KG7exRaZQZ02lk+nmVqmgNpejkH5Ctawl+MrfQuuziK4nOfeB9Mc++Otr/KsfPGc/Js4GBjxaLp4YoFTYYcTqRR+wc2/5gGylQ9AONq2VC8N2yvom889jMmEvN/WiJPzpbhWvzcDn+zp4DVqmPRpm+w1U8l08DiP1lo7DSo10uU20bsGlLTHisTLUY+X/eS/JeXebyZMe/sF7dR7EuphNNb4yZSfYrnM7q+XgUCP1qj/57x2MBAK888Euo/0BspUSucMaF17oF8Wcy+ajUi9Rq3UpFzOEerw8eZYj7LVidOppNzrYbGqrocXv09PUVEnuNdAajBTzNbp6eOPqMBsPtvg3Dyq09HaGAh52knkcFj1tg4X557scnZlhoLefnb0dnD4PNqNZlH/DI8M8uHdfDvPpVJ5Gpy1fwAoepDr26mChNqz9PWE5ENrMNtL5DEdGx8TsUq5UJCp5+sQJ7t97KF3GbC4tBHUFg9pWLvFmjZ5AkFypzHH59x7RbCqY1yEX1bbWZpGo89P5BRluTU9PivN54elzudArbZ6ige/s78vWUsVs9/b2JZ4/OXGE+SePODI9QyJ2INtylTooVnLMzM6wu3mA0+UUT7G6NITDITEeqAiqy2NXnC3qjaa4z1tNxUNR3VE9Fotd4p7JTJKwP8T6+gb+SBCaLQEsKWCfw+mmVCjQaWuw2C1UyiU50P/s17/CzuaORKP9XhfFour7azEZLKSzafrCfayurXD+/Fmi8TSFXBa3V8GBFNRLKwrVZrUhKja1yVYgMRXZXF/fZUwp4IJB8uUyq0trjAz04PIqnsQGkZ4eTBa1oe3gdXlYX99mVPV1VVRT05KOr6oP+ESpZxTY0+zsLLW6iscvYjQb6e/vpVKsSl+9WsvSqutZWV3izNmzdJstEodpgT+qw6UCdinV2GdJCAvbG2v09vXLa1WqZHE5leVApdFabGxt4nG55ILnVAcouoxNjXCwGxMjgc/jY2FhRbzVquur+ESTx6a5d/cejbpKMFnkoq6qHCpK7nS4ZcizvblFsCfEwvwCTpdbSPkPHzyUS5/eYJa0SiAQZH1zTTRpCuSlTEBWo0kujk6bE6dDwUQ74udORKPUVfiy1uIwc0ilXGN4oJ/p2WNc//SWXIR7+3rlYKto9urCrCwOhUKJ6N4Bly5fkrqKy+uUakWpWCbkC7K6uc6FC+e4c/c+Fy6cZX15TRzyyVyeaqUi9ojZk8d5/PCJ6NgUzC2RTMpWMuRTCc40mcO0bIscdhfR2L7ArRQDoVjMC6neajFy+uwp9nd2icUOZeuu03TxuJy4fX653KpYuKonDA6NiAdcqfPWNje4dPElHt27z6hyyztcuLwuvv/9d9DpDByZGpON3OnTJ9jZ38XnD1Mq5MTScGp2lr2DPbmwa9oaiRmrSLEauihivNpaHjkyTi6bk46wx+MVuJ2qbahYsLo0mPRmPvzomsT7VTS6UM7x+OE8szMzsu082FfpgwEsNgs7W1tMTIxTrVQp1es49Hp8Yb+AUVWCQdU9Nna2cZms+INhUZbOzp5kf3dDzl3FrGLiOEimD9HptbLZVukSxbJQMDW7xczNu3eZnpoRGvvtm7fJxPfBaGB4dEjSSYpcbu5osZ4bY21tnd7QAL6Ih1gsSrPUwKwGa3qNKBpv3bontPTLl87x4fvX6OkP8zNfe0vqPrvbUfoHewWaaLIaxGTRaLQFUjg8PkKtUJQ4d3Rvjy995Qv88Ps/wuXyYXOYROWmLuonThwnmz0ErUHeb5lsVpSZ+WxOho/lSp5WsytsEhULPzIzLXYT9TlRzIdSsSrDiI5GTymTpSVnTzM+l5tmtyl9//n787LRVrWtpaU13v65n8ViM/P8ybJUoPxeL8VKlU8+usbPvv1VhvpD3L4/R7fdEbvE5cvn2NraQas3UGnUcFjtwnJ4eP8RvT0hJqcnZDCSiR/S2xchkU0x3D/Is6UFefaq9JSvx8/S2ia9niBmk4nlB8+xavR4DBqaFh2BgI9cKk9s/xCPz06tXMfmsNGu10nv5xk61Y9zdlgGaaODg3z03k/FXuILhTFbTbTqHcxGPS+//jIPHzziwcPHjA8NEY5EOHZ8mp/88D2OzEyxub4p8X+z3SzMETWgVsB0i8VBKOyX7+XnCwsYdCZ02o48s49MjuJ0eVhcWhIzgBomquHty5dfkcTX3n5UGAiRSA+pVFxSH3OPnghLIeD301KAzAM1fNIL9FVV9EKRIIpDv765iqajJRmPMz37Ga9mcWlLKj3KMuJyWfD7I5Ig2TuI8dKl83x87Tqfe/M1uo0mB/G0sDecLivVYgWt2cD+5r7UeFoqreVxSXVNdczUADSXzwtzYXf/gMG+Hhn4dLsGrBalACzI8KHb7ZIt5PB5AzIEVoYd9cwe6A0KU6RSb8t7WMFzFc/Eb7Swc20FnUfDRNhHvFiXz6SCDXZqbQYjvfzbX7RRK9aZ2yhQyRdJFEz80ttHuHlvletzeX73F0fZzDV54492uTLkwYwyDekoqCVeq8bNxSb/4Z++zC/+k99h/53v4h6+SLtQpG1uoK+nQGdFWy3TVKo9rRmzxUWzeAAaEzq7F93OPTrBI3Ry6+gj52iUMrSz65htEdr2EBSXhcBf3nlEZ/8a5tO/QbukEpI1DBo35fwz7PYADQX/UyB4pa62BOmYVSKvQqexhbnroKm+GxsaMW812360NgeaxB1azkkMrTgaxR3oGum267SMPjR6J/p6lGYxj86pnk976CsZDD0v0Mol0Nz83eFubC+Nw+onGDIx9yiOxabFYjeR2qsyOGojl60zeTREuZrj0f0EV69OEUvkuXU7xtSYTaLFa4uK/uwV/YHDaSYRLUg0bPpYiP3tDHvbZaZPB4T2e+vGOk6rgZEpH2tPk4QHvEQP0rxwZpTVjQMOc20mhyM8X9rl5IkRIgNGbny8Ixffnn4zXruL0UiHf/rtOD/ZNXCuv8NuqknIq2Ur1mGn0eL3XnQw7tKyGG/wpStBXv69Lc71Wjg27uGTZ0leGBrknfUNhitmfvsfnuaF/+03ye5WKG89xloqkcnECfUP0LUH6agvolIavf8s1fIqta276M1+nMe+QLPcoZZaoFrKYrBqMdh9eH2jZEsV/IEw2cwy5XhWvig/evevaVW0nH7pPPWuhnKpQrncxuVwEI9vkYnGmTxxno2NBbStAifOv8rJy5fQdkwCisjFl+nU0ugaKuaiRa/LYfSfhGaZenUDg9aBVl0YKjVasY9wBKZpdW00DOB1uTBpXbQpodPV0Fjs0LRz/+Pv8PFP5jl5+Sz3Ht+lL9QvG0gFJTp74TKx/R3u3HwovcqBYA/FpgG7pcnx44O88nf+V2jmIb9Dq1WjYjpJ6eAG1fQWLkcQbF661llau98VG4LLcYS2qYbR7sY4OMnnL/0cB1kjr55SqhoFnCxhyCb5lz/8cyoPb6APzFA5WKNrUwbHEnqHnm46isEzg87torJ5l26jgt7hx2Aboq5pSfTd2KlSzezRqG7gGnyNenodQ3CCrl4BiEy0aiXMJj2Zw31RyCw9fMBwbz+L69uYNTZcQStes5MqVlKJDcKhfrrU8Fl7SRV3mHnhNb79p/8Jq8WE3aLF3HKBLs9rX/0qjp4+usUDTP2vCABQW4pRO3ggSsJKt0R6/TrDJ9+mqfPTLmxROdym1VT0WD+a0DA6Rx/dclogd2pzno/lCR3pR9dznk5sFfK7WMeP02hV6ORjlJphHl/7S6GU2l29fPePv4ejz4nHb2Yo4iHSO83O5hqenjBDwRHi8V0WHj/i7MWLbKyvoGlVePPrb5PK5unt78HmmqSamcdk9FI83ERv8WJwDdIqqJhylXrjELtWRcgsNGstDBYzhf0F7ENXMAZ60DUsZNIP0deiWO1jtFxuLDoHzcwKXccwmqZSKpVkstnYf4J98AT1hh5juwjWIB2Xg1ZMEbH3MI6dJX/rYywePdaBWczhUYkjYo4Ru3eXn3znEd+/vsriWh2zRUOyYiBi7vC1L84Q292SCL7eCrminky1wsXxCO9fT+L11gkGnHRMDlaiOVHz1DU2ovEcQV2LsX49PnObX50NMeUqka02aTSMbCXqpJUlQ6cjWm1wNGLBatay9ugQV7DLUMTLXLrL//FBlquzJnQaC++uN5UEQ9R56WwLj67L5JSX9x4ecpCs8MGvG3m2ZsThMzIx7afb0fN4Pk4pW6FvyCcHdaVdGh6JSGJqaSkjz9R65ZBc3iwmgFq7yvpmiZEBJ2NjLp4+qzJ73E4sVmB/s4AvYmLEbeN+osMf3mzQaufwOmxY0cjm59GzFQZGJ2Vbq9zpeoNWdFSq/22ze7E5DAT9YYnCqo2Vcgkfm1H6pidsbu/JZfLsudNsrG+IhkhtkNKHKdnWK+q3UiOpC6uC4Skon81pF0iU6uCaTFa5eKp+/PLzFYnXKxWR2g4oJ/jThaeyrQj5g7z/4TW5rJ84cYzlpVUsNhvxWEwoyy6Pg0i4R6Kr40eU+3xHvNNKg6WgZEovONAfEar5xua68ATWVreI9IUoF0oCGVNb4b29XWZOHhfo2fbmpmyU1Vbn9p0HeN1O2brcvfsAvzfA+QvnWXj6hF7FFMgWxCPeN9BD9jDP3OMnnD93jnarRL2hI1/IyKVH0fk9HgcfXbuNz+0RIvzIcB9LK+vsH8Tp6QlQytVwuix87otv8uTJU1aX1+mg4cL50zxbWEBvVGT1pCia1P93sH+Aje1NhgcGRCGVOswLRLejeucuO/FoQiK+kVCAQjkvEDYFhd3fi0olS20uT546TrPRIpGMS11DweVu33uE22IloDZrlQqTY8M0Wl3mn8xJNHWgt4+tnQPcDotcUgdHJrj/4CEjo2NiHph7OkfQFxBjwskXTvH8yRMZAOzu7EqCQ703+iI9crmq1EpSJ1BwyfHJcf7qr37AK1cuSepDVUnWN7ZxOp2cOX1SlHYqiaK63kqNVSqUaKLi4jaJdatN5cDooHBi1GVFUdA3NzaFJG9z2YQtojaU6vBtMmvZ3tjDbDMKx0Jt++KxhPSYjWazDF8SqUMSsSRWm5PhwTCBsJe9aJxu47PfP68gt4EQ+cKhvL/VZjdXzAm87uTsNInDjHSGlXVAKcnUINjmcLC/vU8gHODx4+ccm52glMuRK5RFF6iUYjanTSLyasOt9ILPllaJBCNcvfoSn3xynVQyh9GoqpbjwiJQz4dOSw0E7UQVKT3gYUj163e3FMdYNJQl9R4N92BQ1oL1PU6fmuEgdiARc7WhVGpBlQA5OIhx6sQpGTKoAdPY2DC7W7voTDphTSwsPBeWQ19/n8Dn4ok4dosa6O0I6bs3HKFUqYkD3m4xYHXZZVM5MjpJuZYnlcpI5L9YygsscHCgR7aIqp6SSaeoVWsyWFeDhmQiLltIvUYvqSDFGVC98cRhSjzxKn68srLG1VdfEqtIOpWW7Xen3ZZEhnoNB0cGJQURDgZksVOv1rDbXWh1yPZavVlqlRLFTJZjx2eET1CstLj0ykUSB2kGRpRTPCrchGfPFQw7ImmH+afzJDc3CasItcshQ0s1RCgcVjn981fZTx4QUO7127cZHRuXS3cpdyjpGo1OQz6fo69/kO2NLfLZAkdnp6lWi+zsxsnnirz62iVufnoLo9ki6Y7js5Nc/+S6JBcGRvok7bT47Bk6nRmHxc7W3gZf/cpbFIolllfVgF/L2bMn+fTTO2J4GBzqYWx8nEf3H+HwOum0tAINfPpwXnSh6kL/rW/9iQxslSrx0fy8KPuy6awkBVT3Wz3flc5QdfWbTQWs9JAtF4kEQ2zsbNKsNtHom/g9QanBhMIhnC6HDGbVsO0HP/gRo8PDOBwOlpYXOHXyhKQu1GdcdcXVJl/VfFQ3W9vWEk1GMVrN2IxWec4p1kguq84IDU5dPsfu+hbJYplTJ6epxLPMvXMDgyKvNJrYfQ6a3bbYHFLxjNSvQgMRmmY92dUYnn4flkiEOnVJIATDAT5871OBhc4en2Fh6RmVwxLpTI6rn7vC9/7yh1IBeO3N11hf3+LW9dvCyGg2mpw4fZS1jU2pHV288IJAGI0mO6trz5g9NsP23p4kNZQBRwFb5x7N4/V5mRgbI5M/JJ8v02q2CPVGoN0Q3Wi5WJbqmkovqIGUwaD4GH4Z4i6vLKNRVobeiGgWVY2tWq3JEGp8fJTFhSXW17b48le/wH40zmE2zfjoGHNzT6UaZLZYxQah6igDA32sLK2jN2gkRaCenYV8VmqAB7E4p08eJ53OC7BRVbjUcFxVT6SSpWL/Wh2bK5vkK0UuXnqRbVV/8nlZXN2i1ajw5bfeEjOEPA9sTuwui1i/nj9b4QtfeF3gvjH13PV7ZeCgBuJKIViolbCWm6x/vIjZb2Ik7BZw3+JSjC9enWZjN8qt+Tx/e6LLNz4fZCMBU6Nm1vbVECvA5oKq/2ro77VxfbHMv35c4xsveFlLF+QuphIsyuY2t13lP/3DId7+1x+S/vPfwjZ0Gr3vDPXKM1lEaxoFuioAoNfJa9Fo6dDm59AOfwl9PkN+9bu4Lv0vtPYf5tsUAAAgAElEQVTu0EivoQ0OotW50TpDNOOPMJp8aH1HaWVWaZeSmPxjtKtJSQm0VVrA4EZ1snWapoB0m3oLGo0Ng0UZ1O7SyOUweCbRe900t++iNdjpDl5Fn35CPb+AZeCLaJQK3GYTBptJp0PXbQo41GBu0zVYaeOHUppm7jmGvlNQzqN59zeGu6VsiaFRL9n8IU/uZ5icGiAUqrG2XsXhNAhIR9O209ZBt6UlEEAiqYVSlxeOh8lXi5g0Nrb3MhgtLZJRBXTo8vbPz3BvLoaRJjaHEbvdxMJcgvFjXqol5APcrLZoG/TYzSZczg6VloZSTn34W4wd6Wfx8a5cZloaA8l4iXSuyZFpPxFDk4Nmh9/69iETHguDITPGVpuusc1PNlp8uRf+8ZthorslzD0m7m6U+Q/3KgzZrZyarmLBzUqmzFa0yY3lKv/sawP8xl/+GyjlKD27Ra2kQXlN1IW5Wbagc5pw9Z6iZXWiyZco7b+Hzjcqk1FNrQqpFYy+ADrHOSqZxxLpM7iUY1OL1aan3LbTTO5LxCwaTXL39i2cAS/lfI6zZ87hdHu4feMOelOLsdETpJMJFhfnifhDNMtZzr16manzr9Mqx2lUuwoBQCa6LGYFuk60hjraeo2uY0hiaOXt6xIV8Q2cp2s2kNpYxmFVZN+6QEssrkE6xR2cR2fJHuyzvriMqa1YChu8++PH9Pe68QT8Qo+fODKEpqsinrtYHWFSsT2WH2+C0SIT/CsXpwmHYGTwKI7RSSrVDsX4Dt1iGp29R7bNOpdf3cTYX73D8NQI+hM/wxenP8d+uc3bbwzQqLa4t7DHf/czZ/nyb/9j6ivX6fqPUJj7AQbvMfT2HtrtKt1ugfphCltgUHR2bRWLs/pwOP1kdm5Rya3h8PZC24vO5scQ7sdpaAnJvnCwR7dcJ1vc4+7dW3isY6CtkM7nOHL0KKVMUTgGJrObajmH1RdB36wLLVV9sSViKWr1GtVCkeOzPUyffpPesSk0viCa5FO6RKgWM2jKccoVlSDpR2eyUS6sY7aY6ObrdBXXoe84jdwG3e27NMJn8Y6/KBv1RnyRWvMQu0VVGiwC9TCHwqAuT/UC7U6VTDJNo1Qmul/k3p0F9g53GBgYJhKyy7b28dN5XjxzRg38aVfb1Dplbn94k76j0xQSOwQCvdy6M8+VV1/gK1/7OoXKHnr9OJaBo3T2HpDYv4M7OE27ZaWjdIe5PObQWbqpe5gGVc2jj9LBHOXUJoHBUbptJ12zUb44SrU2huwGteohjtA0La0JmlVqiQX01j4sNjd15V1OPccYOYvOpt7EaYyR47QPl8hvP8LiG8ASPA71DaxD52mkH2AeOEsnl6BQifPHf/iYf/XHN9CVG4z4weOwMD7jJXqYJ1fVMBjUfKbeLGvkkvFwq8jlYS9ZfYPkQYOBfjPbiS6buSJeuqL8OjnowNCpoKnDb36hF08zRSoPDquDW5sFanodhQr0WJr4rFpqOj0TPgtmXZfDaoW7BQvX00buP0lSsjTJJmyfQflqbUIBLUGDiZGIhZWDOtFcFa8LFlPwD19w8YuXXVxfzXDmaA83P4licbQYGvSQK7YkwpjNVhif7pGDQTnXoqmpEArY2NrKy8Q/Gi3T1+tiZEBdEnQsPNvH5bFIlSVf02KxdrC5jLQPLXTNZX7jxxUGrHq02qakGFxmE9VWnd1kmV/8pZ9nfWOfg6010QkpRoE6nKgu9fbWnnwOlKdYTfrDQRU5PZQto1KG1dsN2b4qL32rViWVLVDK5WW6rzZYityuYD/3bj/kxRfPyJbyo08+kfiyx+6g2VG7JY2Q4P3+z0BfarsSiyfZWd8V2vRbX/gCf/xn3+bozFFiezsSY1Z9dfUMOojH6Q33CL26rbrDLrfUcmp1dRD1UauXmTwyxY2bNyU6/eK5szx98oR0OoPV6pRhQbGU4/SpUxxEUyytLzPcP4RW2+bU8eMyGHm6uCxgN3WRvn93nq6uSygYZG1VUZUvsbWxx8rKMmfOnJGfycryOr/yKz/PkyfPhGz+bHFJYulK4aXUUpcvXWBtffOzAc9Qr6QF/MFeuWwmk8rA0BWf/PbOpmxYp6anKBayvHrlKn/4R9+kr1cpBluSNMgcZpieniKRTJNMJXA6bHLAU8T447NH5XOsYHLq1xTcMBIOs/hsCZvTQiDQw61Pr3P1tVcoNyoywFBx+XDPAE6nVS7sLoeL8Ykx/uRPvs2rr7zE8+UVUUDWKhWpwNUrLTmwx+LbzM6c5OOPP+Fnvv41AUDu7B5Qa1aJBEISQfWFeml3WrSaVTwOJ9FoTPgjZ0+eJRbfFbXw1NEZDvZ2pPM6NDTC5s42tZo6IHVwOJzUKg00+q7EdxV5XykVr7zyklDjHzx8KO811Xnt7QlKWkFt8MbHx2QbrS7jSi9XrFbp7+2XbWnvYC8Hm2r5kEQ1hxVcTf26eo4atCYxiqysrHDxpUtUS3mKxSI6nV4SJ41mXQ7aYyMj0m1NJA84dfwsj548wW62sHOgVJQu9FqT+MjVz1y91tlshrGJMdmaKsXWpx/fZmJqBLvVwrYaDgTdTIyP8cmNG3z1S2/x3gcfc/78GdZXl2l2dXic7s9I7poutXINrcYgZPjlxWXOnn9BYsXr66ti3EhEY/L/UgOxpeeLaDR6+U5SgE+lnFM0+GQyxZHxUcoVdfbb4KtfeoMnzxZlCKNeW6W8VId0NRiUeH3/ELV6UbSgRr1e6O0K6qjAmxpNV76P1JDp6dPHktZQ//7m2jaVWp6CsiHks3h9vs8SPp2OkMbVBVr1vG12s/z8E8lDtF0dVz53mY8/+Kkc2BUA9PSp4ywvrcjh+fHD57x05cJnYLvcIaOjIxJvvXfnHhcvXpK0x/yzRZ7OLfDVn/0iT58syyKgXMrKM+f1q69Kveb2netYDEYyKn2q12FzupicPMpe4oCeYIDoQYLl1SXOv3hJPhPnL5xhc3uLe9dv43Q4sBh1mBx28ocZLBjohBwYevzs7+xxbHZKEiilSpmVZ8to1YXNZsXpMKHVGNHqtMJ7uP7T6wyODgqccGN9i4HBXpLKshIJsbWmCOkeGYSl0hnCoTArS0uytVdKwq3dPeq1KsFgmPj+ZxHfsdFRqf7s7O1z6tRJhkb6uXXrDhdfvMja6qJcQFQ1RQEM1euRLxQI+kM0Oi3SiRR9/QMC+Tt6dFqWSA/nn0gSpt3UyBlU9eZVh1slaP7+f/sNmo0uj+bmP7tIahXDxU8qliSWSIqtQT2fVR1icXGNl1++IHDDmzduceHcOfZiUXojYR7PzUvC6siREXa2txkcGmZzZ0cujiqtsriygrbVxevz4A0HWV5Y4uT5M6zdekpyeRt3yIZDY0DrcIhpxmIws70dJdjnJRTwsLedwtBuY+h14x/tA7OVVDQq2+epiXEZbCiNuYKgVupl+gcG5dL7ZH6e1157XYbXjx8/kR6++qy5/G6p3Lzx5mvyrE/GE7jcHj756Q1mpidFH6q2/OrnoPr841MTVKp1GTg57U5Jm5htBkZHx4nu7NE/2MfW1p58zhQoNr4fk6GoArHubClIpGJtWASaqy7UVrtDbAM6jQaPz0OjVqPVVTaCGhajAY1GpVNGuXP7LlpNR1J2i8tLYqVQBolyrSGpR6/SArpdlEo5Aa7aPTYKmYIwtxSQUyWvLlx6QQZXaqCuGAg+v1uehYMDvTI4UAkeldx46aULwiBQw6LhwRFRCysIr93iltqJv8crqSi/Sj4srojC8uyZ03x687ZwNtRQZWVpGbvdgsdgZuGnD3BYTCRKVXwuA9quHrvNyGG+ydS4izFiXFWbFrcOt83Fuze26PXZsbk0bKxVuPqim/x/Ofv/xjs1hp0Wdg/VOUHHkNeDxV7jr6/l+MvfOcEXf+v3iX/6PdyGbUodNxrHOBZPD618QsB57WIKgyOCRm+mcbiM1dlPtbSJxTVMQ6WyE8oINoXGrECJXcrJZxgrCVodKzpfL4bANI3UpjCw8A3RbFQxq0qwfYRmqwrY0etNdNtZ0Jppq3+OL6BXsSh9AnreQlNrQepDNP5TNDLrdG0DYtdqVVW3vwEGF1rnMJ34c6CAYeAt2uVNNIUkHZ3Sg6tkipZOJYHmu78SUFgDxqasLD3NkslV8DgdHGZTDI0EWVo8ZOKYS7ygm8sptMYuI+M97G4kuXSxl2pDUYbVA8rF/laZM+f7iScyHGyWJW6sOoPNVoPzl8ckJvJgbp+jR1UkMUs+XcYbsFFWKoaJED/+6w1+4RujHMQKLM0VeO31AZ6sJXEY7RydcJDINFjfTRB2Objwop/0XpNf/s9rFCo6ZnotZGsdjN0yRa1Sg3V475ecJAqKjF6jYXbya+/lqRjgF8YUW7FJPK2m5Q6iySILz+v4HB1++xsv8uV/+ZtoTGG65QTJlXXlU6HWSuELnaTtDxJbvYVX40bndUBhBbN7ioYpRO7RH+E89/OYKnmBgJjbDWrFDMbIJIXMQ2zWI/gnXqS4+SGpvXUKdQtW7wC7K0t8evsWfo+HN774BdrNEslMluxeCo3GRCK+zdHTLxCPrmK3uDjz4klK6RQjr/4dCuoBUDkgV87SLbfE92g/chFto0oiPi9gx46mT5Rm3cIelewmJv84Rvc0xcU/xtZ/Gf3gcVp713GFx+joB9i996eiqvj0xhwZVRUIB+RD6nFamTx9nP5wiJ29KHubu9h8LqwGCx99cosXT41x+sQxJi5dxKwqDrF9Mm0d3Y6RdiWNU9+ggJXw4BB7y7f54s/9J16+3C8dYne4V8A2Xzgb4hv/9m9I/Pnfw+A6idFtEZe7sZumYRpF26pD5lM0zkm6Br2wJPQaowCFjBorna7SZOhxj5yjnk9SL6UoZTOySf3og7/BZrMwODBDs5ZkdPwERoeHa9d+QKRHbZfbGNpdal0t+USe8eNDlNJZ9qNPpTt6efbzFLU5mWwGT36edq1GceM+6d27+Gb/G4Hr5XdvoVOQqm4Ta2SS3MEWrtEr1DJr6LVmaKhevgNzXz/pvVU0h5uUW02Co6/R7cRxugO0tGF0ujylgxh35m7jxCodwNW9HQID41SzJRwurXQ9tVozZ184Sy4eFyKsgiB1dUoTtCi6om5bh89eY/ryVWwY0Zk7DJy4QHVribbJRTWXQlvLou09Q6uwiaHTpamz0spvYtQ46DTTGMMnMdo9tPI5akYtZkUlNXvQNCtEn3+Eb/wqndAE2tW/pOOYxqBcqGoanVqlXczhHbpCQ1fDqNNiVDDLSpq2yYHX7qN4uEC7WEPXfxm3o4HBPwZ+FZnaoPLB95i/u8P795ZYj9X43jr0Way47A0CZg1vnvZyd7dG0GliJ1Pg8oiHVLXKyl4efdfA52YD3IqW2M5VSSW7pPQtph02Rmzg7XZ465IPbTJD0K8n5LazlC6QLTbZOagTCHlZj5e4HPFhcNT54Pkhf/+4FavRzbNCg/USfHOhQazcIttoY9O36bU7CVhb+NwGCrk6JpOJ7WwRt91EpdDmxLCdVLPCX801Oecz8M3/0UU8quXWowTHpgMkD+ucOutjaS6GSWBfFpaeq95zhfGxsOj4PG4nt65HOftSL2srKRq1FoodZrcbKOa0TB8NYzRr+ekHq9i8Ft64EuGd92JoDS3+0T+Y5YVfnccXiTAagecHJfliKVdVVF/LC2dPspfK0qcu3vtR7C4rWo1WDvT1VoVapSO081I2x/LGxn/tHjfksJ6KpUWDlExk+NKX3uCTTz/FZrYQ6esTb7Lb46PTaEgPVlUC1MbXbHYIPEyBiRS9XV12FFH/xu17jI9NiULQatDKJkQpptSBr6Gi7w47freHO7dvMzg6KlUDBZc6OjlOtVGTi4EC8ylFmD/ol0imAr3V6m3MZtVXrsvhWR3GBocHmJt7IpF35bp2u5w8X1zi5PFZiXMrdVVTUycU7GPuwX1ef+1l2lot928/xOf3CLDJ7XSxvLqG3qCT7aTabKv0wsHunhzuZo4fZe7JU3SdLv5ImGq5iE/BArtd6VvvqEiy28Pe1g4Wh4NiqSRUbcVVCAb9AkwsVYpMjE+QTKbRgMTzVZog1NPLh+9/wPmL58UTv/BkkWAwKAczFVNPpOKybVbblGq1IZvWu3fvYrLYiIR99EUGpC+vDpBq06rI7srdrkBOinCt3oMKDqhqDMmk4lME6RnoEQ6E4iCcO3tGNvGJdBK33SGwv5R6Vi1tCHwxVykxOjCIxWbkwf3HkgpR+qyu1ii+8GQ0Jh1jFVMeHurnYCcqw6axyVHCwRDXPr2Dx+Okp18BWZWBpSkUfLvVSKPbkc68umgoxd1+fI9Kpc5Qby8Wq43dvT2cbjeJaErUegrgt7G5gcvp4OLFy9y4fpMjE+MSIbd7nEoki8vtY2tzXawVEQX7kotqmuPHT+JxO/jpx5/i9njlv1tS/Xm1wZ97ji/sk+qCitynD9MSedV0DQQDHp6trlIvVUXdpajlOzubn32ubAr+VeDI9KQcju/eeSCMBsUM+P8HL5cvvczjuYe4fT4yh0WSiUNefvmcaFfbzTqVUga7zc8TVYcZG5QzhNpqP3g4x+SRafKlIg67jc2NbbFCrK5sCmPi44+uy/BC8SqSiaTE3q02s/TrVd1AUfZ9oQixnQPOXTzL6uo6a6sbjE6MiiGgS1M0w6pPqiCvilDfaTUIhiMUimWq9SI+j1/+vLV6i96+oMDgPtt4DhGNpWXIpBIfr712hR/96F0cTsVRyqm7hjwjtDqNMEbWljYYGxuTNE6hkOVgLyZAPAVaVO/XXKEgUWul/7M7PcSj+3jdHmLxBAG/V8B5ahCYSCqvuUpbRvF6vaIyUwM8BRBUxHx1/jCL2jAhZg2P3ys1nw5GJqdGWV9ZJ3moPs/HJGVQK9V4/Ysv80f/7psMDkQo5rMUVTJsekyi5fvbMUa+dpVKPkG9oeGFcyco5vNcu3aLodERqqU6B/F9/C43ZqtN4GbxZJK+UB/b2xt02xpJPqht79TRKcqlEulUVnggqsaiIJ9qWGG1G7E7XaKBfPdHHzIyOsDM7BEePFiQv696n778yiscphMsr28xc3RattCKedKqdSiqi6jTKcwR9TxTSs9qvUG31ZZKUTpdxGA2sLmyTs9ArySu2m3Vt7Yy0BsRJoKmo0p3WmF9NNt1sTioi+fc3DxHZyYoVaqk4ikBUqqqzX40itutBiyj0mN/+niez33+dXp6+vj3//4PRCU3OXUUj83CjXsPpR6k0jCKf+HzBAn3BQVMV9c1qD/bInGQx6omEpo2yUwRj8uOwWNB00DI8R1tm8ljk6T2ozxdSnPiczOE+pShRiuvu3ofqUqGGo4p3d2VV16R54LajmczBYEUPltcpH+wn7XlJehqGRjup11r0u4q4GRTalSqImczmKQK9ZW33uLDj97HZHIKrFM9s3OZovyeqvfePzBALB7jhOKkPHuOzmBkY3lD0gf1Zp12u8bw2BHe/dG7fO1nv8L6yir1RkcUpGsrKzKgt5ot1FsNMSIphWK10mSgr4eDWFTeO+q7R7EYlDZVVXyUWjXgCwkoVXHF1N/b5rBTKubZXN2WoUYyFWd9Y0uYGv6gj1DQJwrXUrUsOt+hEcXPKQm7QkEyPf4A7/zNj+j5L1F8r9cp36tdaappKZSKskQQK8HWlqT51EBvbWODcy+ekee/qg4roKWyq9hddnwuF/FEUkwrgZEAd757gyN+tzxjK6UqxWqFwd4eMplDDusGzoaa/K3xFq6Ag3y+xfO1JD0BlX518+NrK/j9Nr5weph7Owf83k0jukoRg66L26Gl3xMiXsrxk/kM2Yf/BKfvKMXVp+givdSyalBUp6HJip696zktekddfgmK23QiX6SNFV17m06jir6eo+sI0KjmMGg/A6BW43cxTf8ipvQy5XIMS7+yb6mEXgadrZda6gE2h6rM9lMuP8So86A1R2hrWlA+RKdAmGYHBrOdjs5Ms6OVZ1LzcFGGiBqzWv5apSqiUUYAynTyeWEWaDKL6G1+6s0CzcNVXP0v09Y56ZAXZSFNDZr3f3Owu/YsxfQxr0x6ni0c8NZXp1hezHHj/R0uXg0ydSzEw9spmt0aZmNLCXBYW8sxeczD8vMcmWyd/l4D2UKdiTEf9VaXxaVDIhEbfp+V/f0sTrMdb0Cpc7rodSaUKjOfVzTfNkZDl8ljYbZXCjxdyhAM2hkfMvNo5ZBOocmZS0o7VSbgsrMaTxMJunBpoNyo8b//pE4ZLSNuLUd6jHi6DaINHd+eq/PvPmfghNvMN68l+J+/OsBcPMnvfAxGp4vLwQ6rmSKVVpvz0x66bS03nlR5ulnkSqjLG1+f4Gu/8CW8M1O0zS4OH35KI93A3OrSsrhwjU2RXfkpmfn38c3+Mp6ZF8k/+YlM6TQOHw5rP+XSEha36soU6FRVi1l5nau4+2cxO4ZoJm9wmPeSjd9mY+WQkqbL7voGb7z+OaweB4mDNR48XOD8pRPMzF7lwbV3efLsOWdPv8WPf/wfuXTpNK+++TZad5h2Pqpy8hSbDoxE0Wg81LIJTEYzTbMDfTWJKXJSpkP1w4/plDTo+i9Q3/5EYqi20GnSe08Jzp4TRZtOdU8KG2hqFWLr28wvLEkHTemGeo+McbgXZWisD6fHhq1r4f6jeew+Nxazi0YpwbGTZxnuc9GwD5E7WEKva2OzBEXP5Dk+w+Hip0y+/Ad8/pKbL105xsFhm2/+6X1+7ethfv3/+l1i736f2sQF/M0KTdMw7ezHGBxHZKrZKiSwDJ2jq5gL+SUaHaf0Dotq8xwcR5OOkcjvU0jts72bJpescezcMfoHJ5m//aFM2ZbW1favxCuvv0y1kKOVK9GxOWk0y4wPTdM2VAi4fLjVg6BkwerUo7cX0dtPUNm/ReMwR9fcQ0enw9Dcoa0JSSxH21WALcUicFLrmumUl9CanFjNTpp6P7XyMpXYBv7hl6BVw6b81bUkOvM4hVyc2z/+DzjtAUy+UX7yo+9zbGqM5eU1oe6+/Qu/xCcfv0OjouiwfRybOkY8l5bodDa2S2hwgL0dVQUxymFK0y5y4c23GJ85Dd5pmk//iq7qYjpPkHn+AzqeINZOh5bRgB6HvD/1OgtVbGjKGxj+P5beO0jy/LzPe36dc56e6emeHHdnZnO63du7vcMFEIdIUARFMAgq0oZkSUVRDrRNSeVSlWW7WLZFlWSJkkAKoCgQBEkQBHAHHHC7t7c5707OsXumc87Jer8r/AfggJ3t7vn19/u+n8/zOEzobTMqStlNLVJvVzC4x6kf/BC9awKja4ra9p9iHfg19KYGTZuZduwQnSmBrl2j1fRh6/VCd5j83ieYTTY6bhvdSkNtXevxLbyX3kMXGkDXzFHdXeL5B99n4c4SscMs//7jNnW6eNw6gnq4dLGXTLJMqlQl6Dcrs4XHrcdQ6ZAsVZSpQpgF+8UmAZcFP0WOqkYM+jqTNj1fORkglk0ScduxdDSCPW52sgluPq7h8Uqv26BSSa+PeUm36kwELWSyRZJNE6spA/MZHdf3MsQbelptgW26ONnfwtbRKFXB7tYzaNc4KulZiZeYGXWzfyDPLSMduvxgsfkSZNcp8c2/4+d0r4mlpJXFlQP8IRsDIRubmzk1lCzEa+QbVQYiAZzuDuWShtVuoN1tkI7XqAtJO2TC7bFTKrdJ7NZodPWK16E3mRkdCTA5buAwKdtwO9mjFFZdg9/9UYflUoMZv5las64GSNV2h2g0z9RIiPNXLrO6vqsuv0KVX1jYIBwOcHxmRm26s+kcsydP8mx+njMnTrK0vIbFCP39Awr2JNou2cSFgv1yIlT8gonxMZUc2N87ZHR0mKXVNbxej4qZLi0ts7mzx9jwMOlEHH+Pj2qjocjjbo8Hm8GA1WZWcB3xhkuUU7RP+zv76qArfdZSpUB/X0RN0x8+fqbgRwJdK+QzahOeTKUU1f3Kq5dYWl5kZW2X4cGIShlID7FQzCnqfiqTVsOI3r4g/X29qrtZb+h4/OwRVpOJSrOhosMej0/VF6TDr7Wr9PaHVKrLbrHRG+ohnkyoakM6m8NlF296QynLkomk2pKKbcDptBI/SigoWq3aVPYCr8+phoix6J7qsEuCQF4niaXLAUnizNGdqBqsy6Di8qsXyaYTfPSzu2oQ9MWf/zk2NjeVPmlsYlxtpWTYkM7k1M9abzYJ+jwqgp4T2nOnwejAMIlsjkohp6K6mt6oEk7FcpVcNsPI8BAHsSjTx2fUd5vwD7a393Da7JQbdSqFEqNjw9x78JS33nhdoOuqIyvwt/39GKV8Vl0sS/kaJRlAhFwqRry1lSUYstDbP6g66hazFYfHSbdtYObELGajxsfXP+HyxctEjw65desuv/F3v8b64qq6EEln2Om0MzI8wtPn8yr6KnCvvZ19gv0hFX8XJ7XEeG99cgdfj4+B/qDSwckAKJNNqSpPp6thc77sBJslyaTTlFbwQGCSVrNytMuGPKkGFU5V7ZibO6kO8QLwGxoc4cOffcSZ06fVkOHoKEksFlWXV7PZgsPhUOo0sQYE/D3ks2nOnDnJ2sY6ZoNNcTPkzxWI3amTktQos7O/h9lgUAd72fBJ5D6ZTikw7s7ODhcunObJs0VVuxsfHlTv5drKDp/69Fs8e/pYbdVsTjvRWJSeUC8FsRuMDilQWrMpmr4zCqwm226TmC9qbbZ2txVTQgYB7W6HUG+vqjDs7u7j8ftU8uzcGSGaN3j06BEzc7NKMyiEfqkLOTw2AnLhTyUVz0ci6ul0Spapyp++tb5NODSgGBRSBTrY2cPj71Epllsf31Ik96vXLimwo9QXfC4fFdHD1qrq8yLVCp2mKSe7dIMlYhwKh8ll00xMTXDv/gPOnj2tkjeFTE6pPtuaQDcXMJv1yvGezWTodroKyra5tU271VY6xMXldaamJ9QQQ3D7JhgAACAASURBVBIgNFpqmLe8vkMkEibQ16eAvzMz04oPIgO54eEBNtY2+erXvsr8vbvcvPNApTzKmSLh8RCUm6q3XRoOcuHiHNnDDAsrK+r1eOuNa6o3fe/2LYZGRxkcCPPRx3cUKHR0eIibt24T8ARIZJLKwnD7/l0ioSG2Nzbwe0RLF1K1B9EcDgwMqmFN7OAQi1wShO/hF6ZJS6U1bHa7grWJIUMMHX2hfgWgk2GWaCSlQuV0+SkLwLrbxeVz4fM78Lp9JFJZbn5ym9GRIWVOadZquP1uBsL9PLz/jMN4SnEQpNoitaLD5JHqVEuVUBgY8swXpsf46Ij6eSTtdXQYUz+Lr8erou0yVJTnuTjCqo26Sm8kMwVGh0KksjmySjkex+FxcOL4JPNLq+r/b/TkKHsbuyy+/wCLtF/cGl2ThYDLjMlqIZUs0ihVSJQLagl2YnpcVayyuSKesQiBgR7quRrZWklxTcq5LCaLjXgypVgvdptFcTYOj5LqOSxK0Xwhr5gbMoSUwVEuUyFbTKqUhTx3JE9/bGaK6H5UsVSEAyOVMvk+ke9NqTzojQZOnZ7lcO+Q9e0t9TzqNqV+YFM1FEnN3PrkIdfefIVnjx7j8gToC/pVtUmGw/HDmPr5bKL2q1VUokeeT0arAafZpjb7YuOQ4fTK4rJ6FsqzRDgz8gxxuZy4XLJ0rWK3OhTfRWpjAtQUHolUeAYHhoiEQ5hNZlaXNxV75vyFs8wvztPb10e93lQq2rHRUcV9EFWwaD1lgCRQ2IHBAWWjOdzfV6nPcqlI7CiO3+diempK2VSOTU+q72VJFs0cn2ZtaV1t5E/MyuucUfwJGU4cOz7C0XqcwsIWDVMHaYB2DF0yCUkhGliIaUQ8Db75S36iiRYdQ5Na00wwYKSYr3OQqHF2LkCPu8N7/8c2qTZcGwuoWshRIkdLFpR6PY+OanTX/jW0MiQkNe4M0qZJS+tF39lB3/RiMNdptkVsqNHa/BBjeAaTs59OWYC3bTreMLqWnrbWRZdZQPMMUM2k1NKhW03ScI+rpXDXZKUt1oZGG02TSmwXvdVM2+BDKyXQzBZVwWjlNtGcIUzOAeoZWQ5IDT+LqX5Ix3+MdqUKRie6ygZGWYKK2lzGcwYzBotOJaUNJqlotNDaVgw2Pe36ETgm1Pm8KdaC27873RX40erzLOeu9bH86Ih6o85XvvIKjxZ2SWwXFCytXJW+Up2hsBtXT5ejgyKDIwG8ARPxaAaT0U2tI4q8tor7CaWzlCgzOuEkul9TpFLp1OXLLWUTGJ/yE4uWKJf1XLho49nzFEOjXrp1iGcKXHllgI9+fMDgkBeDqaGmjD0uJ5VajWhGzye3YvyT3x7n+t0Cf/e7VS4e6xLR10mVrWimonoQfLDU4rs/H6Df0iRmgnHNzI31Cu/va+icGmZNRyFdp9Hp4A4bqeUbNDsw1uvjL35yQL4D70bgC7/yGl/+na/Tdnlpbichv00msYexJDEhI6b+C+i9/eRXH2Bt3qfufEsdaLTyPF3veTrtLLVsFpv45JsVLLYw2dhDvMNBzE0DTbNfTSg72RqrjxfYLxxw//YjLr/6ijqInLxwnu2N58o/n07WeOPNV+jUy0qjcu/mbQb/S7f5lXPTTF94T/WvLCEPlegRhd1VDFY3lcI+Vs8YzWoCm1MASwbyWzfwnP46FkuS5n6akt2NvVqk3MkoyrHR3UdXoFOdIv2zb6LJRKqjcfTsKWuLt+na/Oqws78tUMeW6rCHIgM4TfBnf3mdy6+f5otf/gx7z27iHppF3wGzf5TMxgLhEyd5fOMD/sZvfcAvvDtOu5Zk76DEg4My/+l33+bS3/4fqG0cYGqsU+8Y6OCnm9+kYcmjq9iw9s5SrSagmMTss1IsG/EadUqpcXi4zd7OAU/vXefSq59hMxllZ22VszPH8PT2ktg9YuLYLPc+/pBSbI/P/vqvqodr/2Afbk/vy6ijd5B2LU2nniOx/hxfeBrH2EWSD/4Mk8lNqVbDOXyBbknI5G5qlQLtxgoW/xX0BgcHC9/BPXIFa7OMY/QEmaU7mExZrH1nMNq8VJJZ7KI8OVzn2cPHlGtdSuWcAvWIUmh8dJx6S6dSNUadi3q1yPMXD/jab/4D1lafKgWX3d5Po5yj1qhhkrheIc6X3vuyAo1FxofxH3sNyttUs9Bupcgc7aPTNbB5ZzC0GjSbeezh05Tii2D20ko8wdz/Klq3gtbJ0y5Ao7KNZvOhCeCltKaSLib/KarlTVr1Eo7IZcVGqMdXaGz8DO+p36Bj01FJL1CvGzFpXbSKQF1s9Gg5NXDQReZw9IQgEKG6cpN6fI3rP1nm8aPn3HlUVX7krazwueHv//wY9WSFyGyQ+a007XhWxe97fS5c7SyHXROtQp2SZma33KXR7jLutxE7TGA2wqWQhZ+f1LDQwWIw8mS9xtBYDzt7hxRMdtrlCv0BB5vpKlNBM2cGdbiVR7zDT3fNNCstvrFRYumoRrljo2mvM2wzMOb2YdeX0FrylO7Q47OpTv03bx8wM+qhIV3bBoyHHOQrbT5cbWC2dJm2tfn5y07mRsxkE2163Q2uP8hy/oKfi2en+dY3n+Cwa8oD7HUYsVs6bEVr9PismG0aGxsFenrMvPeFY/zRH8yrzt/ItEcpgCydBgaHlUSsTrVe59KlIa7f3KOSKREe8NGo1fm5K/38vzez/MHtDO/OejjYrtAyGnHajcRSGUUbPnfhvIoYSzd7J5agUsyryX40cYhJp1eXBNlUHCWOGBkcVtFz6Ry73A6lYCoWc4QHBtQASgjuEg0eHgrh9fiVTkg2eLJBFSXen33nz/nCF9/jKBlXBw0hiwvMyOV1K8JzvVQnkUwqFVwykybU26c889KD3NlYZ/b0GVbWVvC6Auzvb2B3eKDVZXBsgFt37zM5OkGjUeTa69e4d/+hsq2I/ih1GGdkUrZnKaU1kkuQHOxkWCB9dRl+JGJJDGYzh0dRzp47pfRnd+7dVxo2YdsEe/0cHRypTVVLVHO722ojlxMQm2ZQFxU5HOUyOVxuu2IGCBCrJ9jDrZt3VO81kc5gMnQVb2VqelpF96vVKq9efoWf/ewjzl+8ROxgX21zrl27xvLigqoPvP7W23zys+sKetjb78dstCsqvkRA5XAtyrLn8wtKqSZ9X6HNS/f0KJWg02gzOjzIwUEMi9WiNjmHqaSKOA/2h9X/zu/10hcOqQiwbH6FVu10uLhx4wZOt5u33rzC5to2JqcFrdPF7/Vx8/Zd1euVDrYMSYTkLro1YRF4nDbS6Zw67FjNcsk2U2s1VATWoDNgMZqk9qiUWHLQNxl0uN1BdbGTDZlwJWSIIvA4oU8L3E8i0A67GbfDrQZI8r4I1E7glRKdlW6r9KZF2SuAufPnziug3MF+lL39XQU3lK3nw4f3FFxLtGvDI4M8uPcIndGiLmnLy/OU5Dtep1fbXamtzJ08wdLSoqqCSQc+FothNBgZHhsnur+DXmdkINLP4ECEZ8/mFdPitWtX+fH7H2IwwPDwuDpYSpx+/ukSFy6dU5DJB/fu8/bbr1Oq1BWwsVysKLaE1Ex6PEGeL8zz5huv8/TZAwxGuzogSq3j1SvnqFbrFEpldbHroinStsvnYW19Q3V0XU4rLqdbQdZ6Az3cvXsXm81JeFCgW4cMjYyTSSfJpXMEensV7Kzd0VheWuX0uZMcHBwokPPps2dYWV5SyQ3Z6MkW/uHdh0xMjaiNqAwz5IK6s7NNOBxRl6RMNq+SKXK5spiMlGoF9TsxPjaJWWdidX2FobFxBcUVTV2lXEeTnoSm0Wg0lLmjrz+gdJvynpdLBT73+fdYWVwhHk+rKomA4eTCWiqX1M9ss1vVeyCwSVGJSixZLss/vX6DY5OTaLRVf1uo9VKTkOeJbDX3drbVltzn9qjN5517D+mPDDA9Por+vx7Kt7a2lZJU4J1i6hk/PsT80xc8ebTC9Lif3khYQVFz6QJ+kwXT5eNMToyw/GyNw2QCv99DsfxyYCn2JLn0y3tbr9RVSsdutrK0vsLI8AS9vV4F6NvaXFdaO7PezNbOHjMzx9QG2Wowqv/8+YsXanA5NDREJplmbWNTJYskvWMymhmbGObZk+eqzy1pXNmiSi0onc6wH4uqdG8g4OPwIEG+mOO9z3+aT27e5iiW4Mprl7GZjKpiIxfYvYMYHrdDJWz6Q/3s7++zvx+lUi5j1JuUTjOXz/DG25/iyeNH6pIfCvfx/NmyMsSIqlKehS6vg6XFZaVwFcjx1auvcevWbTVclEuw1DZ293YZjozQ1prU2zXseqt6bpkECuo0s35/BaPQ6T0O9DYThcO8GnIMToe4c/Oxuug6rML8MJEpFMiV69hCASLTQ9icNtZEyVmp8dnPvaPgiDc//pj+oJgfTqmK0+LzeUZGB1WKTa/XkxMOwtgwR9FDlSwTqr4Mn0WbKOkTSa20OgJUTONxOVUvX4YLMtSS/95iMpMppBXU8uqVy/zJd76jnpNf/oUv8p++9W2lPz17+gR/+B+/rSp2p8/MqAFlIplmY21DGSkkXSTVRDGZNJtS0XZTyBYVv0CsGfV6R7neBTqbSWZxuuxYTWYOonGVEBgdHcVk1vH+jz7k9JlTGEwmUqmkYoc47FbFYBDriy8QJBWPq3qRpJVEHylJQKmcid1Ffi7RPwqLZ3hkgE9/+tP88R//J/W+SdrvKJmgmi+r4aHQ7EWpmRd1YizGYGRYAVuXF1aYmT2Gw2VVA0wZUMuA8sK5k8RTaTKpPN6gk9j8Np2DHCOzYZXakb9vPFlkatTPw508n5m28Dtv2/mX3y3w2hk9wV4LH98scPaE5yUssGZiPKTjn3zUZCNeoFaoc3EuhN2sZ2U3TU02R12Nh0+/QbOgp9Io007vovP2YiwmySXmsQ9cQy6nWjlLy+EC6wim8h6NVhWtngCDF70tRHP3A0wTn6W5fweDc4i2M4Q5v0a35wxNnYHm+p9gjlzB0DBTyS1hCszRqSbR1Rvo3BO0q+u0GmX05i4GzxW65Ri6dplWOUrTHsTqGoHkCk1ZMrrHFMNLk+VdK0MrsQyNMsahz9AlT3P/Ht2eWcwDU3QPt2k0ZDjbwWjpQ99t06430L77631dj0ejVNGIH+W59s4Qi09iwrlV8KNyoYrLY2Nr+5ATc2FWFrL4AiY6WpNW20KlWFRaCp25QyVfJRIJEh618+TeAc2W+EMNFDJVLlweJp3JkIyBJl1al18dSI6ibQbDVtKJCrlinWvvjLK5EkenM5POFzh9tpfN5ezLrkkloyInlZqZXLLOe2/2om+ZGPrtp3zhFRe9LSNrlQ42U5tsucJ+scXvXhrkfLDOd59neX3KScRl4+ONFEmtxUK1l0YjhbfcZSEG71zpV/31O+tJMHbosRnYOmqyH6sz7dHx939lmHe//hs4wvIFaMJQblNO7WIUgnI6hU8OMrllmrY+TOM/h7Z7Q+mObJMX0AnsrdqmbbLQaFQwt1vYrKPkS4sEhl5FE2VDfQHT7C/Q2Drizu3v0x8c4u7DD+hxTjB0WrqHa6w8eUgsnuOtz36WhceLjM1OU8oWONraYPjkJCGnWSlsTr/+ZUxBK9WDDTRdlZppmM7mQ9KHMYKXP0/pYA2KWVpOC8amAZe5SdvaS1t4Blqbbr2M3ugAkxOjt4ed+3/O0Ol3FQm6ld/FEhohuZ1ic/UB3Y6ecrlLIpPCYeuoB54QTn/5q7/F7uL36AnPYfJ4qVU81FMPCV97i2//3v/D//SNVcI+K9u7Bb7xL77On3//fWb8Lf7hv/63JO/ewGhCTTlddhPVrgO9KDD0DjRjlVZ+H2vPAGg2TJY+MrFltrdW2NsSDWUQvaFNxy5cCFh9/ICRsSGlI2o2C/h8/YzOnsLZ26t0I1ZdnVKhgcHURPMOolWrtI6ek8g2CfSP08ksootMorOeopVfoVPdxOw6rpQjxeShep26jbLaTDSqCfTVPfqu/V/omlEK8Xs4gnO0WzoWb/01+WRU6UOevbhNNm2m129TztdWI8v0mSuUUlKHCKqqTSNXIVHMMxgO88GP3qfbNePRVQn0DXLlrUtsPnmK02tk7r2/i664j947TFdnprXznLLRjElnoJF4TEs3hL6VwjnzNylkohiOPqDrnwFTP83UAhaXRDo1NJ2OUjqK2eujk9nD1HOC6tEKxm4e+/CbdKxOios/wjhynkpim05imYFLv0w5vU157TG5qo6BkWGS5QK+yABa04qjN0LN66ObWMfqEb94Pzf/5Jt8/ME9VvY77B1VyBfA1mNkbtSuqOblRpvsfo2rZ+1U802ebqQYHnYR9ju5v5HHY6uxmjKTqevZTTU5PdDCpjPhp8z/+KoVTdalVgtDdgO72TKluoX1wwKbuRZ9biNzYTMUazgCNoImHWGPnseHeXa2ujxpWHl/vURF0xPv6pjwd1WdYNjY5Y2pHm6upKh1WqwlKrQ1C8N9fh7uHXJlyEqTNoVcg56And1kg3zNzkE1w1eO+fnctMaVGT2ZokVB8dZ2KugcNqaPBVldirG+VuDVyxGmJt381V/v0R+2cmzGy8ZmlsRRl/4BHRPjvfznby5x4ZUeqnIA73Py+KEMbNtMHetVjIrpqUE+/GBbQZiMZifTs26iO0nGhnsYcjeZT+n58r9O8eWrLobdNvZLmrowPXm8x8ixCG6nl1SuxNjIALWabK6D2JxWtrcOMJqNmAUyl8woyrbH62R+YZX+/iCXL72i4rtCW7/8+mWuf/SxitAemzhGoZTn/t1HDA1EaHSFom+kPxRRPWOp5ByfGmUvGmVj/YDXX7/E1k6M3Z0tLpw/q6j5x6fGKZSrKqpOu/tyot7VqQ2hbPDkIiQQtMHIEG6vl6fPHzB3fE5tMNbW1kmm5HcoiKfHx/raBr2hCMnDKKOT42Qlrm15SRzO5qXbXcDrEyJ6kfFxidzHGJQByFFCuZ7ffvNNbosiNRBQBOBKOa82sFq7hUf6rqk4NouNoFwOj444ceI4uVyBF88XOX/6FDqTjkcPHqnuczyR4dWrl9RlRKBWs7PH1PZ1c31dDUxCfT0KvieD3h5JPpisPHj0WMXORWUm21iB7B0c7NBotlU9QC61AlHc3xdorl452z/z7qdUr1s61eLgFhaB3xNQsEfZJsl21et1sLyypvrAzUabF8/n+dwX3mN1eYFmE4KBAMGgn4W1VXX5tNvtTE+Nc/1nH6sNWL5SUB5nefbfu/WUcxcmFegzkSgwMjJAJiPEd73ajCfjaUW71mltBQcTXZYcKP1uL11jl9hhmla5ooYNmAwcn5lVaRJhGMjFRi8Xoa11RbuWusrK6jqRYUk/7avPliwaZIMn2/NCqaKgesVcjmg6SSjQw0AkomLjMiwdGR4lerCr3l+/P0DA6yKezKPTWqqaIMOJbL6oXhfRnS0vb5FMJRgfHVPxeiHriwIsnnppiJkYn1CQOLn4ik2hUquSOjzC6Q+o6kZ/wKcAgQJKXFhcIugNKD2kRF5lay0Qxk+98TarG4skEhlFANfabRw2l6olSSdYtuvyWgSCXvKpHLGDI65cu8r777/PYHiIriZZLk0lR8Te4xJgrpDc2x01GBD9n9fnIxQOEt2LMr+4rC4xshhwuqzqtZHXTra7fb0BSoWyutwIgHN3J8rJuePcuH1HxbJlezs0HFYLHoHszR4/zvb+Hn09PSRzKXrcPeqzbbaJRrTByVOzanMuCZ0WTXUZffutN7h37w6pZI6Z48dY29ihr09+l9IqlWI0SLRclI9TCvYXGRxQwEVhixSrZdq1Dg6nnVK1pt7nmZMzyuZwV4aAE+PMzR3n/v0HanM3PDhEb08Pi8tLuDw+nj57yoWz59RWV7Z4a2trCiDX1Umk2qqSW3IJvvGze0qh9ytf+1W+8e//UGkTpVq0vLGpotDyvW6xWGnJm9zUMEvlpNPGdPoYsWQMo9HCcDjE6vomAX9QsQDEx+60O6nXG2qoFdvbJ18pMTd7jDt3HxMOBdWgdHl9g2Q8roaES4sLfPrT7/LR9etK7elwSsKkX9VwPB4HEyMTPHzwmEwmQTg8oMwmclEXlpMkU06dOvGSlVAsEOnvU4mkzbVdRkblUmZVzxthp9jMVtweNxaHg73NPVWH2Ts4UFWgU2ePUSpXFaQwn05z5twZVcOSz5BoJeXzODN3XD1L5Xdge2eP/ojoH1MKJvvs6QJDowMSFuLU2ZM8efSU+YUlrr3+Jgfbu3TNkDhKMjQYweiwMD0yxJMnS5RqZWZOTFNN57nxF7eY9HsZmh1l8cUykdFhthY2sNk1XP4AbYOmWAPbj9Yo1psMXpwhcmKQ5EGKg4MoYyND6rna6/crgKywLibHpxSY7sWLZ5y/cFGxZeR7QOLzxXKZh3cfc+3N13lw7w61akcxCnr6g2p4I9UQuWzL4E64DTJ0EiCt8BQ+uv4xF8+fx2jRkctXuXf7AWPjAxw/PsPi4gI+4eC43dy5cUulYITu/2/+1X/k9TcvEduP09MrCQszz54/4+SJM2RzedKpI06cPKnqNqlEUtWbRGso760oe6UqYXe8BC9KksSoGXn16hXef//HTEyPKZhoLptna29HwRuFoyLfGbK4lKGZfL/cv3uPcxfOKECoaBqNagjWwmgSNXCbgUiI+RdLqvZkMtsolgpqcCAQT3m9pMaWODxUw0TRaI+Nj5DNpJT9JZ44JNAnCnRNDc07Oh1er1tdxBeez9MT7FUq3rHpQaqxJInHy/SEXBzmmrjtRnp6vQS8Zr5/Y5uQxci3/raV1Z0uO/kG754e4tnWNrqmjSfbGdwWeHPOxe/ebFDLa8yOuGjKs6dQwWJ28ef3Y1wLm/mrR79PK64nvr+JLzhIu5WkntpD16nRMbvQ6TroLGG69SQtuxej5gNLCIO9Sn3jEV2HF1OrRcM6glZZx0iXjslLV8B+Ji/GVptW8hEET6EZgmjJD6lpQUw9fXQreZH70O4YVL22lZtH7xhEJ6DGUoyOcRhNy9I1OgE77ewSOrOFpvC1/OcwiJGtGMdQitKQBLHFg6ljpGl2KxVhq7yO3nsSo2WMduoB1XIMm38a7Y+/Eug2aw1OXO7ne99Z4fyFMDajRqPV4sGDFKdPi27Hz0/+eotAv4NaNU+oZ0AB2QxmjVy+QzZd4PS5EAe7FaWwqMmBwevmzIUetnezrK/Fadf0GM3iz3VRLtUJhV0c7JXIF1N0um5eudrL/kaaockB7ny8gc6gR4pFQaeF8HiAeTmgToYp5VLsR6sM9DvUpuXcjJ1/9I0Me5UiQwL/0HWJxRsclvRcnPBw/UmMH/7DHhq5Bt993mbEIR0ZG7p0nbzTyf9+I42/z0vApLG6EudTlwfQt5sc5JpYnG71RV5opum0fLz/OI0VK7842+Af/2+/TOjijFJt4A1TW32oBijVpQc4hq/inrxI5egptt4BKsU4+koWnfmlbg5XCHcgRGb7KfX0IfbIKM2ahiUwSKNSR29vEhg6TX7+h8TKSZI7ZfZXnjEye0ZNnQ0eO/N35c/Lcu3dy/zFt77Hr339N3n0dJ5mNoOr105bM2DtGDh27hjTl74o+VHapiadcofs3kO6lSYdpxuzQFJcAzQqR9SbGjaXj0Y7i14uh7UKukYFzTuGlpUvUHlLvIpQ2e1KRNeC1uygBcfolg+pHO6qbWBT5yZzuEKrrBGau0S11qaaF2CGX6mXHJEJ/uM/+8f8i+9tc/6kny+8fYHHL7b51nfm+b2/f5zP/b3/nuLzW2g2L7VGDmPXgbFvUB1MzXYfLTUV66A32cln93n+8L5Shzg9drptO81ygWanoL7EwkP9IDHks59Gp+/QaulodprojXZqpRzdShmDlsDoG6eQzNERb3JwnHbmDp3WADr/FLpqAqO+Rbt8iC58Bi17SPXoBQbXKPX8Do7QCYSmZHJrGC3DFHfvkYgXKVcPOdg8IF9r0yg2iQvJs93lC7/+RR5ev0+6kOeVq5fo1Jq0Gk3Co2EWny+yuLyIsdVVPR05OE9Oj3Pp3FmM5hrh0QvgFvZEnuj2Bn0BG2Wri/JuDN/UKdY++Db6aoy+uSvoPFPoSgkaDYkBVOkKvKRjw6hvorl7qSeXcDr7qLQNmAx22tUDWsUEluBZzG4z5VoCY91GLrWCzTeliOGt2AOswbO0XYO0ju5TzMsh4IiRN38NU/QBHX0b/bE3MRpqUEmqrWt2dZ3vfucHLG7naRR7uPt8E80mMFEbx0a9hF0GBrxwY7XF5to+V69M8dGjdfx2Fy19jc+fHOL7T/Zotg20unpu7eVwGyz84pyekEPP16bNast/UGxS61qxGMTKZOIHm2kSCTg5psNntnAmoqddatDb5yBVafFwqUCiauWFuLlrJj7erdDn8nDcq6dZyYszkdGgUFo7PNkvErRrNPRmeg2QK7cpdcq8cXyYu4v7JBt6zE0dTb2BfUlB1SqEXHr++Zd8vHvSwbffP8Lg9BItNei0K7x7LsyT1TjlWpF21cHknI9OXdIXDqrVEqVSnVq1hS9oJZ9qE/DalEXlm3/0glOnQ2TTRdo1jcFJL+vzKd757ATXf7JCKOIgl2oSGnRis3VVTeLG3R3cbgc9XhvnxuCzvy/Rbg+5VIpMWePsVJBGs8PmYYmLZ09QKHdUbEwc5kaj/H+08Hj8mGULJZ3UTkeR9WuVMl2dEYtd4K6PCYdHGJ8Y5enzp5ycOYbXHyCdyipgkuSCR0YncFgsarMjmiA5jEoXVbZ942Mj/PSnN3n73TdZXFxSrAOT2ahgNSZhenidPH0mqhy78rGLA1sAeqfnZlQ/dWdjk2AopCLp0ju0Oxy0u9LnPeTSxbPsH+wrgFhff1D1sKMHB2rjNhAZYGd7g939Q/p6+5XveWJsjJ3dbVLxDFevvsoPPnhf/d31BgO9wV5MRgO1ekP1+yfHapGXdwAAIABJREFUR2k2m2qD5LDYlYZJ4p8jI6MqBtms1bG57GrT3mo0FEBpYnJKxcej8TT5RIrwQFgd1ESLKIdlk8mI0+lRWi6pQkh8tN6qqU311OQ4Nz++QzjSh83uILq/TzjUr9RpsrF3ecU5rOfxk6e8997PKX+0DFFki+frCWKx2Xjx4jkGzahsCrJxEee0vNbjYxMUiyU19Dg2PaMo1rIJlbi90KhF8yZDg73dA3YPdvjc5z7H8vyKUuTli3kOtvbo8XswCByWBqVCnkpDo91sKyiY9Nrr1Yb6s1w2G9VmS5kZjuJJ0umsomt3uxotUU12UVUKvcVBpD+iLldiy5Fh1I9//KHSVu6srytmzv0HD1T0+J133+X9H/41s6fmKGSKql4yNjnKUDiifl6X3UsiHVcbT1EV1itNFX2dnJ4gU8gTj8a49vqr3Lh+UznInzydZ3J8TIHRxFkvh9h0Isv0iSmlmhJOQjZfUodWvXRKvT6lwXrxfIFXr7xCJp/h+Mxxbsn7FQ4wOzvH9v4uDquT+/ceqkqKcBF6AkFlEhCKvMSH+/p6mJud48XSslp4TI2Pqgv5vUdPcTit9Id6VT9cBhEXL53nh3/9Ey5dPK8G3Hfu3lfMBDG2hHv7aOvaxOJJtVGU9I6ARWV7K4MqSa4IDVwua/fv3FVKWKH5h0K9BHoDygcej2fU+33x0jmMek11w/d2t5W2rFVvqAuk9J/VRtphVxWnQi5PqNevPlfiQZdhh14n4LBNVQdK5yTancKl4tRd5VIfHB5Rww+XXRzdZnqCUgGocefuXc6cOaMGjgLAdHt87OxsKaBjtVJXCRy55AroTRIgubQYl3QYRZHpsCo6ezqTwOPuUdFlGZp5PXZFHT937gId8X2Xy4poLmmRw2hUWTD8gQADQ308uvecqRPH1JJLYtSRUB8fXb+hEiQ+t4t0pQitNtvLzxWkrqPSIiWi8SResx7P6UmKnTqRyBAJ2V7brPSFgipx0WppCliqNre1BqFQkEEZZO3tq4vc3t4eb7z1mkpvvP+jHzM6OMzg2LAyj4gRIC/PZ5OmoJjlSlElSSSpU/gvv4u/8Ru/xp/95++pz67Esh1Ot2JoyJk5Ho+j05sol3KcPHNCued/8sOfqFqL1K5ksCq97JdGkZSKK8tl9caNT/jSl75INh0nlc6pP7OvL6QSPalMXAH+wv0RBdErV6uUChUCQR+rK2tqICqMDaeAEAs5Tp04xfOFBU7OzbKyvka1UuRzn/sCT58+ptmQgdgRE5NDarCp63bYT8Q4d/YM979/g4OlA4YCHtz9QQU+tBgNVIslio0Op87PcLh7SL1cp1LtYunRExwdpO0w4evtQd8WU3dVwUOF5t5ptah3JCGoU1H6UrmitvZy4d7a3pTjC+gMCsy5uLCgYJ1yN5HP1ejIAOgN3P3kDs12R8FKdzY3iQz3Y3M41GdReu+vX72qEghicJken1aJPXmNG9Um3qBXDecOYnFeu3JRaU/zeUnt9ZNMJ6gWawpEKv/sG2+/rgZwqXRa8RlEzSvP5pL6vrMr48Pm5hZf/eovsrcfZWNtXf1uC49FOA/DIy9rQMIZUWyXnd2XBptcDpMsjoRFFRZAXJtgT1DVSmS4+2J5mdHhAdaWNtCbDPT1BtnZP8DpsDA8MszKypoa5DrtbvV9qxkMCvgqZyCdvquAgtlCXn1n22RoVxZNotSrRpXucnpiTFkFhH3j9fZgNVpZ2VhSyt5wbw9avcnhrRX6J/yk0nm8DtGjSt0wj8VuV8uQf/q6mbfPBdhLV1hdLTJ7uofUYZ3dZIZf/swJfvTRNr/zQYGQV4dH1yHX7uK325nt9/B/f7LHb47q+bcP/5Dy8paqQlgMPrp2P7pWk0ZpF6tE6fUGWqldDH1TkFjG4B9TfX/RWGsun6rRatUDOpoRgzVMpdXBoK8iGdR2boO2vou566etz4PRhSZg7ybo3SNgqGM09UI9oap2UhXqNrO0HYPoM6vgOQHlLZqZ55j736bTqqgKtL5Zp1mNYfKdolVJKM1kt5ZE7xlTIMjG0p9h6r9KxzsDlVXa+TQGp0elByThrP3st0NdicotPYly7FSQVLKsHLgOv4V6M0/qoEOm2MBpM5EvNugLWtB3DaTzKcbGwiQzOcyaWVFlnz/P8NqbAywvxHA6LfRHnGxtiUImQDpT5Sheo9EU5USbVFyo/lXV1ThKlXj3vWHWFrPYFBW1Q3/ERaDXTmynoiLaJhvEYzXOzAwoiEc8V2QyYuHiZIhnyQqf//0Y16ZhMwNfnfSQ07dZ2+2ylq/x9piOf/MlL7efFCjYHQw4IJ/p4O9tsRnr8qfPa4yMefiDB1WGzBX6nEa+/IqHpc2KuoSVqzrmZp0s7+axe3R898Ms1UoLg0mPW6/xta+M83f+wd/DODJBW9tBd9iguHKX0t4BpmNvYpPLZjuDUeKJLQ09TbK5uIra2frOU9x7SDk1j8F3Gqe+iFbdoWObQz99FW+7Rcs2SPrFHxPbeEamZiEcGGU9uoYrKNTYu8rfLZrGb/yrv+Trv/U3SJbL7C/tqcnvX/35Tfy9ZqZGA4yODXD63M9h7+2nKRjEbEJ1n1pdMDsHMGglcokonvBJGoUtyuU9fK5BYTdid/eT2L+F3TGAZgvTadXoNo+w6EyqV6eZHKpLU81uKB2dyT1EIrGF3eii1ZWDfJd2MYYlMoOjv5+/9fYvUjR7GB+xMRZw8dGdDHfWY/y7f/JF3v36/0Li9rfo2N0Ym3Y6WkJ5Nw+WHlLT6Tg+PsPWUZbk4RFHu5vUOh1GhsaVnzybzaI3dJiZm8IXOYZJD6VGg3bXTr2QUuRon0VIv4founUsToHfVDD2XqHTOkQr7mBxjBE92iQSipDefoS97zxGp5fE0o9wRS4rrkNd6+DQp9CadUq1krJgaFYve6kc8zducrD9EK1lxeK3K4VSMHyMxad3MBvN1KpV0DuhnVed27HxWd7/8fexmjxcunyKVlkgJW36hkcJDoSwGjzUsGO2lcgf1qnuX8cXmqKqd6E1jZh6QlTS0pmy0UwfgNVEZmeeyKnPUOtYaabu0zN0mXRqF3IHWIZOoh3FqBgd2KxuqGxjtDpotnrQrC2K0Sc4J96mmd5XNo6uEbqFuoqRmwdPo1X21L/PJzZwzh7H2zOMrreHdiYBmSzrD+9x/eEBn9xb52fLeSI6eOdqmB/ciGL06vni+TCRkV62l7bYT3cw2hw0q1k2YlV+8aq4Sgv8aKHBcE+Hh0cV+nUOYkLB79b5nVeshFrw1ule6sUKsVqdYMDNraUU6aMmiUqDqTEnxWwbva7JXMjFWL9R6TYfHlSYzzYpFJrU7Hbu73fx9Rs4XC1jtGtKzXklaKFUa7Lf0HExZGRlv4rBaCJW0ykDRY/VTLnV5WSfjcN0i74+PStHbR7tlSlUW7w+5WDGZuAr1wJMm5oY/Ub+53+3TsMD74yF2YynmRjw82QlQ9DVYW6mh1Sii8nUZGs7j8tjwuuTi1KLxFEDs9PIyLCdXLGoYC89Do2F5SyCYD53OszqapSjfYGs+lUvsFSso0kWQTNTzpbUwaarb9BtW6jWmrxy1s7/+pcN/vhOmjeOGyhVHEyGjWwflni6kuXtq9MMjk9z4/otjs8dw20XqnlKxciFLhwIBhW8Kx1P8ql33mJ3d5dSocjM8Rk++NlPVfQ54PczOTHKixfz5EsVdfG9cPGSisZKH1C6kZ2ugboCAZoolcqqQyrwr3I5TzaZ48TZEzx48JDI0KAaNAQDAqwbwOVzc+fuA1KJBFannVNzc+wfSGf+pfZLIrr+QI+qikk8XDbbyXRckcoN6OS8xtiU6MdKRPdiij4uvTmPy6UGB0K4FtbB0OiY6r2WC0VlihgaHFIR8If37yqnuRwct7ai6gKLXsNqNODvFVjqGidPnFCXGWFe0JVcSBuDwUIhK51DjVj8SG1XpeIgnVraHTL5rLIfCLBuZu4Em1vrmHQ6RsaHWXixqtzm6xtr9Ide6tW2NzdwOF1YDGbVIReI4djEkEpCxPZidHUGioU8IyOiBrSog5kYaM69coZMPK04ADs7RzTbZT715lsvY6CdDqsrkugI09fnZ3V1R9UipLctG9UDeb3aHS69cpG96AGJbJpXLwlNfFltL1v1Gha7lXg8oTqockmQOLpabXRlRqFTOkJ5DyR1kM5l6XS7avjR3xtQEdS9WIx4LKVYEFI50fRdjEaHUizmczV12Z6eO64O4TJEEaCYdNAtZoeqqclZQS418XiSaPQIr1/ikU3FTwj196lefuIoxeHhgaqcyGVYtsBDI0PEo2ly2SThwTCBgJdOW6fqA3IeKZVrShU5NT2pnOnr66u8/fa7pA/jHMZjhMIRFd2X2LpcHoNBH3a7iw9++mNOzp5UzAnppz96Ns+lC2d48XwJd8CFx+6gr7eX9Y0NBbrs8XnYP4hTb9fR64TtpePMyRP89OOPGB+fpsfvZHvnQPXsvT4P6VyBbDpNfzistv5S37xw/gw3bnysNrEXXjlP9OCIfCHLudNnmF9eVL9vclHLZ6Tv3FEJHW/Ay6Xz51WaQgwaTqeNxeVVtZkUh7mwM2QjHOoNqg3qpz/9GeYXXqjutnwOHDaxHHQwWk2qEpJOpGl1WywurDM2EqHZbpJIZtT3n0T0hWFREnWcDGc2t5Th4bhcVlZXsFidGLSuAnlK2iiTy1LOlzh34SwrK0vqNRFq+ML8CgORPrKF4sukRTLFq5dfVRAzqWUIb0T6z9u7u2xs7ygAnd1ip9FuKf5Ds9Xm8dNHKpI+e2KW/e0dovsva0sen1t1kA/2D9XPKj9bqyNLonnFwzg4iCtug9UlKaAqT+4/w2zt4vP4VSphYmiAQixO2mPhM199jzs3n5CJZ/H3CfCyiN0qr4Ebf2+A9eU1RX2fnBylIlwWTU/A51FKRBkIjo0Ok4jHqZXqKrouz+BSUeqzRarlBmNTE2oQ+Zff+566KIb7ehk7NqjUpdOTxzCa9Pz0x9eVUcRqM+B2el5qPacn+esfvM/U1AQ+j4MHj0Rp2s/0sSmePH5IX38/o8NjPHj0gJHBEQ6Th6pCJNBE0T9KJUCWAp98/AnvvvsWmUxGVTbSmdR/BRxGifRFVPVJmtPy9xX7xvLyGrVGi6mxUTpai82NLV67dk1BMM1WPT3+AB10ikGztrRMaHoYp8nMw7+8h6MNoYgfT59X6VIlRqB1OrJIpm3WkY8mMXXM1Golcno9p79wiXqqqNg5naaR2P4+vWFJTzXVayUD4bnTx3jxbIH9nahidogiUyLxAhaVVIPYP+T7ST7bLrtDwSWFDyDvfyKdZG1pjc9/6fMkk2na3SbxwyMVlw/0+Njb2VOpLBnkSlw/GjtQm/FSqcbzZy8YHhohHPFSrlS5ePYyn9y9zicfP+f11y+oypJoKR1OL4VSliuXX2F+flkNyEVTK89/GRyePDGrKlbCWjHqX4IkpZ4r9QWhtUqcXmoWAhdVpg6fT23d5Vko9gqDxaSMSdFoTMFd5fIpTBV5LQRQK+mvyclxZZBptmvkJKXqdVOqVnDa7ays7uC0WDA5dLgcbgVQlQG6UWfhypUL3Lp3T9UFJV0jZ5BTZ+ZUdWBgIER/oJ/dg11VIxCArdMrjAIxXchzOk1D9IxV2L89j9VjU4OrpsB8rXpc1jariSrnIkZ+++pLfeCDxTQua1MpgqUOY/UEeXXMzKNoha/9aY3PTepIl7ukKxoOO5hrGndjZT74p7Nc/ke/R+rDH+IOBSgkCjR1GjZ9ibotgKG4h8E3R6dhotPZFDwuXSwKqu7uO049s0fL4sVMm4a+jl4/SLv4As0ygsku+jw77UKMrlEAuzq6moZmHYSj2yDWsuwedXsfBoMDXWkHU88ZZX7qyqK9W6ctKQSdB03XQshYukpZDaDbddAFxzGUjmjko3QcTvQdIy2LB31JknUlDN4wzWIKYydDR9eDydCg47lAK7eNdv23RrvBIQ9P7mwxNGKiUIByoUm6UOLihUmePFgjMhyiVstBR/o0RkVFDgTk4dhm4VkUf9BEKGJnZNKLVecgkykrPUv0oKy+FPYParx+LcQP3t/g3Ilx9M4y1VQDX9CMx+th8fkRVovACpqUCm1Fcha6+/BUkGq5xtO7GUbHRVGho92qKAKorqvj2dMYx/rtnDmm5+1/mWegz0qp2WHE3GDUa+bjTJtgR89Hm3V+/bTG//nFXu49j5NrGzk/GeTffn+Tz560M+Dz8s8fFDmgxn5Spw72p/vsrKYr/NKrvWrC/cmLQ66cm6KcTZMtZymWLOTqOmxalc1sS5SKhJwOfvOXBvji3/wVfGen4eghhx/dwj7yKpVmgfJOCt9gLzqrRkdzYBBXbddEJf4Uo70f8rtq244ByEUxuyLU8svU9RF6jr1KpVjBXtrjMBGnlFgkXW5y+/pTvvSrX+a7f/EJYa+buTPTikS7ufqc/mAfsWRKxSMf357n2PQUG1tPqNUN/Oqv/Tw9kV4sFh8do4PE4i2s0qOs1dEbbdAx4TBr1K0OGgdP0QcmMbknqMcXMXSidGwRugY/BiqUckfqsOTtHaJFhcaRdOMNWEZeo5FdplkHm7ePZqmCvdeJ1dfHW+/8LUJ9Qfa3j/jVL7zCeirBwt1d/rtfPMGb/+3fIfXkNianAymjWx1T7G3eo3y0gWYK0BMZpG600sro0IxZcocHhPrnqDYK+F0WXJPH0dmGKcXm1dmzXsmpy74udAbt4CmasUjdOonOINM9sBpbZHfu4Rg4RbdtQist4xh8jbrJQe7BH+EcOInZ5KBt9uIJjZNY+iv03h70rS6xZJtULKqm2k+fPyYTL/L2O59lfG6UdbmMOAUYBofROM1aGUdPhAd3n7O9tcznPvsWhWKXbqmOyxZnYvoimtamd/wYuv4xGgcbmKxC/Gyhc1ioVPNoNR2F5FPcY1eoJlLoAh6sWpOcXIICo+hLGxhG36RZK5JfuYFj4CLUqzSLe2h9x7Gg0S3tkV2/i3f6GuWul2b+Pt34Nq6Jd1Xyp5u9g33ml9BVdFTLR5haOeWQlo6xzTOK3g220Ah6mxUyT9m7v8L/9x9+wJ/fqDIVMfLJVhObSceVKSuFUptMoc6V84MEnV7uLq9yEK9ybNTC7Mggy/s7dAsaY4Mu/vB+krkhDz67jQ9Wspx26vnUcSueto5XJqoMOvw8Xsky4TNQN9XJVozcfJ4hgYE+p4U3xq3k620FtvFYNAaseuw+Bx9H4YfLZY7KNT7ek7ioHq/biqFWwGUzYdVp9Joh3ZK4v4GBfjcfPoyqWoLXYMauN1LTckx4AipyZ/HaWd2tcOugC7Q50WfkTLDNa0M6hoM20tEMZTSKNQ2900itKRebAqcmhNTfxeSz0ig3sXc0/D6TUpdm0k0Gwi4quZa0WsjnWowPOtiP5smURLFnJBmtEhmQZxx86tURNvejlEsmDqJJ+vvc2Gw6UsmXBOZ8/ohcWsf+QYlf+W9mWHgW42CnxBsn+vgPD1N8a6nFtUkrsaMG1W6TiREvh3sV5RT2Bfvx93hoSd+uVHmpgfM41RZydHyEUH+/gn/JYWBlZQuvU1zlFsKRYdaXl9EZNEZHJ/jJhx+qrrv09peXltUWTSjgGTmQyGeHtqoUFCsVhocG1MVscGCAhZVFgv5eBbGTA6akckL9w9y4foNBAUzl88i/zp09x/bOprqcuoXiromft8an3/001392g43NJd546x12N4UOX8Fqt9KvLrYbRKMJZk/Pkk3mqdfKzM4eJxaNKiWSDDqCoR4yiRxtQxuz3kipWMDj8rKzt6+2fxJrF66AJHc6XZ2iNsuBT1ZGOr302s2KxSCbFolkyjZdDoxySTs+O6kO2n/xl9/H6XCoaLzckOV1qlQaChQ3PjWhyO0CBpQ4ZD6Tfll5cPnUdigql8R6k8npUa7fuKku1MePTfJi4RmjIxO89uoVvv2n31WqsYDHRavdUhDGmdkp9fc7TKRUJHxyfIL5+QWKlQKXzl+kUC6o7aNoC/uCQeYXnvP2O59SWl8h1vv7AuSzCVXZkMuHDBmkx+9yWvC5baqqYbPY2diSXr6JfK5KT9BBs9lSHdh6U3qyHWaOjbC5GVWfBRkw26x6vD6HSp3IMMdstaqLtnRbq5UKwWAvRwl5hra5+uYb9EfC/PCHPyYS6lWQw+mpCeUsF0JyMBTEaXFwKPq2/gEGB8OKpC3aQqmIbKyvEwqHOHPqlEr4be9s0xMQQF9JkbzltRcmRb1ZYyASplQsqo2hvIZSCcgXSopx0WzKJd2otLv9fX2q4yrVjRMnT/AXf/ZdlZoZHo0oWvf6+iZmk458qaa60OK7lk746GBEqRHPXLqgeu21So3R0RGl55Plo2zxzAYzmtnE+MgoiaMj8qW8Ang1WnWq5To9PaJwLqvPWbUsqRyUSz2XTalBSdDfx9Onz7CaDVy8+AoH+y8VcTp9SxHVl5dXGJ8YUwMK2UA/evBQ9W+Fni8pE03Un52muuiGIwPs70ZVEkPqjZPj04qDIL32q69c5vHjp4rvMH3suFLU2QTANicX5kOi+zHGx0cV00Li3yPC+ajVyWcLVKtlBccUf72kBrrylzdoKhliMmqqoy4VAtGnyXslXWSjzkjscI+h0XH5hynk0lRrZVVlk4vO0aE8F4MMDg6TzkqnOEm10VZ08d4+UYPW1EDS6+mlrWtAs0un21LJFQEYykDMZrPz1luvc+/BPKVKRVUiZAi0vxvj7r37ePxuTv3/LL13kGzpeZ/39Omcc5jUk8PNOey9m+8GhF0QEBEWpAFKpEQWLZdF2WWbJVbJllSqsl10KLtES0WRsmxRoEhCAIjADdh8c547Oc/0zPR0zjla77f+C7VV2NmZDuec731/v+c5e46lhcfq3wt5fDR7bWVHqKbLaIN2hs8e59nTFQVxk4RUbHeX8bEx1hfXMLhsSnmWiB8yNTOjWCK9jk7BQyfnZpTKUDaCL7z4PHubu9SaNVXXkwGiQEw/ev8mL71yVbEqZCgxPT3BurAgDAZOnTxBMhFnbDT6BYshlVEWFyG8S7JwZGREVYPEamQ2auraJ87zaqOO1+NgYmqKX/ziA6Vl83q8ZFMpCuUiLzz/Au+//0ulvxwKDzIxOcGdW3cplivq2iaDE9EDTk5NqOteo1HFHwgr6K4YSQQUmzqU32WKuzfvMnd8TtbszC8+48rVy6wsr6qD98BgQFXKjs3McbS8we7iISNRL3qHAaPAUhNZjB1JKzeZPTtHPpmjXa6yupVj9vokEycm1HOvy+9iYGyY5P4u4eCAgiP6QkHFjsjlcyoNNjkpr/0+freHjq6nbDNHibjSc9crJXXNX1xaUgpVp8ulrBKbW2ucP3+RniRAtncpFvKKXyMHZYsMKDs9pUjNpVPqelXKFdVzsaRr/uZn73N8boq5kyd59PABkzMz/PwnH/IP/uu/o66Lkjjd3Imxv5/guUsXFGtH4NyxWFxB85qS3NreUXaQSNDH5vquAkvarEZlm/L7fQqgKb/X6dMn0fV1xA5jioXh9Xkp5YtUqlWVzIpEhjg4iDE9NaVeAxlS9/pNNQQZGh5SwwvhHhylEuraqPX0amAcCAaVIl6SMxOjo2qwLdW8gZBf8ZiESXL23GniiUPOnDnNp5/eUUmbs6fOqAHc7m5MDYxlgN1tdUlmk3hdomnc5/ipaYLhCOvbWxRiScYxUtX1iCfK2LU+J+aGCPvN/Ot3N/jGtI0/+IaPR5sF9vfKfP+d8/zgx4sEnEaWtgt87UqAQy3A9/9kh9+84ifdhm6lid7WodZ08Mn9OA9//A5Db/xjCh/9CzSbW0F49V0ZLOrQe6fpVvagdoh54BSd/J4aBqK3YwlMKe21pZGmY/bQ79RAM2EyGCnnj7A4AtAs0NGZMFp9dMrb6K2j9PRm9EYdtYOnysIgg1i9nAE1Hf36IXWTAJBtdHoCKazRKx5iNnjpWe30DW569Qr6dpy+wYk+cJJ2Zhl9s4VhRLheT7CYffR1///AJH4fvXsMvc1Dp6dh6DTQbNDK7aJ77/dG+we7KfJl8UP6KKe7JDNlRsf89Hst9YAmTurxMTdra1kVdRsYdJBOl5UeRXQFVpNohjTsJjs7sQT0OzTrsvmQzLio2nRcvOJmc1MiT3li203GJ+1Eo17u3drl3KVRDmNlqrWi0pZ1ekYuXB4kcyD9yjZnzgfY3MxzdFTg1Kkx0um8iuSMTzr55OfbvPWKj3/9foY/uAu/eUJjL9/jTNhC16TH2Kjy7nadtUP4t98M8sakkQ8WKxTabcYCDhVlb9e7XD7n5WA7z2GxR8k1yF/NJ3h3pcr3LoZp61vs7ZUJDHip56r4HHp8ERf6bhUvPdpeDxvrKR4ka/IZodyHFy6N84f/7FWmX75CvxkREhu91AKl7QTtSgHNN0CnUUIn3nfncTKtJpZWBvPcyxi6LgrP/h06ux1nYIxeZYNsAoaPnaKaiqMLDuB0DaG369G1qhQLBf70j/6E2WEP6ZxUDaysruyorlwwEFZdOqOpxm/85j/gx7/4KTd//ku+8Z1fwec3o2UzBI6dxj93lma5iFlvpVFI0xBKsgA/3FE1vc3FFvANDtPCTWPvI5VccA2NUd2bp2/3Kd2MbFl15g6dfAydJUS70UczieXBrWoVDbOGvtXG4tLx/Jv/lJEhByF3hG+9PcvtR0/5+M4R//R3r/P8d75HbuEetunz9Av7ZDaXsfguYfP2sfRqaJ7jJGIrxBbuYvSYOHH1beg06XQNWLwBGocbWI19RfU1uobodON0Sll04SsU9h8ozaUtcIJaXVQbCXRmH7rigqCL0YdforbzV7SxE5r7W/SNDdrVBNbKPi2TW0W6xL1pMk1x78Ejcpkkta6eoblBpsLDKrZqNxpVRLNQzZHOJQiHxihk6rTRQS7OAAAgAElEQVS7+/h9o4SGo5gMTU7PzSlFpLGRQWfpodlOQmGFg7UHWIJnMfQOKFUcdEr7ym2q84RxBkaV67dZzKDrtzD5/XSzBxSKe4Rnf4tqY5P80x/hf+l3sDfLlA+WMAdO0Ep8jMl9nlb2Lj1rBKw+9PUcmnMIiz1KKXYXk8+AyTZCO3+E5hiiXknhDVuo7G/j9I9higo3QA/1LDuf/zU//ck2/+qXMQ5LXaZGDZDtEZm08u2XT/GT/3CH4bEgF8+P8zDR4cHdx5wdtqOXQYwrhL3cwhY28u7jPJMjfvazOZbidf7w7UHWdrP4rE1+dc5LGdMXyYNGm6eHdap9jXDIgKFpIdWRigq8dS1KtZymmG4SjPrJ1dv8m1t1HpQ7ZPMai5kq108GOeO1cCjU7Z6RwZB43+WBUsNgsbKVKiseQyXf5tyEdOPrBI168vUeJkOXvFBUe12e7ZdYq4Cxb+MbZ3oMUeNvX3Wwn2oQ8g6wlsqxmepzbMRFU9dRXJTBcRvx1SrHjkeYX0nRNTUZjfpZXU3y5iujLK8KLV58vQJoMZJNyha/z9xEUHnZ33s3wd96Z5xsssBhokGjBdFBBwcHKTw2JxNzIX723gbnTvrRjBpHsQyBaIDpkRB7ySNGnF6WY4cYOuKd7qP9J+/9P/+8hpZt0adJpa3j/IkwGzsp6r0u5y+9rCJ9hWxOgfI0vQWL3aDUWY8fPsXlcajur5D5c6UCDqeNksRjwwOqLiF0e/EeCyBKDsEC2psYG6dcqtNDHOJNXD6votjKw1K9UVM05MVnS5w6cwaLRaLHGXVNkcPQe++/y/j4pIqrCzlYNlfyd3/46acMDA2qaLxEd4VMny9V2NmL8eYbLxMOBvjwk4+ZmZlV4DGJG8uBXSL8Tp8Lo2ZgeWkVs8WmwEm1WkM94IVCQTY3txQbQLrLQwNRBQAUh3QwPMDK4gqvvPw823sxdVjv9/VqsFFv1Qj6Qjx9Oq/MBbJV3lzf5uzpc3x28ybXnruivNbCUggH/cqX7XIHuHDxFEfxIzXUkAOPbFBliCIbzVOnTrC+sa487UNDEbY3tzDqjdhdHlVLEJqzDNsvnDmj6MqyZQt4PMpoILHdP/vBX/DOO99UMdqDozS1Sl4B4GSDp3qiTrdypycPUxhMkk6qUsiXePnGSypGu76xwvFjx7j/+Kn6uSYFp7TxlS+9yb/+oz+lUCtg0XQ0Ox2K5SaRkIugTw630lH3Ez/IoOs18flD9Fpt8tWK6udLIqxWaSqVmMDhmvUuxWoFj9NKwOdVQDcBi8nBQNIN0lG+//AJE+PDiuCvNzpxCozMaFObOTlQ6g0WKvmiMiZYTAIMiykg5fTsJJ9+clMZDKQ+Uq+WlCpWahmxvV3V15Utq91q4yiZplASTVNXgR6lvmYQFZjQ+IeGVHdbqOLS037weF4NhwqVnEpZSCRbHpjLRaHQR9T7KYc32baurK3z8isvsrS4QrfX5/krlxRx/HB3V72Xss3T9G1y6fIXD8Q9SReJUq+kDsn1RksxHFSVZjRKp9sllc1w5dIF4vuHFCt1FQUvVUqUK0WikWH0ZgOlYlkBt0SVK5HtifExBXQ7Okoow4MM+YLBEJl8moVna2o7l0ul1XfdYDF/0d83mnC7PCqSPjgUUvR94UjINnR1dY3hoRGOnzjGf/zhX6nteD4rmqke0ahsIIUV1Vbfvfv3H/Pd73xLQQKbrYYa1gjcQYxUUstotesc7EkVJ6xUfbKpFPjz2Mio4pSsLq8RHoiwu7Ol6OezMxNsbO2o9I5JkkqJOGfOnVamiJdeeoG9/RibG9uKlJ/N5RUor91rUS/X1AZXBmpikVhYWlTvbbvTUL3gne0t1a2XgYrE5ccmJQ3kpN0R5kiIR08e47A51Pd7YNDP/JMltf12WDUsRiNbB0nFK+o024TFlHRqTFUXNpYX8Lj96r2TpI6YRHY2dtFbDAxGhlRyQdJR09OT3Lx5j163TdDjZ3B0kGRKHPJtVaUolwq8/uU3uH3znlqimK0mnj55poZkpy+cUuwDq05i13lVFRoUIOWDh+oQWinXVORc7CLddl8th2Q4JJ3u6PCw8t1LWqPZrBOPJZXqTvShYhZIJUTHasUfdKuO92A4opJAXrdfRc+PH59VQzLRRcoG1u1wMDY9qthfDptUuOY5MTdJMDSgEgyPHj3gzTdfZ3srRocWAdH/6jTmHz6m1epz7twcR2vbpB8fEIr66Rt06v3zBTwKGJfbL2D1uNQhVt/ssrYuqm49p778PL6pYXYWd4jvHlLM5Zg9cZxgwEMoHODevafq/RofHWFwZITdvW0MmomHDx9z7bnLauDX12lqMCvgPKk1H6XiXH/ueUIhL3/x5z/i/KXLqtJczBcxmS00a3WyhSwzkzNKx6zXGygWivi8HsrNmqo8bW/s4nR5mJ4b47OPb/Pa66+yvLKs7q8hv0elGWTJMr+0wlmpMeULqos//+QpY5NRZWYRAKA8G2xvbfP2197ib957n4FQUF0fxOIQjQ6ysx2jUq9jMpgUmV8Ase1uR/2uklCamZrh4ZPHjEVHVL1PbDVybRTTQa5QZm15mQsydCiW0KSS1W2pwXSjWmdmbpJ8rqAGovLPorIVzk0kMsjThXkOdhMMjYTIpUscF/7F9i7xozThoZD6HoqlQsDmmCA6NMzy02XMFqMyF4xODvHg/jxWg5XYwRZuv4eXvnSNz/7yI5obWWwBM95QAK3dZHcvxdBokCe7Na5Fu/zuaTN3lrO886unyKZzfPLJId975wy3H+7xwmyEP36Y5396N8mrk04y1YYCC8sQV+w5sa0KN//qHYbefof6u39JY/AiRu8suuoqOp2HZiGJZrWiL6eoFRexRL9Nr7mHLrtIzzKK3lClbx5BaxbRGZ3ohFlWOsJcr8HgJXStOp1+Hc3iovns/8E5/jot9HQ6ZayecVrZOEiCzWbB2LWqISS6jlrayXtqcgzTb5eVtcTYydMzR2jXs+jqcXWo15tDNA0e+rlHmNynoHOIwRyh0arTq9bQGbpo3hn61gja5v9Fq23HEn0VXbuE7uP/JtpPHTY4c3qUte0t1haLXH95mt1YTIEW9g/KlLJ1fG6L6mkk02nV6bA6DKTjDc5d9lGr6KgW66xvFpiadSmoWbmgo1AvUq81mBwNsh/rYHdXOdiEa68MqAjb/YcZpieM+P1W7t0tc/yCGcHw3/y0yJkLX0QAJYIpvV+JjoxOBAn69Sw/EshEi1femmV1/gCvy8GJcIf/6qcaf/44wbWokWGv8AC66E09do7KtO0BHu4V+INzev7z18bZStXQ1SqsHzTwhTQiLiNiVUhk2pyYMLGa0PP+RpmNhpF+rUIZHScibkxdHUuFIhbNwISo1uxmMqUiNq1H12rE1NTTNRq5tZZkJQXvHHcyGDDy+//oAsFXv0fTOI159RH53DblTAmrsacgek5vmGKnit57Fnt3i/zCxzgGr9HqZDCNvEI79RStnqHW1WGXrohZU3Aiv6mL2R/GoOlp9ascxfMsP7hFbLeEczSMrlelW+3iCQ1jNHRZXVrmpVduUK3k2dreplpuMHPiGPpyk93DNS5eO8/ZL/0OFB5T2NxAbwupmGZR6NZmO67wEGaTnWZxm1alTNdsx6D30KoX6VbjmH3T6OXD26xjC83SqOdp9aSjN0Au+4ShydexBp0Ex7/Dt2+M0K5W0TQ7vR7ECyX+2X/3Pc5dCFHcOgD3rNJW1BplzI4I7VoTp7lPXRIHvR5GbxS7QweOcxT372Ps7mFwn1LAolZ6gUomgXfiTYy+AOVUTDnFpQtfaWu4XS4qxSztegGXJ4xdwHfWDnrrNPX4MpVclopAEssd6u0GqVySRlOvHoKENNvpGAgOB5iYGSeXLrDw5CHPv/oin396k5GBMcytOvdX5lXcy+rwMOI34Bs6gzM0hDUcoFO1kF/7BXpTH6NrmMpOAtPAJHpTk/rhXUyGIZqdIhaDBc03RrsaR++dolGpo7XSGLyDdGsNTBYd7cIB1n6HXE2PZ3icVitBp5LDP3CBWiZFI7+BpvPQ91mwVLp0WiVssjWSz7FT/rfG+DEhpnfY+vgneMIuIpfeRD96UnVGtUKVzO4j6v0G/8Pv/zueLlQ4KrQY8um5cTrAQbOCsd+l1YRUSc+XLw6wdZClbexC08D9WA63286wSSNordP1jfBnHx9wesBCwyS6lhK/PW3ne1c1zJqe3WybWl2Hudcg09eUQaLbN7KfrREJaJwacKB1mxi6Gn27gVROz5Nsj1hGxw9266wlWnS0HmPDboasbYq5CseHLAy5HSQqTaX+tAiNvNFRVZZq14nH3VdDm6XDMudHPRQbLTLVDnu5DuWunnypxlhIY9Jj44xfz3eu2fC0W8T6Gis7bWqNFsUcHD/hoJauYnVp7G00GDtupJDVk0q2uf6Sl811maw3uf5cmB///JCJMSsRrxmj9McbJSyakUqxQ1UieOLl7nU4StVVysopNY1uDY9dzCg1KmVYXEnx3e+eoFXT+PG7a/g8dlymHoepJjMzPvV3HhyVMenbbO01+O5bUXZ3arzz7zP86otOkvE+ZpsZnWZUVOjDeJXgSJjx2RkSsQQjIxGq0oscHeXew/sqIfHySy/xwx/9UIGd5IHyzddf470PfkmtXOHE2dNUSnkVfZTNjsCJHj5eUAC0K1cuMjk2zvzSIomjlHroWV7bYnQsisfjolascpTNcO7safweF7/86FNeefklbt28jd6gKb2lUIlHRwex2JzYTDbWNlexWow4PV7lRL776JHaSpmMmkoGiNPa7nKj63TUIaXd6ZDL5ckX8rhtDowOG/HDAxw2u4o5JuJHHIky0WpChOpj48OsLW+q7vzs9JTSt/k9PhqtGlube5w6fZKlpVUFQpPtvjycVastJmbGyKcKynAg/AWhSEs/d2t3Vx0os5mCIvtv7W6RL5QwqEi3S4H0VtZ21TZ5bnpKgbnW17dV9Fr61bK5Fc1edHxY6eVy6SM8Lh9HSXGXi+vegMPlZG9zk/DICBtrWwpKZbHomZyY5uatO5w5eZxgOKQ6wmaXjYtnz6j3cXl1kTfeeB2drs+Pf/Rzzpw9xcjwKB9+9qnSMV64cJ6d2AHbW3s899wlDnbWKZXLtJpdRXoORAIkZHBjs6r+sMsuceekGuIbLWY8bhuNaksdCHwuB/GjAg63SVXQrMYvItlGo/6Lg3g6y9kTcyqZUMyWiYyEFCxNnieElbAXi6tBicPjVV72vVhMxbXPnD7Hzs66+izIoVNc42KSuPrcJTKZPFsbW4pFIKok2U5K4kSMRSuLyxjMFkqFwhfx3UhQxa+nxqOKsi9daNnACxlbAGrlQoWR0aiq2OTzJQwWI4mjA4ZGppmaHCSTSHOUyGH3OMimMkzPTqg+vVWUfxYDRqNZRfn7AvhzWZV5oFVrqINNMORXFRupuwjLRCCJUtmYOzahHu7poGCOUjmQbvH05Ki6/0uFRvq4AukKh0PqPfG4fTwQPkckrGoM0nPW+lKP0inY5ePHj5mcniSXyauetsS3hfItiR+7w6YO2vfvPVRqL/mOptIpNTBpNJoYDTpk2iIHxvHxMW7dvoXH6WVoaIBas0k6nVSfx8GIDOkiPFtYwGKyUakVadSa1NttIt6AGjS4HXY2xBM+MqSGUOIOF5vLulQjrBaOTc2wd3ik6g6y5a42hDpvRGe0kjpKKpVWt9vk4uWrfPDe+0xPj6rlU3xPtsbDJFNJBXKUA5VYDSRxYLRY8TtsHGaKzE2OsbW3pRZecnDd2FnHbnZT+k/PJHqDnjMXz6vPgK6tkSumqdXEoW5Cb9ah10zo2nUS+wmmj88oZfJQ0IvZacI+OojJbeHpw0XGpsfV0GdqekoNJM0OMwadJPvqOCwmDvcOlC7te99/h5/99S9U3Udv6GO1u8nns2pbPzgUxuv0qvct5AlgCToxaSZ2JC3k9rKXPMTvc/P3/vb3+OM//hParQ4j0SFF15+enOHx00XCg0EF05Rqiyw9Wo0aDruDXrfP+NQoiwvLRPwRZQw4OEgri4kcJGOH+yrdUikKK6mrDn9mi2g16+rwr9OLNm5FbRnPnJ7l0SPhIjhYEse9RNAddqamx5Qe1C7QxkpF1Q2ki241W6m22uo+cebaaTaePlPGGHaEK1b9YsjcaDIWDau4ekaBOd30mg0yqRJet4taowMRBy//6uvcfO8jlQzZW99hWDhQsm2t19lY2WJ6bhy71cnW5o6qK126eh6Pw6VAtQLZnJoZV9dnAXOeP3daDQAkop9O5Lj83DmVIBIDhbyGopaUTbh8xtrNKm63n8N4UhlgbA478f0E/rBXASbFDPDk2TwvvvA8NquD/dguu7v7apiwOL9EtVbhwrnzajN8+85tLl08r96T/YOEOvzJe+kNfmFgkLj86VPHSSaE3dVjeDis6lFuj0tdU8TWIDUY+d5JZSGXKTAzO6nOb2ajQUE7w2pgL0pBM0uLa4yMDKvDeCZTVN8B6e3LcFkguFs72wwMDLC1taNYLcfmjqvEUKvdIBY7UAMq+d1FKX5wlODihVOkcznymRz7h0lefuV5BRKMHyZUJUXOf5JSkATcZ5/dYSQ6qKCLYlaR5JLRYiO2f8BYIEx25whTuYp3WFKJHbWYPMr3GHDD58t5os4Of/F3h7i3XKCtdagU+0QiXlVBb2V7eFw5/vebPX621OXqjIF6tYNLfd46pPMChajzcOkH6PUuKhsf03cIrDwJ1mEM+h697IFSYndDZzDsP4PwNF2rH10jiy4fo1PZR5O6n4C16yXVwde8oypBIctTNBdaJ4+pvk+j2qYXHEffqaN1jfR1FTRrAL09Qnv/KX2tTtfiRev1FJOl2ymihc/TTy2jaxUx+Gfo4aWde6KYXaaxV6FeRtcz0CjnMPXz9Ox+jKKp1Q3Sry9htp2m1zlE75mjnltFK6YwhM/TaybQ/fL3Rvr1ep9SpYJm6DIyEKTRbbFwP0G5omNsyqo6lU8fxbj0vJ+hcIhPPtjg8tUBcnIjzOvUzb5ZrxOddFMpd+n3hFTuYn2xxfi0leRRlUa7y/iwg+3dIm6vkVKuyeOHOZ67FiFfbhEKGqmVxaFYYmp2gnQiQy5XwarZMTn09JF4Z0m5ZydGh5UDN3mQJlvR4bObmJk1svSkzB89qpHtW+n3Kpzx+bCZWzyIdxnx6EmXejw4qvPfntP4J1+OsJrQUa5m6Vn9/PXNGF+75CHX0Xi2XeV81MzFER8fP91n3eDhx+tddpINvnzMjuznms0GAWObTMOEw6Rjwm5jqVBnakDPSqzFiVE3nW6Tf3+3RLXS4psnvfQyeaZf9PM7f/+beAZnwTFEr1Dg4MEdek4PhmYCq9NP3z1Ku5XFWtfRdwqcw4TdbKKRW6FeSGKLnqRb2PoC0mccwRo6gU4cmZUkmkFgPE4ITFCOb/D+Dz9g5uQkn3/yIZpxmGJhn9GBCG6/j3a3QDqb58TsBR7cvcONt1/l2f177C/v8uavfxut1mX49ByewBj1/Jbqb3YrXWr9Oua+HqtBT7VrhoaQ97tg9JNPbmPzjWPWyZanh94yIGx0Wtl1dJ0GoQu/QnLhJn//f/xLpZTsNKBeraC3+Vh8luCf/945Xvrmr5OJValt3MTuN2KO3qBXLlKPfYouHKaar+Pxz2CZu0Bv5w7lqtzrS5hEC2cdpp2+T7dexRZ9kX5DwDtRLL4hCtsfoTV7lOsVfINBzHaX8tqX45sY9R7Wd57iELBgNs3axgbDgxOYPGYOj3LUU3HqBo0bN77J5x/+BCNNjl18nqX5Wxi6ZrrVOrupTRUPvPLcS9hdVlKHe4x4vZjPfYV+9oBaIUujmCC9/YjI9AsKuGc2+6i0yxg7GSxOLzr7FNVShl5nD0/knPqyF/Y/xaQ3Y7H56ZvF8TkAWptW8hadbgin3UdL6+H2j5NrC0SpQP9wlY7Jj8FmoVKuYwnZ0a09wzb7HOV6kUqhhFPfwSCTyFYCw8AJbBe+Rrd2E2tVo9Wtcutf/hG/vL2PvmDkZ4tlwl5VKaNnMREIi3+0zNhYmJ2DAhGflbNhKx8vFEn1evg7JXJ9BzdOy9Cwx1/PpwhMeihndVjMOo47Gpwa13OpX+PkiIlK18p/uF9lfMhGqtNiaafKr1/w0NCZ8cqNzS25rTp6q5dsqU1V/j8HVn68VedeHbKVLjdG+gzYNBKlOse8PtaTGS5MeRVg87MtediRYVOL2bCNdqVHni5et416qS3zNOpdM/GyjoVUXg0QjGY/+k6NYxF4fcLIG5MW3KY+zVaNzVyXj+c1rp40qTjg9KiLcqOmflapqOP02UGeLO5RLhoYmTLRyplwWCr4wh72d8sMj5ppVvosr+R446vH2N9LU87XcDsdvPrWBA/v7bO/l2Uk6kOoIWureV54eZSD3TTrq1VOn42oqf3WzpGyV7icQVYWkwyMOPjyV2f5P/+Xh5y+YKdUbhM/qjIScjN9PEStUKLVa/PdPy0T8fQ4ORogXyqxvlNhemqQUq7E2Mw4r3/pa/zylx+TTWY4dXqOp88WlKPe5xXV5iE2u5GhwSiffX6by1cu0K43qNXq6uFEurYbW3JoDbMX2+Xyteco50tKn+bz+lSvcGJ6RkWs+20da2srfOX1G5QbVR49WVDsEonrpjN5TGYDBpOFM6eOYbE6KBQztGp1ZT4QmJAoikRt1Gl2ePzkKVNTor0rKyicgMQEmPbkyZLqIi4vLpEvCXnbph7yYnv7Kr4vUXfpRcsG0S33DJONZrumKLsmAdEODPLwwUMFzrPYLKpiIvDXy1fOsLK6pu4F168+x9r6pkoIuT1ekqm0UmJJbFm0c7PH5lRXXeBaLpuVje1tTp05rqLx25u7DA6HVXUgl8pxlM4TCftUnzOTTar7h3LIl7OMT0wwJA9J5QqfffY5p47NcuHSZX74o5+og6N0dZdXv3gND45SCgQXi8fwOF1MTc8qZZjYGiYEjNVF1QFEdba9sakgf3sHh+oBzWy0KAhcu91T0VGBQYmy+M6dB1y/epVbn39CJOihUK0o9oREZROHSdIpSX/MsLy6xtTkBNGwH6tLqiz71CpVZo8fV5stifBu7O4wPjqpeo2iYxPbgKgBRbMo232pF9SlkqYZ0Gt9QsGI2uA1GzUFnXs2v8rxMydx2ISZIckym8rNy+dTmeQUPNJNyB9QPX8hzIv2SswQwuOxmkxqU3nnzl2uXbmqDuKi8RKGgt3lUCAvh8nM/PKSOozJouHZ4rJ6UJbEh0TfJUZtsZp49xfv8p1vfYv7j55Qq5S5/sJ1PvnoJi63Ww2tgn6/+tnNWpWe1sPn9tPTdTHoNIrlmrIXSMrA5XURj4necYCBUICD+JGqK6zIA/roiNJhSpVC6/fZ3dtXyQg5XAi9XK83qmHa6vq6AiYKHXxwKMLYRBS7zcUHH36kSP4Br59KuciFK+e5/elDuv2OijVLiqJQEm7DF9HooaEhBcR7tjCvIrzSy15ZXlLxe+kHy1Bs4fE85y9cVJtgqW7Idlm0elabKMPk0COAuoqKEDs9HiLBgIoyZzI5BZz89re+znvv/VINDkQJ+PxL19VN5vH8Io16i4vnzrK6uqGAfrsHMS6cOato6x9//DkvvHCdR08W8XjtahspUMvP7z7EZbXR7XQUF2BmZoZUMqE0kbKp3tjeUDFliX+XCyU83i82/WLiMJntXH/uEn/yx3+q7nPR4SH0Ro1z586SzhZ59myRueMzzM7OsbQwz96R2FWGCIQibDx9pCp6Pcz0dT1cZovikJT8Fq5+58vc/eQBI26H0qF9/P4HRCfG6bQ6VI8qYNERHgnxwkvP86O/+BndVocLl8+o+LbUhgT2KADkN968wfLaOu/+9DO+9/1vMDgS5PNbjxRszef24vI6KZeqivjfbXcIRUKq470X21GbaLFKSGVFuBOPFufVd+HK+bPE9g7VeymHRI/bzvraOuGhYfX9EE6DsE3kv+902LA5Hcw/ekLA56PZlS9ZT/FQ2s02jVaP17/0AgvPnqnvsPBDZFD22pdvKGVqKpVX2mKp74q+UKL3wwE/6XwJo8XA2MkJqocFth4s0Mx0lOLUZNfIZsQCFKWcq1Aq1egZwaXv0qhpylQji7epqydo6LqkUxl0XT0D0UFMui45NazQq8345sYmV567TCKV5uc//4CXX7im0i/b21uqmiD2FkmsyeFduDbCMdk5EOB0i6HBIdWzd4gyNhBQCldJRPkCXpKJpEp15bJ5spkcVqtFJcpmZ+Z4/PiJ2o5r9Lhw+SLPFp7R7/ZZXF5jIOjnuWtXVLR+Z+OAeruqUhyNmmjUI+xvbRNQJg65/9xXwwX52cPRELG9I9qdHqdOz1LK13j27Jlid8i1Xa4JAuyWa8Ls3Cx37txXKSsZLJw+fprDo0M13BgeHlLf+3qtopJC5WpN3XOMZoM6aDeaXVV5WVxaYG72pHruESCv3mxUn0up9clAWnSgNpuV3e193F63ghjLNffzmw+YmoqqdJPNKuaSlNKsex0OVZsSwKMshoRJIUMEGVBsb27zdHmN7/3ar7K0tEQy20R3mAaBmw/6WV9IcO3FOdbXNjg2GWYr0aJSKPCD3wjwYL+K1tA4fcKDoa/xcKXK/lGe3307yjf/7xS7yS4vTBkpK5i5QSWb0gdpHh91KJd+Si8ep3d4SLp/RL8Zwj8xRSO+Ts81gqGRpd7Mou/V0OOi2U6iw4opdI5uZpm+vorJf14t0WQoKGBQqQrI4N/oDNCX6pFmotUX21Yds3GERnmdbu0Ay9AbVKuH2PQyjCuANYSxmqXvGqCbX1HVRqN/RjFvFBzc2IJGRXH3+oYvzAx6d5hGq4p2+CnG6LdpkMZm8NPKJcHUoxv/Jaahr6j3q59ZB5+DblND97P/MtovFjsUUtt0iy0AACAASURBVGW8PivpoyzH5sK4PC629mIcPzlAKp5RF8ONrSTJeJnRKT+ZhGhlTMozW+tUFdhlcNjIk4cVModVXv5SFJu1RzYP8w8PmD5pJ+Bxoxda934di1OAEQKVgEqlg8PdJOhys7ScYnZ2gHSuzvyzA268MaG6a4/m07js8PB2kelZNy+/Msb7P1tlJGpX/Ter08WxSBuLLczVP9ylo7X4h+fdHBW7mBxeVuIZzrs0Ol4r/8ejDKNGjf/+PLx5NkriIM3nR3V+9bkBFYX6wYdpjg0aKff6zPnDRBwNdjIlykaNO3kH//Z2hpZJj75hI+BtIyfQty44yTScGJo9tjMZvH4bg0EP9WKTybEAD1ZjPNtrE090CBpbvH3eyD/4R7/D0CvXweSnc7hGvZSnuX2fw90s4dPHVN9QiI+1gwc0iwuYzMN0LRF6Oo1WQvQPx7EbymoabzI6sIhyrVRB6rXNfgODaZR2fhlrIMDu0884PGhg8Vj58z/7gMhQiK9+/XW2ljepVIq4vEFmT1xgZ/1zNOzU6m1SybiK3J+6eIGx0QncYxfRLH3qiV30xii14rYCtvX1PbzuCVqaxFBW6Vmt4ApTWPob7BK3Hf8abXOXyuLPCJw4SfLJAt/+gx/z9pcukk8fceL0BOv7Pf78L2/xz783zK/94/+V9NYu1cwi/ugrtMv36PV96Pt1OoLfqFvphTxUY49pV/JYxk5g1PvptUoqgtxp1ujoDHhH5ig/+QGabRxjeA6L6EjMfWxhPzq9h8TaE7ae3KbTzoPFz81P73Dq3DmMmpWtREodGrYXNjG6DAx6PCwurhAeCJMp7HMQi5HOtHjuzBkmT4zg8zgJjT2H3dOhII7q4CzN+H3aQgbVeyiuforr2Fk6rTKljQV8w6fA0FV+a4vvAm1dn05uAYc9RLVVxyJf6MIBnX4bg0DEylDNLSFuRFv4lKqUNLo6deN2BIeUdaGdWlN/q314Cjo5NSzSGxxgtNPMZ9Clt+h5fNhcs3hHregtFhg+qeKa3bUVVh79lPs3U/zo3SV+ETPg0Xc4ZddhiZiZnnDQyXbwhOwYu3o8QQv3FlOEHGblPH+4m+DqoJ+aqcm9vSoDTj9uY5u17Sp9o4m/+6KPzGEOR6PG7//6NKlUkeWdPH2DiXxfj8cg4JkeDVAP9CfCRjRx0BqbmHUdten5F58V+XhfI9bss1XqKKJsyNjmtUkrWqvHelqIq2Kx1DM56iJTqdLqwUTYw729PCf8JvR9PUeZL2K2cl15sNvAKFaNWAmrtcmc9CH1Nd6Manz9hIOjVo8hfZe4DCc1PZv5NhfGDKzEO/z0Xo4vnRHHu4Fu20hDa7D4rMULV3xKSbXwpIbT32U86mL7sIrXasbp7NNsy5a/ycRwAKdLz0E8qx6ULl0fYWe3QWy9wAs3xrHbTUrVk0xXlFXi7PlhtjfStNsC0CszOOJXQBnZSmVLefweB3s7BUbngurgsrmZZGTCy8JyiukRJwNhFysbBXz2Fr/9wxojEte29Mk2elg1M3prm/RRieHJCUrlrkrJiHM6dbSv2Aea0fCFHiwSwuf3sL93oLSNwXBQRc/lpiynRNnu+YJ+Yrt7uFxOBQ+Tjb9s8Wdnp1QEWR6aHz16yvVrl9RGs1DOq617TKLomqYAWK1ajUa9zflLZ7HoDdy6d19RwhUEq1QmlT5SWy/5vph0RnVgk4dgARglj1Jq63ztwlnVyV16tkyhUMbpdREK+hgejqqBQaFQJeh343a52T+Kq8NVt9fm5Rde5q9/9nMMGpw5c15B/RKJQyIDw2pDduL4NL1+l8RRgu9//z/j5794l3g8zfj4qIpVTk4Ms717qOwA7V6Piegod+8+xCB6qkiYqelpasUKD589UQ/aQkGXQ/rdB/e5evmySuesb2xw8dJ5BUGUDb1PVG1aV6UBNrd32RPzh89LsVhgZDiqtnRC8pYupsfhwOcLER4MKDCi9OmjY2PkclnlRpZOrxw+bW4n6eSR2swPCpE/nsRkFTiUi2IhS61RIRAa4HDvUKkIpc+9sLzCvdv3OXVyjGSioHzbQmAXYnZfdGpoSqX3rW9+lVxSqNAmtSVWXe92G7fDQrvdVw/bHqeHgSE/yWxZAeLs5r4iOz999EzVHrL5Eg6zgTY9irkCdrv8bm5cHoENSlS3w+zcSTWIkUi1DOMmp8Zo1lpEhgYVtE0GMrJZ317d5LU3X6OULzG/uKI+u5IA6LTrCti4u7/NxPQky09XGRyJqKirwCetDhs723s06jVef+01ldoQcKRs55qdJufOnFYpDTnYyxbfaNQ4efIMP/nJLwQgTigYVJ8JeTiUw5qcLl0uj+phT83OcHh4oKopsultturqkFFvVAhGwuys7jI8NkKPHqmU+MXlffWpofnT+UWlypS6iE4zKB1mq1ll7tgxsqk0B4mUgnLJ+yjbe53BokCNg8NRUpkjjg7jjI9NqsGX2DAMZr36nsphRiopkj4Yn5pUNRbZ6m9ubfErX3+Lxw8eUC03mRgbJV1Ic/H0BZ4urYixEbvDTafV5DB+qJJyApjudTvUGx06vQadlrQY+gqyJyBO2QpKtee5K1fZj8fURlD6t6JSFCOEPIdKqqbbkVufgeNzs3z44Qd4vAE1+JM66OTkqOprS/VAWBSidny2tKK2wg63S7ErJHIujQOppYrPXapHMpzw+Lzsbm4THh5R9wNJTAlsUyok/W5HDfUkUfH8K6+oGL1YQHRGjWI+z+kzZ3m2sKiSPb12maPEAal0jVPHxqmWK8ov3rXCwNkoLoeTbKuLxW3G7w/z4LM73HjrNRYfLOKPhDiKJzD2+wryd/ej29x48zXVt6+XmqQSR4rlMD4xhU7XJnFYUHWxbC5NMBJUQ8Wjg3301i+qBAsrq0RH5HfIq8NmMOhXfKdSIaeGmk6bTantVldWqFUbqjYTCAeJjo6wvb6NwSaVGh07WzvceONV9hOH9Jp9KuUCZpuTne0d/s5v/QbLawtsru1w7NiMeq3SmTL9XptIJEIml+PEueM8fvBY3XNleCb1l/HJSfx+N/fvzzM3O6kWFKLFPnbqBH/z4/ewN5o4NDup1QMGR4PE8lmlx4wfxXEK8LNcYvr0NLVEgWSyQs9pRHObcQXc9PRGVSnp1puUalWmJ6PKOhXb3sHrD3F4sM/07DTFYlnVkIajUT7+8CPsFgt6q5nXXn2FxYVFZSURQF6rWVEAPp1Op4YpskmX72Yxm1fpCKnC6I0Gbt+6w43XbrC1vU612lRdekkvSM99eCTKk8ePlUpP+Dly0BXlo9xvVpdXkRtMr9Hky2+9TbmU5cOPPlPJIhmilTIlhiaHeHz/Ed/85tdZWFjj6OhImUCCgQC5fJl8Nq9i/ecvnCOZPuLhgwWVIpMBl1RF5W+VobzFalSf42ZdtIEFxifH1P2iUKyo+61PBjGplEozyWskPXzRSopZQq5nFouFXK6A2y2vR5+Dg33FeqnVq0yMTtLqd9laX+XEyRNksjJo0jMUHVBWnIXHK0qbOz4xogaz8tkw6Y10em2y+RyDkQHFyBJAt1esIVNTKmWeyh5w4twcT/78c3ZXtjh5fYr4epKOZsZhbaEZPF+Yi3xdvnumzAfzXa6e8TPgNdNo6/ns4T4np628cn6cC/90laDXw/lAm1LbADYjO9sFNLMJt6HNR1s/prawQXXpc3SGOtaxk1jKebLSnx96FePQJbSjp1S7NUy+4/Q2f4TOEsYwdAGtU6KLn1Z2EYsjRM81CLlNdXDHPQpU6Hb6aJqNTjkGrRLGwBmox+lZHRiSm7T6dfTh8+osqDPo6Scf0zU7MJiDUFuhV7cJRxCt70TXK9GqFTG4hmkXljGFr6CvHKL552in1tG7p+k5jOgKR1AtSImOWnMbc+AN+vUEehO0DT60eh7dT35nsF8qtKmpyVxHxe8EahEasjIQ0UhlNGL7DaqFKn6fRUVMdDrRrbQoVOv8yjcmuX9LNslFjJaOmjTa7GZSiSK5fIWhAXHhClykpyJ+7bZGs9Vh7nSQw92cikHlDlvYvRIbGmRpKanosbGDBidnBjGZOgomWBH94IBMNDUSiRJGg5VqpURk0MH8aoXT0yEM+iaNcoGdnJX/+X6TEWeXaMSKrtxnyGvkw/0q7UKPX7lkYOmow6O0hX94oscrUzBgMGPwOfnT24dM9ttcuzbCw4V92g0HkQEDqUqZ10aDFBp64rk4ZYOffz9f4rDloNBrM+M0kmgWiVqsmNBT6rWZdtu5d9Qk7O4Qcrmp9tuK3FhotIg/rXJY6TDihLdeD/G3/95r+M9fpe6ao59LYEzniC/cxCRxVtsAxfgu3nAIm8tLq3BIvVLG4I3STe/S7qSwO4YoNpq4TH3aBjftVk31zto9naTjMIVnMWotKvlDCrk8Jn2H7Z0427vrJBIFOm09vU6Jyy9dY3T8BKndDfbW5xmdvsyzJ0+Vw/X6tWu0ujJhrXP+jW+r2LnJHqW8c5t4toLbF0KvddHsAQwGD+28dKu6NDsG1TXdX3vIsePH2M0f8epv/BUvzQbwOsXbrLG60yB2eMSP/7evMPjlv0fu/ifomzV6kVP09t5FFz6FKXiKXmYDOgmMjmm6naraDnYNespLH+IIjdOzuHAEhknM38JqMyk69fRr3/kCylVaRd+XSGiG1eUVSumimgzfevCIQMij9CgVRUe1qQ2+pjOxsr6Jodfh9Mlzijuwd5Dkq9//TYYjVpoGA76ejrZToEUuWuUkzXoSLZvGGj1HuZTAbHbT6ZfReqJgqquLRyOzQqeRxO0ap5hcwxEepm8J0DV70CceU8/voA1ewWoK0CytY/KO0s2u0ZSImyOEoV+i3ahgD56Bdp1Scom+yaWIx61ajEBkjrYtSnFvXZFOpS/f8Eh3t4Ytek71anv9Ft1km7/8N/+KP/l/F8n3odMzECt1+O4FF9FBH4c9KBfaxFMlTg4GafbSfLxc42zUg99io6or46CO0eRn7ShFoeuibOwx5bNSLNeJ6pu8OCUQE/j6SS+tZoNuo02q7OA/PEwQsJj53b81xbOnR4qkbnO2cHVbNMsdFRH8s50ayzEzWX2XZ1UzxVKRN2Z8hLQaJoODXKdJIlVHb7RwIdRjr6Hht/vQelU+XExyfSbERqqAR69TkbGOpmNwyMp8TGogPRwOM15Di4AOgmY7z03UOBe0KgLt04Mu5a6GQWsQy7YZC8tLrWc+VmE0ZMFlgreej/DsMI9J5+Dewzy6fo9jp4Iq3qkZjKB1MBls6LUOTxeyjA3Y8IYcpPZLtOngtXuotYvo+lbe/voU80/3WV4rqutwOGjG4rSyOi9+eDflmsSk+7R6OrweC7l8Qx2iPE4DhWoNr9PCwKiH+58lFC39v/i9i9x5cEixWOP48TF2N2Jsblf57ttz/PyTZX6xZ8Me1FHO9yiVBEraVzqlZK7EsUsXCbgC3Pr8Fsfmpuj2xTxpw+Pxcv/hYy5duqBUddKvnxqdUpuIttRkMjkCfq8idMuhU7psMxOzJJMJaqJ8i4qPukUmkVExcHGpi4ZI9F4COWtWqwpYtbq5rWBA3VZTkacHghHVBV5dk63yDJper9zqMydmmX+ywMlTJ3DarWrrLLHSoZEom5uiChtTgDqBrq1vbOIL+JiaGGNlaZVEKqOASP6gbENLavvT7TSxud106i0qtbo6ZLl8PqrFIj4B/PVhZGxU0dOD/jALS0s02x11fZVuo0RvJZkg23PZ6K+vrjM1O6kYBzIokC3y2MQk80+efDHgaH1B/BYn9Uef3FL6N7/Pox6wwwNR1lZX1PAkEvarDa7SI3plk9xSULkvvfmG6jHv7R6omK/42je21njr7S9z6/O7GPXSA84qxaJsCG/du61i3pLcsFnNqrv66OEjBQvbFjaB0Ug4FGH/MMboyCjb25tqUOZyCPxwj8hARMW/79y+jddhol6vYzRb1RBK7Ctjw8OUy0UFNbr6/DU+eO+XNJsdtaGQ7mu3q1efi1dvXFEq4IO4QKnc6pC6vhOj16gzMTGinNLVapWEAO/KDS6eFwJ7T9HCjTq9sj+YzWa15UzE01y+dhm9ZqFQyZPPV5icGKVcLZDNVTjc2+X569dxen08evCYbCbJcy9exWnzkhBtrctJKpFSD8cS3ZXaoRzsitW8Grq0pPMvW3N/gMThAddefJ4/+3c/UERvAXqZTBKnrXP61Bn+5t0PuHHjeVqNHslUXG3PRXu2ty9gt77qmcugeHtHBmMudnd2mZqaUr1+6dPHU0n6rT4Gix6zyYSm6RkdHWF5eU3xGm7ceFXpxp4+fshAZERtUDW9xksvXeXm53eJDA0proEABOV9lJTI8rMl1dGNJ+T3sRIaDCkA2VfefE1BDJNJoYxblcqzVqqqQ9qv/fp3mZ+fV99RdSjc3lGDFQH4iUZPhgPR6IhSkD1//ar6jJWyFbKFDMODwmhKqkHf3t6hOpyI6UOGFLLBjB8ckisWVTpE6O2dnvT/TRRKeSqVmnotrRazOpDKAUVSREInF2q79ARFdyYKUtEAfvzJpxj1JiKDYcU/2Nnd5oXrz7O6vqZSPXux/S9SEuPDSr24ur7B9etXqFWbTI6PcffBPaq1FiajXg0pIsFB4qkDcsmMgoYePzXO8vKWGkgMjQwrtWeuUGR7c0PpQsORAZVKWV5epV7NK63nsEAyC2V1LW21O5i6BpLFKnqThsNrxSQgUKtRPRsHIm6O2i3OnJ0mkyxSbNR58fWrPL67qA7N41MDysleLtbQ240U40XarSZmI7R1BsU4EdZHo1jDoNNx/NxJYlsHtGoV7PJ67OwxfWyOeqHC9vYGbt8XqrZ4+oALVy6z8HBVaTtz2SzR8UHqnT4bq5vqM/fmm6/w4NEjCtkiDqdTXd+EwzClqh6PlQng9NmTzE1O8DfvfUC321Lw2Uaji8ViYGllg9feeF6pbOV6e/2F54gfxJVnPplJqDi7nDUsAYdK5nzyb/+abqGLy2IkMOFTw+LNvSQhm5laq0ez18HtttKRCmTXwMZOmskLUeaun6drMRPb2KSSKhEMhxX7Q8j49U6HhfklVX+ROstRIqVSUvFEgqGhMH5fkDt37/Dbv/lbfPzxpzyZnyc8MEAkGFL1kAd37/Erb3+F9a0t9dnMZLJEhwfV/VC2sTMC1d7axKiZFYhwZGhYkejlWvvTn/4Mk8XCxYvn1HVS+BVGk8Yrr77M46cLihXh8rnUgDjkDRDbj8vtRUFHFZMlkSAUimAy6FTyTtJq0fGoUv5JRUd+h9hOjOsvXlFTrVt37ihd6OzcnILribnH45VBQZj4YRJ/wKO+z3IYvPbCNW59dpNYbJ/rz1/jKHGkrAGSzhPIrvz8ze1NJsbGWFxe5o3Xv8zi8hPFXhmMRFUCTmofoYEhOo0aq+tbakAoA8OQpMWfzasBy43XX+P253d49bVXuH37toL8ysIrHAwpq5Cko4SlkctmFO/k7r17fPXtr5LNpvnovc+49sJldtZ3aG6kiY46aes0tGaTChovnBhi5zDNbsXI14b0/NYLkl6yEy+VyCerHJRE723hrbNu5o86/M77ZWZses6MOHm4l6Rd13FmOsDdlTjfOBfhn/z0X1J5ksFoaqPrFKnlu1i9DqqlfaXKbsqWQu+jd/Qp+qGXobYHthG6pTSUn6Cf+jXM1SMaxX00ZwSqGQXpRCdKdQsd+zE4+gS9MURfb6SnM6l0QN8apVPbxewdpZ2OoXcOqPsBpXXaliHMTqn6ZtH6ZbqlFD2zFZNrSn0fdd0imklq826qB/8R/cS3MDQrkHuMZvfSy++jcwzQsY9jsbhoWAJw8CnGToHewA3arSS6n/z2UD8VzxIYshPwOhgbC/Lhu8u0OgJ+anPi5Djvv79AR16wy+KP1NHtWAm4raxvpUnGayrqNT0TlsoVFp0Ou1+jVRP/qpCNDZTKBebmhkinSxzGikxO+RmMODlMZmg2dFRqfdaWU2oyaXNoXLo8xMa2TIb0LCwU0WPk/OUwqaMK1UaT1a0yF477Kbc6nJp28OnNHA2trRIFU14rTl2Vp1Ubv/3DJLN+A6d8ekJW6YvBZqJG2KJx1NGznaqR7blx9Ur8/jUD18ctfHC3xDuvjLBw2FJUVKO5gkPn4SBZ4vSYBZ/XxQePClyKavx/JL13rGRpep/3VJ3KOcebc+zu27l7euIOuTs7G4ZrS6QAipAJErQFmbRMGhRomZAFk7AlCDAs0LZsYRlAarVLcrnk7gw3TJ7u6RxvzqFuhVs551PH/r75b7E96K5bt06d873v7/c8I0ELTw/LuGfCfPv9Ej88UKnpFMZ9NmLGPgF/l6OMAPrU8dsFKRq8Lr9UcHhcZubHnDSaff6fdzNkMTNv6vAHvzPG1371tzD6PLS0jnjB8sOUz/dQQh7sIjpTSDAwObCbTKiGAXpNYWCZQGfSU0+uMmhmsHtiDLCiGBV0apHOwI0jOo7VYKYh1EqVE4zuKfr9Oju375NMrzGw+Tjc3md3/xRHwMRLt95Er+ppFhNU2zbcHoV0Mk0jV2BoPMbseJjA5DQOqwmnJ4YSmqJ+tMNA8AFsbowDPQODX8ifGBgsaHob3skYh5/+Nb/2L74vN05us3DDCi8zPHp6zI/+6JfR+RxUT/NERxcpFw6wBCZo5VNYHAYJ7xCdUb2cURuwmj3o7BGOV38ov+zaOgWHwY0lEkazj2JtHaM5Ajz9mz/mNH/G0yfH2J1W7D7xedV46+0vc+eTzwiEvDIum80UqTRrvHj0iAvnz1ETJGURPx0Z5dqNRWzDV6RORimJCzRKbf9DepoBS+x1epmfovmv08vt0muv4wncwuIP0zjbll/SA6OJZj6Hd3hMdlDbzQq9RhpN0DlPX+Bd+hU6uR2UQYle7QwtNIfVPQsGB+3MBwzMIzhDszSza7RPnmAJiEGLk0EL7H63fHhSOyo2d4DU5kfEhuawL89BcFzC+7TVH/Pjj9K8/+7HPHqW4UkWhq3IB8aluSATcQfZShGH2cxUJMCjtQSRqIOw20Wx1eFwt0zXOuDypIPPnlZZTdXpBl0EBkauxhRWhnSYKm2uRHvSQZrO63nrpo/TTItPt1vkO0Za9T6BYJtff32UerlCvtXCZhW/SQf/28dlLDorH6faHJfatPpmxsMmkUehrjMyZzOzXxOUcQNRvwNjrYni9fD0KMNExIHa6pFsDrgy4uBFoo3T0Ecx6HC6YDMjFFkmnLYetq7KQqDHz12MsRA3UmuIa1ylXFf4+/UW1WqfsRHRiwezSWPjuIfX2mZ52I/wDSXSNQkjlJquBkRHjZjtRpSmSnDIymcf52ipA1YueEgkKkyOhUkkSzitBswGE66QkWKthtXgRFXrlPMaJpuegMsqoYt6vUWqVMeGvRQadYJuE7vbDXnIfusbC/zgb3eIBIwMT3jk1mVlZYbbP1nF6Tfj9LjoVoRJpSUVgqsvcsyfC1ArIwemdpuZiajK//lxl58c6fny5TDHuyf0VCtBn51CPktTM3Lr1dfZ2NwRGDMiUdFpzvCVt77Ci7VV0ukcNrE1MRhwumw8ebzKrVs3pU+412nLB/1Go4o/4MdiMUp3uJj4r65tyAhnKODljTff4Pand8hkzihVSsxMjDK7uMjRwRFHxycy8h0dGpYbebH5E4olQdkXD/4C1pQ7K7K0MCfBcUdH+8zPLJBMpRkbjlOtNzg8PuKNL70mFYEbL3ZYvrBMsXBGfGhIEve7HeGnb5IrldEJ3/CQ8B/rSYl+qt1JqVIlNhSjVBDDihLRSEz2sE9OjhiKx2U8XrACxJBHPBSJzvTJ8T5jo9PyAfTp81UZxfT7Qxwe7vHON77O7u7uF+5ui0G62dVOl5nZackWWN9cw+sLyuHjw/uf4/C4WZ5flFRwEcOPxKOcHh9LI0A6k8FiMTMzOcGz5y/kljaXzXGwe8jIRJxvfv0b/PgnP5NEdWFXSKXSssaXzxWo1csYMFMp5ZlbnOfBo8esXFyWD+Qi5pvN5iX0KSIGM5WKVKBVGgLYprAwN8GPfvhj7FaLBOG5HFZSqTwuj/MLmFS+LOPUS+cWJRPhzieiHnKZbP4MnWaUG2rhqtYbdWTSeSYnRqQOyuf3Spq1ONBOTEyxvrWO3WxldmGa/Z19RFfBF/KixyB/dgEHFHaIs1SRQMAtFV1zyxcol4vYxMH66ERGUPd291lYXpIbfrH9u3z1Go1qi/RZmkwqwdj4JC6njc9uP5AVkytXrvDhp58wHBvm0bNnWE0W+aAlAF9CTyU87MmzM9m1FVRtt8tJKOyTw510NiuHYoJwLeLtItYrmBZDY0NyUCCgdzazjd2DL/SNouojBkKPHj+WsepYMCQ1eSsXVsgVs6yvrssIsgD/vfnlL6FoOnb29mm1mkyMTUi1n4A7CT5PJByR7//uzi6zMzOS3yQOyWLr1GnWZXJEmJxErdJottDqtCXr4KWb1yX/QgzUmq02jdoXSc7zy+dY29giXyp9QT23OTg8OsbpdlIplRmKRxkZHZPgOZNJVKAaEj44Pz1HvlSWFYil5WU+/OBjSYIXSYut7R0G3b5M0JXLJcmjqNer8t8TNcRoKEYqkxBGTDmwKBfzNFtdzp9flP9OvdVhcnSYWqvNsyfP5VBLRJ6PT08klFIQzfcPT+XQTxv0CQT8Uv3p9bnlYEtsooUWcCge4cnTVWmDEAnL49Qx5xaXpKLM6/MzN7PA5saqdL6LeHUpV6KrDYjFRpicnJSEetFxFrUDg8HE2Ng4DWEhsZl59+9/wvhokEanI5dA4tpJZbM4zWb6Jj3tfBmXzSl1s2a9nqNUiYDdTKXdptfVMxR2UWt1qPd7hONhqQRMpHJMzg4xuzTDaTpFtdXF7vMSHxLcij00ocO+sojD7+f27buMzI7K4Wkuk5V96r31DZmMsrnEvSLPq63utAAAIABJREFUeGxYWqR8LhdnabGwqHHu0nlePF5DFeo9s5mh0SH5Z8/Xd5lbFD9fT1ZzLl+5RKvZ4N7DxxJO2iiLJM02r77xikwH7e1sEY6G6DSalCs15s8vs772nE6zLwcF9x894+qVFT7+6FOWLi5y6eZl+e88+/4nJA8FpNHKlWsrPHnxnFAwyvFBmlDEJ6GHvYGK1+kml68zMMNbv/pNPvr0Lq+8dJ2NF2vS6PDStVu82FyjVqzidNsZ6BU5hM6m81JZKCCT01OTZNM5SuUyFy9d4JOP7srnT4fTLS0hov60v3sgQZQisRSKBTg6OJa8FfE9Fg1EZBpJqHBtVpO0Bzx/+hyTzUrY7+f56ro05IxNxJiamuXv3/upTIXNzU/JSH6xVMDt9bG1vovNLqDIApxtopwXyawWS8tLMlEikg7iz58+fkY8HsPj98jvXXFvFAOpZDLB4tJ5jk72WDm3wtbOJu16j2AgxIuNNW7duMbu/p5MiIm6lNBsioDE3OQUa+sb2G1uEpkThqMx+dxYKFdYWpqVqtutnQ1MiomJ6XHWVndkJSk2Epf3YWHnyeYE46ApOTrTE3N0ujX8/oD8Lhe8DNF8t5jNROMRttZ3OHd+iVw+x/ioqOdVOdg7lMPkfPYMt9OLYtLJZwRh5BALwv39I3kGDnhtZIoN8p+toTOJKqBKxOunrXUwK0hCf6XT4L9eDrLgr1DoabT7CmG3j1ytzORChCW/i+9+uMd//2GPa149Pg88TLSYDtnQtRrc3h/wL//RLL/9R79P6eOP0fzjGMRBuWdA7R9itE/Q7pUw1PfpW4YxKMLIokNt1tDlN+k6R+TvRZx5VI/Qpx9h0Zr0XSMoXR0mrzDHPcU8yNEahLBErmNoZej1TlA8kxjqNRrVDAoiiWGgq4kFWAGXe4i+PSiXj9rZPXquKfTui0AXQ/aF/HfF4ovGKb26WLQaGYy8Ldlt+vQGjH8LXW1TJgC00Ax6AQ20eeRns5/bYuCIYtL30X3yO5OaztCh1VEondUJRk3Sy/vg3inN9oC5mSB6Q5fxURerT6sS7jIUteMO6zjY7aLpB8zPuclnhe6vTCRqplzVcbpXZOm8H01v5GAzR2zMgcGoyH5Jq9rCYhMaG5XkSZvxUQM2t+giGzjLNghGNDInJjC08biE2sJG9qwqL9JSQfTFdYSiNvY3C3Kyfm05zidPRYewzyuvCc1JipsjVp6cqvzeB2kMbSMdrcdv3PKiGeBP7vQJmGr8/HKUH6ynmXC75SmoWO7z0mifX7/ppHBQZnImTL4D37+TJOS1EfAPMFR1uGJ2InYdj7bFFq6LW69wY0WAGzT+1/cSxIeDfGenwnZSx3/zegil3+aDpzW+csXP+rFQCNko9srciHuZGTHz/oMz8gMvCh1SeT0f72a5GoMf/vH/iH9Mh84Yhugw1e3HdM9ytEWUzBjEqOvR7+tpqzkUxYohMIkON4a+AAVVUbtOmoMyOs2EWa2hOEfQNAM68nSqNUwmnYz+tzQ71tFZDGqb9Z9+m66mJ5WC483HdBRVakvSO0nmX7osezOZZFZqLiZGpnj48DGzc2NkE4d85R//Flq3jNUBFoef7NEx3XpS1kQMipO+vk106XUK2zvc+IX/hX/yX8zLh3KdyUqnbeav3t3n8fv/FV63h3xrBFt1Db3DjuJfobr3txg1C+ap1yivfw+raxx7UFQInmI297GGr6N28wzqRXnBig++wRrm7uer+EdGUbQKuVPx3ruYPzfDSSrLT374Q85fuIjF6mf9+UcYDDZGpxbQWjlGYm6C4wvEJsfRe8agM6CZ2qF0vIdZ16StOOkqFgZKA7/Rgt6icrr/iKHLvwln6zSrp+i8s+jbIlIJfS2ExVJCDOh0/TKtnobVE6f0/Lv4l79Gu1RGMThlncI5cYN2ZR1KeTp9BYtxQCWfwObyYfaNUM/lcRg1dNYBLcXDoNFAUcXGqkB07ucxTNzAWPgR2DoUt0r8iz98n7v3EhRbemqDAXEfjDjtBKxt/LEQzw/rxH06TDYV78DKJzt5hkIWnL0eNrsTh03huFSnOVAY6Aw8SjUw68ys+BXmwz38yoA3Ry08Oa3y5lwAY0/lWDHw3ocVomEbdkOdd16Ly0i3vtAmMiW80gV+krJIhsfdrMpBuy9BYEGzjnanyVTQyUm1jt5kZEKIB0wKBk0h3xNppS4XIw4eJwRdtU/Qridg9nFc7mIzNEiXdPSMNvr2PqVil27HTMBY441zfi6H+0z7FA7TLfJVleEhJ4/2ytLTujJjoafrU0n0KNUa9IxW4n6YHTfzfL1Jtd1nZtpJOtkiErKwdiTI9ybGgkY2EwJQJg7rAQxaF6wK/Xqbuqqn0+ozvxjAb4NksiV7WGfJGiNjNgw6A+WmSlQMBYptNJ1Bxt5FrefypRGy2RYYjIyNiIeEHlv7OUIBpyS0a0Kls1skMuzAH3SQS7dlt3duKULiuIrS16NaxebMSNhvp1oVijUfK8NW1nIlvvXtFjFXmwm7EWx22VX2Ok0cHBUYm7mAx+eSBpHzy0vki2fcvX1fKrgEJXl4fFTWE2anx2S8OnGaZnRohOPjY+kmnxgXm4IvuACnpym+9c7brG/syHiopvV5//1PmBwbpT1QGYlFaffaNCoNuen3+ZyYjVaq5ToWh1WC3zoCiui143W6ZBc3FB2iWikxFAvLTf7J8TGqqmdoKCbj3VNTYxIWJWwGYsATDvjxuDz86Xf+kuWFefx+D+MjQ+wfp8jmk/i9fmrVJg6LTW7KNtY3WVhcJF/MYjM7JMldsAeEIkv08AVE7ewsLanMzV6bQq6EzeGU/c2RkYgkDPsCQVkbatXqkqr/7g/fk1A0saXSDVSMVju5bFp2kkVHWUQju6068wsLksYsYG1imy66zO1ah0QyyehoHINBL4cyhVyBbD4noXaCory3e0zA75fkcrFBm5wZZ2d7T9YzxBBATKzEoVMTRUxUuZUX8fT1zXUZbRV6MXl4isTkAUwA48Qgpt/X2D885s3XX+PDDz/gLJ2SD7veYEAOiQQsWMSvr1+9JHvtm1v7hHxBuiKC2mwRCUZweS3Uak1JrD5KpGScXwAOxQZdKMzEQ69QtY2NDFGp1DFZzZLablYU7n5+D6fDTqMu3tuY3HrqDRYRLKBWyWN3CHKyka6qSh6CqEGI90CQ+cUQppIvsbm3JQcFAoon6iMmm0V+RuvVptxAi3i7MDwIQOOjJ8/4xle/jMFklcq69GlSuswX5mclC2JyakZWGrSBMBk05Sbd4fBSruUkTLJSbWCyGXnj+k0+e/BEGiq++vZXOTw4kGR3m9POxvoOPo9HRuHFOk+46sXgRaTQxPZMAAnnZ2bYPz6UcXOhIrbYHZTyefkZSKWyRCNRumqPB/ceytdmc9llRF1UXUqlPA6Z8rBJkrkAkJ0kkrIzPTo6wsOnj7GZ7fL/D8dCbG/tSgK8MBU8efxYQvamJqZlgsNiNUjmhbBWiIf6SDjIw/sPuXrjugTCebxeypWqJMAfHR1z5cpVucHUCz2kx0ar2cLucEitpejT53NZ+TsXSaeOqkn1odigvnRD9KGzkncgtIQi8dWqN+Tff5YpSPe3SFTohHmprVIoZRkZmZCDqmAsIKPNYkgqKgxWk13210VSRFxzInq9tLQs+RhiCy42kVcvXmHvZJ+RaISNvX35XeWw2pkcH+f+3dsyveC2O2h1O9hcbtklFz+Pz+MmGIly994jXn3tJmsvnlNI5+Q16/MLUKmCQacR9gTpqk2p3BwJi848cphWrzU4vzhJMlHA4dJjsZs4Osgx6PQIRSKkU2c4LBa8HieHO2nMbgvlQksOHcMhobesYbULvoWTYrkKNpMcHERCYbmB1qwazXYPh/C+l6qcu74irQ8iquQL+bEFPHJY2q/0CcxGZZVj/fm6BGdub+8zNTdDt92VKZR2uUJ4ZITHn96hoXZ466s/R2LvmM0XazLqvrm9x7kLy7x4+kJ4OOTQ1x30EPH5eHr/idychoeGZAVBXP8Gs8byynlph7j307sYK02oq4SDHrLlwheaXYtb1v8arRaK2YzNoJcVmbNGk9mr83iCNvqC+1Ht0swX2RcH1OGoCBHKe45g5gzHhzk6PZYDp9H4MKpwlikm7t67h8cTwGm3SB1eJpdl/ckaIcHKGB+WVpKToySnxwncLru8DwvtrVg8iSGI0BnWamXGxif48OOPuHr1igRjLiwssLG6IYeo129dZmNtRy5WMqk8sSGhCK1IIO3s9CRuh1OyRATU1et1y0qQeJ1i2BeLxeUwS3BMxJ8HggEJLo0NReWg8ZXXXpHATpF+6qgdThOHjI/NcnR4KHWnYrAhvtPE8GBmepznzzYIhD10hZEiEpaMhKPjY3m/8Hlc0tQidKq/9Ev/kMTJCR9++Anf/OYvcHi0SzabY+XCeYm2LVXytDoqZ8mcHEiI4aTgbHx+94GEzIoByVkyjcfnl/WCnc1tVMR3zSQffPghNrNZJqLEQO7lV1/jz//kzzi3coGDgyMJYRUwxUsrl/n400+wWvW4LF40o46r4r38s5+xfXDKhSujlMvCJNSn2uoTC/ilde7rc06+tmCmJrhkVoXN1Rz5szpfensaj5bnr58Y+dcfl7ns0uENWMkIo0vQRsjj4NsfZFj//A+ZvfY6p3/777CY7ZiDU5gGJjJHH+KefQ1dr4temLE8UWrNOmabFxoltOYZxvACnf4ApbSNbvQraIU1dEYHmt5Ov3mIZg1jsvrQnT1Cib5Kr7rLoLiDMvklKGfRFzbQvGMMFC+GRpK+SdRYupg9szLmLwZfJkWHER1t1YRibKFVj1GcC/T1TaglMVi8DAxGTA4/HaGR1pUwGrz0NI1Ba++L+33PCGoJo29cprT79ikon6J77zfjmtDfTU/7pdezUmpTqaj4Y3qW5mbYEl3skoKib9PvGXDYDShWQZsVPtAo+WwDs9NC0Omg1mnx9FGBhSUfE7MuNp+X2d5JMzsdpdKqYLW6yZ6WJNQnGLNxsl2mRZeVpZCcpu8f57HZLRSyNU6OGixdcMqhgNWF1NMNBnpJs272VA73qywuecg29HgsRiyDNqVGi6jVyElFLzuNb98Ic5Dt8/X/cMxZd8DXZ1w49QPKA5XLMav0c//nxwlGog5C9Ch1LeQHehkzGrJ1+KXzHn7lspFa28LmcYm90oDdeptbwy6OC20JFbwyZSVd7WNW9Lh1OuZiDrx2I+8+z1Fq6PmwpHHvtMeNBQ8HiRLvLHoIua3c2cxgMxg5rbUY8rv4xash/uPPtrk6tUhfK/LR4zTPszAesBD3wu/9D28wN7+EaXqKQb3EoGuhlj+hdLgnD9ve0QUJo9Iy2/S849jMVtqZ0y/UEvIBdkC/V8ZiVlFVHW5vjOShAFuF8Dh6dN0R7A4/RosFgzuAvp4i9eQ2oZlXabZLdLQmW483JX1fPPRZjLB08ZrctujNPQqnOeKjE9hMJsw2O3YzLF6+xaDd4GzzU0xWL3rvLJ6gnbv3PuCf/suf8NYlF2elNl1jgKvnwvz7//chD+/8z/gDQ2TLXpTqM4w6Ha1SFgZFLNFzqE2VTjWJa/IaqjJAy2foNDIYjQ4Z8fbHz1FIPeOTv/s+nb6brl5lenJSxm5ylSKp3Q2mF5cIhSb48Q++h6bXSx9rNGLhKHHES29+Q3ZHB9U2bc3MoL5HNZXDObLCwBXl8If/lqHZKNaxb6DvnVFXXdi1Hqm1HzHy8j+lk7xL32THGjlH7sn35E1AbORVwwiDXg7X2EUazz6jaeziW/kHdI7uYPaPogxUBnYfncNPaVfz2EdfQjUHUUrr6JoVOoKUPbRA12BC3xFQxSTNapXw2Bg2xygMudF7RqB0xMZPv8vth9v8px82OEjlqDd0XPB3GDgMXJsIkWqV8BkdWJ0Dnj9rE/YPePWam2LBwN88y+AJmphxGnic6tJUDBycqOh6HV6fdhK263j7op9bfjPHpRJhRSO3l8EyGqCg2Nk7yRN0m1kMuciUi0yMuOQEv1Duo1mc/MWqSrZp4s82SkQcBibsQpfTIR5049SqnPU1wm4Fv0Gh0IMRuxm3V+PDF2U0m5Fxq8J4wM1eviQZJAODntGQg/1Cib1kh5FgkNV8gW7LgM/c4Z+/EaXSLHLeo5CvNej3FVI98ZBmZnzIyJONFqZ+i8sX/BzutTC6dTjtZvYPS3idDgk58vl0zMZNFCpO9hIJxkIhnu9mGR+1UmkPKBcbaOLvFNNVTcUX1OPy2nnxoMD4mA3F1OeVy3GKJUVu7kZnvDx7XqNZb3H1WpRssoTVYpUDgNmFuKw77W9m5Rbh0bMjhmI2aoUO/miYtY0UX3l7FLOm5zvfOeSb70xyfJLDaTdiCZrJHBRIJ2xMzGqMTfg4OahxkmkxEjUTCZnZS7XwG1UuLTr56h8VaeoMfH05xNPdPJl8m6GgmWKhwejSMkPRYdZWn7Fy4RJrm2vyJj05NUco6JX05GKxQjgUlBHRVqfOoUgOOUwSTqPX63C4Ahj1qoypi4i92OKL7dONa5fIiRi9J0SulEMnOqJ+N5lkBlWv5/zSnNyqlKsdbHbRW2zKTqaIvIoKgRhkzMzNsbstvOldwiE/zW5Pdh9FPF50FcOhmPSUC4K02OwfHO5JkJnQLAllkticmkXBXzF9EYE2mcnlilQqJW7duM6DR4+kh1iABJ88fCy3toK2HQz72T0+oi5c8FY7cwvzoFeltsxgMLOzuUcoFpHRRqGBEpttoZpTdJp8nxZmZyQAKhjwSeL03r74/calclEchscmJtjf35M6LBEBFykTkQ0VEVbR+7/+0lU++fAzqa0TTnQBdROx0Y8+/IhIIIo34mF1bVse6EeG47J3LnRWtXqVKyvLcmAbCAXk8F1AAEVCQtQm3IKhMz9HLpeVoDLxgK8zmuXgRVCfRRVBJDwe3nuI12GRnVi7y8LhXhpNIHpNRmLDIXSaGMIM8eL5M9xiE5nPy/u93W6nUSszOjpBvpDHYrPS7XeJR4fInCXlQ7vX55MUeqG967ZaON1eHC4X6cQBw6MT8gG8p7Y5TRQlAFfUR6xWs+yRRmJx/JFhVLWN2+Xnwd27MsUgNvhiKDO/sMjqi2eEIxF5mLY7bTLSK97zGzdv8JMfv8/B4RHnz5/H7XLI2orImYlYbLMtDqE+DvcO5SFKJADExkvEcT1OB+2euP8r+IJeeYAR/IGNrXUZEReVCbEpExFzs8WM02rFaDbLKLmoniyfO0fQ7yWfS1OrdqjWa3IYJQjYLreDQCAoDwgCzifuvUsXliSPQWzop8fHpPtbbPhEj1lccw+ePiEajjM8HCOVSsqUSXxkCKfTKxMRwvyzuDCLyWiRiimhinM5HdJ3v7q+ysLCHKVsCafPIQfigp0hQIqjw0MS9Cf0kYV8TirkxBavUCzIVIeAhrUaXUIxn0yH3L//WMIGRfS4XG0wNjJKoVKUPXKxEBgMjIyPxGTtb3Z2jMP9EwqFL/reglGhiC63ppNR/CtXVuSwRVSD9OKQ12oQj0YlaFQd6CSb4cZL12TP32iwyNTMzOS4VASKqPGN61fZWt/GbLejaT0Z20fTk81k5GtqlOp8/Z2vcXB8wJkguIvnqG4XnQAqi99VroQ3EpOmIp/fjdMlaLgqJ4kTaaEQG96j/X22Vp9jd1gk7FFwezodBaNV4zRVwy63p24JtSxX6wTDbtq1HtV+j3hQdK1Vqo0Wfq9FViJbtR5Rr5dstSE1iuJwregHX3w+PAHOxCFQUwjbrBRrYjjdxi0sVKqBRqcnHfQOj5N2q067peL3WMFuInlWkcBbi81MPtfB7TZgDjpYuDgrQa7eoaDU5tHVaKtt9o/TzC0tEp+Y4OMfvy+BgMIyoio6JhZmKB4mZerrOJdhaHQU40AMs06YnJqUZo0rN26ytfpCKhvXnqzSLdWYX1rg4x98Jpk47ogTv9dDT1SF9CqpdIWgxymheclUHoH/HrT12GNOIhfm0WltrGY7x0cptEGH2NiYPAyLYY9QVUZiIZ48WZXLhFa3Ter0jImZCWlPEltpcSgqF8oyqZBOJZmZnpLVBqGyFJUnca8SQEDB95ibmyVxfCJhdeIgLnSBtVqVlUuXuH/7nvzeNtltNJtV2W0XulLR8z8+PCZ1lpKQR1EbEf17YRAQ3+HXb17i4w8+kb8boZ+1GC2yjiZ6+CKtYDUa2dza45U3Xub2B5/J5JewXojhubxeS0UcDjuXLl9kd2cPtd8jEA7La0pwJPK5HDMzE/J/9/sDyY4QvIAHD+5z7dpVOt0utVINTa/Jg7sYVAszgEj5bG/sy/9eHNL1ygCX08vaizVuvfKy5MSI9JDo9OuFHvmsIrWikaGwBBeKe/f03ByJo0OyZ4L3Y5L6X3HPFjWly5dW5D317udPePnVa2xv7fOl11/j408+YGxqXGpTtU6f25/f5b/8h98imy6wvrWJXtGhPE+CS5hCTHLR0EIh5nVLHsa9/Sr/7UU3X7tqoljQUHUGmrU2x6d1Fs+5uBqz8Aef1PlPTxv81tdH+dFnGbxGHcGgndPsgM/28rS3/z0m3yi1gy0UAVsv5enbHNiNenqaF615iD56Dp2wUpSfgnWM/qCJqjowUsaoNugaIpiMLdRulZ4+LOtWvcY+Si6J5p9GZw+hdw7RP/qh1Pbhn0HLb6H1ymgmH3rXBFojhdHiRHNNMxC8lNoeSnYHXficoKCgyz+jbwtg8t1gkL2L2jhGF3sDo9VMr95GpxNwXIM0G6mFdTAPY3RG6NVS6C0elG4Z1eCjLxJIIpXUKKG787vzWvKshFnXpaea8HoN0slZK7QlnV94fUuNBpOjUbIFEWNVqLf1PLyTYX4pTKnYwOYxoLU7chPV7+nJ58uMj0TkF/9Zqk0wbqCQ1YhG9Sg6Iw8f55gct3H5yhD5XJ33/j7FSy/FJdlf7CYsFifp9Jns0nS1vvwgGXpt6fhuVfp0tI68YMSEuVhoSo1JfCTI2l6Vs2yL2QkrhWqTdlvH1y56iXmt/N12jd/48wIuh8KbcQM9uVXUYWzriDgNvDhtys53yKVDb9R4lhdtmQ7dno7XR1V+bdHLjSkPPa1NsaTnx5sZAnoNu5jEBl1kClVqtQ7+sA9Du8H5iAudtcfqVp+ay4jXZuA/32nSdTvZTZbpqhrLHgcb/z9d9lu3xiimsjinJrGXUjw8y2ErQVfnZmjSzl/+MMHYkpPcaYuV+Rj/6l/9GtGIgi6+BE6FzvY6tXSFcnobuy6LPnIVg9VNLbeB0TOHRT1GMY/ID4FaXaer6sE0hyMepp1cRdObMagN+pU6istJu9/F5PRidwZQXF4qz36Cd36WftOCvp3EEJuiXqiwfece+0cHcgsQGBtm7ekuY2MhclmhodP4ld/97zBrZtrFXeyhSQZ6Kw5Xj7sf3eZXfvtdfvUb49TaXQoVFbOisbma5Lvf/0NsnTSFkoZqUAnFpshvvYs5tIjeNIxNV6Kr69AsZDHbPPiiy+h9TkqnJ+zcf5en+ymcnjCKzkOxnKddzcpnNr/TiSccZWvtOc16l+lzs7TKBQIeJyNhD1Pnb+D0Rxm0xaRTAJVyuMJ+Cgc7OCNx1GIaRVysk1+XHIfG1j30NhWTXniOW2CZwT10mdydf4Nx4suYdBU5rDD7J0ETF2ZXqj76zQymfoJuR0wR83T0XVyhSZqFEjqLA6s7Rqu0QyuxjWfqZRrFHfm+DXpF/LGbmANjKI1ViF4Elx8623TO0vzoP/6I+082ePfzKtstGFbMXFgy029VuTUboD3Q2Eh1cCoGbD4d2UwNi87AhXNePFj5bL/Anf0Ooz6xXXRxf7vAoGXgn1y1MhXoMz8ZZFDrEDM0qVR6ZMs9hseGeHGQJjLmZX0nj0dtM+qNMj1j5zRXI3XW5fNECaM7yPc2mjwvdoi6nLLnb3RZ8FJjwW9lWxCsrQYmvGYW/S7uHBWptVS0rpGA20CpMcBo0uHXGejrG+zl9bxIdwn7jegsbjnkcJkNxH1dggYT044+v/1WlFajLZJc7JxCvtPHZ7dJFkm1rZKuNPFYW5JNYTeZOUhU8brETVghka/z2sUR2oK0Kj6XOw3yxTZzUz6Z0Ein20yMW1hfbVJs9PnWl2MSSHR0ouPSeTP1WlcOyNwhq7QNhIZ9HO9k0JsMnBw3CMScmBShQxuwMO+m0RngNJn55M4R5UqPd74xJRNSzx4fExm1sjwV52c/PWbvoMA33hnn8cM0S4thSdLNpisYLCYUncr6RgN/QMfomJdUqiwfvj+9d0zE7+fl10SV6zlXzg3z+YMUv/ylCL/07ROKqouYTQDKVNqDHlPjYba3kvhHp7m8Ipzgee4+eMrk9Divv/ayJPlvrG3J7uDm1qbsHItN8ZgAzAn4pc2GYhPKPjMff3qbr37lTbmx2N07YigaR1N0kpouNstCb1ZvNBkaGZa9t2q5JnVdy4vTdJoqu0f7XFy5KLd3c/OTrK1uYrHaJfVcHGxFBSCTP5PJgWKpzNzshKyeCAhhTjwo2RxS2Sf64IvzC9y++0B6qJMCNGgxs7OzLbvX8zNTdAYDkqdpedBanJsjnczI4eD4uNAm7suueq+nysOu1O3pkBCzWr2Fx+shGg7IwYQAJYoYvHjwFGmIm6/coNPqUijkJfldQNoEfVu4tculM0bGJmR0Umyj4vEIpydJue222110Bx0JFjTq9JIlIPr1QknnC4ZkH12A6IrVioxx1uolRkbGJEneYNTLlMK9u3dlBF6olwTIKhoNyIdSQftu9kQtwyAPukK72FMFVbtFJpeXG0rReX37G2/y/PmqTLC43TYGqo7d7TVG4iEZzxZbcEE2bjWaBEXnvFwgFAwRjsSkZzoaDXPp4gX294/JnYmfdZSd3X1qlQIrKxdlZ9tqsTM+OcyLZ+uyF37CwmAEAAAgAElEQVR8lJCv1WQ1MT4+zqMHn+PzhjhJJhkfjgNGGTcXtUNBiRefIxFtrddVQtEvDvc1USmZXZSfE51+QEtErHsDqW0TWsdEIi23YGLoJtznx0cnMkUg4Hl7O3v4IwG5/RWfxeFYXD5wl6tV2V+uVQQs2cf+3q480Au4njA9NAQrwG7HZbd/8e9p4rOCTDpcv3lDAv821jZlr1YAEwUkbmFpXvbptza3mZubkwON23fv4fP45YAokTzFYBS1Hjt2k6jzGbCaRFKoLFMEZpNQJ+ooV8qSHSEi7PcfPpZKNbEV1xl08oAjDviffHZXvjZhpohGY3zwwU9lrF1sGwWtXRzyS+WaHDZ9QZ4vUWtWCPh9OGxu6SufnxfJGRcPnzzn5vUbbG5tUK/UicUishYkro3z55a59+CeTA8Icv/m1g4utwc9mqTxL5xb4OQgKWsgFy+e4+jwmEgsxunJsTxwbG/vyU2m6Mrv7e9IXZpILYh4diwS5tnz58RiUcxWyxd+cX+QbrdFq9PiJHHG1NQorWYHi8nE3uEho0MxYvEYh4cJ+XpMBoWNrX0Jf1Tpy9+RSAcVC0UyeeFxn5Kf613hZxfoxcFAMqvOXTgnv5OFeSRxnMRoVriwssKHH33E1Pgs3oCbjccPJP+qWu/gsBkxKEY5eBv0NKanQxTzdRodlVy1yuhQBLsBCcRMJiu0uj28bjcvdpJMDHuo9/p0lQELwSA7qQzNjobXasJgMqAO+nTaXXpdGIoH5LY+NBKR29TT0xrnFoaxWY3kMwXsPjdHJxl8bjtWnUIx38aoiMqZGW2glxo4+Qzd6GG1ChaMHqumyAHdYanCzJBbAkQFt0CwVUSip631cIr3v1TAHAjIIcvPf/1NkkdJUicnFM7KBIeD+Jx2zhJVsrkMvmAA4wDaZ0XJhAhIcKKK0a9wclTG6zLT7XTJ9XuszI/K4WkqXePi9cs82Frln//BP2Nv+5Qf/MXfYVT0LC6KDWifbkejXM5L9as4uN7+/B7hUIj4UJzTZAKTScAPy6RTeQJ+J55AUA6ThGJX3LsEXHMoGqYgQJHVuqxyiWuq3xN8FpHYSxGJChaDhWT6VFpm+u2+XBYJ6Gg4EpAqv1a9SXwoJus1L15s8q13vsnRyZH8O04Oj2UNKBgNy3SB22MjPhyX94HkyankaoiUgQBiXr9+XQ6cJaPFZKXebjI1Mcz2zj7j41MyReRwObh2dYXP79xnV0AYl2aZn5vm08/uYNIbiI8OMTU5xfMXz6TS1OML4PW4JJNGGA9WLlyQ1jeRrhHDqEg4hKoO0HTi5+5KZoHQNe4fnGDQ675QkZ4VWFqcY3tnl1arxuLiOZrNGiaLgPXW5e8hWyxIZoEgn4qkmdGsl/c2oSW8dusldre38TndcmMurlkBbGxUq8wsTPP0xSYem41zF5fk4DKxl+bm6zc52l3n+L01vBEXw9NRipmi5LyEooLhUpDg4//pdRupYoHdkwaL434cbjMPX5R46XqcaWuNf/Zun4+eN/mVSzYe55tYULg07eN7nx7R75g4PPg/6O8nKHQ62IZu0stsSuOJxeGi36ug7whYdxWduN9ZQuh0HcCMah6giAFB/g6q6zIGrYXWzcnB/UDRo5gDtFsV9LUT+q4JjK00it6BPnaVduouA1cYky2IVsmg2jxYdBq9ZlMmhHVWN1oli6ap6IPXoJtCV1gFWwCir6B0SnSKJzIlopo8chiiiLFjbRcsovY0QVtfQd+soCg2+o20vH9gEpWQNrpeXzJ3dH/5q36t3+jjj9g4PCxJtVTAbZawqo31CqVSm4kFhUbBylm2zNiMk3ZJj2bQWF4OcPf2IShmFpY8pA4r+MNOSZ2Oh50YhUJpWHgpYW+3hi/oIhQSByYDpVyfkWkPJwd5ztI15ucj9Ds9ThJlxqdjdOtlun09hVxHqq1Ojivy61pEdn1+K5VSi88fp1ma9pDJNWUvu9JQuHrRTrmiUix1KZTqXFiI0+nUmJw00E61+d5ah3dPIFMb8KVFH55+jWSpScTnwqyz0tILwIV4uNOR69WYCIfIFls8SNYZsTn4Nz+v8pVJEZUU4wErmWSV9076fHXcy0G1S7Hax2XXyd7g3ESMVL5EutDm4pQBs0PP+mGHbEVhqwAfJ1SCboXzYy4qxRZRnwFNJzzhJnxWGy6rntunecwGCy9NWHjvcY1PtxrcmnWwVW8QVxz87//qHeyz8wwtLNA/vUtybRut2iMQsqDzR1ENcfq5VcrmID63k0E1j2YJyU545+AhRv8ytug81coTLD3xM7XotzT8Y1doZLcxtXu0bQrGtoicWzE67fT7RgZG0fFPU8ueYg8v0m+VyO7exyqggD2N57e/x6WrXyU0PUuvdCi3QO2GSmz5Fu2zNebf/nf8+j9YYnMvy6DaxeoXvecK7/3Vb2KxhKnsrtLXFfBNvs6gc0ZDH4BmCl36Kdax8zQbYlClUMkcYLb5+ejjH+DwjDN/bolP3/tLxsdnGRpfptqBQibF7Tu3Ob8wwvzFKcaGzuEOB9HRQzO56ddK9CopusIv4/Bi6nUZKAqDVlXGSUWPv3XygkZqE+fcyzRVL4OTTwjMvEUru8bAaMAmYGJnTdROB0c4QreVlSqQnrFPN9vH7gtiDY1SazUwlDIYYnNYnfPsP/gOxs4JdpcX9/AwDbWBTQlRO0tgcLfx+0I0e+BweyAWYGCMknvyEcUHJ3z6YIv/68NjXiQaeACPTWFlzMXspJ2N7Twzk06qFZV0qYte1ycecKJXVGa8djb2krR0Pg56FZQGeKNe1nZazEZrTIhDcb/Jb/7cCD97fMjVuJOe08DGbo3xuJN8ZUBfUfFgwmXvEtSbyA4g6jHzON3hd98vc9a34zD2qKkdbsWtXJ2I8P6LY2wWE/6QHp/JQipbkymYQqPLWafPKzM+roZc/PnTlPx+sSt2MLZJ5HrEo16qzTZnZZVS20hP9Kw6eqbcPX7xioleRc/cuA2jEXaTHSqNPjbaKBY71WYLnc6E3aRit4iuvZ1krkmhIZIHFsr5LjaPk6ERCy9Wc7JTKkA36QJEPJrcJtjEZkY/oNEwEPYI/fVA9lWF2eT44ISX31qiWVH54z8RyjALX31rhEcP0jKuvXwhwovHOalgMlsVPD4zO+sZCQUN+Z2UMm1WbgQx6Gw0G1UaLZXEThtvUJMecZcVTA4jp4dVfu7NMe7czkhA0siwm6erbRy2LhfORyUVfWrCRTYvWBADOZht1Jq4XA7iQy4O9vNcuTbGn/7pM/7RmzZ++280fnrUY85rICrKcf0Gp4WOdFxPTYbp9o1YrU4mpqfkDTrk9xEIuNjY3JJk/GIuR0ftSYL9w/sPuHz1EmcJodYT5GkfDx6ucvnKOU5PciK0K7vDYmuaE654t0vC48bGx6jVmzJ+qKo9CVNLn2VkzUBE+M9duMT7P3tfJg3ERlBEKPePDjkRjvapMapiAGG2SJOFqE8kDo/kQVDtqZIJIxzHorsrXOh+b5DMWZpUWlwbk7TbDUZGRnnw4CFfffvnpPpTkEXkJjpX+CKKeZZjaWFWRvEsJovciIv0g4C4iQilAN+I1ytI8QZFIZlIMjM3KZWB+0fCze2R27DHTx7i9wZoNZsS7uixuWi0mhLKZLJbGIoH8bgC/MV3vsvU1LgEBBl0itQKCm90rVVlTVCKWw0uLp+jN+jJZEEsPkZH7XK0v8PUxJSMft7//BHnzy3S7Dakoq/fUylXivKQNhyPyxqDwWSUlRrxbz168oSLF5bInOXlIEVsu8VDoahqCNZKr9+TGzbBf0mepDFaVNk/VIQ4TqeTP/fMzBitjo69vW3OLy/L112p1YjHBMjXSDKZ5vziDE+eb8tBhABwCbOCcIK//PIN8oUCam8goYNiACAedD0+n2QkrL1Yp9fvy968+D0/e3HIyuIEPp+VQq6C1+the/dI0s6dgYDkrcRH4hTyJfn+ilpDtlTAqDNRFwOT0RGSyRNeee0Nnj5+Qk/VqBQLEia3vDjL4yerNBpNfD63fBAUh3XxPokNs3hIFp+Niclhnj3f5PLKeXYPj+X7IzrXlXJZJofanb58wB/o+uSzFcmYaNbrNOttLHYDPq84iPR5+OgZr77ysozwiu6sGATlz7IsnRc8jFM5WPA4bTQE2bzRkPCtq1cu0ul1v0gc9VTplhfGC0EmH7RUuf0vVSoc7B8SCntZOX+eSr2J02mX0X3hoRcJhr2DA/m853H5OMunGI6Py6HYxPgo9+4/Ij40jNdjp1ZroBhNWAXwsNWRBzVR7RSDPJH4E9o7cdg9TiSYmJzk+aPnKCYDIyNRqaAdGRlidW2VN15/TR7sBE1dHKZmp6bI5cp0uh1uvnRFWg5K1SLRoLjWDTx68JTzK8vkzjLygCJ+ntn5WckB+eCDD1lYniedTGC3iudKP48fv2BuYRa/1ycTEuIwI+CAgl8hdJeFckEmh+Swot9jenqOzNkp/X6PVq2JO+CTFojE/iHNWonT5CluTwCzUcHlDpLInMrEikiuCJOH8KwLI4Y4fIl6RDqZJRYWrvKWjMCnKw1senA6LFQEqNVmQFi7Oi2hy9BRLFQJRuwoejubRxlCPgsnSZU3b4XoNnX86OEJt6bFfU+jpdMIWCw0Oi2ZXhiLuyhWWqQaTZSWHn/IikPpk0z1KVarTM372DmoyQ2/RbHQbIrNuQGHzULY7yCfK3GarXFubgi9UCzunUi9naDGi3TB3FAYfyAkyfLNlo5Evsrl+SHKmSxWr1fWFIRK02i1SnhrV6QHAnYMVjvFshhyGhDMYr3w2CcKMr6taSa2No4Zidjp6oxk02VGpkfkVrtdbUhwovh8icSSI+Dl4CzD0rUV3BE/Bn2fJw+ec/PWLZnIEWrD2ekF1tZeSOWpuD5Ojo4I+f3MLcx9ofazO/CEgqQTx0xPTkv1nWC6XLx4SX4exbUqttaaqpN6PqFaFSna48SJHFyK5I2Abqq9LnPzMxwnTmUtoVYsS82gSBkLfWQ8GicQ8JDOpiUlPxAUdV5RVEHW38RwcWxsglQqwdPHq0xOj+EVjIpSFY/TLQGfAhb4+eePpGpVZzRg1A8kGE/YbEQFV7yOs3QOr89JLpPh8tUVdreOCIZCJJLH+FweefAvZEUVzcba2pq8f4SHYvTabcnqqDbqdNs9otEobpeNUrkov2NiI1E5aBPfTcnUEaOj47g8blLpU0aiI3IB+4O/+3tef+OmtGdkTtO02205NOyqXU4PxEDMzKuv3uLO3Xv4RU3HCB6PRw5em42aHJbrBgqjk8OS++D1euX3dbVUk3wQYRUa9LvMLC1Ig8PGk3VcPicBxcrWR89xuS1EYgFWN085vzCM2i1y79TA9UCP7/xGlE+eVsiXRGrDTrnV5v2PSnzpmpsryz7e+L8zOFQTYxEj+wdZbCaVsVEf3/+8LDXVP7j9H+CgQLY2QN+qY3Ma6TWKGL1R2tUiBrMfrfAcXFEU7xy9eh6DGB2qZcCFvrFDxzuLqV2hWRcV6CiaVahpy5hNZgbiTinekEFPgsuVgQmtnQbnOGpDpCWs0M+iN/sYOIJQOQElgGbRoyp2lGYBXacCZg8YnOi0mlRUdwcGFDEU8C7T1zUZZHcw2hy0+xpGzzCDelpCAk3GAKpaRq3kGKgdOdjEP8dAcAH+6teDWtjvZXcnjddv5ixRY3Q8gE7R8/xplhs3J9nZPeL8uTj5fJX944rsURsGNSbnA7Lzlks35QOSmISnTkvEhzxYnGaONgtML4UkBfgk0cTpMmIw6ihmWySSTaZn3JTPyiyszFGrnKEZjfRbA4Li8IqRv/+xuMj9TM2I4UMLu81IMtFmc6vIuXN+fDETpTONeqWBO2LGpql4Yx4ePUoxP+HnpNgiZFckTOJ4P8+o18LirJ87z1L88fMeH5wOpH932q3QGXRw9zUuzDh4tC++nxuMeBwY9T0SVR1mm4HN0zZNq4ZXsfFKsMfrkxqzMQ9LATe7J3l50z+t68jXOxTyNS7Nx6jVijQ1hfNzUX7w0xPeueJnbNLGk70kbpOB22Un//rdBv1Oi3PTHtyGLgtOI81WWfQeuBFz8OfPKlRaDm7MGjAqPXQ6OzZzjw8e5Ii4XbzYrPI7vxbmF3/399C53KC5UJtVugfPpOLHbPVgn3iDXu4+VBKYl/8xlE5o5u7Tt57DXFuXSiu9aQirw0y1UEbxW1G6Xeq5M0xuHQbrOJ1OBavLLSdiTa2L3WjHIqjrthDtwhp6Z1huv1rFHYymkIywt7J7DNpl9M4A3dILQvFbNHUtPCu/z699dZSdoywhl5W33r7AT36wyh/+/i8zOushl2mhaFWMfTftxh7W8JepNHbQ1Y5xTb6KoZ/D7ojw5JOfsbVzyKVb10jsJ9CZTKSOs7SqFez2lhwuvfWt19C6JeKTr+IePU8rsUnh9Dn+2DwtVUHV6gLryqC0L9+nbrVAu7iBzRdBFRMzWxxjKU398DvY5n8ZxTZJP/VdOtbL9HN3sY9/GVu3TbO6jS3+Cu3aIcaWAHpU6NZPMHjnUBBAqSa9RgJ98wTz8FVM3vOUd36Clk8TuPoL5A/W8HsUVMWH3mTDOHUJOgVpt2hkkvzxH/wNf/ve5yTK0DLD1IiLdqbK0KiTEZdKKGKk1Tfx9KjGS+M+7m2VWZx1sn9Sxm1TmBhyc+9FkdNmj+mxIOunFYptI5fDCis+Ba++y6tRmBk3Y7AEWT9M8yzTIxZxSb2RzaKRzra4NRNjfkTl2bMMR30znzR0nKQHNHUK26cNhsNWrF0R04xg09c5zIkHRvElqOO40OWVMSt21cZZty17bGaHhVm3WQ6lvv3BGQuTdnwWlc2TPkMTXn7wosqww8i0U8Xj1Lge73LOqWd53MVqw8SEuc+PnhXkVH3K3yadgwfrVVp6HZVqB59NY2bcRanVod+CerNDwGcnFnRymG5iNfTwh+3kU0XafZMk7MejdjpVPeFRs9Q5bW3nsehNvP6Kj1jMxXf/eo+hiJmRERfNAVRzfVxuq9wkRII2FqZjfH5vj24PphdcrD2tyorV2+9M8+h+Xm5dZmcc7O+UeOOtGTZWE+zvV5meEpv9HqeJBtduDvHxp0mKZ00mJ90Y/j+S3itIsvQ8z3wy82Se9D7Le9umqtp3T/dMjx8MMANAAOhEigyJgsRYSmKIIV1s7F6sUcTGutiQtMHQhpZckuKSC0IkQHjMYGYwftp3dXd1ee+y0nt78mTm6vv7bhCB6anKzszz/9/3vs9jaVNtWalXO5yZi2E226qeYO1auPvgSOl+ohEnJ8c5XB4Xly/2s7FUVbaG+EkDGl2ef0G88GVefS7Cn/34mH9/p0sk4KZdKzDaJ51V0ZHZSefKXLr8HI+frPCNb36D99/7mHDYy/joqFLUfe/773JqdpBXXnuVv/nPf8f1a5eVlm5nb5/f/I1vqt7x2vo2Wzvb9A8OqB6uwHJaZpejgzgXL51jf3eHtfUtNQTwBUQVeEw0FFWRVzk4hEM+dvYOGe7vV6A02VadHMaVOvb1N99QFQCJu1+8cFZtcoTiL4Me6fLL91A2n2aof0j196UPeXgcx+MKsL+3q6j1c/OzHB7EsdhgZmqMvcOk2mCI+ml/f0/5oAWkFgxFOH16gqVHq2orLwc+YSHI5knc2gLWGZ0YVQOLVDpLtyvgxB6MZhuPy4XLo7P0eAWny8nc3FmWny6rC0s2W6TequGRw1dVLCoBBfMTYJVA2SR2r8lgLxhgd+9YdcQdmqYOyA7dzkBfDy6Xh9W1NXVRXllZJRoOMjg0woe//ET9DAKDE4aCxMOnZ6ZwebzcuXWba9evEfB4VBXj/t2HzC3MqYSf1ylw3x0G+6NMjU/y0aefMDk+ozqza6sr6oKwcGGGWqmJxWGjUixyfJTmuecEHLetLq7Fomz5PGQTaXSnVAOGyaYylGtl9Z7t7esBu0Y+kyUkzyurRYHUZCsklyrxUTuFARDp4czZaf7jf/xzTp85RV+fVFqOlB4tkSwyM92P1tYpN0vUq018QTe/8hv/gI8/+lRxKYRcL9u/gC/Al956nY8//EQd5mVgJds5BXa22/G6XSpNY7VYiUWiipdQqdVUmkE0fjv7B/jcz/gB8h4sFWtcuDjHz376Hpcvn1dVAnmPNZoGjWqDwZ4eqsIxmZ5hafmpUsrNnTulPOJdmRp2u1QrRZpmW8G5QsGA0uzGk0fUynXlcZdKxvrmBi/evMnu/g6jI0Mc7B2qjvDm1o66EPf1y2YvrLSUmsPGwsICX3zxmdpMSo1DEgXFYknRvgVYWSvmWbh4UUWUhdtgsdoV7CyVSqlUWyadUyaL4eFxlXza2NhkeHSYzz+/o2wFMlBLxE/U8CEWDRGOhJXb/ejwSHWgpRpgsVpwCdzMalEbVhmiCO1bUqGHB/sqchyLCeHfwCO1p7JsqDRy8rmxtJiamGF//0AxLmRz3N/Xp2LX8nvfun0Hs91R1HgBifX0hRgZHlXd7+WVNQYGR9WFUGwaoiMUoGn/wDBWW1dxJc6cOsXS8hNV8cimCyohMD93mmi0l4eL93ntxVcp1krc+vSWUiLaTEPVBo6PE4yPTzI8PqwMDiNSNWq3lc5we++QCxcv0zGb3L3zGb09QXWREjDm1lYcn27DYTepy/PfbqfWKtHbteGL+TlJFDg7FmVzP0fE72E0ZsPrcHGUq1AoWgl6u8TLTZx20YxYyFaqxKJBdTlc3S6juTosjMYUXHg3XqDdshHy6RhW0S7WmQx4FdMmk+2i6aDbuxzm5CzXoddvZ2u7pHgFfVEbhsVKpWIwOxqianY42EwzOOxVn/vDRJHpiTFuP9nEb0VB7PxS0wsHSaTSWFs2juR8HgrQqhfU6y0JjI5hUSYNl9eFLxLCMBqqgiGX5EQihdfjxeV0qG1pPV+nZWnSMzhIPl3ENztE3aipCtfwsCxUOiwtPUX3uJgaG30GyfO6SSXSalAR8HnUJl0GjS/cfF4Zx975+bsq8n758jm1xf78izvMz89h7YpRZI/xsTHFdxDGyujIiKrpyIBaoJky5JV6kXzXBNx+OqJj1p1Kqyjf76K/k3SO6B1TqSShSISARzTmTxkcGFRdcRlqSrqsbhjKhPDyKy8pe4KkTQYG+8lkMko7PjY0zCef3eIbv/p18pkcT5ee8Mqrb/DBBx/i0m3ML5zjnZ+/w7UbN/A4dSqlEnaPi/3tLXyBsIr/Hxzs8o1v/T21cV9fXmF8egKH5lAazp3tbaWKFCDn0dG+SrJ1OqbSiebSYriJUi6V5Amq+BiPl54Qi4XU93QhWyIs3JRajbHxQUX493qkWtJk/txpQv6wspRImi8Y9Knhhny/XLh8hR/+3Q+J9oa5eP4yhwe7HAvXwOZWab9Ou60G/4ODPdjtLgVpHR7q5/HDVc5fOUvA62dsbowf/C9/TlR3ExwPcbSbxu8W40KLgN1greFi2gH/7esO9uI1iiWTSq3F/GwIm13n/JRP6Zif+9+OiHodDNirdN0h+jwmMZ+bu1Ijj7r4v++9S+veA7paFZuGssm4dIHO2mhu/wTLyMs4vCMKzlxNLEL+IY6eadruK1ioYbNUaNuC6LWqFMmxWFx0u0UsNh8dq51ubh9LLQW956CRwOqKgH+KRvYhui1AWzr8pROsuLH43SCLR7XultRahE4zpy7/ktix6z5apRNazVW8/V+mWU1h1o9xOCN0rE6a+ScERl9QZ1ZLI0m7XsYRGKWRWcPhH6cTHaC7e1sxc2zOKJYf/tPebi5dp28gyMioh+29BMlDg7FxD9mciTcoAJIG40MeWlhZX8nSO+bEaXOwu1Hg4vNDfPLerqLUv/r2IP2xCJ9/uo4v4GLubIT3393jpZtTFJsVlhdz+P0OglGNSrmF3QbRXi+Hu1V6enQyxaaiqe7tSefZyrl5F9MTg3z3r5bpGwuwsBDm4cMjvG6NcxfGWHq0S7OpMTEdYulpBrvdwdpGntERLx6XuCvbbGwZTI17iQxomDU3G9s5tbX4ytU+pXv4Z39X5aTSotJy0R+BSwGTdL3FaCCM2WiyV2uyk+1wYdhB0G6yelJnu6mRr9lVlzRis3FlVmfG3eQPrzsJO0LsZ4vUTAuPTww8pk6tU8XnseLX2moKu1uu06sFGBDAIdBydrmfgz9+WKNQA4dPo1usMj7oJ9Q1mB4a4cdPDpiLuOnpgU/W6lw65WblwKDZbCEVMalaYO/yu28N8tIbbzL3xqvYo260VI7SwRLFkwpWbwszfojhD+IfuooWf4xtZBAzfwKufrTIArXEF3jsLho1k1ptVz3oRkavUXUHsWUzZLbfx99/Ec/IZeqZ+9QSe1itduy94/hCz5PZ+Ql2M4vFHsI+cBFLWbpIJq2uibsG+vQcG0sf87U/+C6/+8Yw3/nFLs8vjPL11+f4F//mFzz4+R/QNzpIKZmk3emlbU2qC7lr9CatSgGHS7rr/aQe/xV7+9t4zYDaMuv+CEsrazhp4wpH8TksvPrWVxWQye/R6LQN6qaTWuYErZVCi45hcfVQP76jNrz6zD+lmvqcRuYBumtYeUhb8uFLrqD5nDStIziKt/Fe+kekHv6ERmWV6Ohr6F6ZgHdpNdJgNBQwyyjncPomcY32qWpNXgA+Th9er5Xs2h1cVgda3zCJh39Nz8XX8bh09P4bdG0C8HFjCvAut058eYX/+b//U754DEeGBZ+zy69dC2DqOoVMTenoBJDz8U6eYd1OpC9I4jhPEydfvhDj4+UU58atrKac/HItQ77WwRNxE5ZtplnnpQkH377Qy+phgvGYn3anRv9wmP/1O3FGZu00GhozLpgbC1LLNxjptWH3aBzFq/zxpkmiaufhboW69H7DNqJBB7VCm7fOetk5arGVrVG1tvFodnqDFlUtSRu6SgRN+K0kyg1KplNtDKZCXeLWMORM4/YAACAASURBVIurAm6CYrfJtyb9ivi6ELPy6ghMD8lmtk7SqON0+NmJl8k1a4wG+0m1arTNGpZWm1jUT7jHy+pOilrVZLQ/wOxYlFsPjgn6ZJvjJJNrkSxW8PlsxE9M+mTTVW1i1a0E3BpvvhrlYCdPVxN4kYHTZ1XqQ83Z5c/+bJfnrgS4+doU3/nLh3z1G3OsrccpZkwuXx+g27Kxu53E5bbTNOSwUebUTAi3v8vqWplCssrVG73sbBTpH/eQT8ghrUoo5OIkWWJ2KkQiUyXkczE47cHWsLN1WCTk85BIlRkYcpDKNsmf1JXLenjaiVlv4dQlbij020E2VhL09bmUQqkuKtBOl2rDhk6Xe0+zfPPmAC5vm29/p0EgEkBvpAn7fVQMA6MD1VKVU2fnCET7WF1ZVf31nmBIObIvXb2Gy+lUuh4BtD56+oTnrt0gm89zdHDAC8/f4Ic//Aljo2PoLgerq+vqENOs1Okf6lUXG0k6SMdYtIECnyuWS9TKJbV1lAG1xJ+fv36dDz74gLHJUXUBXliYVR5xAY4JW8PasSng0JOlRU7NnuWzzz5nanpWAdBCkbDyQVsdFkW4l0uEqN7kwrSze6B0taNjQ7RbDfKFGsdHx/T1DyoScdAnyRONyZlJWrJ5LRawWK0KRFY3G5SLFerVKpeuXlJ/rviQH95/qA62oyODHBwfqkuNZrFiCsUXK2MjIwpouL+1rQCTVq3Ll954XR2ctta2iJ8kmF84pQbffT1Rdvd3yRUF5NpidHyCbDqtBjwSc+2YFvaO9hgfGVOO81wpx+nZsxRLGRVd98tQPpnhwtWLvP/B+4yOTGCTbdTJseIgmK2WcquLNUD+SeLVUhvIZUrqEOxyStQ5rQB3VocLXXMxMTHC6tOHHB0muXzlrPJRF9XDSsNqdPnGt97i3oMnHBxKlNtP12JF0yRhMMbW+o7SrEaiA+owKu8zORTL4H58cpS19U3KlSp9fT0M9sfY2NhmamaG46N9QmFxwq+zMH+Wcr5IJvuM3v3OTz+ktz+ktpW9fRF6Y2GOjlO4XU6u3niRWqlM22JKCIvlR08ZnxhV2sNcPq2I8qFACJfuUBC++FGCTqvJzVde4idK3+VhWDrvB/tqiyX930K+oC41y09X1CViYnKcd955D5ke6U4N3a6rQ70YKOyaGEIsLC4+UTT8VtNQdZDzUrUwmwrIJkMaib9PjI0oar9s8mt10QnOKQ+0JBIi4SiZdIb+YYnIHyhmSKfdIRgNqcGPbMSlKyr6uuduXle1BqmQdGSZEYjQ1xNRlQKJXC+cO6fUisVMUQ1HBLAof/+m1BTyOd588yusri2xtbWP2+Xi0uULbO9uq0uEx+OmJxZVgDFJc5SqNQIen+IciPpMaiY//tHPmJmdUtUM4SZI4kRAf263S9kn5LJXLlUJRnyKTyTDrYcPFtXrLGkUed8JAfze3YdqkHjh0gIet0MBEMu1FhMTQzRrTdY2N5iYGCfoj/DJRx9z5sy0qrNkkzkuXbnEwd4uRttUdQ+pkAq5/OHiIm2zzeTkuKoCyMZ+fWOHU2dmlG9dIKRrm5sc7QvEzM9Lr7zEL372M9ZWtjl3aYbVpS3GJicYGh1Ww7fk0REbu/uqIiV1ChnW2a1dbn3+GZosoXrCVDINXL4uuXJHfUaa5SIlw8lR2cRi6zDs9VHvdshXi+hOH5Z2mbqhMRK0Cz2AUllUji48FgdDETcn2RRaV0Nz6Vi7sthyUZKePgZmBQbDuhosSSS464BqTi5ufqX1FSaA3+kEiyTuvOrM6LZ20PwultZK6CGHGnRGdZ2KrK2tBk2zS6Papddjorll0B0Fq3BcitRqVbpNCyVDNssWvC6N/XSVgYCOre3gMFtWulFLq4xpERaMh5N4Wn3nSHImoZI5FgaHe8kWqlSSJTUQ6kiKashHyOej3DaU5WR3a0dxLgZ7hxQt3qjUaLY6CgQqVRV5dvT2P0uHHe0fEIlEuHX3AVNjI5w9e4pMrsjOxjaRniixnmeDB9mGS/pMEkcC3BTrS7Ek9ooqoWhMqU077bralrvdDpXuWLhwCadDU5pMGWB5PHLJQ4EZpX5yeHCshm4CMBZo3vkLc9y790g57iVJde/eY164cVWleGS4mc3mlW5QEkVLS6tMTIzSrFepmQ1lKhGuhtQAZGD4wos3+PSjz6g1DTVIFy6KvJblcpnpmWlVCZLnkShpM+kkV69cJZUVwr5fbe/v3HvIpUsX6HabqkN//co1Hj58zOtvvsrW+oYaokuVanxyklwmo2oD8jNmsjnF9nA6hb8m6aSAYugI7HbxySNmJyeU8SRfLDA2OKxApjduPs/D+4uCT8FuszE/f4FPP/0l09PTKln20QcfKvuI6LUFvirflTJwlMSE3S33y236BmIsr63z4pdfZulPf0ApZzI8NUCjWaLbkmFWl+sXx/k//2aFb5938I0FB/muzuRED+//fAWr20Oz0+CFeR81M8i//ts4A/1++pwOEoki3h4PZrbOp5sF/utfj/Av/vxvyfzsLwj4emgHo3TL+WeQ+k6bbiVOu/8mtv1PsFqbdPyTdC0OsLuxtEoKQm+1FMFsgWtQAQotTROrR/hRDprpO+iufqxS6ZPkTz2DFhxWdfNOag2ik+o72G5pPDOFGXW6DrcaSFtadrpOG7Z2gzY6HflvSNC//IRWq46t90sgesDkExyefjo9M3TEOGaxKOW2zReA3AGW/lN0TB1n84R6w8TpdmPK79YxsPzk9we68sUS7NEo5qsUsi1FcR6bjrG7UcTjtajOSqtmpVwpU6936B9yk81YCEq+ydGiWmsyNBIll6mqB6IkI9eeVgU+jaVtZXzSjc3eUn92IOrH79Y42CvSPxBhdTVNtVjjta+Os7aSRb7+Zmb68XgsCghSr8jB1VAT02yqwPhQDE/YpoYSq8sVJsYdpNM1BUmwOjVSiRbRiEa62KY34sJqNnmyZ+KzS+/EhjdiMDPQh9ExOdlLcnMhxnZW419974SSw4rb5qbTqnJxRMPncNGpNci0nlFlnc4qB6UWIxqEQn7MpknCqCnIVrLjIFe38UKoxb/9ZoxhvclWtsWZU36Wnpq4fTYOq0329kp85VSMYrXNQb3K5kGFF6edXJue4DCXZyuR5XHOwWbTzs8eFkh2NP7N1waZ8Te5d2TSqOmUannuptqMuWAmEiMlXzlajUalzKPNJkMeO4lCizdujPE//Yd/jScg02cX1m4YY+V7lCSvPTRJ8clHRGZeolM7oNYsEZh5AzMjkRQLVpefanoDZ98pCA5jHD7AZW9TSmxjtTZwTL+NcbSJZtaxRwfVh6beKOMI9qMbUG8n0V0hjLYPt3xxd+tYWyX8U6dYe/fvuPLtH/F735ql1hBXro29fJ5f3kqz894/Jzx1jtzGfaHe0WkU0TQLHat86VVoHj3CN/0i6d0nSo3k6B3B6x7BKG/ijp2hY+6Q2HiC19eDMzyCNxSlXDmgUWjjCY1BbZOmGcUudYhiHn1ontrKDymVt/H1vYHNUaVVa+F22DEExpNNERq5QlPTaO/fQgudprbxEd6pG3Rrh7SDpygf3cXWsuLvH6VplNAdMTVxr2bW8DhOkTVquHpcdBO7GJkCgavXcIyexl61YwsOUdlb5PjRzxUU5o///V+zkbBxuN+hWG9z5ZqTcsrA4e4S8Npp21zUTDsDAQelbF7Rhb/YT/PrL07xRz/dYcBn8LVrQ/z1/UMOM0LQ9TAa6dBrrZORfvkZG6/MeIiF/JzsGzStLT5czjA7GiOeanDlQoQ7Syec8tkVdX2gW0KL+Xlvq86HB2WaBPlkt8xRRT7nNt6c9eFsGdw5MXhp2M1RNs+TXJuzQxE0rYMYVEf6e/h0NU222Sbg0hiwmnT8Th5stTg9qPH+Ugl/WCdfa3M5YPCtq35CbjvzY3YOtouE+oOs7RYodWUoWWAsFuSDlQy6w8lrzwd5990EZ6adWAwL4aiu+pQdNIajDkWwju/nwWtja7WL3dXG67OxuS3VIht+m42eqByepHesMRixKuLv/kmDfKKLVWuo+OLBXlr1NSXCubJcYu5cmL3NIv09fjU48IedaotZr3dJZSX9INuyFlWjy7d+dZjNJ0USCdEjNhke8hPs09l6muHUfIzUQYViBUbHnSpq22k2aTasJHJldZjQ3TbFThke0UmfVLF0LCRTNeVuXtvcwWZzMtAjJHgvpYrJ8VGe7c0K5y/1UC42OEm0uXkzwvpKQlUOLLqVo40Cv/sPp/m9P0vz1/eavDyoYdHtVIp5CrUOfREvmjfAtRsvcPuLJ6TzSfXAly3CF198it8XJdoXUYAssa9YbRCJhFlf22Kgv5eW2SEeF2iYXFIzKrq7vSGX2rxSNx0dx7FpTjSbRW1GZVPscbs43D9SlySPROzDYaw2nZGhXh49WcJu0ZRWViLZcumTy510OY/jCXyeIJVaGZfbpS6BsvHsdFrqMCPFZvGFS79TElECQZVN5PbuDq+/9DIPH97n8nM3+P7f/VAdlMSTIhFqqxVF5nfY7SqWLhtL6UHvH+yp7akAH2UbExC+SDiqOvrS+ZXYvBwK/V75HUIUcrKxcSjFYMjvZ2p6Wl1k7HYLPl+QxEmKkdERqlU5rO4qOnKjWmT29Fk++OQTwkEvAV9QdbRtFquiaR/H42og0tfTz8rGMvtbCaI9Acanx/jisztMTUwyNjGqfNCiz9reXefM2Tke3H5IrC+qqkgSnR/t61ffwe+88w5n5ufRXRoW08Krb7zEypMVDuJx3A6n8jzfuX2XoqifJofIFIscHOcY7guoBIdcqMKxCFIBla6wqOAEEhkLx3iwuMjFi+c5Pj5SlQy6NqUElLit0Kn/3jfeZvdgn7u3F5mcGFdVENmCSw9eqO/tep2jkxSBUJBSIaMujIlkXgGmChK5DwWVeqwo8WjT5Gvf+BbvvvehYgZouq5imMVyAafNju50qkGKHFqblSr+cFDBtMRfbXZainofkUTk1o4avEh3WiovAjaU570u3eidbYZGhtSF3Ot7Vv0QFoRcfmWAJFUXm8OhBkUSPxf1pGybt9ZWmTl9WkFpf/DDn6oLrww8BgeGuH33DhYcCphldoRG71UcpGA4pF6zaqVCVPrW5TrhUIBsvkCxUiTkD6JrOnce3SfoDalNvERuBYw4PDJKTyzI48cruFxOBSM7ODxB1ywMjYyRSCRULUlUfwJqjfXE1IVENvfN+rOObrvdVWmV1eUVRsbHFAhPeAaiwhRYmnyeJFK8rV6vUcVg2NzYoH+wn6npCeWzX9tYU8MkbyCgLl9iKjl7do7Fh4+4/vwVPv/kDm2knuVhbHKMra0tioWSMlrI/15f31Gv+c2bL6hEzdOnKyoyLGBNYWjc+uKO0ubpmk1xQqR24g+GePx4kZduSmS8phIpkjiRhIJAE89fvsDx4QErS+sqEiuXn7X1dfyhEMODou7coVQsquRHtdyg0mwwOjZGMBhhe32Tq89dJ51JKmNW/CTJ8MgYt+58QiNXJdbvpJAwePn1Be48WGE/3eK/+aqHVwY8fHoo6SQb2UQJw2Hn4XadsulQuuWyw6ZiyG7dyojHwaOjEh6nna7WYiMOMwNeSrUm2VqHqF/jJNsk5NHxemyKI9PoWvCKFrxk4gzo+LUu7naZaK9Gq65j1Lt0HE3c7hAus0O5W2YgFqJW6dIf7tK1xXi8vY7LYuf8ZC/VaplEqctRrkbHYlHPP6GR58tl+sMhTvI1GmYTt91NKlVl6nQAgWsls3LBR0X6hZvhCfrY3z2mbphMDMYU06HcaKhhike34fL62E+KHrmXwelBEqmsSnNevXEJTyjMx+//Urnjr964yM7WAXuH+7h0P5MTo2xubinGg2zupd4zMTnL4eGB2jBLqmXq1CzJ+LHSq+7ubzM0NEapkFfWlWhvD4uLjxSXQ6B43Zap3p+Li8vEogFeeOmGMpj86Mc/Vxd+AZ3mskX8fp969h0fxJXJRJ5foomtlkvEeiKqYhIK+ykWi8+0tfceqvTJUeJERfonx8ZYXl8jEvUzNjKh3kcv3XyFv/iL76j6yvkLZ5Uet1AuKR7ISeJYDa5FeZpM5lX6QD6zbuHh2Cy0G00FCJSagPydCQwRC5wcx3nu+mX1DJC62Jm5BfUsFMtQLp9RyR2xJVy7foV3fvEuXbOrBtevfukVlRKTypMkxuSZJd+H2UyOvp4enB43U1Ny+c+o/45oCQUSWK3VabdNZbkRnoy8XlKh1dBIpBOKSyDPLTkfSEpJkl8bK5vK3iJsktX1NRxWF/V6BafHRXigh/T7d+jviXJUyNDnFSOHqWC7MZeNP79zwuN/PUK7WebjtSoXZ4LoTojn24o/9/qVQY4ODX73Px0wNuLH3jQodWB8yEc6Du+tJHj0F/8Vp9++Qur+DsFeH7VqF7tbp1XcxRm6TsPSxJa+Tb3lUElVm3cCo5bA3vVgsRXodnUVy++0BazoVJViCjt0qaP7R+g2m+DpV1UBS+k+ZtMApw9bs0zbZtIsVVQF22J1YxoGtsYJHaeHtmlg9Qxg1nPYnXbaUvWxumRSQLfRxurroSsAwkoFMzyhYOvdygp0gur56YmM0ZIPobishfbfrtMOzNItrGBraxA5g9lax/Kz3+/txo+r+CN2evt8YFpxuFo8upfB6dHp7dEpZGV66sXitJM6KtDutllarvHmWwOkkk0Vr6k3yzSKFpInBbVFFE9qvlSiUDCIej14/XbKxToOj0v5ewVE1z/kpFiqEfNFCYbb1Os6e0c5/K42ExNB/uKv4ly6ZmNGLsd7WerlNprWUvC/eLyBw9PmhesjxGWq4/USCrg4zmTYWMuRyusEIyY+i4tMt0Yy3qU/6maoR8NmMzAqbe7tGzw368HvMhj0e3l3pc4PlxscVdw0O11G+2SpbjKgWdAddeoWp+pRP9orY7d0eXXMw6cHTW6O61SKbQ6rXT5O1CiaNsJ2TcHIfuUsjHps3DwToG3C33yeJ9ZrQ7c0GXSHOCg3ebpXYTxkIRRwYzZgKgD+mJuPNkQ3Z+f/eLdCZMSF39mi8V/qE99+e5jHKyWWcm3ODTqVGs2odTAaJj09Xq7OjfLp5w/54sDkMAEDbvjS9QD/+FtXmfvGi+rNiBYjfutHWNoGzvAFcmtPiUwIUCaPffAanWZGkY3b1gD1kxUapW2845fxu6fJpe6iW9xY9A6dppVqaR+n7ldTKyFkWmQk3TWxCdU+sUuhWSUS6qNq1hmZu8jh+hNGvvyn/KuvjXFxIcBRpsEHj/ZJ79RZ/PR/oJFvkswcEQ2Mk9/7CFdkGIt7CLOdonG0jn/h1zBz+zgD/Qp+4fBEKD78OfZIL45IH12bi2JuE0dbx+r108im8AR6MY0aWmCARjkP7QxWI4t9+G3M8iaVkxVC079Kvb6BLROnVDzGH5pHG+7DWmtjcXkpHy1jFPdw987R9QSwntxCH7pMt57A6QhT14bpVpZoNXWMtgW33VRT2f5YlE7IgeGfxill/eoeD79/h+TWJtuLO6wfVnmabXM/YeHL41663jbLmRp93h5mIoIpsuINC7VSB3uNj+/VePWqxqBX2Bg1bIEO1U6bxaMWdouu4qAVa5MXIyYzditfmx/E7ikTsDnIxIvsVbqKqp5pm6weNviti31slIu0cg0GQlaCfjse7GxluvzJkckXe3XiBY2Iy47P0yLg0ejXxThUw2jacVp0Eo0KLptO065jbRtqaBdxaMTLBoMRO13DQijUJVHU2SqbFIt1+v1RTnkr9ASd+PU2v3lNtEYVAgGnop+/e69E0QCHXVNKuLGQTmxc5yTZQLdopPNNzp0NMBzV+emdAoWcwQvPhdnbLpCvtOlanJTyVc6eCbC2mScakq61g/2DOr5gl4URH4Wqh7azTlB3Es/IRt1JJBjkvY+2GBmUeJ9czqLsbdTwDWh0KiYj407Gp4dYui/6oTDxwxKDwx6yJyb5UoNgxKZMAqa1Q6PY5OzcMJ9+vkFPr59Wu0ijIocXna0t6cc62D4ocenaMJ+/u4XFbmFoSJSRHXK5JpuiZBzwqQuA1G8mJv3kc7C1k8br6nDj8jB3Hokb2I7LqbP4sMyFK0Li1tVWNZdu8vyNcR4+OKZc7HD55iDJgyrLq0n+/ltRvvfAxj/7zjavLcSwNOX7FSoNC+VcEcPe5q23vqk6r5ViiV2lgnuNew/uqi2pPPStmkPR8MenRlWXcXNjh0sXzlNrSdTTy/7eMdGwXFiy6rJbKpdVdD1+eIzu8qpI6EkizYWFBbX5lO6/dO6XltcUcMjjdnPl8iU+/vhTRamXnvTG5gZvfeUtvvvdv+XSpfPqsvHF7S+4uHCR5ZVldfAQ2J2kl2RrWygWuXj1Mov3H3JqelbunxTk5/H42N7YUt3X6dkp5fiW7eeB8Ai64A+EVUfaYdcZHesllynSkQNwNqNi+XLxk0FGrK9Hecc31zfp6e2jLc7qoE91KTdWtykW0wosFYwEVHdSYujSwy9kykxOT5NMnTA2PkK5KJYWl1I1yYbr+pWr7Cfiqma3vbmJx+tRhHGBzfVEA2oT1zYt7Ozu8o++/U+4e+szrJqG0RSg4b6qoY1PDKsBRq1eoae3B0NcyfUaNnuHy5eu8/EHHzA6MU78OK56mr/927/J9/72B6oDLx1N0XxNT0wwNjbKL95/R6kJh4f68HlDqgoi3XyJotebTdWxF6OCQMPkcuiSzbhL6P9lBUbLZJNEQ72KvTI+IQqxDSQOJF14n/RJq03ylSLDwxMsLj5keKCPfL7EqdkpdXk7PknhCwdx2lqMjE6xvLSiqPzCewgGPeTLdUXD7x+dUAyFpcdL+EJeAm43fUMjauv/cPERPodNXSwqhRIev0dB83SnS5Gy5e9seGSQ5fUVYuGo0tn19g7gDXjY2tzh7OnTPHrySMWHz52f4+7t+1RqdRy6KBNRkWfpA5eKVQQD6He76OuL8nR5Q9HPl5eWmJmaUodJgWlWqw1GRwaeWSOKZdWr397ZZ3xqms21ZXU5kaHW4eGRUnYJ8bAi1oO+AR7KBfq5y0rfubK6qRgJLcPA7ZX3hjA0WoxNjKm4tPyzRGelupLJpEmnskxMTeB02qlVm5SF7m3tqr8v0XOubQphvK02qtKflwv67PQMd+8+IByJKK5IMS9nwRa6w6USLKI0E7tELpPF6XZSyRe5cfM6lXqddDzF2fk5pc7c3TuiWiqoC4FUjkQpdrB/SCFTYmxiXMF7pWMvt4v9g0P13T93Tob7LbUpFs3kmdPjzJ45zTs/f4+BvgHKtSo9sQh2zaMuelKJSR4dMzw+ogwDkkqR1EGxkCOeTCioZzqRUYMRiTqLHnq0f5hHSyv4/E4SR4cYlSaBaFDBqff20zz/4vPq3xfLiVSZRgd76NqtPH7wlKHxQQIunfff/YTL58fZ2U9zarqfSjrBes7J1+fhv3szwuPdpLIyWTuGqsVcvzCLUa7TMmrY3TZO0nXE/NotGUSGgmTzBtVum5leP7lShaXjKh2bnVLepNHS2Sx0SdVNlTQwbDXODnj4YkOGRF4qjTaZcptcyQqaictnpW7o6JaGuiiVigaTw2EK5RrZdAdL1MtEwEKP3ubRcR6n6L7cOl6jht8L7ZKVkZiFTN2G5pbnvsnUcIRUqfJM931YppytMT0WVjYOoy12FYOG2aHd7arLbEmSEOWmSBQIDUfxDAY5/fwV7n5wS1XFYrEgj+4vMjExoYaIiVxeARvFQnH3zj01bB4ZHWd/c1st8a6/cIUP3v9YmS0Uj8TuIOAPqMSNxP9tNjuHh3v0948QCXvVsFWAfvKZSZwkiYQjqlcvAwPhush5bX93VyXrZMhmt+l4/W5OknEmxoTNYlefjWgwpFJQb3/1K8qOImwOSchIakDYA5V6SQ3xvAGfqj4KyHZyfBSHSz5vDUyjSaFSET806UyaickxQuFe7t6+rUwlcpb2uMQwILR5U9lAxBIg32tiwQj4w+zu7bOxscVbb31J/SzZTIbBoVHS6bTSdAs81OG0E/T5FK/g/oNFxVXJZFO89MILPJDvQl9ApWzCsTCnZ06rP+/gcI+xsXGVukkk0+oZLKBDSSeJ6eQXP31P/Tmiw2yaTVXXk8GAVGt+/s57CqYqCYJSoaiUumJdOD4RCK6fyZlRlp6uKvhutdJE9zg4f/4cO9ubFHJlfAEh61vJV0uYXRv1e6sszE+yeZKhmitzev6Z7vbm9AjvLJf5v141CfTrbOTloisWJw2jJaksuDbp5j/fSvJH9xxMBw3sFlmEdvA7NHSrxl/ezhP/yR/Sc+Uy+a19NHsLh3uUSnZN1Ql9wRGaRhGnmYfoi5jlNTpHt2iFBtQ5wdTGwajSsRrYw6exFk7oGAla7pC6g2hdXZH5JbZoFA7Vs1nzzmI2E2jOALZmHcPhxm0RsH4Cq9FWCx/T7cPeMbB2NGqJJRyBCax6m66mY3P2YXPYqNcbWOspjFoVzR/AiQ4uH83UPfV74j2HWZcKahVn7By0iljcI3RL65TWfk5k/ncwWmUsP/uDie79uzt89e0ZFe2680USs9nh8uUobo+GL+jl1q0DLl6IcXxYpdO24gnZ1Ubr2ktRCtkOX9wSJZaHYBhaLQuRkAenG3b3CvT0aAwN9XJyUmVtKavgXqfO+ikWOjx6mOK1VycIhbucnJRZflrAJ6Ta0z72D0sqsjwY8NG2dqlJDGxM5/adOHPn+on22TneLZFONwn3evFYbZTKEv1qYbQ1lpcLSk/o8HSZ8FgVSKRtqXPvUUENNgYCFkYn+mhkK8SLLQlS8dyID7e7Q6Xe5ru3CvzxgzZ2zYdh76qO33yvzkC0STohcVsXLnuHXNek0fDgtEuvpMWXzg7wvU+OcLgdfJGsMKwHqHXrDFsM/mBeY2HAizfoJlPq8ijXJuzS6TQFjgAAIABJREFUyNZqpCRiHdHQ6x0mJwJYMHDV2zgCXVINg81ylD96t8DIYIvdpoDTGlwO2nic7PL1uTDFtkyDvRwkcqwdtZgfDfDylUFuLW1DysFSvYhRb1Fv2PjGq/386ptzLLz8OoxOqe6q8cUvKJs6WitBs2bD5g3g6hvFamvSqCTpFLNYvFNgN9EDctEtcLLyfXqvfRsk9tTIYPFMqIdjJ7NILreLZuvFG+3B0tFoHD/BOjBL9PLb3P5//0de/Zef8e/+8DWerB7RNbIcFA1Odqs8evK/k7z/iLrpIjbaS6VQxuHz0MrksPuiShViaSfVJtzu6uVo8U8JTb+ENngDS2aTajlBaOIrWDFpV/apl7LosRk6J8vUC1sEZt/AoAY18WsGaZQWsfYsYGl1sVVO6GgejNIRemwch3+CdnyJ9P6H9M5cpK5FqR9u4xwcVwoNIeuH3L2Y+V0KB2V8r7xNVEtjHK2hz76Nrd8FtRpkt7j9i1+weC/Jxmqed5dTrJbseOxtro7b0EpgiWrUMzWu3uinlauSalvRaXGQNJka8jPs6nBnu8YbFzx8utSgY3PhCVvYSDcZ9nS4vVzln7wQo8dap9Jo8K1ZB+62zlq1RMzhU/38AwGxdG00TCfNYpWhQQ2f0eH0VIjllQztgIPH8RYbdRsfbzYwPDr5RoteDBo2jXmfk0tjPu4cNjjOyc/iY223ykrG4MXxkLq07idrBHQ7Nq1J0+LEomk8WC+TajoU9M6sdvnmZZsi6X59Lki3Jr3DDg6JNlmcLGbaHB8/8zGXOmX6vXalObo0EWY1UVIgpErDxlGxzKsXQtxeahL1tHn+ah/vf7iv6NhHiSoDY15k92tzt9nfNXEHTJ4/18vTpQKaLqA3F+m0WADsrD7JMH++n1DAwu3bDc4uWBWzZHzArbzJj+4do/th4VQfuwdF7t5PMzSkc/lCH+lsg07HoiClzXqTX/3tSeWAvX/nGIHFWmx2GkaJQxk6+AMsnAuyt5cnvl8nFLEyMhlg9UmWmbkwnbqFnf0SvVG72vSJqkxoz31DHuUf/sV7q8xMxPAFIZWu0jGseJw2Gs0OpxYG2FjfV5t3Ol76enU2V5JoXgHOPUsU4NTYP6moB85zLw7j/y/e74/ibf7kvqm+e7xGl1yrrry16WSBjqPL7/7D3+PRo0XiqRPVBZe4uomp4vmiSGpb24wMDXLv3kMVl5ZNWjaVUkCw8ZER9g+PObewwKeff8rv/P3fUpTy+4/u0ROJ0ts/oC7Y0reU+LRcqtdWtvAH/cohb7a7+H0urBYbpUpNxTUddoHVbqot+e27D9UwQSjdqUxCwc6kgy/UcwEDiq9eXW6qNfp6wxyfJJVSSTRzotMaGhBGS5loOKK89y+/+jwPHi5zcHSkutHlcgW3S7YCFYbGh7lz657qH8t2QQbrtWqRqYlZjuNHqtIwPDymos9CyJceqCQFMqkMr7zyIplMirGRcT74+Au1UV2YP8VHv/xEkfLFv95sdbFYugqkdPvWXQX7k0SE+LOTqTRnZ0+r36NhmEr5KGRlOVSOTY4reJrQ7bc2NxnoHySfKyqFnAC1sHawazKgLqiooXRI250u9XpLMRbktZe4rtMpF9JldWHb3NimXq4TigbV5VQuYSODozx88oRKMacI89Kdlx64qB3Hpia5NH+Guw8eU6/XFChLOpxC0F64sEAhnyaVLPLc9SsqYrq7t6fgehp2pW9bfryIy+dlfmGeu3duYbU6VHXCEJCezcrgYK/S5f3Nd3+gBmGjE4NqW5JJl7E7bCoRIQMXSQLIzzo+dYqBkVGOjnY5NTOrYrv5dIrZs6dJnMTp7Rl69vp63erPy6YzqlvcE+1RYLBILEwkFFD9ZtF7ycJhe3tHfZdJVPX6tSvEE3H2D/ZxaR7qrbrq9U5OTGHIkHtkhKP9I1UdODiKq/e4DI5k82XUa2zuH2K32piamWBzbYuZmRkeP36ikgrTs5Nsbu7REw0zNCR0/aR6j6xvbuP3uDk4OlYebiHhy+8lW/dZ6fYeJxUYUv7/FtPK0OgAycQR2ZyoBs9QrQopv0kum1HQPKF7B0JetrZ31HeG+MzlQiwcCWGpzJ6aYm1ljd7+PuLHR6QzWa4/d41UMkmpXKdSq9ATi6lqhHw+xseH8XmDZApZAh4vbo+LfK5CsZxTwEHZvG9v7ip+lKQHJH0zOjzM3s4+4f4I0WCEWqnCSSqhYs1tw+TJ06dqMPT1r36F1dUNdbGRYY/YVORzdeHCeZLJOOVi9dnfp8uD1WYjm05x6cp5dUYTZXEylcXpsqptp1xmhNXUahu4HE4CAR/bO4dKKTc1PcnK0ibBgEv9vGL1KBcyCsxYrBh4An5CIVFTdzk+jKvhgcT9xXAxOzFNKpNmc2ONqN+lLBpOn5ehqIvbmxVOhxv8ytkuWHTiWanOuHG1dBKlMtfORek0muSlSigb2kqN0dgzdbPUnD7dyfFbb/aTTTQw6gbBgJWxIR+7OYNLAQt4gzi0Jg3DgjdgZXlpj1CvVKt8nFQbKh5vNmpE3W4+XMzSlh62U1OVAXmNCvkKQd1FRiwQ9i5LKRua3c7whB09X+HSbJRMwyBedLBRMDk8kvSNTklUhZIMurtGoK8XzSjRFxTmgxOby8nSox28sbCq+rYaJrVsWWRmhGJhWrY27ZBfnVun5sewV23qtV3Z2sKORi6TZHZ+jlwyqy6b1XqZoyOJtXvV5V0SYxLjd3sE8qix9GSFaDRMIfeMBeQL+pWOc2RM2BlHarO9vbOJW/dweu6UGkQItFFSXgJqlSH16vo26WSa+YtzSg0oA0O5+Ipx7Mtf/zIffvBLLB2r4qMJbFUu3Msrq0xPTajUmdQ/LRYbhtlUFzQZoCrLRU9UDdaO9454+c2XWV15qmL1Idnun8TVoDAg5he/X9VxZNCs2eWbxqJsNaKrPH1qVj3bwsEgxVyeaE+MA3nGTk48+2xtbTE0PIzDZmNna1+dWwyjpkCTz6CyVjVMnZqZZOnJMs1GjWAwxNDAMGubq6o6JpyNk+Mjenv71LB4Y2tTJdLGJ8aVCUUGEXPzc2ysbykgrDvgViBDYS9IQm5hbl5pXGUwbLfb1XN4eGiYX374ETeff4lsPqXSO3MLZ1R6c3/3QFl3/JEwQ9EoOVGK6jrjA4O09S7VtpUnf/Uus/1+tKiX3Y00ta6F82MRrJ06640O/99X7VTFQFDxc5zM4nPbFeNgYNTHfG+Af/fTOB9kHFBMq0pC2GlTqsB6s82DXYPk0h9il1h/okTL7qVZS9BuFfG4JqlXttG8U1iCIRXDNzpWuvU6ut1Nq3mMo2sH0dKnN9AcOtZWHYsexBaeV5t+a+sQ03Bgc3SxusUg50br1sAexqwVVD1ROBnYalhNHZobWP1nsLj7MXPbWGwVrME5xUIzUsJ5maSR+lB1/T0Tr2Pkj7F7/LT3v8Bw+XD0PE+7ncGSPsToGLgjMbS2g24gRrV4SOfoHp7pf4BZWqetudGsNiw/+73BrtmtMzLkV3GJxccnzJ+PEAo5WHyY4+wZL4sPqgyPe2gYdQonJjNzIewWOy3qaqMwMOTjZF+0Egahfht03Ngw2diqMjTgpVhtMjrmw2g1qNes9MVcyjmdPC6qrUGk14LDEeTJ+i4vXDpN21rmaLNGrlBjYNRNLOojkxeKZJetjSa9MQ23z0ehkMKquRV92xeTyJEdcBOJoejUqysVbN0u0RGveqHj8Syj/UESWYnAiA/W4CRtpdyQTpYDf0yj3XVwethUmiefVALsPv7Dp1m+OGyxnGzR6tg5M+5Ca5aYlooBNjZLJg6ZrHrsZGVi2R/AZa0Rs/iou1scHlXZK3fIODVOO21cH+zy5T6dmK1Cf2+EgmFwZ6PE+HCUTqvB47hBplrlW1d72Du2MR+1EPG0OCpUGQx7+NMnHW5l6mrb+8m2ye88p9MomphdnWyzznrJwGK2mQ66FDl97lSQlqmzvisUU41u18PBToHQAFzoD/OPf/06z/3Wa9A/S31lhcLmJ4rB4Ameoa5ZiehBOi4HlmaC1KPP0GJhArNfx1ZMYTrtVNZ+jis2hdUzoTYUzcOndGI+Ap5JGq08HemKeaJUkhsMXnuL7R//Pzz3h+8w14vqxU7FfMRzZYqpKu8/+hMqiTyNTFYU3eiWIarVAwVcweqhlX6s1G7uwBXK+fvozQJazxVsw6/R3PxP1LPr6LHXsFNHM6UT28Y1fB6zvkc1Hcfh6KOUP6RnaBbDF8GSS2IJDWE20tQ3/5b+8/+SRPKQTvpjgn3zGHoAs5bF5Rmn2yziqBewuSKkWwahbomuZwjfjHQfi9gCETB9mMefs3l3kZ++v8fSk3W+/9jEjnSXbGrSPNBjZzyiM9ZjJZPTqNRNbpz2Uut0uPuoTF+kyuxYj5rMR70mDi1IMtvh1l6ZQsdNzdLGiqE4B6/12Xh9uK0mvlPhIKlkhvH+ELuFKhv7BgGHi6KzxX6iitNj4+yAg0mXRanwJkeCrO82+Mt92bp7eZC28dP7SV6Z7SHeKqB3rLw22stuKctAwMn2bhXT0WEyohHPdKiZNnVZjfldSm1UbUC6qNO1lSnY3CyddNCsLQaDDoasFX7tjJdToQ6nRz10OlZ2D8ukLB3C/gCrB4bS+syN2kie1KmbXUrFJpGom3yxSbbQJl3ucGksQLjfSqPSZfvEZCRmV1F7b8RkaFB6vUJnbbO8WmZm2kcw4FGxeNliS0+zUGjRborqSmNo3Eun0iJnNinW6wwIfK0hwKWGOiQnkyXmLo7x6P4WZ+YG2D3IcGo6yKPFIg2zwkDEhcXuplKpMjHpZnWpTLlmZWenzGsvj4FmqPSGTL+Dbh/lmnS6dV58NcKPf5RgbFhXgCTx5oZDvRjtGoWCuHOd+Hy6iu+fPd/HL9/bZnzaz9pyAa9Xoy1Kw2iASL/O/l4Gl8fN1lJObSl/5TfG+NH3t4iEdIZHw2zt5Tg9EWb3RHrzVjyaQA1rbB8afP2ml0eLdX7/pwJaglF/iFyjLsxWvAE/mVyJWKxPQbIqlTwXLlzgez/4Mf09fYyMDmAYHVwep4oK7uzsqK3E0OAQi48WmT97Gq/Xz97BvtoSCiDW53MrwJL43K/feI679x9xfv6siu1mc0U63WfWi1QmhW53qIvD/MJpvv+97zM2Pq4GBHJYl42tx+PEoWvKmS5RZgEuSQpMLidymZVuoVDAHQ5dRZvFRy9bHX8owEcffcL86dPP1FsqnnpArligWq5y88WbHBwd0O20OH32LE8er6iLyvDQID/40Y/V7yf51v7+HjpmW8HYZJMk0DG52G9vbnBmYY6drR0Fxm0ZdQLBsPp9EvEkwZCfTKGgSPRBj5uTeIr48THTs9PqdZQagww85MIrEU0ZVnStJiNDw9y6/QCLzcJwX5/qrSaTaQWbmhif4MmTR5w+dYZMLq0ud2+89go//vHP6B8aUcqy1EkSq/SDOxYkqCWAPIt8jzp1RSiWVJ/ET7c2Vhkfn6ZSK1GuNijk8rz1pdfZOdjlRz/+hFPTfVg7LfoHetnY2MfjdzDQP6r802NjQxwnUthlq+ER1aFsuixEw26VTjtJnihWgLigxX0tsex4/IBTMzOkUmk6ZgeHU1MbNOnUm12DUkHo9Q6lELx/b1EdHEVp1TJatLumInWLraFjtRALBNjY3qVvaIyenh4VzxednFx+t9a38QWcnDk9py5vsm2Xz9uN68+zvbFNpVFVB27ZIm9v76k6i5xXbJqmXt+lp8tqkLW9s6MizOI+1zSHslOcnjurgFe9fTHVrw/K8KVS5+zcGTa3dhXHwWq3q16mx+dAd/g42N/n4vlzrG/uKLCb9PdnZ8+wub3N7PS4oth7vW7OL5xT239JtUgk/czsLE8eL9PuNnj++gv88rPPlF4yfnJCT08Um2ajr7cPq7VDy2iri8ny8opiYsjrKlBA6egnk0mO48dMT00qRsX66gqvvPyi2uD/6MfvcPnyAoGgwHgzBATu1hJdXBq/z6dUmy6HV1V1Wu0GQ4MjalMqCaCTdJzTM2dV4kR0WPL63L57D5/XTSaTf0b/jkYU88NmkUtfWEEs/X6PcoELUFISC2IckeGG1AEEoliulnDadWwOO+l0hp6+Xlr1Z0MqXRdIdFLpBqWyIBez0YEBsrmceg9fvDTPxta20r9ViyWarSaXrlwjET9WEMb1rQ2+/tUvq1TSwcExX/3ql1T15Z0fvcvk+DDNRpVcqUa0r08ZRSQdIGmsmqTmOhYmRkdxeOysL66xtL7GxHAPdpeDk2SGgNPB2mGDt5/r5Z9fMNg6bHH6VIS1PVHjBShksuzvdBju18lZLfg7ore1kS06OC7UWBgPEJdhr9XO50tFbp73q4u8xWbywSc5zk136YT9bG80aBldzk67cfg73L/X+f9Jes9gSdPzPO/qnHM83SfnMDnuhJ3ZXeQgkoBEKtGSaAXLkllU2Szbf2yXy1Wyq1glqixRRYqiSFMMgkBCFEiCALHYMLM7YSfPnJxTn9M5h6/jZz3v4i9qz5zQ3d/7Ps99XxeRcI/LQyaGx/ysrstQ3E82e8r18yPsHp+S22sxHnfTEa1fyEstbSRPlTNn3CQE/vcqQ8po59c/rvPBkYm426qemY2WRipVoz+wKCWhACOtPbh+Pklz0OU43WY4GWV/Z4/wSJKDN/s0231GpmPU+hojV5cIRsM8uveU0bEx3B4rzx4+Y2JuBpM8fvUuhsEAvzeg9JvpTBpvKMDU+DR7Rzt4nD51CT9J5dSyUXS/m9ubfPVrX+fk9EglkmUY9eTpU5KjcaXQlL9zNpdiKJnEZhGfff1zTozeo5Ivq2eJvHc9Do+CpT549EjVfoSxsnd4yJXLl5TeWqB/WlujUq3h8gq7QbrxIdqaRjaXU89gqRP5AhGOD/eVLlQ0lzKE+/ijT1hanGd5dYVKoU5kKIrVaFAXbHndybDhC1+8rcCt8j5+cP8BX/3G17j34ceYbRb13JP6kgyXxkW7/WZZQTKPjoW7c4ed3W31fFnf3FHf57vvvsPGxhq7OwdKCTo+PMbx6TFjSUlNZ/C43GidJlqjpc4hkXBckf9HRiU1s6OMHu12R8Eu86U8hXRBJftiUUkYuhkblWThc6UwFOWwJNPk2SpaUKls7B/sowtFdaCrQZv8TxSxYniRzwbRjF67fJWnnz1lbOJz9o+AKF8+/Yyzt64wnBzhJ7/2RwQcRhLjQ2TTRSzyzPeZeHHU4agA3/8bLUbG5/jo8QZf/+osvbqRh8921IB6ya/zq087bFZtXEx+flaTYWDH2KHf7FHrmHi4d5/aJ7+PqW1AD89iDCTRug4G+ZcMOqdKZ9yrVTCaTdhiF+k302jZV9iCZxi4HJhKWXAOM7BIDe0FjtAt9MpLxdkx2twKLq5rdTUQs9qjtHpV+qUMVo+YEryYa7t0DFUMzpsM2vtgdKA77RgMXsztMt2Bhil8AaqHanAhgKZ27hmuqZsYm3Jm1unXdjA641h8oxhMfnrFZTq1PAbPBGZzB71pB1sTU+cU3T2G0eBkUD+ibzVj+ME/juu9ro5u7LJ/2ObW26OEPBZWVjOKahuNiG8xg9PrIZur4Pe6mJ6VTdoBEb+L41ONUNSv4DpnZqd5vbGF1eQkGLSQOa0zNR6iWGyysV7mnW+MsbGcJhLysvwmx8WLUQJhD5l8lrXnVbwRG6NJN3aXS02lFQ007KZc1Mhm6szN+xVU5nAjS6srU0Ar40J6rHQxigaqo1PXjBztZ5mYiNDoSJfUzs5BjVK+QdDnVpu/TLVK1G9hf7/PSbPD5XmX6r55bBb60rFq8TmEcMhBv1lkftSlpv9HWQO//rTFs50apz0jToGC9Vv83IWgQFrJ5OqYrHZmIx02szo+iRHVmjQqA/XgL6KRrvTJ5trEoz4aDfj21IBfuCFOdBOvdptKnzEX8/HxWhp9YOG9yzYebpmotfOMB0MMu+0EbUUiwQC7aRMfnRb5559CdeDC7+6wOOgQnfOQyTZo25w461lGhqIcFHTODLux+3SefHqMRcA+KtZ4ykEFGhb4J1+f5Rd/+cv4zrwLHSfV1R/RqzY53HtE2DOK/9w7lA9fEAgnaOQqWMMSSZmlX3lNxxxXf/d+9jEtswPP0FX67RJG6QJvfkgsNEUhtcPI7Z/lWIio//Q3+KX/9i1KB1nCY0OsPt2j1ajw7//gl2m8SeGIRsik93C6dAw9cfFqWKML6qI7aGsY+2LKiNE2JGlu/ht6PRvRhW9TPV3D2D7EGlnCaA4qTUmvto3NOYc1cpHWzm/hDE2gGYKgFamXjrHiwROfpLT5PbxDd+nqFfROEVvkAnZDhfzJIXq5oQYJA/2IyPwlDKGrUPkEmiWqu2nqWpeHf/aQ7z7M8nitSqUPDmBqwkbA7mQsacdogaDepKbB2FiUSqnK5n6Ry7NJBfzaynWZilrJlNvsZ7ssTAZ4utYAp/hSO7x93Y+3WqVWbvLfXIww4+uS0UQZaaRl7bG8VaNvNitwi9MXZDuVZ8pnJh43EzT0GZoZZ+VFGt3t5jeen5Cp+Xh90mNfq/D1aS8uk41nJwVuzoRx2wwMylkOWw58NhNzYQMnmpGdggGt28JnlwNtF4PDg6lfJ12FdNtCqd0lZDRiNHb5x1fdTPm6TLuM1K0D5hMBPt1qsrJdpdjpMRpzY7K0MXZMKj3gdVk5yJgZjpnR9J4CsEW9BkplK32bxmhcHioFpbe5eiXJjz7d5viww9WrHpx9Jys7GSJDwvCw0Ru06bfEz93HZxkwsxgjnW8qgr+QdYuFljoElBtGdZm4c32eldUD7nxxlkf3N3m9KfHVBDRalBsm/D5RnNWIBj3UtCqXL49TTrfZPynjdhgJhrzqorV3UFawmljCTu4QojEbGystLt/0q4n8ynKbxLBZHa4lcXB0XCUcdmM2Dnj9Isf0gp/Dg6Ii6goortlAaTlNtqaK/t99J6kO8qe5JhsrQn910NVazEz7OM0MsBg1qk0zlWKdqzeTFDIVijkNyTjNjw2RKbUUtKpUg6VhndGpOP/9d0t0al3cARN1GUAEbbg9dj59eMxP/dxXaHd0sqcptG4Pt8vB9cuXODpN80d/8gPGknEunjujLhEHxylsonJqathtZiLxCAc7R8zOzyntVq5UwmYToNSQApIJHE763PVWg2hYDg1+7E4Xe7vHpLMnKvrscTjUYaPdQ0Ge3D6n2ipI5NgoJPREXFH4dYuBQjanUgPSgRRifqteU4NDic43tTo+d4Cu+J3lPdIbkBPP+3CCXK6kDiBbG9tKeSdbplKpqTbc2WJRdbDPLc4p8Jfe+1y75heSeLGqosoS+S8JJM5iw+qwKxCggE/L5ZKCjGlyATQY8bmlh5oiFA2SFrhbMEg0mlAKOLvDoRzijUqD01yWmdkpdVEVBaNcKJ8+e6761NdvXufRg0efd1ItZjqdHrHkEK9fLSuqvygQw+EA7//4J8xMztBHqiQ1AgE309NTZHIZxbiQ7rc6xDotjIyPKxf97es3uP/oU8xmu4pbF0oVpsZHle++Wq0otZ9XNlcBB+VqBa2Jsvq4PEG1sbt87SpbmxvKnpAcHcNiNvDgwWfcvH5dfS2Jf585t6DSfJurO2pLu7zyRvnPHUI/7vXU38JisZPN5RX9W7b60tGfGB8mHI0rl3Wr2VDda4vFRFfqFM2Wck9LJcJhd6nNWt9sUBUPSXFYTGZlPXj25DOCgRAGk4lcIau2Vu1Gm2A4RCgYoCaDBHSKxaqKpF6+eJFnz1/x9p3bKta+u7vHmbPzqn+7sbmtNmbi7L5x64aC9UXDIQYGXb2uyuWGunyLwkuYSkajEavJogCAoyPD6H35u8V58MlDFfc9c+Ys+zu7KuVx5+1bHBzsUa2J9q+twG5Sg5LhkADwsumsuoibrXZ297eIhRJKQSZudAGeSQJsfDTJ9u6RqgLJv1etiDrKRiFfUKmPd997l83tDVXbqgk7Qbq7oYjiGJjMNlIpgekJJM3D7NwUYyPjPHzwQKm/5LUjfd1QJEI85Fcpp5cvnjM5PYVJHzAw2NQmUQ7NYj7x+YKcO39OJYO0rkYhnVdpFK/TyfBYkj/98x/xs3/1p9WQQyCLcjmRn89qs+Jz+lXaQi7vMiCQipIMsSKxuPo3xSxitYthp4vD6VVpIDGFWB1WBSycnZohk8sqNsPY5KjqbQtETfSK5UKFm/J+evRQ/Xsur5tcoagAhzLsMA2MYJSva2f/KI3f7Wb+/BKtagOTza4GWKL9KhVLVLU25xcWWFl9RatRxmmSpFqLsxET93ZF/1flP/ydGDv7HXbLVRYSQZxWIxuHJew2k+pKV2sd3rsxTvm/cm5+5y8yvDXvJBTzEvOb2d8vEotFMVm7pI7rvP+sws/cHeW4XOLF6xrvXvOzX2hiqBpZPB/G2qqxctJgKhrhpFzhO/ea/OK34xhFG1lvEfL7uP/ylKlhD8uZCktxB3MxI/FEgAerJf7g5YCn2zpj43aOMh3c3hZLgaAaSIpuOBkPsJ3L4TQ6OXtxmO2jAoe7OeqSShNjQauubFVuMXuELcQnRnCN+tk7yBCZGKF8nMVps1IqlHjni++yubHF3uEet2/fplKrqPemDA2fvnjFF7/wLi9evVKA8U6vp0w0wpSQy1xP1pDVpkqE5XInRGNJtmX4qkmqqqsYGgK0dbq9jE0MqzTOk0fP5U5KIVfi9t2r7OzsqMGiXKJTJ4dsbexQKOXxeqR3H1DkfhkyBjx+TDbT51rLl6tq+ORwOKhXm4pVIYwXqbTJYODVi1ecP7+kQLfitbfYrKqKNTY2yt7uvrp8L104w3/+oz/h1s3r5AslpRItFIpozTaJZBSz1aF+1lazxdGpcAD85PMZxQkxYlHJAKmqSWVO2BU//sv3WZybwesLsLaxysjwsBrJ9+GcAAAgAElEQVRWmEySAKswOjnM7s4+UxPTHBwcq+fN5SsXVL9fqgYOGYw0aioZUCrmlbpbGADymS5qxexJnsTIkKqQiaHlwWePadVbXLh0QbF4NtY3SWeKfOHL73G4t4XN6VRDPlmKynBSNKhizREo78zsuLI3NBp1xRKQ1ECuUOBrX/qiSuVlSiWVKKw/WUGra/RtRmoljYkpH269z2q2R79W5t//7RAbafDZBiqxvrZbx+a2MORyYOw3+N56h+9vmvnSpBGz3UKhJMnOCPvbKTxhJ//x6Uuq934NizFEuVXBZarT8ycUlM+gT6NV1jHpWXBdpdtOY9dSDHzTmGxWMLhpt44xHD7HkLyIyeoCd5T+9n1sQ+fo2cTopNFNv8bgTmA1hGjXVjGYAxj7fXq9Y3TPBSx6UfFnLO5hdW411E+x+hdpF5cVW808tKQA11aHE5NZAIdA+hWNyin+sZsMjFYG+NCL92gPrDgcPgxGOwNjG2OrR8c4oNfKYfcvMejVGLRKWD0hdIMbww/+SUKXSGw+11QAn5tvD/P//os3fOVrCToNnYpWJxmPEAhbuffRDkvn4qyuZLj7hRmOdkr0B13W1mokRu2cXxphdTVFuSAPVbuiX//1nz/P+vIuDz8tMD0boNbucH4xwpsXJZwBicBblUtUpunxIROvVnIUT+VgoXHl5pg6TB7s1Ti7lOT1yp56o3oDZsqFHq36gE6/TUc6KCNOxpNBMqkS798X/YaJG1dnWF87ZaAbcbjMZPI9lrdLSqly60aUQrbKVNhNz2Pl9csSZluTxZk4+/tldgo6+VSbmQUHMaeB2aibWMzIm+M67yyEeLmh8f21Jm9SRh4cVLCFrMo1+daMk5JWJn3c4VLCj8Gt82CzwV8576PRN7G5X+LcnIv7K20ytT6FwYBk1EqkY+aMx8jfPtPlrQkvTWOXvbSB41KTdFHn7qWQerhmKw3ef1pmfsrGNy4nKDXMmGolNrJN/u2miRfZLi2LlXcW7Bymc4yHo7QzBQ4NPX7hrSVebx6zW9QxW9vEzU7mJrzUKj2e7p2yeTrAJTV+h5H/8Rdv8rP/5O8zcAShXqG3+4rjwwxmX4ygO4HZ0KSca1E+/FPCZ/4K7UaRgd7G445gC42jNfvUjj6GwCyBoUUG2edUMlsk7vwjUi+/zz/+hd/kl37xS9Q6PXWZeL1Solao8Hvf+WVsthjlTIdWdR1z9Qjz0Hl63TyDvgOrZ5h2aRVTz4o1GcVqW0KvfEI7/Ro99E1MLiu1vQ/xz1zF7IjQOVqhY3djlG68WUfLvcFkCauUioBG2q4hHIZTasUiHt+4cgK3a3VFcW4Z5E3aJDm3iGV4lnZ1F9PRJlrHxo+/9ynp1A6rmQ7fvZcn24OIbuDGjInx8RAB2bL1+jzez/MP7srr2MB3Hx3yzkKMH6xWWIyYuJj0873dCteTOs/TOsdlIy6bTr6jU2l2mQ6a+caIhTg1bl+K42hpZGXr4Xazsl8j6rOqw+zjwxo+q5OYy4zVacY+0OjWW5wd9+FQfXob310u8Ruf9WkYGlSNHra2q/zPX42yl9cUmG0xGiBV6zMV1dlId/DYLTiNLup6j/ViHUNHJ+ww4gvoFAsD3HaJUVlYqfRJt3Usgx5nPQO+PG/hawsuelqfUEx66B1q7TYP1uT78UsuA6ehxcDo4sPnp1yb89HVu5jMPny+Lrt7FQxdo1J/et1+tSGxey2MJCU6X+fxgzLvfSVCX+vQ6em8XMmTSPgZjjrURk80Nn/6F4dq43b1ko/52SiHu3lymb66KITCNiqFFl/+1iSvn5VJZ2qcPxPD4e3z4Y+OSIwFqRU7dOmyuBhSXXKnE7ZWNdL5OkuLI+iGIsaBlUy6SXLcTqXUU5Gyt2+Pq83f85dFzpwNqcimNmjKiRWt68RgqLIwN8rT5ycwkFi+iZbWZXLMSaHQxmyF3sChHphOGfR5nazvlLl4JsDWWonEVABDH6z9Hp7o5xCikZEYXgGRWdrsbhcViPDuu0s8+HCboQk/uUKNkeGwGiBtHRwzMxLmMFfnzrURnj7Z44zfyv/ygcbHWQcXnGUaJov6/SvFvcGBNznB9s4h1y5fUJdjOXhJnFy6xdLzK1WarK6sKnib9OGF5F4oFpiamFKwpK2dbWZmRe21r2ByFrMVm8PC3sGx6l9KIkYinZLUKVfKpI4OeOedd2hpDRXtDUcipE6OVGy42zfgdTt48/INLp9HwdNevXipBg0Sl08MDakKgcliZD91yJXzF+nTU9uU5VdCbw4wNj7F2sqK6ovKFjwY9DKSHOX45FiBn0xmJ++//xHXrl3AbXdzeHykFE+BoEDZsgS9QfKVEpMjI+pitrOzR6vdxBcMqghzr9+jWCwpWOG1ty6pDbp4pn2BAGXVHzaqi+Pyq5ekc0XmZ6fZ2NpiYX6W61ev8P5H9xh0+6pbr8v3brCSL5W4fu2ypPlJpWVr2SYWls8+CyaHlVqhxP7RsepCh8IePnv0kreuX2dhfpJ/+Wu/yfmL5yhk8pgt0Gp1iCUS2M1G9exuabrqqOezGUUGrtXaiiUhEW5hGswvzCktocTHa8U8GxtbRIKStGjQ6xnx+DxKvXXn7nWW36yrzVQ4NqTAikKx10SNmJHYuZNoLKLMGKJTFAK7fC+LC9Mcpk7UwXRhaZZcOks8EaOaF82ZheHEEJubu+p3vjA3w+nJMbmTPIGoxMbl72VUsfiutB1MfZqNFpPT0wTDUQWfE2DUzPQMaemoi44uVyIyFMRus6m/v0SGJdEhffd6o8nI6AhNccL73Eql1tA09d/vbO7i9dpVXUIsEgbZsHcH6uIog6papYbJYmJ/75CR5JDiKXh9XhXPbdQ1XG43TquZSqOB1+NS/0aj1cVqtxEIeRU/QGwBbqeXjW2JKlsJR6NUqy1297YVEFE23UazQSUKJEIs7xEBTcpnnRygRanW7Xdxi0mmD7VaQ9H+rWYTaxsbnFtcoDcwcHSUUpAy6dsKxTufkc59mMOjjLoEj44mKBXKHB+n1PtaoH8tTWN6dppyoUEoKtalFfV+9gc8Cmr2ZmVFDV5Eqba7u8/FyxcJeD3sbm8TCIbV61kqCvIeMYsS1CXPZCOVelk5x1Wv2e3n5CSNyW5RPvfl5TWGYjFGJ0fY3dpnfmmKbDqvzBlyYfnpn/krLK++xmn3cHQkELIKDosDh9sFuhGjRVeU7pPjFOcvnFdgNZfbpmorFpuRkD+Ky+Vlb38HvTPgrdtXlUZtOBlTNYT/+Ae/r7SOXr8LYXcJQC0xMqFI63feeYef/PhDBoYBE/KaaTZ469oFfvN3/hCfxYrfY8Tndyuln7XT43lpwK+8a8HSaNH221iaCfPJ/VO1HRXA6/ZxjbPzPhUjvzgdpNRu0GroaN02hYKBTl9jcjLAi1fSLe8wuxggZgeP20F3YOSTFwLY9ODGgGaW93kDp9mK09zlNG9g5owbs2Zmba+GMyAd4h5Jn5VW10jM1eC9uVFe1wb8nx82ufe8wI0zEaKePgNfmI/vrXJ1aVSpDk9LLdVdT/rdeLwOdbk8PsqSnBhS/fdatoHJ4+D08ASL10XdaeTrP/11Htz/lPHZCbWZ3ds8QO9I/9tFOBpUQyEBvEplan5ugWwuS6VcURdtUZlu7+zjD4aEGacgtRtru5y/fI6T4ww33r6qaigCbt3bP1SQVFmmTIyPkc0VEbT6wvw8T58+UdrKeDzOvXv3uHTxGgZDn3y5qBSi8r7yi+Jah2yxTCwcZGgorhggB4fHRBMxAm5hBHRJp0/UJVueb2AmdXiIyWYkHpfLcUvBAOXifeedu3z44cfMTc2ohJlsvsPBGOVKQQ2upbIidbNLl86xsb6hhhKRSFTVnoYTw3z29LlK6/kDAaUeFHONmEyUHUA38PzlcxbmpJJWU+BOv9dDPBnn9PCU5OiQ+h1KFU+0fZJ0ED2mVO8eP3vKhbPnyeeySjedOhCGl539/X3Gp6YZH0uotKAkrhKxmLJTef1+DP0u0agMm9+owap83gV8XgXcFIOB2+9RqtKxiQmO9w4p1SqKmyDPxFxOIK4h9Tl3kjpVTA4ZtrrtFmVH2d7ep6ppTI0OsbKxiT8SgVyd9PoK5q4F4dbJ56TdIDypmuKt3Qlb+KUvWvhoo0rSH+QgdULP7CRk0LEE7PitTv7+H6QJBYWqb8NjqfAzV0a49ybPf3lZ5lf+h5v8s3/1W5z+8F/icYXRGqd0+0YcyRt0s9uY+8fgDmH0L6KLOSfzHIM9BI4I/doBukHSrn06rgnceotecQ+jN0CzuIc7dgGj1YXWyGFqnUDoi+jGFoZOFt0h0fwi5r4wU7IYWm10j5+BO8xg55EaItk9PgzWOAO3n25lW1DQ2F0jdKs76PHLkHtMN72CNXGFvjGg4JyDRgqD1YlyBUjywmzANHCg9VqqCmqxxFW1heYp/YGGWZI29//XCd1iNLC2ncaChUJZIx4Xsqid3aMiZxdG6Bt77LwuMTrtVxGM1eUMZmOP+aUovXqXnmw2/U52D4uqf2Z3OGl3WgwP+TjYqVNqaMSTZloNCx6fmamJIB/8aJfJaRu1hq7AN06nBYsDVp5lMVlt3Lg1yiePUgwPCcFUPkyFjF5X0cOuVsEbsVMsdnDZbMwvRPjhD1bUg+nkNM/CXIJgyE2zrXG4k+PmrUVevdwj5Ldxetom36gqOvTLN0Wun/XiDzs4Tmkq/jY/5+HwsEe1X2c67mR3p6Ji7UKH9LkNMpmg2uopwum4v8XFZJCdspn/vJbhkx0zb0oSMR4wNWzjWsjKQUHsBANmnE66Zp2DUoW4zU000OO0KV3pDvWqzlZdp2830qx2SFhhzGPif78ZwWcss5bXyVUG3LgcZ/u0htPWYno0zm/92RZTMQvjfifDESvoFvReg3/7rEl14OTDQ41O08hIyMS3ZmPcOxFViY/TUoN4z0iqayDVthC0dnAPutyYcXHyX0Fhf/awiMtvpFceMOwx8Tvf+UeE5+fpGCcxVvfJ7WzhCAfR012aljahoSUGBo1OpoRmKKj+vdkexWwf0Nf6aKVTjM0MvkgC09xXOXn2R/ytv//7/L2f/wLbe/uU0lnm777Ff/oPf8n7v/131YWwrflxetuUD9/gW/x5DNYIDkOaWjHNILcDyVk6p8cYokksfavSZBCKYi7tMaiWMDsclCu7mLt9XCMXMZSLCsrmmH5HcQEcJw9pWu0EEwtktzepFXZInL+FyRzCEgtj8vvQbUZMpXVar17ypz98w/0ny7xchtN+g9Tn50b+1hk7QzN+XkmyJeJnOhFm7bBKz6BhtxtJhGxYG32e7EruXGcpbiFT0Xm4X8XqtdKsDHBEbCrt4dBMXAxVGA55mbG2uLUUxzOo83q9CHaYODvCB49zjOgGWjYjBocRQ7vE3HicRlOn16oQsFjJd3XWG17+bLdDttHgkyP5/zpcnXdg6HYYCQmhuk3SZSXb6Krt6VwowIPtU6xY8UWCvNiroPVbfGXMrQjv+R50seEymVkrNSjUTejtBhGzga+fs/H2jJmQxYTbPiDXstLv9Hm5VWZ8fohKvsVeocyEP4Cm9ej36pxdko6ojb6pTzJk5jCtcXDaIB51QE+oxjoWu44VBwcHNdWX98bMFHId6gXpYZkx2gT40ieZcJPaqzM/L5rAOjaHk+kZB9ZWh+BkgOUXJzQ6BubGHLxabbCz32R01KUu4U7HgItnxzk5LiGWlkDch9YoKHf45kqBqQUfzZL8OwNmzthpVqusvqxL34hLl3w0WiY++MExZ6+EQe+wudYkPmpmOO4mk6qpw8WVW6M8f1wkELThCVjYXSkytxDG7jTQFiZkZUC1WKCDC5NFI+Z30eoYFWFe1EdCM+63DXQ6OkNJNzubTVLpIu99OUbhRFOXqsePq8wuxRgZkiijRYHhQv4YtVaBRHiEveMjYnE35VwHT9CJzWLk9esCX7jg5PceNfjVx0Z+/i0Hbk+Ie682GYlHiQRcNI1eQpE49Upegf8k5isHquOTE6Wt8QfcaiMofUH5nd26dUPBiR48eqgO702tQzQaoVopsrR0jiePHrN0dolMIY/VYCUoYLxGk6cv35CMx9QBR2BnAlaymITPjfodtttNLl48x/ra1ud+douJzfV1td0XSNnM9CJdvcOjhw+5cuUywVCU9MkxFrtJRRvlkvb8yVP1d5yfneEom8bQaZNIDCtY3PzZeXpaV+mwjHaTIqvv7GwzPJzE6Xap6P+P/vzHjI6OKIvCvQ8f8pUv31W2XqFHF8sFdRi+uHSGnaM9ddmQTXo0FuLpZ89468Y1dbk9Th2raLgwDwQytbclbnQ3wUCY18svVKTT74+qv6kcyC5duMTTJ5+p7r8AqGTjlM1nVBpgamZMHaaEqC+AxMtXzyhA0u7+viLGb6yvYzBYSA7HVX1O0hD1alnR1WV7JbHTeu3ziPTGxiq9noE5sRwc7LK1KZe485SKRQq5Im+/fZMnnz0ifZrD7bIQCYbUQK0jPIFmjXNnFhUQ8tWLNWbnJlSqQy6tXq+PQkG2aSF2RdHWaTOSTFCr1tRAReCHT56+YG52hng8qDR3wihYWd5gemZMeaodHofaAEtMV2omDx8+VtUeqVzI8EGI8I1ah3QmqyL/wXBYdWT9Pp/iJETCUXVhlK8tf6ep6Qn1M4mlwOVxqa6u1+3j+PhQRdQlcSJqx7V18WlPs7m6Tjw2RLVRUAd4GcjEogFFkxcoXTI5zN7OPlUxN8zM0OpoKpa8sDjPRx/eVwA0eVa4HG6VEEgOJej2mqytbjM5OkKr36FUrCkS9uraKrFoTFG95XclX3t5ZZ3RsWEcZpPS1Y2NjjMzNUG+kGNra4dEckQlFCQ/7ff6FYX7s6ePOX/2rBo+rW+sqQv3cDJBu9tX/XupE0jEWeoiosB89wvvcHAgqsGG6vFLzBqziZF4BLfLz+7hARalipSqjVe9DkfHkiryuzQ3x97RsVKFToyNqiizaB9lOFEoVBWhXWqAwViI1fUtzi6dUSBNsd4sr65x6ZxUBhoMdKu6LIjGUP5b8a6LalSqO9JVP5QqhEXSZRZlBpLO9+7uAW63j3ZXU+9dv0DXrEbFlMnkCvh8XlW9ELCi3W3j7u23VaxZ60oyxMLym1XevnMTq9nMH3/vz9UQbXg0QTZ3ytbGgeLwmBwWRYcXtoPd4eP09JhAIKpSMCcHR3zzp76hOtijIzEFWjvcT7M4lyQZdVOv1Hi+fcym5uF/uqjzt85beH9dwGkdZifCBMLyWZ1hfipCqaCTLhW4c3ma/XSRh5+U+eKXJQavoze7FOu6Sq9Jam50IsizRzlyTQMBh06x2eFnvzFK6rTMyWETp92E1eSlM6gTDDjIFns06j38wS6p1ACTSefbdxO8WT9lqxrkN9806Xc0dE2U43ZCdhMWZ5dG2YzN1FP08V7XrPrVYtsYSyaUqUQrDWgKbM8Mh8cNJhI2zIkA3kSM61+/o/gc9WqDwsnnPI2d7Q2iQwnKpZKi/8uw6f5HD7h48RKnQr4vFFUdqlors7C0yGePn2ETqKuAPgNuZQ6Qz0GB4a2treF0uXHZrervPxRLkksXmFmYZnd3S73HRbcpWthofIhjsQMYTMxOzlCrlZUpIxQOqeSODO7EGJTNl1laFDBrkf29I2ZmJ7GZLRwfnRCMhJXBQl4Lw6MjPHrwWL2n7HabGnDZZMtvN6ufV5LA6VQKp9elKgeDvkBxw+p1W1UWmzDra+vqM0F4C/6AvF88qnog/A0ZiORKRZV4nZub5rWyW0Qpl0WZqKnUkgwgHj94TjgeVtYOgd5KMqrT7arBkgysZJAlm3kZ5K6trKtKk6hPJV3mdNpVKujqpQscHR7xcnmVW1cu8Xp9g2googZ2TqtTDWjk50kdpGi3ZcA6Sa/T5fzFeT784FM15IxG46p6WW3U1dD7wqXzCoooQ8Sx4RE1SLWajFy6fIXNjQ2lGJRzjcNmwe6wU6k01LAlGPASEZZOOYchX6WyfcCgb8Lnc2BzWtk7qeFygdb38uVIh28u6uQGDqYSHuq1Nif5IsWyjS+85eAg3eWXvq9xdcREvtUn5rZxXKgznYjy7z5M86/+ZoR/+u9/i8xHP8FhsoCYHFJiwShjHP8p+plHClJrdo3QszgxiW/d0KGzdx9jdFHVv81aHlNojnZll/5AkuIdzN4hTKYIzfRzTGYv1vgFuq1VXNYYrVYVvZZF1/YxJ+7SqWewWvsMTFH6tV11ltJtcYzVTfquaVzGAS2rl355Gb2rYXMnEBWVVj/FZnWjOxL0qyn6Vh82T4KBxU2/kcIi981qGvQmJnMMg8lFv7KGuVejb3eh26ehXcHwx383ph/vlZg+G1EqqeXlIulMha98eYaDoxwOtx2bTWd9ucbVazFevDhSLxrZokunU9R/B/sat96W/mANj9+My2tTPY1238BnD1PcvjHOabFIZq/BxHQEV6hHuQgWuw2r0cRJqsLpaZ0z52IMD3nYPyhjNYu2r8uufJhZrBisdX7+793i//v1FwxPmEnGozx7llJKpwsXojRafdXrrxWrXL42zMFegb3tKre/OKKcrKv7BeYmg2or2W0YeP66hMdjZnOjwpUbXhxGM6t7ddVD1eVSHDbTaZmJRFycZGoUJOoyYaVjcPHkaZbFuRilepVu04w/YeRmzKYmTftV+PWPSnyQMnJUq+Nr97m9GEDvtrCb7ATssJerEYw6OKqYiegabreoaXQ8Fp2y5mK/WcPptuHQNH7hnJU7MxG61RYOa4//8qTKly6PsbGbo9DTuHU9we9/L0U8amRxIs6sq0PLMFBbTqGH/9Fmn999VeJNvo91oHN9wk3CIQfcNha7HWvfyHGpxm7LwIgdxsLQ7rh55/IQD55v8/S4TrEKtjr83q/9bUYvBLGEJuhZwxRLu4RzZY4Kp7g841jCCZrpbcytDOahm2DqYNRNSpdncnoprKzjHgnjvv1X+T9+7h/yO9/f5dvvBRGd9NL5MJsrNX7jV/4GZt8UhaMdnF4vFrsQZUvUdpex+kIYZUPfzmIe/jqWXg5dtGCnL3B7LtAb5OnkNzDoNmwTt+iXCmjmBjYc2MPSfanS6VtopgqY9BSmwSme2A1whbBMxBFLOu0ipXSazQ8f8frVBr/55xuUqyApSYvTwLAHvv7uJFpP409eNfj2oh2v0cpuoUlea9PCwWhfY2bETarSJOhz8Ol2nlfpLnfHraTrJo76DjrVBt+cD2Bs1fjSnIGAbYBX76rLTybdwebW0XpWsqU+tXadl0ca75yL0Khq+Jw2or4OHgZk6gOMNi9Ni5XvPS3y+ztGys0eSW+PEa+Z/VyPWNDM/JADQ9PKi3yRCYFjGi0UaNBpGBiN2rCbDbw+1DgX1vnSgp/f+7SEOWRmSzNwnOpS1AYMmQ24LW3+5t0wzmqL0bCRC1EbezUdl9NAtj5QuqKjfJGEw8H4mI16s02vY2J0zKVqReMTfgZtK6IlruUa7Kab/LVvTfBqrcLebpO49N8DBl68KtJumzg368BkMXOcrzM7FiES75E9HLCfqvD29RjFyoBMuoLVZWNmXKj9fcymjnL5SoVgYyfD6HBQ+YKTQw7aLQOrByUW5t000h1G5+KsrJzSagxIjDhoNrpsrlWZXRzCaG7QrpkptYrUi6I/dZFLtTizOASWPs+fptV2KBw34RQXckpo2jXmJ8Kc5DW8Hjte94BuHzY2WgS9Os12S3EAzl+MKlhbu2/EajBhshvJpetEg1aGQn7sAQevVvaIDwWJhT1EQ04+vicX0gixmIF7D1KcmRvlo/tb3Lo1wsqbnDpcCA19eyfP5JhHTY3Ru1Q0jeG4F5PJxYtXR8zN+AmGPOzvZbmz4OaPl3v83x9r3Jm0KO1ZVdPp1TWWD0pce+sa/YFUJnKEo2FePH3J+YtnlGNcDuJC3R9NJDjNFZiYHOf46IAbb93g5Zs3KmLp93vVNkRASnIxefniNXfvvk0qnaZcKKgLvxz6h5NjKjYvVS65/MtGbW56npWVZUXydgqkbmMDm9HIQDeojcilK5fUxavX6yhNldlkVVHxPfGXGx10hUheKSiYXCjiYyg2pA6ZshGRS/FpOs3pSUaR29++c4ODfbkYtVQiQdRmEhOWCOOzZy+ZmBhmfn5JXdAsVrHjBFhb2yCZGELr9BWUTsBNssHaO9hV+jeJfeezBQUIEtqUONWlqyyAOTF16F2jgjG9dfMa9+59qijYkhx48ey1uoR4XQJ/DLO/vUuxVmVsZJRgxK8OUJI+kEPW0cEJ+WKZL969zf3796k2WkSHYpTzeeKxCLliSW2kb925w+//3h+i1evcuH1LaZ5m5ud4/PCp0t4Jk0Bc7LlcmrNnzrOxuYbVbFMArkqlrLZOa+ubdJptrDYj4aCX09M83oCLf/gP/wG/+iv/Wj33A76g6pAeHZ0oWvvS0hwuj0MZgbbXtrh44TzzC7P83u/+R+bnZhUfQsjbZmE2aG3CsZg6IAtfQRIBOzsHKnr/3hfu0qzVFbTOZDSRz+RU9UEqiZtb2ywuLqne+8vXa9y4cZtgNEKxUKDdbDI8Nszq6zUcbhlWGXB5nTQlVmrQsZvMKqLfampMjw2zsb2joG9yIZAqx9FJWoG1pEIhtgipj+xt7ynIo6RDBEIpl3RhL1RKdbXNliVJLpXhrdtv8dGHH6nX4WhyVKUl0tm0ShCcXZxVVP2PPnmEx2FX1Y0nT5+ry87VKxfVoX1qdkbF3CfGxtV7JJFI4HC6+fT+R+rvdXhwiNloUT+XfB87+4d4HG6lmZPobrfXUcpM6cJLd10GIPJ+Fep2rVJVYMLZ2UlW3qyr17TFbCEyFKCjdWjUW+zsiu7SyIUzixTKFVV9uXTlLNmTLGnRUJ4/q9IxH37wEdFgWF2QcoWcilyLESBXKFEtlxXkUAFGbmUAACAASURBVJ5rMgCym20YrVb1WeW0OTg+PlVKzkalQigaUR3/zbU15cmenRWoZl2dA/v9ltKXSQ9fzAoC8ZPqaqNeVXcd4TcI+LJe1z43jrgkFWUhHolRKtWoa3Xeun6Z+/cfqeqoWBGEIyDqM1FJXrh0hpcvltG0hrI49HuC47NSyuUY0FWgPKl5TkyNq4qdgEDDoTDVUomJqVFSqQzjyQR7qX1ev9hlYkQ+fwfk5LLn9XPc6nNhyMa//WtO/uSzEkGPAwwDBfqzWM24nDa2d04JRT3oHSONdhurdUCpAomojesXhni2cojD5VWawNfrWcplcLgMzI+4SQ4PcXR4isNp4zjVVgmdxJifiYSZ5fUCXqONnMmAy2jh7pioJo1873mTf36vzFTUQSjpU0kPR9uAMxTk9W6OsbCLk+Mav/Bzl3nwJsXWfp6v3ZxmczdDsd5hYDTTaFUUpPO0WCE5Pcr0whw/uX+fd7/2Ds8ePicUjPB65SU/81NfV8N/ASaKFrOYz+L3BRRP4ujgiHg8ye7Bvoqmf/5er5DL5FWF5vj4RF14ZZk0PjGC3WXnYP+AWlXDaDLw9s0b7BwccLC7hS8kl+EuJotOMBBQFhiBrEqtpd6o09KaijuwsrKigJSJSIRipab4K96AG4fVidlsIhaLKfPK0ekx42Pj1KpNpfubnBlWybup6Tn1nBHAoGhQnR4HAxnSmo3q9To1PaUSX8KxOTmWjat06WVQ0Va8FfFpRqMxTo9TuL2SsGqRHIqr6rMkFyYnxnn+5Akuv1dpLV+8eMFXv/Y1nj/7jEkxqKxvMDszRfokqxJQ169fVq//g90jhkeTqjph0cXCYiCWTNKRykQ+h240cPfuuzx7/BmV6ueawnQ6T9DvxemSxW0Xj9vNsycv1NBA0mb7RzvEokPq8zcQDil/vLz2JWnhdDgplyqqZlUuFZmcnabVaCp+TSwRo1KqqFSEdP59fpdKNOUyRRbPTtPrDJQhoFQpcevOTZ4/eY7L5cLqc9Nt1jGc1NTiwG2ycZTKEYl48VqsnF0I8IMXJX7jr3r4yQd73Lw9TKvSYDulMz1m5+VWjX/2Xph/8+CE/+cnA751O6rOeBPjMVZ2ciSGwjxYzvLhv/smV3/2f6Oxt0mv/garM06r0aWXeh8iZ3D4RqDXVLVBvVvC6J1QEEDhzdjtHrq4MOh1+pV99EoR49h7mJvHYB3Q7wcxUlFLMqtvlE72Ba2j1zjnv8TAbmLQ7mDyJTA323TKrzHbk6q/L7wf+Vw2WLsMynkw69jcC2jlDQxWNwZLEGNtG90zjMk1QuXwfQKxaXSjpK9KmLoVrIFRDJ0WPc0AspB1JcBkR9v/L+C5iMPuo908wmD1Y/jwl2f1/EmZ7VSW6dEYiZEu+7tdwkMOUtsCx9KIBi0M7KALIKvXY3ohxmmqR7VZZWIqyNNHBc6cdxH2e/nRD3cYGfeytBDh0wc5TKYB0xM2EqMJtjZO6fagWm6TLzcZHg0QdJsYnvCxu1ZRExxfHDragEq5x9xUlL2TU3xWPy2ZbrktpATkNxzh5LSK3W6gWupisRqJDbuYmg7z0ceHdLQ2i0sjeJxCFO/S1jtqS/T0YZ2zCzaCMTuxmIdao0c0Yecv/vMJE1NOUic1xsdla9Xk5LCLDMGHJ+3UMh0a/QFOk4HkuJ+6bBldBpZXmvhDVpwWnYPTHiG/k4S1y/yUEM1N/Hi7y0e7fX6806GiQ9g+4K0JD/lCgy+NBii3azwpGKm2G8zFvZTKbQw6XEj4OG61WU112Si2+OaYAY/ZxO1hG3/nRoiTfIcfvsziCviY8/doG13olQoNs41cq4/PbsTrE8p5ifmQFYvLwna2TcHo59fvHZHXbOpC986ZAF8/5+X9j46o6Vb6xgGzI34Ojork6n2SQQ9Xzk/g1kr85r0dWcxSz8KZcSs/9XaQf/R//XMI2tFefUCrZEd3+OkWDvFNLKqIfSN9gik4oFsH61ASPZdXL2yPcxSjv8N/+O2/YH1lh/2dY9o2jfyhmR+//G200wyaPN26RgatfcyuIcq7DwlPX6Yfu0lj90fYdROmwLCK7XijC2jVLHqvgG7yUjx+TWDsEq7wCIPagaonGPDTKqcZ8rXoecewT99Es/iw6qcY0zus/OX7/NZ333BwXOXRbg+DbmBhxENFqzKddHLr9jgPnhfY2ClxZdqieo1CGK/WBrzI5vk712IMehYeHZRVt8prhb2MRrndZ7k8wGNz8pURA41+i5Chw393M07cbGUznabRtxL2W6kW2mgOC61Cg47dCu0umsnBUtSKr68xsJoZG7NQT/dYy+r84WaPvzyq4Aq42S3ouHSdC5NWZjwWUvkadtMArW5gYDPg9zjZOO2zmDCr76FZ6TI24aZc0qn2+4z67Bxku6yVNBolI3I8HLQN2J0dvr3ox22s8625ADZrk3bHQr3fxOByMDcZ5Ts/LmC3tDGJR75cZn7UQtDtZ/+kykm6x7mLYnOQTpkHt8vKjz895vKil1ZHpz0w4/f2WX3TITFkIBQ0EYl61EGxXG0zMe6g1TWzu3VCp2OkWgGHocv1u0n20y0unwvz+mleHaR0o4ZkxRIjRj57VGZiwc/pfotzSz62dvJcfWuST+4f0W+2mLuY4HhH4D8DpTSdmPPic7QZn0jyZ3++jc9nYmLMQ7dtom8xIXjR9KmGxWnGbCoxkpji9atDpiedBMJutcHLFXoMJbyKklypdZhfCPHpJ3nCATPBsI14zInF5OEwlcdu7PHxwzrzsw7mpl2Uq300zaCqD88/KxEdMmGzudnbL5DJ9VlalMuVj5dPcoyOWblze4wHj09JF+q8fX2cXL6sNpL7uzUuX42prv2H93e4eXOc7eUiHV3KFxJhFX0dlHJtcrkO5+ac1Ace/vQQMtk2Ra1N0ifdPxs7+wUK5TYTs2cUnEhi2qcnpyq+f+XiRaamR3n+8qWCT8nF3ef3qti4bBnfvfsujWZVXeb9Ht/n/btcTg1i2lpLVbna/b6KXErtZnZugQ9+8r7ScwndWyjjezu7CjQotHb52ul0lnPnlhSxWKjPomET6Fc2m1cec1GbXX/rOsVSVinWLlw8rzRHT5+/Upfh0eQQpWqFfrtLsyOAN3nfScczrba6kly6/tYtNtY20ZGD+edgs+mpSRUhl06i2+Pm5etlfuanv6EuDkJN72od5ubnFOFeAE0Gq8SLQ8zPTfLk2QulVBI6uwL6DT5XYskGTPgDsiGZnptWcW2H3Uk6k1Jdvzs3bvKjH/1YbXvuvnOXV29eK26B6FW/9MUvsbm5w/NXr5RjWX6fsaEQBox4PG76fRMWK6pfLYDDdFYo2A5GksNUKnU1GBOo0+z8DOMjSU6zGQXJctqcKl6tdTRm5meolgsqxSGKueTYiHLOf+cPvoPHJaotD5gHajMretvN7TRXr0zjcLnYXN1ldHqEWqlGKBJW8XmpEFy8eF7FX0XLJodXoaqvr6zzla+8y5MnTzEKKX80Sb8jPJ20AmgGhXWjFIgesidpxmfHCYYCbG1u0W72VQpAwHmTE2OqkvLi+Sa371whX6gRG4pwmsrQarSYnptUrz2BygmQK5vKkZwcxoTOyWmRdrPGyOgEHaGlx6I8ffyS5FgSXe9z6cJZ3rxZVmq/lHT4x4cJ+YKUqkWVzGl3Rd/nIBkfYXNzXV3OU8cn6jIgHm7ROsoQqtGsKyCfDFi2tvfVxrFSreKwWvEE/CrlcuHcBQ6O9tVBfmJyUm3FjLoBi9VKqVRibmGWRqXGq5VVzp9Z4szZBV4+e0W9IxwEI8aBkVa9ysUrl1WsttEoc+vWbYwGnfXNLXVh+dm//i013NpYXcdgNCtNplxUauUqZelfG0W9amFkZFR5u4WPIN36frdLtVr+/H0TixDwuNjdPVRVhCuXLimuxctXq/g9bhaXllQCbm1tW2kHA0IcH06ys72DQzgiN67xw794H4vBwJXr19FadTIZieuG2dnbU7pC0Z4dHp5w+/YNFXUvFmq0ux01kCrkMni9fgJBv7KJDDptpQ6V+oqkOQTgKBV+eX+/fr3MtZvXKOaLipwuNZxmo6N61mJbyQpjwKQzNT2vKh1OmwINsLy2rtzndquuLkb9rnw+TzIvVQrdRCZ1rKBvqVSao9Qh7966S61R4vGDh6qrninqJAMOhvwOCq0W5e6A7/6ck2dHbXyRAOVsDZ/byk4qz0jUR3zIyf5uQ4E9PX47xVJbbdaTCSe1vIlgWM7Gfbxul7p4Wz0+jg/rjI6YKJR19Tsq5epkczXGJ4KcFDp4TH1kBTLs6BFytbh4cZbv3t/hX3/QpmD3EbCYsJt6TAYlzt6m2uyRa5W5MDOJUQw6G2WSCT/VRo/ljRwmgS+J7tNuJTDpZSAX80GP0akxrt54i//03e+re0AjV+LkKMvI5DClfEn9rmVr/9mjZTx+h4rwf3r/ERcunFWmBlHKSRpnbHycg70dyuJHd7hUHL7VarF49izb6+sqQTI5MozHJ6rLFtV6i0gkqGwnAuONSHRcovSxqEoLfPrhp4xOJKjX63hcXoLBEM9ePsXtcfH2rZs8fvoMr9PHyYmkOvy4JJqu95Wp5M7tm2xvbCu162n6RDFXEsNjfPjBT5ifW2J2doJSsarI98KZkAGdVNV2d/bUa79caSrF39BQUsFgJbkmoEAxnUkPPp3LEPAHlY3m+EQSCE5cTjdFSV0VimqIc/PmNTWYff7sFcPDI6qWtHRmhocPnxIfGmJKlIhH+wrQfn7pPH/4nT/mWz/zVaVArEkSwWxVVRSptly4cJGjoyN8fiflSkMZOASyu725qxYmsViIdUlVONxqKNUS3oNHIJsCkhxW6WpJ2GxtbCgtaLPWUYNxSTwIXFeGFi9evFKJCGHU9KUgIUkm6SMhhgrRGVfJZSq896Wb6jMudXCoqgGSXtK7wuUpoZl15sZjlD7eptWtEB+NKPCs0PfzlS6lZpmdkoFfudYjMeGi1TJTbPVwDkwsp4pcPzPEly4Z+Rd/2uB3Hza4cV5gphpnkm5yLTgqDdg9zbC3/CsYSh1OCwVs7T5at4/VH8cRPUtz5ycqCWiwhOk1jnE4RzEJmJYOhrawYuTj1oLR6sPQHqC7OwwsITrpJxj7bswOFwYx2XRPsCWuomd3aWo5nON/jcGgSa+4iVlg3rYwtdwqDqsZU/Kc+h3ohoHEHtVwzCJ1j+IpRl8Eg0WWlDlalTRGaxg0qckF0UUnePI+htACRu9FDIMS3dSH2CIXaePHYm1jNLkwFNfBN0l34GLQ2sVu8mL44S+O6R63jsPn5c//ZJWlRS8Lk8McFUoM9AH1nMbaeo33vjbJwV6OYkZj5rxXRU8bLZ2rV5PsHGekocDi2SGefLKqtgZSVk0dl9ShNhrzg6FGrWVUaq1Gy8pRqsDtt8dI7eRY3anwzZ86qw5Fe2saVo/4XqGn6UT+f5reM8bSND3Pu07OOZ9Tp3LuHKanJ+fZvMsNNLyUSGoJyDZNWiBskJABw/4j+IdgCYREgZIoU2uRIne5S3LT5DzdPZ1DVVfO+eScs/m8bffPQXdNVZ3zfed7n+e+r2tIIEA7XHpqguPdElIE8vn6mKw2djaLypl9nDrBafJQrdSYOOXnYDej1BudfpuHDw7VVG90wkogbKeS77OxluLMhSiPHh5z7lxUwVfyyQKlplQgGkRiRvIpqSaI1lC2SAOmJhx0Oy1a9Q7PPDXMOzd2CHislMsD7E4tun6bk7KeYrWD2zJQN9aY38D0kI1spc07yy1+utImU9Opn2HS1SVk7zLsdypa9H5ONiEazJY+foeZxztlnA4jV0772dpvsHlUpzjQom82+KPnbDwd6jPpc7N8mMLqD9HoVdnL9uT5kFq5y/lJI1qdlXSqSNBpwG6xENb1aPSMrDSqfLqvUeCue6UWXtFrtTt8/9kJ/uzdbaWeicZMPDqoqB65vlxEE/VQzA/odqus77bJlQZKg/cH3wvzP/7h97H6XRB+nsHyTXb3V3AZNXR6XfTDr6MrPsbQ09E0uHF79crnKVv9wPQr/OLP/gurW8eMzg3x8LMH/LN/9nWMtiqmwQjVVhLqOTxjF+hWNTTb4qZ1UOwU6BaWMenDtHV95SHv6mLYKanDWj1fQ28LUmy0aFdO8JkcBC/M0/WGngCuBlW++A9/ysbSPtdXDvjRPQ1xp5FStcWLp81MhK2Y3CFy5RbHxTL54yoRl5aSzsjGQZGRWACXbcBpc1tt6X60kGMi5GArWVZ6nnsHeTJdPVeCDl6L6Bhx9gkY80x4vAq+c5I5UUqzXzwuYbeasRlhIuDivbUq5naN8bCFXLrN+XkbE34XeydpfF4jB1UjP7xX5BebOjrmHhfjdkr1Ji+PBllZz+AI6cVKQq7eYNhjJlPRYnHpOU63aQJRN+h7GrpaA2bTAE8f0toeH9yr4Y5Y0Da7nGTAaBzwe685+fq0g4hOfsYBN1ay6K2gcwa5t17D7yhhGXhptTp023Wmxx1syION3YTLqeP+cpl4xE46J5tcF4lciZDHyuJaifG4E59Xw8HRgGK1gVuGgMNe9g+O8dq8DLpdnF4TTpfAphIcZXW8cCqIM6rh5hdpzpx3QwMKOakTCBTIovqE167t02xqeeXNSR7c36WYaTJ3wYFJb+XO3TTjY3q8DgeXnh7i9s00lWaTkVEbywtFTp0KsLv75IAaj7tYXk4zORajWs9wctIkGLFQKneZHHcrheHDxwVCIT3zU0HeeveA6ZkgL74a5c6NXZpNPYmk9Pz86qH9/PkIn3yUUEmGSxfkoblCtQ7jUz669Qa5ap1BQ4fJbiIQ1lEu1KkVoN5tcvVKjM+u19DrWnhcfTweM6dPB/n00x2O/kHv+d2vB1T09cGjCt1WF6NlwMSUk43lDAeHemJDenX9++I2on4/K+u7tDtmWjXpBxvo1BrYvQZ+/79WMNq9eE09TNYeg8aA7j8MqhLFLr/5Wz9gZ3ubVCLFU09dYnl5ncXFFbx+O1arXXXWh+PDFCtZzp25oLYZAqoLS29f3TNbamtDr8+QQI0aDQV5E198PB5Rh311ONboePH55/jx3/yEsdExzCYD0VhMRdkDQb+KP8rrPTU1za1bX6gHFZfXxdr6BpcuXVKHYq/LobrT8rC3sb3F3Nw4ycMMxyf7yt3udns5SSaUi7kuujqXTXWr5et0mh0Oj4/Ug6fAoqJDUaVOGh2OKoL53t6ughlJDaCQK6kIp8ZgVm54oZ97XV717/b3ZFNnVlRyOXhJRzWdz6m+poDQTFaLgjwuLqyqw6Zs/SUeKZH8M6fnqVVKhKJD3Lp9G6/bg1XUZe0mzXpd6ZXkfVTMFghHIwzo0ah21GZme2cDh92lDls7O+LJ7vHqy88rTeXPfvZLdWCcmBxVQwbpTTfbLaVc3BJwr9lCNl/i8vkzPLy/QK1d59I52RZYWFl5jCcY5MzcLD/98V+rfmEoGiAeDfJwYUXF7kUhFpPfu9Oh0hkyrJGBhbAiZEBRrTQYikcU/V3eDw7RdZ4kMJkE6hjEYDCxvbWjIFmrG2uqYiBbIyHaS9RVtkRrq9uMjkcI+cP84lfvEY+FVJ97/vQ8J4dHKh4tndy+yUQwEKHVatKqNdEZxA9uJizKxVpFQaZkEDI9NaZiwcOjE4oBIZDJaDiGVaTng77abgnt/ySVU6qvW7e/YHxsSgHK8uk04zOTqs9eyBc5Okjg9rvUkCRbynJ6ZpaTVJp0QrZ/GqKxMNpBl8FAy+ypOT758GMcHh9n5ucUwV8OtqJ4E1uJxWxWB/K19XXV/zUbtGojmUwk0BgMSr8nCQGryczs/JSqq8jh3ut3q0GOUPJDfj+C1c4WSiTSWUaGnlDxTSazikwnMkmlHZT0gsvhZkcI4i4XIxPDXPv8tgKOPX31Ih++/5FK6dhtdowGk/p+pGIiALvnXniGv/jLvyE2FFe6TtFDykEtk5StuaiTK9jMDkVbV5WGZoutrQ01HKjWawqIKEA/OayHg1EFPpwcH1W61IOjPZ559nk+/vhzVf3oy+ZI28dokJRWg8lx0Z/1yBWL7O3t45Vtcm+AV67jbkdZZqRWYNIJbbzG3Nyc2qKeP3dODfH2947U0CYc8SmGiahMpetdr7bJVkpMxMIYTAbe+2iBK2cDij/SaPSZmR5RNG75fV04e0aBpl0uD7VCkcm5WT587wNK2RR2j41BV0vMb2XrMMOh3E8bfT78PTdLu008Xpvarro8FjK5HgdHFQI+Fzpdg2DYSK+j5+RI7gN63Dh5+06SS+dN+Jw2kjkjqysnfOuVIHXMbG6ccHigpalpcHnOTrujx+HUs7bTxBOwcmGogd/k5fo/DMHf2tDyo6UGHreFC8E+4xE/i2snNAZa/AEL3Xyd2EhEVQnynQousxmz1c/DBwdMxVzYAib6PjNGj0tda2Jm0Vl1Su+7/OARlWaDL335TW7euY1OIyPnPlarjabUZu0W7BadLL/V4ElUcnIYjsWjdPsD1WOXe4ds6cfV66theXmV06dmOTg8Vq+bpq/jJHms7jOSLhv0BqxvbPDGay/TbNVVTU6MJ5IUkvuGwWhWMEqpfQkAM1PI0WmLajuuPof29/d55bVX+PSjz4lIlSafxWm3qlSSaFm1DLh8+QqPFxYxOyzoNUY1MJNttwAxZckm93mZGclB+uzl86q6I7UnHXqVdioXq+RKBaWglOFEMORRw45sKsfu/oHqyYuxQ/r6Bp2GRrPNS6+8QKVcJpE4VkPZ73//+2rwsLi0wksvPq/0hflcSQ02ZPtucVqwWORMJMsLp3pvy4BEfp/CNokEwuozSM4w7v+vfz86PkI6mVCMKEk3WB0mVZ80aXXqmpXP55u37/Dd73xTDWEdLi8H+7v4QgHMVjt723ucPTOnBh7CDpHv88ypeRYeLykWyNjYqDrYynBb7v9nzs0pZk65UGV6boK9/V0iQalnNVWVMxz2cZBMqQHnaDjAyXuP8cXthKMBbj7YxG23EQnqSOZ1HFUq/PCrZpIDA7q+Hk2jgs5qoFxsYDO6+crzJv7wP6d4Z9OIy9ggGHNgoIvfamQxUeH4sEU6+Vf08hVqeYFOWkBXQWuI0iqcoDG0MbuC6hodHK+hD47SKR7S1Rkx+yboCWQ6tULf7ETv9qBpDOjrrFhNTrr5HQZG+cwJ0jFoMVgCNGrHmPt9NAOtsor19W40zT10vvPojHUwTdHJP1TgdIN7ll6jgEYnRgAfuvI2HUsIfadIr2vAZHHTq4pKt0RPF0XjGaOTvInJEEbrG2ZQytDvlWmXxXpmo2fU0a0WwODEYXXSSD6iawyjdY6i+ck/Dg5kSzc9JT3OMs8+N8rGUkIpczSGLpeeGufdd1YYG7bTaGlJHGaJjAR5/CDP86+5ySfaAsomddSh2qxw5kIYg1ZLs9mn1ihiNjrxegwsrSeYnYrTqbWp1gvUehZMej0Ou4Gj/RzxEQtOr5WbN44IeRzMnHWztJgiEnSoN1wmVabWEgaAU11YR0ctlSgYijkxWrQ47SYSqZL6ASv1Is88M83WZgajRUezJv0c6PR6TE1FeeuXS5w551MTvE8/fszoiAeNTiabTzr4bo+BYr5Lo9TDG9OzsVWh1rXSLjc4d9nB8UmdXLrPmfPSM02R7+m5ELKj7bbRWM0sHeQZcwdIFLMUyibePAWXxkzsFwcsHWj569U8f7VkZGDSEzI1mPWbcWl7ymFLXb6GDqdez3a2yZTLyL3jChdnPVj6Oj7ZKtF32xjutzkbN+NtNvnuOQs+W518w6rsA/KwLdEb6TRfmnLQ6TX4fKOHqdbh2fN+PLo2ul4PZ8DNzZU9frzu4HqyyDmPjZKmTa5n5pSnj68Os5dG+NEXW7i0WuYmIhykslRbHcZCBgq1Lp8/bpBpaLgSNvK///Nv8MJv/w50ctTW7tHIF9Ga3fR1JvQGOxaHi3ryGKPDSKs5wKCpsbv5gJmzT6Ex6hl4R0jdu4ap2UAbG6GRK+AKjdE3+egPyvQSjzC4IlgDs2S3bmOyONBbxiks/B3G+BwmvQ0hqWnrWbyXXwdjB5x9dfBIri/z2d9+xvKjJJ8/TvDFoRa/ToZJMOy18srTYxwmj5Vnfv+wz04xS0tnx9Apc2UyyEo2R9Tp46VxHculDmurGQ57dk6Pufnlp/vofCbsOg1nrF2eDnow6gv8L18foZ4rUa6auJupKnrpSMjHX9w+Yshl5ptPSXSuzMJxjWGXDlOvRSwexC4PSzRwab38+Z08dxo1HueFuq+n02sxHPbjp8LBSROnU8NYwMlmpkjE5yFo1fPwOMMpl5tCX0OpWeKs28F2t0cl0+NeukSnoyUc8rOZKqPvDxg193j1tIuz7j7nRvoEzSYKouGrdjis1MHsppproTUP6DQ0vHI5wC8+fbI1CXgtOGw6tJ0BdV1PbZlr7T56qUvpNVRqWnS6utJ6VZt6ys0i3/nSEH/8ZyecGtYTjpvZ3a8zFtJjNtnJV+u4fCZaFQ25XImAx4Qr6FNdpuOjNnajbASaiqobilnY2cwyNRPkYE/qEwPi4zIAlOhvX0EzW/0ukYALg9nGzn4Wj7uHV/rIuxl62gFum4nV1TK+wIBA2KpusLIdCnqd1DpNHj4s4/Xa8Xg6LK+2eO3ZCH19h5vXs4zPOtH1G2AesLNZx2hwUKpWGB2y4nAY0OsG1JpaFbWbOx3D1NNzeJKlXtdxai7MQNPgp786Zjhk4amLdlL5Lp98nGNi3MSVZ+Ps7p5gxIbZUVGwuuVVccO7ebSQJDZsZCpiZT/dUgCYgU4+XLoKHpjP9jl1ysTWVotur8WXXxrl5+9todfJA5uJdr3J+KifYk0I8Xkujfv4t7fb3NxvcjluoaHRMugZlPayVIf5S5fIZIro5eBqkS1xVkXrL5w/i0aj5/j4kFajrTbmVssTrCC0lAAAIABJREFUh7Y81AfCYdXDdDmcSs0lD2KyAbBYrNSbTVxOl3KuS487GokqVZ9EtAUIW6vX0fa7lMo1tQV2OCyMj08oOvva+q7qiQoZXR6krn32BV9643XqzQqHBycKWFZvtJibm1EPSMPDoxwd7OD2+bh+7To6nZHnn31aOcYf3HtAwO8nnT7h2Wde4PHSCuGIKJwOFOjIYXcqwr9s7SViKaCydrejCPPHRwJ/Es1ck069oQjJ+wcHBMN+JibGefTgAal0kfnZSUISRS6XaDTE1X7ExXMX2DnaV51MAWY9/exT7O4eqgOMUJbl8CmH21gsorZGAu/xe7yK7Ly+s0enW2NidEp192XzHQyEKFfrTzasJisjY8OqPz3o6VSkeXp6gg8/+Bir3cqlixf54MOPVe1MEhcj8TBgUDo0SSFcuXSR41SCxw8XufDUJRYfPCYaH+Lc+TN88vH7LD2U5ItLRa8dTitDsTA7+ye0GzUcPh/Tc7Okjo6Vh7vTlvuGiTPzp/jZz39JKBhUEMRcOolea8QT8rGw8JBTs3PUGrLx1KoH9YmpCQXUFPuAzS6wOR9LC8s8feWiei99dmOBs7NRrC6ncnd3mk1MDrtKJEhPe3puitv3HhANhLBZjU8o2wKwbFZ57upVNjd3ld1AureZdEZta5557lm2t3ZVP1UOAWsbG0yOT5FIpWk36pw9d0oNV9Z2thiODnG0f4TRbmJ6cpr3331PGR2EMSBMAakBSB2Ibl9t16LDQ6wtLxMKB1WlUWCO1aqksEYY9DoUCiV1YBEwoWz5ZJO4vyeavhGSmbQ6SMl1J9fZ8Miwiuzu7O0otkCpWlcGgHQ6pTZ0sgiRbvT6xiZf/9pXuHf3PuMz47RrDQ5PUupgY7eYGR4bZ+HBA2KRIY4OD5UKTL72xoY4xYcUvFH+nD19ik8//xR/IKx0lvVWjWgo+GSr6nSpqoVTIFa9HjaHlRtf3FJDCWF9dHsd9bvXaXpKzzk8PEIynVHWBI1Ghs0m6tUKgYD/iY1ifV0NCmSoKO9hSQPI7zwUDrG2sqo2/pHYsKokCfBUfn82o5GV9U2cTqfiO+xub1FvdZRW8vgkwauvvcj66raijIdDHiyWJxpG4UjMz57m8+vXVEVCfsehkJ+PPrnO2X/Qk37v29/gX/2rf0OjlMcT9rG5leSlF6+oaqvP5WRyfJj//MMfUS6X+dZ3vsYX1+4SGwkzqJXJ18pEPA7ure4Qc9nBYyO3neWHvxXiqNwkkWrjsBnI5jto6DIz6cDuMXDtRkY9346NWZicDPHBh1u8+WKUQrPDyWGd3fUGZ582kyuC0+Kip8lxtNnjqaeDnCRrXL7gYfuoyc17OV46b2DG5+ev5Wt64vzb2wkMmj5hEwQ9PUbtbg7bfdrVPmuFLC9enFK2joMi6HJVNAMdmUqJ8OQQ1oCdcqeNOejhwsWrahuf3j8iK0aD2XE+++yOqq5MTcX5yU9+xptvvIneIEaMIjOz0yytrKgaVyDoU9v9VFKAqsKZ0Krrb2drD0/Ax1A0rDgPkoKQg7rE9wXoJ6/78tIak3MT6Hs6ao26SvXKYXllbU2pSh8tPqZSryuzQ09qGoUyqXRSbVJj0TAHhwlGh+PqOb9UlGRdVvXzR0aHaDVaJNMp+p0BV555ioPDPfLZoorqZ/MFXn3tVXb2ttU1MTM1QS6XU2pMud/IIPnVl1/i0xvXVKT/Bz/4gaq6CcxQ/kgSQd5XkiKRQboMsUXFOTM/y7VPrjN3eo7jwwOGhscwmQwq5dXqNFT6rVGtoRWopMuhov2ffXSdsxdOs7CwTNDtYffwAK1Gw3e+8w1u3X1APDqkzC9rq8s89dQVHtx7iMslGvAu1VqZF59/noOjE1ZXVzh/9iwe4ae02qytrBHy+SiXKxj0egZ6sJnttJqimR1jaXWTbRnezZ4mFo+w+GiVQb+H0ahTw7xXX3mZOw/vEw9H1ZBSBhdOm5V8oaSAnjIElWtRBvky7JeosyQHZmbG1d/Ra7TK3FFsNNBZBjgrOpbfuUffriHkc+CxmdhJtqnUm4T9Hry+Hv/2jQ6f3Krz/HOT0C3w2cM0l06NciI6Rn2b/+lnDTQmB9++7OXnXyTwO6xMj5n520+TOD2ws/Afye5U1IJLuBYWfYhGdQVtOQGBi1BNoPOOYrL5aRQPaO58htE7h9HuYmCLQHqJzmCAyTFCp56i3cxgDDyPyeqmlr6B3jXKwGSiv3sTnXceBhp0mhqaXpuO2YemXUVn9dNPrzNwjaPXaWidLGDwzWIYZJRCVxhxXVH3FQ7QiN1mEGGQuwGOOFrXGJ3tX2Ka+QaDrhfynyp9cWvgw+odYdDI0eulGLR06OwuZR+QJbPVMqAz0DLIL6H54H8eHmRyRbQtDcPTPkrlJgc7DS6etXCSbLGyVMXu0hMbFndmn4jfxn5SIr8a5WeVbmC1WqZSHjA+ZcZq8rOwuo+2p+HcmZiaLGl1RgIjTqk8sf44rfp0bSqUUg3ikwG6DfEJWWjWteTSBaxODc8/d47PP17DYOlgMlqUCtAgpMrdtHogkI1ho5IlX+4wNh6lVesQCOs52BedhsRNTLRKdUUZ7Q7kIrJyfFBifEqIsRVMknPry42mxfMvD9Hra1m8kaKlbxP0OQkEraQSNY4Oirz85ghL9w6pdDWYbVZ++oss58/oiXrt9HSoX2ip3FNv7FDETNRuZWE3R7un44UzPraTHRZXy7jsHb50ysNc3My1e2muH2t5r2RgO9VB3zdgMNTxOXR49X0uj4fIFAZkxNFp1NDTNSjUTIRsGmKaCu+eaMlXYCruQtduMWNs8UcvORXZtdiq0sHK+ys1rpxxc7hbZ9Bt0Gz2CE76ONp8AuAwaXqcGw1hcvVxmdz8yc0E6AR70+ePP09xedqOqaMlZtfy1LSHg0KV+1sDTNYOg1qPc+dCdBMlHh1k8fh0vH+/p4Yxf/gbM/zBv/kXKBxt7h71XJNuSUe1lwWjHkPfic3mptnN0W8aOdl8TC29zexrvyapf3TpVTT+eaVglEMNWhtauwOTY4xmL0e7VEGT36XZyWAYfQ6LcYAzeBpaj9FHZ6B5CHvb3N3s87f/z6d8dOeIQqdNtdZjxCfI5z7TM3a8Pit+U4xU7gi3USoQUOn0ODwuMzdsotI0cZgt8PJMnI8e7fLpcY/pESdGbROvPsTiYYVXx0x89XSPKTNKZzc5KQqkYzINA6WaWRE4V45bTEQ9BNzQ7VTYPOkS6cOrT4c5EcufUY+lVsIbc/PBowQbKQNbfbhf6NGoG0nke4wPGZkw9UjTo1Np8MxUlMepIvtZDReGdXhtGj5cKHM25qBCS8Euw0ErmraWSqvLcV/LfraN32PkUliPpdPgckBP3GkiEmnR7Vg5yXWp6TUM6npGfS0Wj3S4bQ3ViU2VWvg8Wq7fzPH9bwzRqLVJFAYEPQa0vQHH+Tq5WotKQ0PYb8FDBY3FQqdlUIdigWsVKi1SyZaK5J877eeHf7nMldNWLl6e4t7tHbwhN+VWiXauj0ZnxBe0qNdof/eIetvIwUGFC+cjxKJOuoOB4n9sbaTpdLrMzfk52Cqwvl0nEjGoOKVAaR5vVAi7DIrW3O/piY+6SUhHslbCpNdR7VZ54dkJjEYzH3y0R6U0YNCrMzlmQ6uxMDJu5c59GRyYKdZrBJ1WTBYdRaX31OD1mOj3TTh9A46O8szPRBXRulTS0Td18VoMrCxXVTzX65dr2cX2QQG/w6iIzx6pO2glFt6nLs5drQ6L/okab2kNyvUGl894lGJUdHxhnxmHT0/quEkgCG6Xke3tFl00zExZMenMLD4qMjHvIJksEIlYKZcGrD6u8PxzIRLFGr18D5fXhMao4yBV5+qomU/rVn74QZL5gJFKR8uQ34zFBEubBdxeO8++/jWufXJLad8E9KW2qx3pg5vod7vopcdqcaothgAau92e2uDPzsqG4JB0Nqk22bJxlg2yHB7koC4VAdmanjl9mu3tzSdAu1PzCtwkB9tSvqI2we1+k1gwyklClGA6Ot2minw+98xV1re3ONzbV/H/g6MDdfB0ON2YrAZ1T5YDukk/wGgxMTk6STZf5tHD+4xIwqPaURFHqTHksikmJqfUA5rN4eDkREBJVsaGR1lYeqRi6KJkkgRXs9pQIDSdQJ3KJV5+9SV2tw/RGjRo+30SmQxep5NCucrp+Xl29/fVAUN69RaLGCTSxOMj6pAuJ+mxqTFu3ryjorDtzoBSIc+582fJ5wqKbj05NYlG02fh0SLDYyP4XW4VL52amVA1h/ff+0Bt2ubmT3Hrzk3mZ2Zp1RuKD5DLFhQ7wukJUijm1IFzODZEoVTm5CTB01efUpu0QjGrzARiOBCS+ttvv8uv/drXVZ8/VygQDYawuCzc/vyGsjbIg3qvLyRyowJpHZ+k1IHQJhrFvMS+A/gDHh4/3iIQcuDxBFhdWVGx15HxEUWM9rq9tNuyZU/y7DPPqG6ucAZEKXf/4QNm5qdoK0r3gEcP1rh86SzZbI5as8ZoPMpxQjZtPWx2F8urOwyNhJiZO6V87wNR3JWL6jAvB4aSbGmnphTYUAwUJ+kk8dgI+wf7OJ1W1VuX94Yk4IxGDflimXNn5tne2KXZlkrPNHfu3FaRc6NBRzqVxu/1qs2z0Lrla8vPoWjhva5KQUxOjal0QqXSUK+PMAIkqSCpAWEg1WsVtZW+df+eOjTLzyaDsaHhCH2JgwrFXmoAeg02i0VFmwWyJd14AUkKkV50wxKHv3P/Hi6nja9++ctsbO+o96/AE2UrKodtAZHJ97i6vonHZWd6akalZ/L5nOrrDkdHeLTwUKVYNHod2XQGX8CnUhiVUoOT4z1sHiezE5M0Ww12dw6JDsVo1mtkMzmsNjNef1jdF6qFAkOjw6om0yg11fUrCQyxM/zyZz9janyambkZBbRsVJtPGBlGs+qTC7E9FAmrgZYc7vOFAj5/gNnJCda2ttT2XgYgjUYVm9NJOBSiJh3tUonD/X1lWTh/8SIZqQm4XGrwIPrIWq2ujBZuh4P9w31l7sims4yOTaCRUHOnyfTsNOVKB70JCqmEzG948MUD5s+NsrIi95jLWN0uUifCXBkwOznPysYqTptDdbnb7Qp3rt+h1xkwEnfjtpvIp4psFtvqAPAn39LSaht5vN3AH9Wj65oIxQwcbMszm4avvDrE9nYGOYEdpGokknVefmmEarGKwWpR0Mb9VBG3ycC9xzVGfZKstBCwSprHzNFOkZOalVMTWr591cL/+fOmSg125L7t8RO2tdhK1TF0tIwNuzk6ETWrhUK9xvnpgEqMLK3XsMo+bNzM/KvPsr+9i8VhZSgeZ2t9j2jQx/7unhoWTU2PcOvmQ9V7Dwa8hAJhHi0uMzo+pGLgDxaW1AFyf0+22yZlLinVytikqmFzMDE3zo0bt1UlbGJ8nGazqdIAwl6YnZlnZ3ud/URawVENei0+v0c55R/cXVDDQl84QKchNeAn9/pssaR0gVqthlQ6w+jIMPGRId599z1mZubVYV24OELZX1reYGw8rjgw3oAQ8t2srq6pVIwAIje219W1KPwBGSrJRSQwWLkn2+02lX6QQ72ccRx2E5q+Xg0YJR4uRjWHy0m9JtWWHLVagwuXzpDLFLl4/ixvvf0u8dERxT2xmA3ozWayqTzHiSPOnj1DOi3UfI/6+6LPu3TlPFvr2zjcTg73j3A4nOrzc2IizsTkJNe/uE63Jc+LDcVgEYZYKpFkKDaseDoyrBVDy62bt5VCM51JMj97ltu3vlAQWhkEe7wuSkWxlLhUGkeSLW6XDDjaROIREocJNfiQGttzzz+jhhAyFPd5vNx/8JCnn77C1uaW+h48Abf6+R4/WFbDZ4NWz7WbX/DaK2+wtvKIXKnGuQtnyBwdUWp1FINKYLsel0e9P0y5OvuPt4jH3aQSOYZHIvh9Lh6vH5M+KvDKJSv/4psx3vn8hLceVPjas24ujttJHNQYixvYSLT4X9/pKmbOuREtj7fE3OPCbTLy73++x+98ycf/9Yt/ydKf/RWRiBtT9Glq5TxGkxOjQUPH6EdbXVXxer1zhm6nrD4TdBYrpVIbk8uN6OoMY5fpZg/obn+ExmFEHzyrKoZqe6/rou1WMZpaNApGdHY7A4ONQT2PyT5KM/kAvWuYVreAuZugZx7FaPPQqiUZtGvoDGNorRp6BjO69CZY/Wj843SS99EO9MomoKnl0Bq0YA2gzW8qvkTPMQZtMXc1MI+/xKAon4VNeslP6HZtDEITmBol2s0ymp/909DAYbKgc/bY3SxQL2mxejv4LValIQmMyvQqyIO7O9jdFrUFvnf3kPEJ6Yuk8ARMTE75uHszxVMvjLFw54jRCTcN6Uw1OqQKFSoFDf6wDa1Q9ud8HByUyGRrjI77aZTg7v0D3vjyKHdvHRAfdmJx2Hlwe5/xKenHeLn1xQ5XXhxhNObm9p0Eu7tp/rvfvcLeRpKPP0ny5pfGeXjnhIHeiE7fxGLU0WzrcTkMJMtlSkcdXnhNJos2tjaOODjsEPIZFEV8KOZiaSHFzlGP8REzL77g5zjVIXWY4sLlce7eO+aZp0fZWD9CZ7BRrNW5MDekeiNLS0fKNhAJejg8KHNcbjE8ZEPT0JPKNVWnnmabTLnHSMyoVIVLixWmR+xcmRE+Q5thv5WjepsfPRjwk60GhwV5qAddv8e5oAOLuU+nbWDCZ2MtU+LwoIUzYmTcbaZekyxVj71SkaWMFk1Xw1dHzFyMd/lvz1uxtA1c2y5RKjU4NePnON8mGrSRTzXoWY0083Umxq3ceFQhGtURGmiJhgz0dGY+3KxwmOnwcdLIcqbBC6dd1HNd4kEtYVufatdAKtUi7NfjDRo4yuk5ydcYlAss7IDfZ+V3vxHie3/0v+FwOzBYmpDeUxqVWq5Np+fBLdCT1AoDvYOuLYKmnqSe2lA3cyzDVLNbmOwWyBxj8nqw+M5z+PgD+s0c3ovfJDR/Cqr7tOxuKg+3WLj2IZu7Sf76nUN1uMq0oaLT88ow2K0GKl0j8dEejZwBl83DerJEotnApu0Rddvp63o06wbKmTbjE1Yq1RoHdQc3D3JEHAak1fScp8XXZlwEdFWi7gF2jZ6u2YzebGUv0+Qo11MHorbWRKLS4KmwnrGIld1iDcPAgc+uod/Rk2oUMRl1ZJIVOlYHn6Qr/HhNtuUW3KaW6puFNdDotgnYBgxL9K+uAboKGJhui6HBKqYUDL2S0oWkKi0yucaT6kezz1GtiU3T4fnpALl/AHb9629FsbbrzMQN9GwedpIFBtUmy3kD6UKTcb9Zyp883ssrzdU/+dYp1b1f3G0zOu7kOJHj4GSA2dwh7rcSHTLyJ3+T5TvPedXGQ9exUOrUmB2LYLf0ePvzJL/+WojFjTLXHzb4ygtmnCYny5tpzp7yMDHt42C3oR6kz50fY30jh7ZrYHhERypXYtAz0jcZaWY7hCd8+Fw93nlrj5kzbkw9Cye5Fil5gIu5VArB4TRjdZnYW89Q7+gZikvUtUGz3scrKhhTn9XHOZwmE3Nn7Zh0dja3UtA14vD2VYy0LB1gj5PDZF6pXw5OGhyc9Ll6wYnOamd3I6no+C63ga2tPL/xj87wq3f38HkHlAs91rcaXL3kUtdOv6Pl/LyRje0mx0cdzp8yqwfoze0MsYCFtkaLWT9gZ6+BxyWeYNE9DRQgK+ATAGSHeMCmVDPvfZbim69EKRVqBIc93PosRWzazETQyaPVPIm0pKDamC2iLytgkQeEUp0XXxzi7q0TJmfFfZvD5bYod3CfBv12j1Zfy5ixzZ8/1nNHvse4nWK7rx4+XVY9I7EQjXaD80+/qjqx4ocXCJbeZFTbaolm57MVZqYn1AZfNt3Sr3cIw0LAqssrtFo93vjyG8qPLodl0b8JaEi0c7IxlwfEzc01Tk1PqU3fz97+EKvRyEuvvMzCvQdKcya0Zs2gR63VZHp6lrWVFVwODwdHO6oSIBThQa/B5SvP8POf/i1Ts7P0aHJ8klWva6lUUKR9eXiUjdDe1h6z82Mc7CWYOT1LKVslm0s+if1nSyoSPj09yY2bt4kEQwpwmMlllWpQuAO9rgC6cgqyJhR6ITjnyzXajabSAk6OjaturM1mVbF3iV/bjTYVi2x3GyTTOaU5vHjpvAKqSfxenNMCe1OaM+HYzM1SzKZJZnPKgS4MCDn46bRalewQ8NhQPMrRfkJp9q48I07nLewWm9pMiPtd1FkOl1tpM49TSSxmPTbRaxZyypEtdYcnHW23OlTLIXBtbVU9SIirOhqPqo3s+tYu4YCfSxcukswe8cu/f5tYLMrxybGKktvMevU+mJwbw+0JcvfeLUbjowpKZtTb1CBPFG4JORRPT7K3fcDIeJS93SPi8ag6/IgJ4/AwyfzpOVWz+Luf/oKZ2XEGvR7eoF/9XCkxIGj1JBPH1MstNXCJBKO0WjU2txOcu3xaqfq+uH6XixdOK9K4DKO211YVE0Ii7O+8/Q5nL56nXKqSTB4T8IWeHILDAZVKkIdcAUvKzyed8qW1VUbiY+r9LQ/3EwIiM1qUptFsMpIp1JRBQA64En8vlwqqhhL0R+hre+rhVw7aAvkSkv3ExBipVJ65+WkWFx6p5ECxlOXc6dPqQHHv3kMFMLtw+Qx3bt3H5XEreOLKyopKO0xMTfL559c4dfqU6qwfHx2qg3DyJMnp+dOIr0Vgl6L5294+UMpIYU24PU5Ozc+r97GAphYXH6jovfy/xA7R7UgAsUMo5OXixUu8/9H7XLxwkYWFxww6A7W98/qdit7/xfVrhEIRQgG/SmTJwWtqbJLl1SUmJyfUwUegeZVCVW0/JUEj6sJUKi3ORWZPz5FJJKk1mgqSKfcUcYL//3/GlH6wrNSL7737Eb/+vV9TiQZRf+5sbynWRKVaYaASFgbiIyPKtiHDRBkaieVAkkmy/QShiDsUGLFSFN2zUdVA3C4fhwd7hCIxRftu1qs8Xl4n7PdjdzmpVST501PVVLfLTTgQZGN3k0hsiFgkrtIeDqsFm92pqmPHh0fqXlktljHpBk96yyYtjQHk8z2O6n1++n1J06VYPNEyM+6mIAcul5N0scJxEp6/7ObkKMPyno5T83B80qZe1DM708Wnc7KSLIt3hMszHo7TNVrlAaPDUk/tc1Jp4vXpcBsGpJNN1jt2/uUHeeZGLIw6DIx4taylxAk+IN8oY7eCxWmj2epTLaNqOI1+C7vTzJkvvUxO26OXb7CxtEZsIo5Jo8ctdrCdPXL5Mr5QkFDQqyLuohiNhH2cZPIKRNmhy8biuhpWymFV+u2ieDw63KHX1SqGRCwqVP0mvnCQ/e1DEscH2Kw2pXVNpTKkEmle/9LLagi88HCBy1cvs7WzQ7XcUFvw0ZEIq0tbChwpqVedBnLZIi+8cFUBNROJjNLUlYplJqbHVf1KElgyWBaFoaQH8pkMk1Mz6jqLj0bx+7xsbu4o5ozP61Xf99HBIbVKhTe/9mV1DZaLZVXFkvuW2CWEDSMQStm2P/3sFVLpBI16lbm5UypNJgfozz/5nPjIqEp3TU2NsbqypgZzcv+olurUW1XGRsdpdQWUmFb3ku3NDU6fnVddc/kcEQWr3+tja3eHb37zq7z3zkf4fG7iw0MsLSwyNjmFx+1kVRg2knoYiikQaKVYI1fMMjoyouw9Z0/Ns3twpExmAj+VD4nxsXFVf5MEgDBSPv7gMyZnp2nXampIHBmKqgGWaD9l4CiVqnd/+SGXrp5Tw46bN+4rHsnE9ASPFheVpSSZSJNMnChonjBClpdWVOLK7rQpnkguXyTg8akqmNS1nRYnE2dmuPHWx5hLLSYiAYwOE8lEntW9Epdn7OjtZnIVScf20bQ1lLstjptOOs0C8z4Hdw4rzHuNyvh00mjRaxg4SLV4ds6jgLvlloFrS3n++H8I8jt/+h/RZ9Zpbh+gi7+Ivpqg36nQROwuHTTiHjTa0DaKqoffC1+im11WAO1WZRWN1opu5A00kgJNb1PTGDFrq5isXnRGL9Qz0CzQdE/SqRZx2bV0LcO068eKsSIXjVaGM90uTVscs0H0jj06uWMMRh0G33nq1QSGfhH0DgbVLDrTAG34IjWBrdfXwDmL1mxD020zqJfRmg3obMN0W000nSyNzgB2/gLz6FdpOc5hqWzRblSwRudpVlJofvyb3sHxYY2xaRv9gZZSqasmwHa7QMBQHtJOWwtaO05nj1KqyOTsMIVK9UlUqy1dcD1mfZ9u34BWKQF1FDIN1d0Sv7UoPOQBQLR8FruWRrmnfMXpfFU5mvv1JiMjETX9K5Wa7J20OXfOhtthU9sLm9fBW393SHzIwqmzNgzYaPQbLD7K4XebOX3KTa6soVKsEx8X0IeDrc2UUhAOjUlyocO5s3H2djLsHdaIh8wYbWaGYh5ypSLVcgerVcvmWlFBASWyKmAx/5CG+fEYhXqZvV2BEuooFqVz7KdUb/D4YQ69RYvDa+ZoT/y4EPE5OEq2OH/ax+fXj5U5QYj8yzsFwgEXiVSN+ISNh/eq+O1GTrpVno5ZeOVCjN2jI1ayff7v+1YS3RoanZbzfouiZg7bregcJtItDfpml9VMnecmXei0A3KlNlq3hWy6TbrVYzPXQ2xqL4/peCao49nwgLDVgsWgZftYKKR10nJhtHtcGdFw/VGN3sDAkM9FaNjEzk6ByYCR0yMObqxmSDf6HDVMvLXbZrc/YMJk4PszdhZTBaJWN7u1purEOy0Q8Lip1jX8p/cPiAeMVOUzXdfmt98c4bf+6etEnv4Kfa0HLQXpZNBZu0Oma8RpAnujw0lVi91WQBZj/plhmsfr6AoatGNjuEdHGfhG0XSr9KplDm/d4t/96d9SrmqhVGEp1cRs6BN26XBbjWjaHfROFyMBJ9uyaejoqbc0jEQslOtNqvXqKRloAAAgAElEQVSmop4X8k1y7RoBs4Ubew3qGiPO3oCYW4tHW+fluINXRtzsFQ95/lKETnPA3cUCBlHuNbsc5xp8+9U4//6tI6wa+P1fG+HBdpH0XhOzTd4fotLpq6FQzO9W180nxy1OOnoWMwM2ki2eHXNwUGsxZNWpHnej0GRk2KNiVtqmFpNhwHa2jttuoVhv0x70cVt0VPtGDLU26YGe9eMO00MDqGsY9bf49bMO4sEBV5+N8J/+fJ9XXhlhee2QtT1wODSEnTpOCm38fgMPlpsk0y1+7x9FqbWNvH89zcy4DoptfDHRa9bQmgbqoTvotVFt9RhojarP9figxakxAUZaOUp2SB52iITh4WqT2VE783MOBh0z2YIA7Dykk1V29+pMTpjpo+fTGxkunLdTzHXIpQa8+a0gZqysbxRIp+uEgkYOT+rYrUK11dEu62gMaszNhhS4MxyCa9dyxMI2zsyH2TvJqn93+eIItUGVfKKJ3WwlW6wqLsDFK0OMTdm5d/MIvcaknMvVfFd9UIfDVobjXsrlLBZbiM3lBF/57hx3r+/iDpgoZmqYbHbcfisPbhwRl9dtr0Iw5MRk1KrBpsHQx+k2YUDPucs+lleLaDoGwqEB6XKfxbvHvPF6jEbXzOOFY8KSRAm5VQVIIKDeYIuNx0L9duAImtnfzlDKNxkes1GttGn1DTxezDI15mQk5mH7IEuu0GJ+1km332d9tcDIeJh0osjGZpXzlyx020YSByXeeOM06XKCaqajWAByIDfoenzljdP868+KrK7nGY/aKLV72GxClK6xtJNhanKY6KiQjSvIwDno85AvVohGggqANDY+wcbGhnrgqrQblDJFpS8SnZJsIHZ393nm2acVEEo6udKlF6r38EhUqcUSiRxaXV913uVrvv/uR1x+5oqqWEklwOqwcnS0r0B3QnMWHZvFZCSdTfDtb3+DRCLB/fuL6gAn8DeJcstDvMNqVTFj0dL6A17u3lngzTdfJpXM8Whhkdn5WQVsffhoQUW8BTC3LHFVo0CRwiqhkEqeqCSDHHRk4yFbuEcLj7GaLYpcLhRku83ChYsX+dXbbxMOB59sMiplCsWyevASyvfa2jo+T4BuTzb5D/jO9/4b3n//XfV5E474SaYy+Hw+ggE/DxcXmZ6cwWm3UKpUVNxU9FeyXQt4XfyT3/ltfv7Tn+P0eFTFRMBosgnqtptqI9XttZVuTcBssqbf3t0jPhxV6QTZ1kmf9uHDRa5cOY/X6+fzazewWVzEhyIqtYRGqgMe0lnZdjmolLIKbCeR2avPPs8vf/YT7A4rLodNKQllc6gzDqiW2mj0Wr73vW/z6WcfqQ5us9xBrxduj5XT506xtbVPu1lTm+8b124yOTfJwf6hosvLA/PZc2dVz7tSLStdlaRMer2uqpCkjxKYrUaVmJEObqPcUM8o8vNI19UfjaAfGGm2ZBiaVzYGqR2Ib17sB4/uP2J//5CrV69SK1cU40Gr6dLstpmanFX0ajlIiN0jmykxOTWqur2Xnj7P2tI6h8cnOJw2BbSTgUar2VYDhvBQWHVw5fAvDvpSuUgsElSvhVRiRFcptoXDvWPGJ8Z5ePcBdrdLJQciUamOnCg9omyrj4+O1AGg2++o94/8d7vVzs7uHlvb2yquLg/YcsiZnBxnc2dbxfiNZpOKkZZEb2i3quTI7PSkSi+kEhlGR2PqgJTNZ1V1RvSacqiXA0Amk1cDaa/PL6lsqvU6J8cpXnn1ef7+73/F5QvnGXR69LQashmBO2vUACmfLtFo15iemlRAQ+lHX75wls9v3CQWjaPRdhXkV1znzUaTo0SSUDRMScBwkRDt7oDFxwtKsScRYXGVyzBKlKJyuLLZzAoqJgM8s9nJ/tGu6pZLkkHT71Nr1lXUX3rEMrSJRIIYZSAvL6IkPGsluj1J6ZSJhoWUv080GmRn74jTp85xdLyrutZnz8kB5TFf/eqXWFxaJZtMMD41zebmCrmU6LQESalTQLMLT19UwztJuwgUsdUU+vtADZtcNif3bt3AYtbKeYl8vkLU76NUr3F3F/7L78b4xxfrHOz2CTl6pLV2zJUuOnuHfLFPowM7xzVlwrkwFeP4qEzFaOVU2MTqjgy2tdjsWlb3y7x+MUi3VyNbMzA/bCCVrPJg38Sf3q6QbBiIBqBb6eD0u7Dotdg0LXaKNVKZFi69jl62yXEH9Zlnc1to+R1c+upVbr3zOWfnz3KSSCneiBDwpda0tb3L1Ng0h8f7jI1P0iyV2djcJDY8hNliUEkrjU6nvPLnLpxXwx6xfMmg12KzYraa1eD06lNP8V//+m9UfahcbjE7M8nS0goBv4dWr8nVp64odeTCoyVVKxsaCqv3x40bNwlHo2yt7xCPh5iemWBtZUfxW+7dX+TihTmMejOlYkHxVDTo6Wm62ExmXn7zZd5/+z3CQ1E8TherK5sEIwHmZma5c/vOE1PG5KSqxoi9ZXltnWg4jNlupFMfkM48GahJSkij0bG3s4XT7lHXtdTVZMklw3lh2rh9Hm7e+EIlsMxmK+cvStTeyxeffYHb76YjBHiDQdW8Fh8t8uxzV8jky+o9Oj0zpQ7+b775GvfuLmARRV6xoAB15UJOXfsCG3yw8JBara3Aey6nVd2bO72BsiLIwFRSkcJZEIjo0PCQqsvIZ6QM6gVm+tTVS2ysLVEq1rHabOprCkNhe2tfaTfdHhuFYl1Vy5qtCulkBp/09as1yiWp8dnUfcLl9yijiNQLlxZXiI9ElSljZWWDIdH6mgWAHFA1v2KxoECIAsycnz1FOpVSSbN+u0OlWiVzmGXswjjabIPljx7iDYjS1UYxXafclY+xHrOjTvRtDfe2izi8cDHmZj/fpW82KhVsuVEnajMz6rexV2woxpKANDs6oeWAxeDBqmkzFOgSj8X57ssxPO4gsW/8BlQge7iJf/wp0NXo92SZNgokoFEFywQDM2jye3SKBQyuKKQe0O5bVB1R1KEWc4hWbZ/01jLuoTHs/RbF+gCDPYrJEaRR3UXfBWs3i8YXpNUs4xL7W1VMZT76DbGTedE4JAnQx+CL0M5JeqaJ1i41kiaGvpZ2QxS2Flr2CC1JwXX3MUUvUq3l0bWq6Gwm9A0NJrssXCvofGegk6Rdllq2HbNxmEryQzRv/35ssLNVYXLapHpjH71zxG/+4DS5Yobb11LoDUbi4y5ShwV1AeezQjDtEfJ6sVh7pHMDtjZznDkTUp3aSrFFLlnl3AXpcx3Q75gYGzfh9lnY22qSzhWZHPUwPe1h57CM1tDHqNWzu1Sko+tw4dIkS8uHhILWJ1GgZJuzAu26salivqK4PDoqEx0ykzqsEYwG2No8ptkw8f3fGefHP1zDqNcwPu0meVxEa7Wi6zSE6czmdoPXXxmhXK1ysF9hbibE1kGJ/EmZb313jFxWy7sfb/P6yzFFLC3najx8lMboEA2Qi3PnAySPC1z/NM3FK1YGPRs9Woq8K4KE/b06L77i49HDAkNRH3vbSfr9ATPTbgWvWd3NY7fDZNjH6m5GxWaFgu13OUnVqqxtlXnpkhmHzs5kyMw//2WZzxI9CuUmNr+dWX2X+bCRzkCvaOsdo4NWrYjFaGE6ZCFbrrGebmM22zFaegwGHTaLGqYiNlqpGl+d6vO90yH6zRotbRuXwcavFss8fyGqnMxCDheS7N31PCGfHodJy3TEQtin4dFmS5H3/+Jxjf+w2uSMz8SwX89Ap6dZb6tI8TMRD5+sHtDSmUgV6zwz4cLmMrG0U+HWdpVaccCwR8d3rkR47rkYTr0L50ic2d/4JhSKtIrHYB5GIx/ipQb97Abd6AUM5h6DkzLHH71F+uCYlYN9Hm2l+ctPikQdJuLDffxeN/VijSszXqoG+OhuVob6uBwaxkJ21vdKHOfgG+edJAttTjpdBVHKdztsZ9rMenSc8Xk4ySc4O+nA1uzyBy+M0m6VKPda1Nt63ruXUtuzgkwnYyb8fisHhxUFHbKbDTiMAyZjdh5tFXh5NsKg0aSpqdMxGPn71TYmrZ6+ocf/8XYFv8+hokFCvZ+1mdF0u5RrojPrMjDYyRe6aC1gGfRpDwYs5uq8Oukiph+wXOjS0OrJVQ3cPypgGXQ5FzPhNfT4759xY9a0mIw4cJksfLJZYmm7yeycidXNHPWuickJO+98UeDLz7tppCrMT0Z5tJ1Dp+krOJpsoPMNDWcnHJg8Ft76ZZLnr/pZ3RbQXIPf/8Ep7i9l2N2qMByzsbpXJOi2YZLXqS09cw2Hx31iozomxpxqy32YaLBwL8v4hJ+djQKvfnmIXLanHlY9US+3byR4/fUoh9LfH/TJHXcZm/Gh6TVVnDY+ZEPU8/eXUpwaNzM1N8T2ZopCvsbsREwRi+V9uHz//2XpvYIkTbPzvCe9976yvPft3XT3eLOLdQAWkCBgQTJIBYO6kCJEBSNE6kLSlSIkXlC6oCRSFAlIIJbYxQI768fuuJ72rqq6vE+fWem9Fc/Xuh3TpjLzz+87532fp4zRpWHlfJTHd/eYnx2jVMtxlukyMiGauDD37sQZaHsqduh1adUkt1jOcOPVOWKHeQX52tks0GjLsMPF8JSLg50s8ysR4sd5treyRENWXB6X6lEnk2X0li7jw15Zeit//c56kRtvTLD7Is/6borb18dIJAr0tUal/VvfyvD62+OEAnZK+Sp37hzgD8qF1aYARKIUag/q7G51CPlNTE25qdYERuhRwLE+FsJhO11Nn1/9LEYopOMb74Q4Pm0Q8rvRmXRsb2WYm/NxcNBBr23S6eowmFo0GwMsZg1z8w62jgesPUnxD74f4bv/Is5Rzc6so8bikItSo8deqoZR38MXiTA+Pq0iwRJBlovIlUuXXl4cHVblfBfyvSQQmu0ytVpHXVoFslcrNxTEaWZ6XG0TJF4/NjbJi8019DoDQ0Mh9fxhMFCdePn1tBqdilmfJpKqhy+naeEgyEBAAGNywZucnsBiNnLnqzsYDVZee/2mivTm5VKnlY2jmUa7y1kmgdXi4He/921+8csPaDWbqtMei52qqP1b77xDJp1SCqpmvcUP/u4f8Rd/8ZdcunCVB4/vMzc9pTavMiA3W186qAvl4ks9W2fA3v4OJpNNOZKvXL6stsHbm1vcuP0avU6dRDpH/CjGG2/e5unzZ2RyZRZnJ7j56i0++M1HCog3Nzur1E7CIyiVymoo0uxIT9hBrdVQfUzZDshmx+d18+LFFnaPl3wmx/LKstKtSW3EZrZSrpRV9U0OoIfHSbUlunrlEh9/8AHLqyuqN73+YkN1cH/zq8/5b//Zf6X6sPu7x6SzacbGhllbe0EwGFTarkvXLpGIiXasrDgLEp/tdGrkcwVyuRTRSESZBIaio+gGHZrtjgLASjRe0oMCVjPrtao+JwkwGQo4bRaV/jg5TCqbhKiuTmMJ9f1zGk/idjoUAVwuyDK4kQOl6B+nJsbUZVA0cPL5lcO0bNt39g6U3m6AXtHrU+m0es/06KqEhNvrVgaSfhfFrzBbbWoIZTeaMTsdJI8TqqccjgwxOTbGSfxQ8TZiqSR+t1v184UJMRod5/H6ExZmJ5mcGOXR03UKxQJet095wOVCKGR5GQiFh0IKIizfD6Lr8wX9fPrJR8xMzarerGi1Jqem2dl9QWRkUhkJ0ikBI4qfWw7+RbwuN5WqpEN8qh4kPIu0cIfKOUZHh9HqDOq9abCYMcjF5PgAnd7AysoSz5+vMT46SiaXI5XMKmii2SQEebkst5Q1xOuVGHgKnU6rgFzC1hD7xvONDZbmlpEDysNHj3nrjTc5OjlQ1Z9QIKK2qBJBPj06Va+1xIsF+nh0cMjVa5cV3Eyc5BLrFmuGmECmZ8b47W+/QqvTqmj15LRc+jOqRmo3WTk8iWM0G+h12gqeGomE1eDitddFcfklb777Dpsbmxzu73L+0kUFQZNh+lkxj83pUNULUUZOzc9wcnBAMPJStdqsNxRPYnJqFKfDKfMZCmfCpzKiNRqYmZ7g88++Utq57//h7/L5F59hNli49fpr/OTf/1DVOGTA8+DOHWr1Dm994z0KpQovNta5fvWyGibI2VjSEJVCjbXNJ/idNiZGwjxb2yTiDzIwwJPdMjadJPA8lJod2u0q10ctCoQrkEWv06RsFLNDLmqpIjqLhZpWx362g4EWtTbcnLTT7PXZSg44LZcZ9bnZzbQZDrfoaa38q48rrIQsuJ0mzo+bX56xtU3qNQNjw07WYhWMhi6mvlEtixaWJ2iYtOT6EPFKusPEJ7/4lG9/513KlQZzF2f47KOvKWdy3Hr1Np9+/lt+93vf5dnGuhpozo5PEfSHeLT2lFeuX2Nrd49KvkAoElF8ChncGQxmVYly22zoxftukiXTASazmZHRcb766g7/w//4z/jo4w/YfbHLxPSU2sJfunRODXeerW3gsUt/uaaqQ3Q1bG5LUtTE2HiUcqXI6WGa1998RdVO/u2/+XP+4Pt/wNb2C06O4iwszJLJ52mUK6xeWOX46IhUKqu0q6JklcHN4d6BOts0uwN6nRarq8vqWfXhrz/iG998l1z+TOn85L0gZ/pYPE63PWBpdZ7ToyPV35eLtzz3M+kst954je0XO8zOjZBIpbFY7Gy/2GZyZkoNTuU7aG5mns3tLTWsiIaHyJyl8Ll8lGpFAgLORHhHNex2p/pslatlVb87Oo6TSybV31UqZIsrC4SDQT777ZdEo6PKknNycsy1a9dY23pBwO0lKCmLo0PC3ih3vv6K66+9gkmnV1YSqbLJdlwu553OgIG2oywckhoSdsLB0SnTUxMKmrixscXS8jLlQpGRsSiHB8cqrSpWEUkqXLy4wp2v7zMzOYXJZWF7bVvZXGQY6nZ6yOaTisGxtbXL8tIs+XxRnXm16LF7XYSHgvz6X/6YlfEATrednLCnLH3KZwOylTORjrE0O8aHz+IqyfnOgpfdeIJ8Q49RsKf9PoGQFa92wNNUE12/i9tswOpw0unUMXX0WC191pMFMkW4vmRh+1mDhhaGpRbZbb2sR5sMvPb6NHq3DY+mStjhJTwzjdOuxeWx43BbKZTtuC+8iql2DMYz2s6rmHBBr0Ff4v8yNWwUQGehV+qh7R6ikaEvEYzxR/TbNfR6KGbitFou+jqbUrFaTF3a6TLt+gHu8dukTx+QOXnO4o33aA+MVM+q2Nw6kXGg7/Qw+Fdopr/CZL1Ko1vEZOpgso7TbA7otTIYtFUG9nMMelpKe7/A6hEF4Q065SyaL//pzECm1naXm0y6QDnf4dwFcXemGLQMnL/hpZAS+nCPetNIudKiJK7r2Wn2dveZX45QyLXJJWpMLzj59a9OuHDJzcRUkE9/E2d22US/Z6DV7TAS8ZJK9NnaPWJiwk212qdRqzG3GCKZKjA17qHR69OqaDHpjTTaZbKFCgsLI5xsFYlMOdl8lCNbLPN7f3CB3/zquZp4XbkaZW+/zMbDMt/6/Ukcrh47u0WpQahIy/LyCLlCl/39U67djqqJ3v5+mYDfRLHYVNObmSUPRzt1THYt4YCdu3ezjAzLxdIvQjQVVzk5bhMOmXD7zQQDDk52i3j9eswWM7HYGZWyhkBIwxd3KkyOm4iMOJTmrFMpqAFFrt7E79Aq0M9EVPyj0k/tEnb2KNSh1NRzadGrDkDVmpGIs0kkaOT9zTbvP4NCy8Bhvc6E3cKCv0930ObGbJAnu0WWh7zE8kXSxQ4aoSFrG4y4nMg6I1bVsp+tUmgPaFTbvD3t5VyozQ+u+Kkli9gNfeo9LfGKluN8nqBdeoolvjg0cXPSRb7cUnHk379iJeKyUuuU+Zu9Bv/Lp2Dz6JkyDWjrtYzbGkwPudg7Fo+9heenZWzi+B6yorUa8PjsPHie5v5mi0pPr1Roy14z0VCPgN3CzIUR3rs6y0Bn5V/8878m22ry979/hQ+/3OHjhyWcbj07JdFPavnBdS+t/gCHpUupOsDtNqCXLfhhmbqmy7dXPTw8KTHq8fAsUeSVaTO76b7Svj3e6WAwabBqDbjNfc67dNyeMdHq1liwQnDEy2G2Qjw3wOO089mLEh6HpF0MnJtyqknrr57l+ONzAWLNEnMhn4IOmU1NLA4L73+VJ16XzqaZJ9kuG1kt8TKYnVoujRqwWXqsOh0c5KrEMgWmhoKUWl0ypRad7gCDzc6UQ8+T4xwGO5yPOMkV29TQspWsUNfaSBZbXBlq86eLNqUTWR1yMDXp5H/98R7X5tz4nGb+p5+leGvVRTLR5MKKgf2jAQ6THCK11Jo69vaKRKJOtIMadpNdTbh3DnJEgmZO0l3alRrf+f0J/tX/eci7b4QxWVH95EFNNGoDxiIGdk6qXHklgqHX48c/PeXikpO55RDZdJ1ctkz2rM9I1M3+boqL14dVd/rZ0zyzC5aX0XunkVypwVmihmdIg90aYP3FKf22llDArDZVe7t5Llz0UCtpKVfyTC1GeHhPHO4NFlb82G19dbhpd1ts7daYilooVjRsb5X41vdGWXuaIxN/SYJ1+zU8ulfCYoDgsE5F2po1eT8YVbJje1eGd+KUtzAx6SQYdvOrX+zj8khqwql6UwL1GhvyKVDp+3+7xVDEpWKTm09ipLJdgmGHqibMzwdVZPbhvWOu3Rjl9FB0dQMu3Ayx9ihJKt5mYtLKwmKEH/5om4vn5fdzcSDTbYeGUqGLx23HG7Kp9NTu0wJ274DViyE++zDJ7JKbUqFMNtXl7XfmOT3J0Gzo1cbPaJB+fZeJCSf37+Z59c2A6tWmE2Xu3znB7TexPBXiy8dxNLoB/+j7Y/x3f7nPv76v4x++EWVtPUbLoMeg09Hvaal2u7z69rs0Ki12tl7gC0Z5vvaYd997k3ajo7YmjwQoFh5CZ9SpYfLW9ia/+53v8fXdu+qLTXzJcjCR7qZc6tudtrKWiI9ELutyEZENuyiSRLlTyJ0xMfnSGrC+8UJ1FaWfuLggW6gENpNFKXOa9aaKL0o0eSgcIps7U0Thcrmm1GsScxeyer/fIZXOYTLb1MAwkz3DYbcpd7lc/MwGndo4ysrg2bPn6vItfeb52TliiTj5s6JSNkkPM5lMsDA3qyjQ8WRa/XrVRlVpzF6mKgxKBSZAO0k1NDod5qbHWV/fUL+/UOU//uhj3n7nHTbWXigNUrvdxWLQo9UbFBzx8dNnLC7O4nLYVZUhHAoqVZ7WbOSL337O7VdvotcMsEk0/iynDlNykZBop5gGRLEnQxKtRsvR0QGTU1PYbE7u3b0nkHuuXLvAxu4+pgGsXjzHxx9+qsjaopuSS+TJyZHq3a6cW+Xo6ESpREfGpvnZz37K8uIKL9bWod8mMhRQ31mi5JqaHCWWSCuatbjchWt7/sIqE1NTPHz4mJLoD0fHVe1BKPkybJAhuEZjJJuJMyIX/FyFnrat/ltJK2jQ4bQb8YXDKsIttg7ZZlcbFRWftdtNWKwWoqMzKr7frFVpyfDX62ZhfpbNjXWcLq+CyIm73moVs8Gusg+I2jI8HFXqMhmwyZZseCjK1NwkD+/dxRcI02k3VbqgVW/SaEt9xangWQ6rmUK+SjafURdaiwyUi0U14EjF4/j8XgW8fLG5yfLKCplk4mUUOVvAYXeoJEE6k1GwvEcPntKR7eflK2RyeTWACQWCvPb2NdX/Fsq/ACXtEnVGq/6b19+4zfb2FiXZ8JgNKjL9nW9/k5/94pcKyufzOmh3+ypWLWraonwuoiPKTy6fw/MrF9k+3FNARkldiCLta1HYNbtcv36Vs/wZJ6fSqXepz+y51Qu0+i0e3H2gotShoIeF+RWyubTiK2hl+qlDDfruPXioNvVen49C+gyT3aoGIdV6hdHhYaUFk7qM/FwHgy42i52RsRFebGwqNoIkHAQUuLt/xPTUmHpWSCUgFArgcnuoN2vUCiU0eiMBr5vDo0N8gSCNektd/LutPvVmWdl2piem+fTzz5QFRFIIci6vNhsq2u0PBBWzRCL8na5sTpvoDTpVQZLe+/PHz9WzST5TNqeLRCyGy+1m+eIlxRuQwdras2d43D42XmzRF5Xy9Ax3Pv2cyVEvsWwFn8eM3WQiVmxjGjQ47mkV9X824iFbaqLr9OmatehaA3p9PcMBLY3+gNNsG4/TRKfVx6Jp4PBZsVY77Fe1ahAzOR6gUCyKHIEKOkacAxbDJqaDJh5sN4kMaUifaRkfc3P3/glur0MpcJtNONNq+O5/8R1a3R5f3X3M/MwC5WRc1bpKlSo6g5n1B89Zub7Co/vrnL+4xOTIBH/5wx9z+eoqJqMk2oJU210SsVNq5SLf/Na3qDbqZJM5To9PiScTqnYjceZ0PKNeo0g0yuTkuBpu+Tw+jk5Ev+ek026TSp+xel7UrQY++/QLlX45t7LM3sE+1668wsaLDZX6EXi4DK+KJVmkSOJUzF1RHt19oCpLG5ubrC4tK97M6UlMpWSeP11jbGJCsYCOD19eaNU2W0wVFhs6g04NG2TQl0okOX/pnFJ3ykA0l86otIskpWQbf3R8zMLCPJWi/JyMKvIvz2WptcmmXp5Rr7/xGulcnpIwPfzSY49x6/arPFtfVx1xgbkeHO4roKR8HrY3t6lXy9x6/RYHR8ekY2mGhgOYjVYFJ5TvyW/+ztt8+ukX6lk8PTPL+ZUlfvnBL1W1TQZ9Uo8QmKHepOfiuVVlF6vX63TbHeqNl4keMQMIFPPLL+9z/vwy8XhcDWKEbfD4yRP1jLt56xpffnGH8fFx7HYXe/vbLMwLo2cHX0C2+QmVGJC0jxhrXn/9tlIebm5tEQz7FKvkxfNd/CEvw9EIRqOBWCzN3u4O03NTOJ0uauUq1XqR5493+ea333qp+ey0aWXOuP/DR0zIGTZox9DsEgo4OUkVsLgcZJNZuvouhVyHxsDAxXEHg16LXLnPiNdKvl5D0zdylKmo56vfNWDQaI6HU68AACAASURBVOBxBohly9gdPc7O+vidJjwhG7VSj2fHUqVzU801KDVaBNxmtI0BR7kWhbbUbjU4DH0FVZfvlZAZ2hoTNFosTbvYSZQI27RKF+6wttFqTCxcuEivmuHS7et0KklmJseo1I5wDV1heHmJfruCsaaB6DSYvfTw0sn9ErMYGkyrdDFhpEg7eQ+jawaw0s8foR3k6GqmGNjs1Dc+R1t+gWHyNRrFbfSaNt2elUZdj9HqpC29nsAYltQDCq0CwcU/oZ9/SCN3gnnse3Tqh2h+/o/CA6NJx86LIkZnh2+8u8L7P32htsiJZJaV5SiNSp2JmZCKczqseuLHNaxeI8lkiaDDS2TSoPQSOzslLl+Zplio0Wi0qDWqSuu1/iSDLyBArxYVYaEMrOrhL9ProaBduY53DwtMTYXZ3zml0dZz86ZobwrEEhAJ2SjVSvgddkqlDuMz8nC2oe3pVSei2YBOu8RXX1SZXzLSbUpTzwx6GzdueNh+kWL/sEhUovvZKhY9TC+H+fqLJB6vnkariUHv4IkACkVJqTFz/lxAUSonpyPkEgncPhuff5JmctJL19BC09FhtmrJxAucvzGptvAffbDF7TeGWV+vYjXX1NRepvoHhyXFJejqteSyNbwuHXafia0nDZr6Nm6rlfkpO+iKbGw2OD/jo9QyqFiipaLhyoKDRqfC43iTv9nusHZi5KRlwqWvMeXro9MYmPdpief6TI9qWUu0CdltJFsakrEaK1E9UdeAxwUNVo2erXydSkNi901GLQb+7qqGNyYldK0n1WiSKhuoNlvMjnjoNPM8OO5xfcxLri9UUg0uexffQNReOtbSRh4k6/xkr0epOOAffGuE42SaEYNOdaU6fg/OnoaNzTTR5SDmnoGDXI7VqAe31UGqlOTLh1W2zmDaLdAzSLZRwLxph5vjShFrC/7k28MMjUb40QfPmBsPchyrUqoXMeg9XJzzU07lmR/38tHanqorfGvJSqqmJVVp8tFmi+vDEnPTsnfSZD6g5T+ZBoPNxK2wC71Dx1drMazWAFuJBvVCgWsXfDzPthnXt7FoBgzsfnXgLJdhdcJEp9bBb6vxN9t6aLa4Oe/ibsrAf/9higvjASrUSLUNDBn7bGVqvLvqo5mt020asbj7vMjUmPBbMBglUZAnka9zfdpBu9nhqNDhXNTOetbAcaaI3jag2rFwVugwM2zknWiX2xM2LvoN9HUNWhovv36UZnXBRqpQI5Xpq6hQxGcm7DFRrvRp0aen0WLVa9jZqfOHvz/O040z0qkaJY2LgL5Bti7wQ/nzCBBNVEV6wh6jgvv96X+6ws6LBDtHLQ6OM8RzWmZGDYyPewmFnTz4WnzQBt57bwyrXseX9zaJDoXY3Y3z1hsr/PBHTzl3MUg4ZOP5RpoLFyb58Q+3mZ0yYLbY+MZ3Zvjf/vlTBt0Wf/z354jt12i0q6yuRvnlrw4wygbRZERr7dKqa0llKsyOe3G5zcQTWSplMxqtPFxedu9lCuz0QvZEiyuiZ2UhzOZWim6/i8MiUEANJ0cNTg9K/L1/uMi9u0cU0z0G5g6vvbbE8yf7OJwhwiN6ntw/UsR4VRWyDJgYH1Kx67Xncc5fnmBizM6f/d/PGRlzEQlbaDe6XLoZ5v0fH+IPmtVnfmk5QCBo4eHXKWrNLn/4R8s8fZTg57+J8d/842W1ue+1u3z6xSnjESe335nk0b1jhsIm1R+1u6xKA1fItbBYDcrSojVYGA/bWduI4w97XjqG7WbWnxZZPu+iUtEQP8hw7uIYX3x5jNnQYWRcuq2gsxkIeE1KuSjb9vRxiYLJzv/xtMWopU/UZqSqFbIlGDV60qUKTn+USHiUve0XBMJBtYWX10RgS+KmdthEwdWl1W1gszrV8Ew25Tq9CY0eEqdJ5SWWQ7nEpuVSLtT9xfkZjBa7Sp4IoEAo5HPzU2p7qjfq1Eb09DihLmaJZEz122uVmtqyinVgZGRYdXolWi91A+nex2IJlhYXODqKqUqBsFvkzyPbJ7lwzy7NUDgrMBYdVV1Rjb6vfv5dBsqVPjs/QzgSVJfTre1ddemTrvHp6TF+X1B1LeXSLVt52SoK1VkOoqJJmpiYUvoxg3hkB30ePX7E5PQMc1NCQM/R6/Zo1Oo8W3/B/OIsNrNZEcpF4Se0/5OTGOPjwzisdrVZFwiiJHMcDrNKWEjNQy6qF88v0O9pVLe2WBanuBOb08rR4bGKV8tgZWJqQmma5CJaazSUSk4GAtcuX+Tx8w2GowHOClW1MW6omGhaKQ3FfV0WIJ5OS7vVUtyG2YVJHBaLguMJuLRUL7H9fFdR5QVu12qU8UinM5PB4bCiw6CiowLrnJod5/j0hFdvX6Xb1fJibY3JyQmGoiNsrD+lN9AwNjaukhjyup7EYgq6lcsUVexagGJSTSxVpOalUcyBbrvHUDSg4JgVGULpDCwtzlGuNUnEY7jsDorVAisr50mkk5TPSviDHgwGC+lESrnAZaO2/mJbdcSF/7D+/IlaWGhNOiKBkHp9Zdt34cI5NYja3tpVsDchmtcbTawWs9JuSSpE2AzizhYH99zsHMVyQcHnxCqwvLxCOi3nhzF1OYpEw+r9vbu7x8zMDBvrGwxJNL5cVLBArzeg3OFy+bHorEorJU5ut9dFsXimhlTH+8dKr+d1+VRd0GzRMRQeUtvCar2kBm4CDBNuh0R29w+P6fe7qq5jNhvZ3d3G4w8xPRIlVyiqc5gQ0qvlKhPT4zy4/1jxGEIBMTBsqr+bQNjkzyADAInOt1ttuv0mDrubcrVCs9lWB36pAonOTXg+FqNZLXIkwry4vEqzXlbQQFHIDrQaokMRleSQVMvQcFixGCKhMLvbezi9PvWMkW393YePsFusBIMhzvIZxseGKRZl6OZRYMdmu6+GKJ1mm2anr94n0m2WjeT42AS+oEulG6JjY6oakj/LEwpKskJLJn2mBntyARJYp9R6NCYtl1fP89lHH1NqVLEazUpp6fUF8Pi9CgYpNgGpAglro9XX4HHJ4MXDr372K+yOPkbkUqDjtFBQlTC/z8i0z0umWEJn6lJva6i09Vi7TebmgjzZLhJydkinmoqztbMvfCY7unaTjl6Lvtsn19ahaVaYlPdLs0lWOAI2L0ZLi3iijN4hyxUryURdOccXZ6MUMnlKkirDoLgW9WyB2deXwOdHZ7NjMhvY3dui1ZTaox6d0aR0e1I7un71kqoFbawfMidau0pRRc5l+y7v5VA4TL8HubOcsnEEgmEV4Z+cnqTb7aoLo6RBJCWzd3DI/Pwcv/jZL5menVDsAo9PUm2natAXEbVnWgayUcbGw6padBqLsbgwx+62PGu09Ht9DHqjAgtXanVOTk54682brK9tq8+UL+ChKRq6qWmSsZgalphtDgW1lCpWQQCaAg/8/5M5PTEXVSsqsSM9deFDJTMpLl1YQaM1KAVrviAwvhrRkWFOj04YGxtCi5HHT57x9rtvUS1VFGPF77cr5oDAXrudDgO9VvEoZqdmODg5VYNw+Z4TBaw8mwVAGw6GVP1ZtKzyLJFBVL/XVjDAX/z8Q4ajQyQTcebnFtg72FU6TjECqOqZw6k4INu7W7z3jfd49vgpezv76vPt9XmZX57nJz/6KVOTE8zNzajn1Bdf3Vd8g2q5rIj+AqONJ2JoJMGwu6+Gk+MTLwcKw0MjatO/v7PP+vomv/cH3+OTDz8mIPF+o15ZcYr5M3QmI8+evGBpeZZLF87z/k9/ytD4pNIl6sUxYzEqVbAkB5KZLG6ni1avrb7nMsksg1aHXaltHBS5ujpKsdVQKcnpEY/6bhMF8/iwBZPWQFfTw9Ab4DQZ2c5UGXZ72c9kWZnw02n2VGUu3zcgBdPRgF3xNUaHPMRKLYqZM6KBCGfdGpVCnduXwzxdz6vvqpWLLu4/LKGxtPj+rQnyuQZ7h5LAMBKNatnYrnNUbmPsdBnxO5R2Mx9rUTVKBUDLTqyoFnjGgQ6nTUei2lapBGnQCwBfqzIBfTxmKLc0ShdPB+bHjTjNBkZcXX7vDy+xt36IzhrG1s5y8+236fStBIbc6BoNNKEwVr2Jgc+D3mGmYx7CQFBZfHrSYWjU0GkrDMp1NDLsq57SzzdoOMyYuvKdVcSurdO1zdDKHqG5809nB0+fZDGZB9jcGix6I7s7OS5clQ/IgBfPi0xNedGYeqQOG3zrdxd4vhHDQJv9vbqyBpgsfRVpvHP3mFffcJM61dPrNQgPeVlfz2I1d3jjvWnufvUSGDQ/6yNfymO02th4HkOrt3DhfIidnayKhAodtV2RLzEtW+tnfPd7I3QHWhU5DkfNZE57rG/FGApaaHVbZHI6XrkxpBy6UtXo9dpEwk5S6QSlsvBdjCqK3qxXGB4PETvOU2l0WV0K8uRxgoBLzxu/s6T0QodHHRXV/da3pvjyszg+t7yYVo7TTbq1Hm4vZHKQjBe49kqUk8MC3UGHyTk/60+TLEyH6A7KVAp6nD4724cpNdW1mTWUym1mR6JqmCHarkq5S3TIQPFMh8OuxeSCOw+r2LUyRddQbZmIZ9u4nHpmwzZevMjyB++5GQmY+Gf/4YzHOwO+qpto17rMhnWqm7sU1LF/XOL1S0PsxUsqntPoatE2Wvh9AwJ2K8/3ygxHPOhtWh6c5jFhJ1tssxpq8k8uehgPamlV+ny4VVSx1+FhKzM+Oz95nGB11KEi31GfE4e2z0BrZWW8rQiXz0/h/72f5a+2WpidAd5dGqCRBMdElDPpomoNDEeErl3nvriKHS7c5jYOj59LI2byfSO5VIzdkw4+l5m3lkLsVvQ8fHqM36InHDRxFCvjizjYT3UZMXYwdgdMjTr48UacC6Nueq0eTwt94sUWDq2R6xEjF4fN+HplnNo+Q24rSzN20pUunzwoEggMKPYMKqps6VeolCHqN4DOyl98GVMX7kFfz9vjVhWzTu5V2a0auJ+sMxO18+i4x7pmwFebZSZDNmbcdvLNBh5NF7fTisPco1nt0Ba4VLlNVhRPDgdaIzjl0NBpYQuaMPYNbB33cRngpN3i+XEDh1UOlFr+s2tWvjurE98TVxZcJEriy3WSqcHfPqsz6m1RLEHnP/4af/T2EHc2dsiXDNyc8/F8N0Fk2E8sXibstTIUtZFONWg25DUyKLZAsdBXB8lSt8dYwEM2Vef6Na+CiP36t1mlKAp7LJwcl2kO9Lxy08PznQoTUTuFVJGRaJT9wwRnVS0+04CJ5SB722nOzUc5idcIR3Tcv5tlctqNy2Pir//mmFdu2PEEPRxvJlm8MES+UCWbGHDzjSF+8u+fs7AUYnohwp2vdum1+iytjKDT1NnZqVJvdvn+Hy3zy59sqp5apdjh1huLjI4ZeHh3j0uvrLLx9Ih8qsDwVJCA38CDBxllRehipN9r4vMaiZ+20Ru1HO6UGBqVTXyYtfVDDBorPq+Lw9ghk+NB9ncKjIyHcLiaHB8Ko6TCzKSX2HGR81eiJGJnVEt9vH4NN65OsfZM4KhGjg/LXHplkt9+uKcOAzOTAe7fi3PrjWHlQj+KldQBS0j+J0c1Ll6M8OjJMd/79hxnpQF3vzhg9ZKfw/0mGAYEvWbyZxXaTR16c5upSb86bP/yl0eK9m8xOBTMU7ZOcgCQ5E0u3mRo0s6zx2kCPh3Pt3q88ZqHr+8kuXZpHH/QxL0HpwwFTTzZLPKL1iTl412uzAXYOK1j1zUIBELsnBSUW/j667d4fP8uFy9cBZ2WfrdH4iSuYrhvv/M2z548Vl1QURNJxUli3VevXCGVSWGz2UiL+90snBWHogRL995ssnKWz/LqrVfUxlH8yEJllmqARLljBzFuvvYK2Xye7Y09hseGiZ+eKtVeLHGqXNLlchWX26UuEOKc/vST3/KDH/wxJ6eHiur8/k9/rYYUv/f73+HgeA+Tzkg8fcbIUISzs4LqX7oFxpXLqihjKBhQUcBUVij9KFJz4aykvPbVSlVd1KT3Ka7v3f1d1e23WI2KDi2DBX/Ap6LXvW5HbXgarQGnJ/tY7XYiQ8OqZhI/OSEyElacGwHcHcfjOGwmlhaWODo8UD18p9NOJnOmnO5D4WFavZbajMtQxBdwc3KSVP1LAZDNL8jQIsrDB48V6G1M4t+pjOrvhqND1GRjpdHRpY/LbmN3b5eZ6WlS2TOOTvaZmJBDT17VI2RjOT01xebOPv1Bl9PTuOqqyzZMHNwel08d+EUTtb19gM0kqQWXurwXq3U14BBDgnRR5ZKczpTUz0cASnIAD3icDI0KjTrHwuLiS11Xu0OtLDWDDl41cKuq7/crFy+p7Z/8c4koXzq/RCqdoXhWQkY2pbMadreXydkZxRTa3tpiZWWFETnQb+0o/Z8AsWSAJqTp3Z0dtbEeGRlRjIhEOqsi8ZeuXFaau/v3HuLyudXBXCCWS6tLpMSXrTGoLZ8YEeQiuru/h9frVcNAr8CtbEKBb6vfR/7e3sDL2L5cgnw+L4VsnlyxqGoNIb+XRqOrzkh6vXT3dWpwIK/38dExxXJD9dgvXTqv0ii9dkcNkbK5vFIrSjzYLoBFk0FFcuXyLAsXnfT3i00F1ZKk4eTUGBajgU5fo2pFj548ZXx0WEWzK5W6+t4LRUIKPCnAsGAwoFIXou3a399XjvHllSUVyW912vR7AwWwqtfqypZhMhjUv9/e2VfMkEqtxvrzbd579y1OYnHGJ0cVYPHo6BSfR5gSWRVXFruGAPOEXbC2tqGqK5Lmkbi4/PwMFp3SD4rPvdXsqEGgQDAdbjfrz9YZHXkJJcvmSywuTrO2vonXLWaMDNFoFKNR0qplZbqQIcr0yDhjU+PEDo5JZnK43DauXLzCnfv3uX3rGk8fPSMQDFCq1BgfGyGZTvLs2QtuXL2sgGhXry+qn1cmk+fK1avUazX6Gh26gQaLQwCuBp6v7ahBlQA7nz94hNdpZeckxVjIidutJ5buqErFxXEjBa2Dg8MTfKIMazYYCtjpdtocHVe5teTl6V4Li1NDrVYjIgmHTBWzTY+5L5dEPYOugUK9wsLoGHe344rFcVCssOgxMjs5zItEhna1jd1lY/+gwqQwjBI5nEYTEyM2iqUmuVyHvWKTqM/I1IVF9HaLqryoTr/XxEkshVlsPCMjrH39jFouy+UrF9k/OkSr1/PN33mXX73/G9Vnl/rR1WtXsVkd/ObXv1C1pguXLrO19UKlpsQFL5+VXr8jch6KYumgi8NupdUYMDUzSToVVxd8qcj82Z//P9x+7ZZSbQbCfsUhkETBrevX1KVfqPNSl5LX7MGDJ6pnn4gnlM1EIJDynkvFMyrdKwkOSUQVZOATDqnv3K2tLUKipGt3Mer0JJJxbt6+oYYQtXqDjbV13D6XIvALNb/fR71/ZRigR0en11GvjaSD5KKdTOXRG7TKzOEWveLpqbKkFMtlRc0X8OnJwclLyN65FTXkkOFldGyUTz/+VL2Xh0einBwn1DBShnw+n19pBxcXF1TKJhZLsrgk2+Ou+vMLLNFktHIaP0WjHShdptx9zEYbZotRcRVu3L5J8jTG5NQEmdQZHrdQ7OuMjET5+c9/w/TsOId7J8oCIs91sSTIe1kMPvV6i1arhVY3UNYUScBJyuzihRW17Zc0mdZopCX/j0mntM3LS0uUy3kqxTKXLl/i8eMnKhGn1RpZXl3g8HAf6cNEAwF6Jo3i39z75Auuf/NVDl/sk7uzy+JCSBmMvJFRDnZ3MGl12AJenjw/ZXXKR89gxESNoMNBv1cjUepxVqgz6jeRrUiVxaKGKVLPnBj1c+95Go/XgrYuqQFweszYqFFrQiDgIV1oKpjvuNildGLXyPHaBTdBp4m//CKN26bh8kSYx5sZRkdNTARdpKod4uk2K6PCwDNj7lQpVPTYfFZmRiOcFWJUmnryZz08Ti9fbW0xGfUTspi4syUshD5mExxm+tTLDXo6i4IH9zHRrAywadp43RCwWllL1GkOtJg0ffx6LcWenrZAE21wc0lDT2Nhzo2qlIwIK81UZfWbb6GL3ER/dg/N8GUgAiQAm5AQgCLNta/R/MUPnIN+R8d7vzPOz3+2CT0Tl18ZZmfzlKm5CPe+FiiE9Lyly6ZhctxJoz1QVQGv18bwpJOv7+yyujRBIlMgn23idhsxmeTBaFZ9OIHgOd1GmlUN5aZ03mXw0VMQjefPjrl8OcqAlormXr0aoqvvk4sPsLhEX9NmciTEw3txLE4z0EB8baOzET7+1RaXL4uW44yBxA0NGgJhM/vbZVo1OHfFg9nk4PPPDpiYcXL9RojnDw9ZX+8RCtuoVhvcvDHE2lqVakWcyx4azQGNep1gyEzstI7BrMPrtRCLV/C5baDpcG5lmPuPTvA7XfTlYp8XzV6X8+fGSJwW8Qzr+O1vSgSibfqdropzSic3f1Klp+9htUi3R/qRZk7kQpFqs7Lo5SgpwxIt82NuYkkUuXMsZCFZ0WE2DzhLtHj7dpTjZI5bEw562ianxTZ/+ajLD5/1aKMhKn0Tq57Lo13q+RZGu4FKvqmm36V8h2Sjqryio/Y+HouBUqXOTrHHwO7E3u/jshhYT7b49lifZX+Tc2EvU0MG7h1UWd+s8YNvr7Dx/IiRiJFqXaCEeeb9XtY2Mkwt2HHJxLOs51Fbz4+eFHiS7TFuMWELmZXWT95+F8fHMWkK/Ha7SdhppVLpEBFAmuomQ9AvPf065UyX11d11OvwZE/8pH0sLjvn5iM0Y0l8QS8PEn0+2ozR0egxa7SM2PVc9/YptPssuPR8e8WOqd/k/mlTQRc9ZoOKAVqCVg4PGqT7fUxdC1dnzFQFdpitMO3TEAiaGdQMNEtNdlttHsX6bDa1BC1m1s8qPCvq6NZbfHfORdnQZi8Jr0y5KeQLinputvdINq349HpaDdHgWdG19dyN53l33ku71mYjraExaHFaRqkxN/cLzIzYMeu6XA4Z+eaMAY2xzuuzFrJVPbmy/iWxt6nhq80Mc8NmSr028ZMev/O2i0y2w+5BjbevDLMZz9Nu6ZTybkYSM3odBouWteclRsflIFYm6LFikvxvr81Aa+DFYQ+7qUIk7CKRFmdpVbEdBjIYiEgcTcPJ4Rk6swmboc/MYoQHd4/pGbU4jWasVrDZjWy/KDO74uasJC53rdIrjY+FON0t0da21BCukmvQateYWRghkUxxvNmj3qpw5ZUoP/yLY66/7mJl1sv9hzFqVT1zy8LUKCrw241bYTR6DX/zV1u8KWDDzRRXro1z99NdZlbGeP7wiNNUh7deHQFdHZPJzwe/3uXqzQD1ihDgy0QiNmZXRCXa4c6dY6JRF+PjEgdvqGmqQS+QwwHRiIP1FyX6zSbnL4zREzNDs0ksllMRYL3eQWdQIxvrY7FK/NRPrdLi+OiMRLrNn/zpHHqDno8/OmB+1q+m/8GAhzt3tvEGbNQKHUbH7azvl3GbtLz61gwffLjJyUGTV18TP3eRpRUfLq+WX/z1Ia+9M6W2NQ+/yhEZNpCNl0BvZ2pOx5NHSYLBCML1OjqtUy7V+b3vLbK2dkaz3cDnsrB3UOT67RHylSof//oYf8DJcNTM4rCZWLLP3/tZg3lfE6/FSbZawYBVDSuPjnL81//4P+c4XiImCi1fgA9+/anq4K+sLqm+ZzZfYHRkhHgsrrpt4lDf3t1Tlwapl4gnXA4Zp7E4Z7kS584tqG3D3v6u2lSGIn7GRyYx2ywqGWA3G+kOetisdq5evsp/+NFf4fUFmZubUl3rxGlWxUfRv9xADzqwubWB2WxTvnXZHCYEImfUqUOc3eFgfW0Np9NGwB9SILmj0xgmvVZd4Aw6o7ooCxBNLtRj0TBnpQrFcklZCCQGLLRxiU/LFkqr0ytqf8Ar+tyiUrGdneWoturo0HFycsrlC5cIR8M8vHuferuF3xtQKkN/0MfU5BTJxKmqJfh9PsLhiDoYy8VXgEKL4nZPpxUYcDg6whdffIXX61GbU/Gru92itE1it1u5cv0q/XaD33z4ORdXz6loq07cb0JLFjivDGOOjrA5bQrmZrZa1WvWbrcYHZ/E7bKry5n83pVqg9HxYY525XvzZef19OREbZ6m56YVBTwZS2K1W7l++QLlSokPP/wEjZDejXqcLjftbpNyoc7wiF9dbnNnVTUg2HxxyNz8BBK6TipAZItKtUXAb1eXZtngCftHp9WoTaqAFCfGoxTPynR6PawmGYrLoUwgVQ21URkei+L3R1Q8WAjapXKBsbExzgqimPQQSyVUx10SEXKIFw1hdGyYO19/rV4nOXA3Wh01hGk0hW1Q5Oq1iypJITT9QEBSBi3lHTdbTZyeplU3VsB8lXpFxYLHxycUpFI2/+VqjWQypQZdstmTzeHEuHTx8+q9LCmF3NkZz54/xe8PUC7JIDpEZDik9IDyXpQEpaQ25E3danXVtl2jl4Nbm0qtpf75wvScivivvXiGRWcmMhHF0NOQyQvtvIfL41CcC2HduFxepWQ0Gowq2p/L5JmYmeLul3eUji+dyxH0+RWzQS6/Am6WC7dcwIXPIG+lZqOtdIRioihWigyHI2qTeHp6ongf01PT6qJkcYgVwsb7P/8V0VCESDSiLklPHz9SILHFhWkOj05VslTeQ0PDwxTOzjg+OVXbdPGYC1gynkoSCQcVY0CCuJNjI5RrNTUEEQq7zWqlVCypOkuumGdqfBid1ki+VFKEdrPBqJgAMgw6PDlWTvfD/WMuX7lMNp1UyZKhkbAaJlXLdfxqs+9QMMJSrsT1m9c4OTrmLJtRUWfRC2YKRaWn0xst7G7tqO/74YkoM1NjuNxB9V0WDgT427/+a7xueX/08Ln1+Dx2dk4ymOlxYdrNWryMaWBUabBIUI/F6aBc7DDm1lButHh6UGF+zKqqDM2WBcxNjDoLs8Nefvb1sYIMWoxG3roxyv2dY1KpnoLTLfhF4mwnkS+oE6D2KQAAIABJREFU+lyrreU0J8NNEzdmRni+dUpT6jE+G24LlOMd2vo2hbpczLXMXZzG6LHx/vv3uXHrHPYhG/FsjrmVZbY297DptVy5cpmHXz/g6PCUcDTIxOgowaEwuzv7ir1w5foNBv2uivFfvnpBDVizqTQ9NMpcUavWaLdq6vkpw4ZPPvqEt996WyVlHty7z5VrVzk8PHppRWl2VN0mmTkj5PepWP/as018fpcyR8gws16p83f+zh/z8OFTtna21UJCBg2SCJIKliQFWg2pxOWVMlUGBcvLi1jEc6sVHXhP6SWl8iUwUTGkiIZRkhIqCVU5UwMvqTRJpVY2/PKsEg2gGC5kSNDuSBUiwejEuDRMONjb4dyFVTwuL/tiTTjLMz83xYOHz9QZ4Zvvvse/+7d/phIFoup0e5247C4ePXyA0xsg7AsoCGg6kaFQyqmficA3ZTghQ9PVpSVSmYzSpi8sTasheKFcYn/nQJll4sk44WCYr+48wGTSKxbH51894DvfeBOHy8He0b6CxG5t7qj0SzDoJXZ6yujkOA6bU/FDBJT65WefY3M5mJuZUQP3e/fuEgiF0OvNbG1sqJScMFrSyTQmi1Ulccwmi/qu3T86wGGzEPD5OcsX1MBYUnz9vkYNYmQ4lIulmVqdB6MOd0tL9sm60gJqTSbCXtne15gK2bCbDGRrA0r5Bmu5FjbdgLrYiKwmzrJN3lnyKAhzvVHCZTOSPuuyMumiVi+xF9MyLvBAbYtUrq0U1mGvjUrdTKuXxWkxM+ibSOVbBH1ixDCxuuDk0X4Sp9xdzAbq1RZ1bVOg/rgtL3k29ZYMQQV0X8fuNjE9EVS1tqP8gKhVg8XYUwBb+btIdVS4Cj2Tmc2dFF6LHpfZgozj5QzzfC/FlQtBjvaFn9NgOKzj/naduWBHKd3LdUlKmegajDx9klI1GVurR6HXZ1t01NY2IY2B3fyAYrPLqFlPodmljgOXocZQwMKQB7zOtoIWTg2PMDXjQ/PxPxkfJE/O8AYdpE5aeAJalpY9PH14RrsFwai8qA28QZuKzh/sS+etxlDYiNHYw+kKcnqSwxcwK7ez3e7FbO6hk05foczkhJ9irksmK6CsBqaBHZ1BS63dZnle+goD1UWWrq10P9OJJp1eSz0sRI8wPuMlsVtkdMVHPl3neLfG6+/OUCxl6DUsaI0tXG4rD+6fMhL1ks12CbjaLF4c5aMP4kRH5MXVUsyWKZR7rJ6L4HObsXp0PLofx+mxqS1OMV8lEDQSi9UpNhoE3Q6cDiuZZA2LW8vly2G+unuCtiUMEg1DIQuVkvASQjSaDZLpKrvrDWUC8Ps8PFlLcP7cKPVyE6dfh1XfZ++kxtFRnXOrspWUrqeGkM/Nrz87xKCHcqHJtaVR0uUyOwcFFue9nJ0NcNi6JIu9l8CyjomFKRdPdzNkUn2+ex4WFyIc7WfZzTf4Mq1jIwF/s23Fbm2wZDWwMtHjOF4jX4SpUTu1fAeP38JZuUW61cdt76Ct6Jgd0SotmMzHUl2J5NT4O9e8vBMGfbNNJKQlXuzz8XaD6Wk76UKDMWsfjUHHk90ai+M2zAYDr0zaON0usl+u4R8K8f5elmdVj1LYxPOwEOjyBxcDPHya5/LVIcrFHJmimbDdyufPkixOWokG7fzlVwkuTLlYjdqJuus82KzxKNGn0tVhdpvZS8iXVpdrIybenTPiqnSJeHqcD9oo9gp0qx0aJgfpcpet/T7fvG7m/n5ZQeaEpJ1KtHn7gl356QMeKxOmPkXNAElY/uSggGbg4km2QrOlY72pIVuuct3n4saEjY3TiprAv7c4xP91J8H4sBNTt0Grq6fe0eD39qj1TfgNBvZPG1yeNmG3W/jNZpEhp5HPYlXluo/Yu4w4TYR0BkZsTf7hWx7MbTFb9yimGxwM9Dzc63JuwkCHKr/4ssbyjJVRr5lWo4/GoWd1zEGiUEbXGPDpkzaXz5vo16HabjMuFowzHR/fOcMf6rM856ZR6vJgrczYsJVsps6brwxxUizj0dsIRa388McHvH3LyurVWXLJAonkSwe9y9ZnZnmEbLbGp5+cMjnp4txKmE8/2ufyrRBP78XJ50289rYbi8nOl58dq8vjUMiN0SqavIbqX12/FSV1WmB3u8DFq0E++SDL4qyFW29O8i//96fcvPGSvl7J91lYDjI2Y+evfnTI6JATq11DvdDm7KzGa28v8clna4xNerlxMcq/+dfrxBI9vvWtAJ6QH7+zy9++f8T5c35Ojgr4wxYEFWN2dKnldSpWuzjvJpGsk421cPn0nBVLeJ12PH4zTx8ILVtPu9tRFz65/bu8BhbmJhRPJDriIx5LMz07zJPHh7idfo6OBaLm4vz1CPe+PMKkN2Ox9jk5bGMSqKNZx2Eiz8LUCEZ9F5tTgI95+k0hbzcpVnVsrZX5L//JBe5/sctZvsfSUgSDdcAnHxwyvzCE2dYldZLn/JUIj+4mWL0wjN1h4jSW53i/zvmLbnV5+OILiT03mF5ysXDOzee/zrJ0yYn5P2p//vxHcRYWHYSdehK5JitzPo7+Y7Xrf75ToCsWDK2GS1M2SgMDqVRNUbajoyGu37qt1HmyxilUqypSKRev05M48ViKCxeXVL2iVWsp+rr0nwPhKKenR/QHstn1c00oz/Uyn378CYsLS/QHA3URksGr0PWlj+j2OVRsTjYS8qM/OBQNXVBF0qPRiKLen5xmWFyc4/T0gKWFRe4+eKy2OkPBCNv7O8oL3ZdNqc2ufu6i8pJD7MhElGajpsBM0t8fjUq1IKV4NDKEkBhwOpflzTffYe3ZBsPDQWLxhIpOb25u4PMG1XBItj+SdpDfM5/LER0eVRUA+X67KLCpRJJ6qYbFbFPbmPmFOZVSEJuAbHiEOi3qNiHty8/z6tWLvNjaUj3zkNevCMmJ07jiD4SGw+i6qK77xMSk6mTLwXX34PjlRX7Qw6zXq4FAKBRSCRa5tElCZHP7gE63wYXVi7SbVZ48fMbihfMqqSBRWUl26HWSIOrgdslhLUu/3VaVoYpUPxx25YMWeJzYE67euEQ+W8Tr9qp4pjy/JdEUOz6mXOgQDLrR0lXUZrPFQa5Qpt9pqou/bInkolKtlNWBUaoE6EwKalsqVpQXXJgOqWRa/TqJbBGLTqsuC+GQh2S2oA7M4XBYbZ2XllZYOreoOvIum0NdFAWM2W+08YdDrD3doK/tMjU1g93qUHUDg8WC02Jj52CXb773TeWuloO1wAQfPXioDv0Se61VSxQKFQJuv2I0SO2kM+gxOzvDl59/ztVXbnKwu6virALQtdmFe7GjOs4yFJF49LVXbpCKpxifGCOVSpFKxlSKhL5OJTDeuH0bq8POv/uzP1eb5Z3tXXUJl62hXPplKyjmjUAowMHODnaPE4fFoQZqqVRGXXIOD/Z5443X+fi3nzI2NKaAX612XS1fJCosfeuHD58RGQqxvDDLzt6uqtx4HXYKxSoDOjjtTqXhiycz6PU6pqYnVed+0OuqZ0kg6OH+g3uMRMf4zre/xccff8HR4Z4yGQis0e+Xi5DoEBNEh4cUS0OSFWLMkPSC1e5QF6aZ2Wk++uQTkqcpZmanFANC6PIGvQyOXAz6GqWqTKZzahg2OTmJ22Hnyy+/YvX8Ep2uvM9OiEbDynAhvf50OqWGjb1Bm52dI8rFEpdkI5zJoNOJ0cqsfOrhUICuAHsdDpVuE66ADLU2tte5fPEKd+/eYWx0jKm5eZ49eqJ4Ebs7m/S7GqV/O788o54D03MLdPoDlVaVi2YynWF0KKrglLV6i9ULF7n/2cck00XGhyz0DRb1edLadKQTbRZmfOwclZRXvFCtcWncjt+m4+BMLLwD/j+e3iNI7jS903vSe28qMyvLWxRQKHigG91Au2nDmR6SS3KHSyPKcFeh0EG6KWJDOmj3Ip100AZDYqy0sYbSUmRwZjgznOnpaQugG6aBgivvK7Mqvffmn6l4Pyh0mNOgC6iqzH9+3/v+fs/TG7QxdYz4HGaVHJRqm8VooNLsUMm08Y0ZmI2Ocn99h919eOeyH1vEQrVYo3LaI6V3Muro43VKBavCdCjIRiKldKp+l58He8csjYZVVS0QcFDIFRkY9fS7LdKJPrMTHjSp2BiM5JJSj7LhWQhhlSFhucb525dxAevPtqkWBUzrYWZunrW1LRWXlurQ2stNrl67rJ53sq2+9eZNvrxzT9WfZudnFP1+YX4Rg1lPq96m1qgxOTmBbthXNhR51utMRnZ39hXEtNvuki1JGnGerqbRbbRw+bzUKkUCwRBHR0d0uxrxsQgbG7tqGCUGCFFunp6k1X8vnzMC8xYV6W99+D5/+3c/Uam0kN9PdCzG89Wn6r322ms3ePryKXPT08r8YLaZ1Z87PjpWUHQZoAmjTIYAkmgWDsNoPKqGZpJSk0rU5cuX+Pqrr5mbmWZtfZfZuRk8bgElOzjY21OA7lQqj9PjZG5mRrE8rGaLYiCsr22SOT3l2s0bbK1v4vP7yGWFaxNUG/ejgyM+/uEP+ObOPfXsKBULCuAX8PlJnJ7Q7QmHYoxMLsdodJR0tkytVlJsCgGdCnG/XqowNT+jfj5bog2UFWyzidsXUNWa58+fqcu6DNs8Xhdnz55REf9nL57zwYfvkElnyeeKTE6OKy3u/furnDu/QL/TVUPbcChKs1VTab1us67q5FILm5s5w9/8zd9y9fqFV7/HcpOuzUDU52L9s+dYJB0l71Mh97caygqXLOmZH7GwL0yDfJd/fnnA7QsRPt1rsVYc0ugNeHzQUUvAXq9Lb2hRqaGZIDidPqqdBmPmNjqLGSM+MLXptSqY9D4MtoHsdPH7JAmWxWO3KxuCy2miUOnjNBqVTlzsOmdGbXSNVnb26/j8fRwmA+5AnJ7UFw4OWZxwkcvrKDYanFkIYmkPebpfYKg3sBBzs53rIB+UDlOPYUuj1tZoVNssL4d5vp3ln328wqf3n2HU2Xjv1hL/6189IRxxE/JoOFomMs0Kc8tj1Io19o8avHNzivuPNyl2jEz7HeoOfpwpYpSzjt1DId9Q9qRKvUi/aeWwWFcpcWEUpJsdXhtzovvZfxUbelw2dg/S+FwWWh0jVouGXjfA5XEzOeHiJz/dweUwsnjOTaHQY32jwIffn6dZbFHId6m1qjTqQ370o4usr+WpC3xgOGT7oMz161GKuTrREY+KiO0flLHZDexty4e9l7DPys5ekUq1h8/3SuUg24iJKRc76xmKhR5Or0lNMwU2FR13UEzXSOS73LzmJ5/psH9YpN81cvvtUZ5v56kVNOwOK9VKAZvBjNtrx27VcXDcoFDRuHBetEYapdqAyWmb+oE+fVzn8oU4cxftikguPTrRedGXaako9lo02xp+n8ClMsohLVtBndXMt3f2sJpcrFz3USu30Hd1LF12c//bvDrsiZUgHB1RPaFAwKrAgz/7tMDYqJXrK24sbivJ4zq9RptgzKN4CHa7QR3yZsZlY2NkO5XHZ7KSL+sYHdPhsxs5SjUxOUzcX68y4bfxexeC7OVKTHvsfL5Z5FcHGtsDI4njrgIlxQNWwm7oVdpq61UddDjntSnipVDuk5UWiVKLM+4BNq8Js80BtQZfJ3tMBi28HbMwZupyfdFOt9lnba/GWHyEu2uneEw2pagLj5o4Eeqp1cHNeQ9+Y09RsGuamS8O9DASo3Sa4K+2TdhMJrKNARZHlyseN7lui55BlExmzsXsvDwocVga4DGYCQXlRa1hMkDMbeGdqAtDL8Vy0EjE6+Yw08bl6GHVuejbzNx9nFN6o1ZfQ28fEnXYCfmHymM/O2HEYRxQOq0ycdbLYUbH040u35R6GGxW/upZU5F2b81aGLHqebJb50/eHVG6t0Jfti9m7CYLZye8fPI8hYU+EyN27onaLuzHMCzQ6puoN3S4nSZcPivf7LVJZNqYzT2mHHYifrgS0fHHr0fROlWShQJuk5mAz0u+NWTvWDqIJgUJQmsTl4ipx879JzlKnR7/7Y/GqDc6/OzrFvMLQNXCs4MqUzMW/G4dicSQs9N2ig0da8/TXL3hx6B3qKGcXDYKxRavX4pRb/bI5+osnRkn4O+STHXIlDq4rWZSiTLj8wHaHY3TvSKzyyN4HHY1MS40YfmMVyV9Xj6pqmjY0oUY7W4fi2iwciVOSzocJk1d0HcOsvh8RtUx7LcMxKdtSjl6elBh8UyUUqOoQEyiHpUDoNlhIldokj1qM7ngpNsEr9+oHNIb6w3MDh0rK0GO9spUJDLl0BiLR+jpmrx4nsZn8fK970/zH/96DafNxsSMnUath8dlwObR8fhhiUa7x7kFuVR2FZBvfMaBzmTi8bc55uedVCsaDpcoGA0KrDcxHlV6rK2NlOplzy/4OTlpEQgM8fiCnCZLqkql9UQJ08AsjUuTBZPdTDhu4eHdFA6rjeu358llM+ysZTh/eZydjRTZco8//sPz7O1ncXt8mKxd7n59zOR4AKOhx8vnRaIxG8GQh2a7wrDrJJ8r4Qu5VWpBP9B494Oz3BeWQbaKzm7FZe5hc8vNzoReb1UqqmKuw9Kyh/HRAAfbRXZ2i9hDJhxGIxNBPf9utU7FEMeml8uAKOC8KvbY64gZYsjK5bOq9rV8ZoFv7z/g9q1bHB2d0O40VH9TNH/Hp2lGwyNs7h8qUu/ZlXMqOv7hR+/yv/3lv1PavQtXLnB8eKg20KKGkk2IbGgkirdy4SLHAkjqang8TnK5stoGCTlZnqcWq1lFwcUVLX126UzLJlE2Mw6nVV00ctmiAlptr+8oGJDJbkenDel0B4o+LLAzvVmv4vYywD06PlEKMrnM18o1BfCTjd+z1ZecO3+Wrd1d5esWC0EoFCaXyzAzPUGvC5nMKTNzcxRKeaV2ioYFRFhSDmTROHn9fqWKkstQrVZVlw6P1wl6C199/RVv37pNsZhHL4PxWg2H3aNi3m6vD5vFxOTsFJvrW4ourWkDbA4j+UyRUqPF0sIMkWCUrd0tFZ999613VFz9Jz/9e/78n/6ZSiFIfF+6p7HxUVKJE5XIkJ+fxDvFiBONRjk5SdJotJifm6Ovdcjlcly4eEl1el0us/p7PZ4QT9eeK06ATmdkXPETThiLjdIdthgNxxQ/4Nsvv8PmMCsInUTRm63B/5eE86mfgQwEtG6Ls8uLvHy2pWL50UhQGRxkw14s1JldEF9yj15bqoB12r0WI6ERdMOegk8ZbRYCwYga8MTHx3n04BFar8/3P3pfbXTlf4X8K7WXRIh3N7cYGgzq+xCYl7jdRXEm75uh0UC9WlP6OemG11uvGAJebwCXw4zJaFGbbRk2S6z8tz78iJ/+/c+VBtbttjMn0LdH94lHYio1cPXGVbriuc4VVfy/WKyorY7WR0XXZbCVK5RUpUL0aRKXbXfaqictesFMNkOr01VdYPl3mXRGqs0q4/Eol69dZWN9j6PDhLpsydefjE+i6Qav6is6KJXKyhcuyZILK0scHp3S7XVUtF8i0aFQQKU85PV5+/Ybaugm2z2JRt//5j633nqDTz75lEsXL6MNOmg9PYmTQ0V2b7c7JI9PCAQ8XLp0RbELbBbhzDRwuC0Y9RZKJdkCmjFYrOTSJ1y/dlOlMnYPjhQsM3Gc4NZbb0k3kwcPH6qBX6Mu/AhRjjWUW95osfLyxYZKdMwvTquLmd/nU2kAeW8IgE4udpJ4qlfLKmkkm0+psuVUx9itGA0CMNze21GVK6fHxkffe5/vVp8pCv3imXkadWFRofRqm+s72Jzy3JdDu06p0+anJnn+bFVtF2VY+ei7p0q9KdFtiT7LhW17fUvVoWx2hxoQRiS6nTxWrzeLsU23b8Ro0inI29BoZ2nEwd1N+V0ZMJn1HGa6Sulr1Bs5rnYw60V5psNmM2ISRZqmWkiMBmHUZeL6pIdERXg0PbXN2zmpU613iFus3Hpriie7Bfq0celM5FoDxsI+kuU2hwenXDk3Tb+ao2lCVUdPcy3OiymnLn1yp0qvyUBobiqi6g61Ug+9NqDd12F329BF/TSHXfYTWS6+dkVplO98fYdINIrVYFT1GKnW7O4c8N733+fht/eZmBrD43Qq+F6pXmXxzBmqxbL6s92ORkhSJ0dHnGRz3Lh2SfFczFYzTofcN8R2Ma5ggRJLF+aEXMDtDhuz07MK7Cmva6nbPF3d4Oatq7QbHbpaR3GDZLAsOkwZBq+snFOQ0OPjUzW4Ebji0tl5nqy+4Pq1K+qzSNgGwu6SZ1JRkgvZU0WvF/2lMGtmpiZVQkS+njAxBBrpcDjVQEpvsHDnqztMT4+pusjISJR6o4LPH8AX8ChKv2gig0E/bq9XsXAG/SHZUkG9tivFIqlclnfeucWnn3yhngdi5RAn/eOHq8yemVGDQXn+yf1MGCjxsUnFBRD2xvhoTKUDpDawMD/NW++9xSe/+DWbG/v84z/6oaq5SBotsZ9mfmmJzY1nauiyd3TImfk5MrmyYg9IYk7eFFsvd3njDUljCEDSo7SM8zMzXLp2UX1+enwBDvb3uX71inqmywAhPBJU9Yh79x7w8Q+/T6WQVzrJfqdHKBZQ5pZcLo/D6aZeLzE3N0O52mBQqnPw2VM0m7BODJjNMnDuI8cXATTfO6jQxcj//K6P9+e6dC12zM0myaKG322m2uliYYjT5+HOUZPNrMb97SKplg7NYcNlstCstCi3elQHZmgNeHfFTqrQod7pYOjoGBtx4fc5qZRqtOFVLVsin5qmqtQWp7wfpQZlwOu1UG5Ar1On0O8yMeJB65t4sZ3hzasBkicd1lNNXDoz5+Z9pI6z5LoWjJY2ca+TkMtJvlHDatGzuSP8Io03LobYSdV5st7G7zeyPGtjc6+mlNW1YpNWz0a7VlN6RLtByLnC2Gly/Wqc56unBEatDLGhb9Tp6aSerVdWA5vZicvuojPsKtuDSTfA4dKhtY3ofvznseHxaYFrcvldsPOTv9vn+LTFe7f9ZHJD5bm1WYzoHVaaxS7+uCi6hIY4xGDoMjcuh4ICyUKTD9+Z4esvdpSmqK9rY8KCxdal0jKg6w3UJt7i0gi6raw+K+PzwJWzAaVgePKgzIUVL2aHlfW1JNERH92hgYDHiE1YSn0HNq+OvY0cqbJEJMykUwNuvRVjf6OKw6enVW0ytzjCsyfHtDtOgsGu+sAfn/CQzhl48viU3/1onMRJl+OTKkN9F7/PwtKZMKWanqRy9Ar8qKGmz0KVrbQyjLiCtIXonKur7YHdrqPV1sieVHj/gyWODsqqn1ys69g9qGIcDlm5EFBPbfnZWsxeitki7baZtz8YIZXpUEyXuXAhzqMnp1SrGq9fC6G3mli9n8JqNTE15+dwt8jabpnls0Hcdju/uXfM/LxLwYbEvxsf8ygyZSbX4zStcX5RY8ofYjdTZXnKSFszMOPuc1g1c/+kx7/6vIXXaSLV1vDZzEw4+rwedzA0W7jzPIfZA06dgZVxH8+TBZp1jbrOQllrMR8KYjc26fWN3A7rsPQ7hL06futqlONUShkQLNg4EPJ265W7fjxu4dt1mBmDD96cJLF/ggk9JTmAhh34Bm0OU3UFxGh1e/zvD1o4/QEe5qtMGQz8cNpCz2pn6yTLqGbmgysupsKa4gMc7IrKySWFEJKZBvlmV03ZHu9UmR51cphqcDbiodko4HOHqWl15iNmdQmwu7xsJeo8b5n5Hz8rUSw3+ficn3QfyuUGI0EDb8YlktomVXWxW8wz6TeRbmhYDXoF/DjOi15EavkmbiyaYWBmLVNXD5lzc35+8jJDIq0HiwmXY0jEYmHC0+P2hJUxR5ebSx6KtRr1vpOne1WePh+wfEkkVhaqVZ3ykB6l4MNbfvp1+Td5eblV48ySjb3NJpcuOPnllxk8Hul+a+gMFtw2E+V+lX7bit4B391rc/m6Dq2pR28yYNXZeLqW5T/9w1kymbpyzntDOjLJIQfJPJ6AnWZJY+Wqk3yywd6BDqtVotxeGkpJpn/FEvD5KVSqWK0DMoUeVy7EePIyh9XSU7WYfLnJwnyYZ6snXLkQVf3RZt+Gyw2Jo4KKQk1NRVTnL1/sERkx4Qm6+enfHjIxb2ZxLsSTBzmanRbhgIWB3kDIZyU66uXBNyl++3cmKFeGbG2kGZsM8eDxsZrER0MmzFYdVouXzbUUfp+J6UXp/Hbo0yPoM5FNDoiMmvCGraSSOlJHSebORTk87NBpFHnjjQn+/sf7TM76CIyYMA+gWO3S6NTJnmgKQBcK2jhzJsCLzRy67oDf/dF5vvj0mFKqxMqlCLXugN31Ak6PAY/TzsA0wG6wUaq11KWo1c1TyoNpYGdywUGxnKJe9DI01rG7rDjNeiIx6ZCX+fLzE37v9xfY3akRibg42hPa+oB4zKrgUQOtzuLimNqY2pxW9tZrFMttfv8Pz6pNWLuuKTL1bz5Lc/FyhFqhiz9gwBuUhJCO71azxH1OSv0G4074iy+M3MkPWQqXsNtGabbrtEVObXOJAoLpMxfxeVxs7+ypdIeuo6lhmdRqXh18GnRaXZrtNjaLTcWL7317l4XZWaX32tg9xON2MT8/pTZr4quXyG692lJApAsrF9RB4tmLZ3S7Q8IhP922hII1JqenaLakd6mxt7ujIFxGvZ7FhQXu3/9ObaISRzn8AQ/hETlsmFT3OB6N0On2yBZyTE9N8fz5BuGwj0hkhEqhzMrKWX78s1+rLa0QnCWWfvXaBXQ6E9/e/5a5+QUO9ndxOjx4fTKQKGCzO2Vcpcj6klzb3N5Uw6nxsQm2dzexC9V8dEKB72RL9f2Pf8D9+48UJFEgWcnkPqPxMVLJDBdWzvL1N99iNBrxuZxERuVCfqoirvL5a7GZCQZiFAspzDaL2oDOTM2TzkvcOKjI53qjgU5fNoVmtb0VknUuU+TazStkTtJsHxxx+/XX1J+5c+crrl+7wY7gJQkOAAAgAElEQVSor0Q5OdRUgsTjCqiotGzfZBgniqfZuUnOnV1Qh2TROepMemWGEOWZHJalZymbZflMOjw8wuY247RaqTXb7G8nMOteaUwdDoHBGdWwxyJ6s2pNXbIcLreCUTUHPQJeF2YZVFXKuB0WWo22Au41G12yuQpOj1VxACrlDm++eRF/OECpVMXrD5BNZ9S5Q3RUr36myyRPBTqpUywFGTaJuUBeP2KGkOGKqOJF0SUd4bn5Rfa2X6nFlpbm+PLzr5mdl6FOiaAM/RtlxSIp1ypMjU2SymewmKxqkCDQOgEJ6/oDcsU845OiKhvy8OET3v/wXbU5FOjk4X5SDYuGfR233nyNaqOqII77+3uKan5mZoZyvUE2myEYCuF1e0meHBOKih51n5nJaTb3thh0dUqd9cbN13nw6DG9Tl8NxSLhEOlUVhHKhzrx0A+4e/cbYiMRZhem1dBALBlSW5HYfmjkFTcpdXKqDohi7xgMuurnJMOsxGESs8WmLBmhUIR8LsVHH37Ai+cviAmYLJNV2rBGtYI74MNptbCze0gg4MLnD6vYfPI0y9nFBQ5ODum323z4wQc0q3V++ZtPWT57Xg1WZaAsAwUFfzzJMD4WUcmUcqGuSPxSvxGFmTwjopGQqsHU2w0sFpsa1tmtZnRGvUovFHMZvv/xxyT2Dknn0or/8NrN19jbP1CH31hkjL2DPTWYk5/LSTYF/QGv33qd/e1DkqenjEZG1Qb43PISXruTk6NDMoUUi/Nz7O0fkc2VOLu8rACE8loOBsW0c8Klixc5zWWxDIeUGw2eP3qqXktHwkKYCKqzz6PVIzZ+/OcYXA7KdR2mYY/6o/tYvSG+ffCAkYlJps8vk//2EW3nAEPVQODqZWx+Pc5Ki/7sHGytodogF1+HVIKuwY2ulCSVrPJiPcm//Ff36ejBNe7iu7UaXRs4zQ709YagjYj77Tj6LRYvnaVWK2DXdKzupVk5N06h3aORrNM0Dnn9wixPXx5SrFXw6kz0rDbF+hj2WpRLdfrBEK4JF7OXz2HSa2w+Paaar/Dx77zPJ7/5nNmJKVXjkEu8xWxWZP1+d0C91lDQOqlOSdpi9ckjRoIjKrny+PFTNej93ofv8d2jxwpyFxuNkDrNqK/hsNtwOl1U6lU1nJQh+NXLFxSksZCtUKkW1PKpJJdkIbiKNQWjquSYTAZVWVlYmFVAVOF12O1mkscZRmRIuL2Px+9SHBe5gD5+tKoqUCPBMHv7+yydW+TuVw9UouSHH3/E/lGSI/UsfpVCsTvc5As5ZRgQ48ntt95k9ckzYpGIUtsKr0Wmf6I4rdW6FMsFZR0IS7pn/4iV84tUqg3y2aziC8xMz72q43RfmW5C0QCtTodKoUi70+Xq1ctq4y6VLEnd/fbH3+enf/8TLl29wvOnL8lm07z33jtYTRYePf6OwcCo4IVPnjwlGoliMhtVjSY8EuYwmSB5mFSv+VJFzv4dLHY7AZ9bgVwvXlommchwkkyqmpTL7VOsDUkfRYTxUC2jG+qUBcFi1Klhihg2NK1HIVPk4CDB2+/eVgYSh8ep/i4sBs4tzbC9uknvWQaPV8Mkz7pkBo+pz1FFz4xLz/S0i796UOSf3w7w333k5X/66xNGvQZuvhbg/vOyqlPfuuHjcL3IaabEb320gBTcqr0B5WaLbraFyaIRjPp5ulGl3tHQhm32MyaGgx6jcSv3dqu8TGiY7VYqnYGqWOXbbpVqkjPKzIiL03Jf3bf8Lp2q7BrbTbwGE1tSb/P6CNh09DtVNIMDq05eX2aWpvVcnIxw56mw7voUmjaG7T6BoBm7TYepDy/2C3hdZsZjdk5KXepVeabW+M9+MMsvHmfxCkx4oOdEYItmB9lak/kxM/qemcFAU89tqRMl8kUiUTsz4TD7iTSFhqbSyHqtw/k5SVjKMMDESbHDUGAxnS66//BPIsNqo0Kro1EpWJia1fB7XVSKJtb3MoTcJuYWTQyHVnIZiahqGIcadruRekPi7la2dovMLPo5Oqhgtw753nsxfv7rJIszfhU914nyzdLC5bASC/io9huKPl7rmHCa21Q7A84sREnvZym29URDdhKJEh6fVUFWZJKaydTwBx1Y9A2GRp/arp2etOkNB9y4EqLa7fHVb0pcOu8mNilQrRalhlxSHWrb//ZbXgXakj7//dU0y0tBBbCptnrkE12K1RrxaReF/EDBbUw6PReWXHzxbQOjuUss6KRcqxOLC7SkQ77cVw+aVrmKwW4nFBKYX5dwxMqw3UE/MKit9MKsl+iog8Rpi1KuriBsxUKLyTEfVqeRL7/YV4eqxdkQ9VaH2GiAw8MMgrm4ejPKk9UjNM3E3JiHw3STnecFli74SBcaPLhXZ+6CB7tO/NNBPv+qgsMphPoOpXqHQET0VxpbW03++z8Y5WW6RaqmY+24zv2kjheZNksS3+21mbZp+O0WkqU28ZCFk4YBnSb6R53a6PY0HVEPHLdgO9Pn/IKHSj7LuNnCmyEXf/xuiO6gTjNdpWt08+nzMvPjQ/KtHsUT8EftLMf07CY09tMV/ui9cX5zN8fYpJm4z4zJrGERYJTRwdOjHPm2mbDVSMjQYWQmwN6pwM9sHJfbxAJmdGaj6uaOxVzk95v0LBZ12HsgSYoqvLNkIeIY4BkNolU6rOU7pPtdvjrukSjr+c1hn6jFyB9fdlDpDXl8UmNm1MK0ZUimZKYw6LKZgUS5zfeXPKwelrg8Ycc56JEdWmhWG+qwnWsa0Aw9iqU+o+Mu7u601AT1algu/RrvLtrQS6cn4Mdv1+g3uyT7VtUp/fxBVZkkPnw9TL/f5JsndRXnff91Gw6fld98VWHE48DlFWhOg0Khw4XlCC82CoyEHBTKHUIRM0G3mWyqhc1holoV92if+RUzp8ctmk3BuOsZ9LrUSkOWLgcp5SuUin0WFv283CixsihRdunkt5UiKBJ1I8JsiWjJB4EwOj77bJuZuRAXLo3zDz9+QXhc+qRGDvdLzEy40Fs08hk90YB0GHuU6j2mpqy4bX7WX5zi8jsYajoSyTLXbo5g0gwKZFKu9tTBZTTuJBbz8c29U0y2IUGfAKXajAY9tHVDjvbq9PtdhhLptGnq8po+NPD67Ribm2nMdgNnFiWCn6dahNEJG5VSW21O2o0+i2ejVEpdTrNVdvYavH5V7AVSGSrRqPdI54Rcb6Yl75uwCY/fzYNvk8RG3QisdeJciFq1jdfq4ThxSqPWZHQiQKncU+mD9HGX0KiJtdUuw2GLK29FOdis43IOefm8yWjYzj/6s1F++h+P1BAhPuZSPclkUpIrBi5cH+HeF6eYTD2MdjdBFxQqA5xOIyfJHJ2egelxHwaTBkMLVlMXTyCI3tji8YMiPr+BXldPMllj6ZyLWlVsCEJJD7KzLx1lD6MhG7lahVK2y/FRn/FxMweZGs3KAIPLxo/e9PIf7rf4F180+J0lI1OjPk7SLbYPywwtQrQ2snjhEm1J1Qz0aoPqtEv3MK882xLda1Sk6y3w1zXGpqbxKbBQk0alRqVeV5s2oSJ3NdHlGLE5LPTafWUUkC67HARfbLwgOhLCHxiBnkYym1K6Q7nEm40Grr92hd09SV1ZOEycYtTpKFXrrJw/q9RQ4qYXCNV4bEptDIU6ns3mqbXaTI3FFQNF3N/rm1vqYCnqooDHr4YWrXqdvYNjLl25yLDfo93rsrS4yC9+/ivGJ+IqCjrUIJvLKuCZHEgl+im9demDSnxb6Mhy+RawXKMpU35hSxQoFCsqHSAMB6GjS9xZgHD5fI752QWOk8dYxQFvNuByeHG55cLbUqomh8PLaeaEt2+9qbzN4lGWbXG5WFYJhoFO0mk+To4zCr7ocNrY2TlQ8dmZyUly5SLJRIp2q6k62efPLvPo/kMVKz67NM8Xv/mcjz58V/ndi/maShEIyKHXH4D0afV6NbyQrfrUdJzR+CTr62uKW1DI5hVNemN7W7EahH4vlznZXG0+X6VYlueank63pb4/qUIJBLJWr6nBwXAoIhWhd/vJ5fNq0DTQy9BHL+sftK6cN+SCG1b1CNkUS4oinU4SjYxgstuoFZrUWxUsdivjkShrm+s47R616Y6NjijivwyW9g6PlRJvgChHnQz7XeWil06/9L3tTjdGo17VV+xCWZIaSrOigHqSzOl3O/Tl0ttqUMjn8AUk+l5jfGKcfC5LJDKG1SJR1DbZfEV17k9OjlWcVn5vcpmaGp9QDvmrV66o1+f6iw1lx9D6LQWtu3Dpskp7pNIJrl++yvFpUsG+ZEPb6tSZnZpmb3dfbfrFFpBOn+Lz+dVl4uDwUOkHh1pPcV4EKmm2WlS6QVIfu1v7aMOh2jxfuXiJ5y831GW73ewxOhZR8f97d79h+cKKUkAWsyUFUCzVqsQiQaVvlBi0DKLatY6q6giRPS8KSqeVRr2lEgGZXFEtX4TA7nRJtL+neteJxAGhUIxf/cMvFUn/9s3XFWhS4I3NWo14PIYvGKCQLbC9v8fi/BK9XkOp/wQEJz9zeW+Lllm2uAJKk/fTUJgcOgOFSoX4SIQnj5+yeHaJdqumagd7u0fqsi7gTbvbTigQolQp4fOElGJUOFcqTdBqUVIgzMlXF/tMnvTxvkrF2O0WWtWeGq5ce/2GqnkIxCx1mlaqRaPNQLlQ5sz8AodHhzx88JCgbM31evW7lYvkj5+UefAvL3Ptj96jetjG1ith8lrA5IO9dRg9zyDqZnB6iNEWBGMTNl7SFmd3aJFGo8NQ18UlFop0Fq1xgmP2OlaPl6YkQu4+oOUNYR426bSabO4mcWgtnJNRHjxOclys89PVFvt1KNd6GNETjplx1Ns4fGbsPhvubgdht09Jp3uop6MJPbykILTSd5bBjDANYpNOcpkBdesAW9TH9dtvUJMkk87E3sYeJ4kc0ckQN65eI1/M8/Of/1oNguV1Mj0zzdMnL9DpdUr7ODM7oZ6rm3t79FptBQ6U18W5pUU2d7aYnJggkUgyEvQxNJjY3xMOi8b41KiqRZWyFYbDgVLByjNF0kxjU1H2dg9Ul//CykWePBXDh8YVBdZ8ptR+xwfH2O1O9dqQ88XKhRX2d3YZ6iGTzqj3g7y3IiNRSoUcA4wK0nn5+iW2t7awW2xqoCbq2enJSQX5DAX86nkhNZxIaIS7975lYjyuhuGSPBEDRjQ2qkCwYt44Pkrg8XkIjgSVTSx1IgwdvYKjrj5dZ2FmCrPdxN0vvlX1sps3X6PdbrCzu0cmk2duYYHpqXFlS5A4vtyzZEAtaYmv79zl5s0bKk0kdS6d2aSqYgP6quokw4ZOs694AqKcFaCpXdgH4RG+uvMNAZ+kpQpqcCImpGKxyG999D7/5v/8tyohJI9oqRTJ0KzVrBGOvqpCSCVOWXOOUwo6Wi6W1JBzdCKmGBC9Zp+Zc3O8+PV97JK0LgxpGeRup+fCmXEa5SpfPM4zPWFG10Hpz/+vj7w8328wMuGj0a6zl+pzPu6kUClhs3vVEq5n7lM8aWE3tLn51hTbzw9ZujLNs4dFLl/1sHdcg0af6Rkf5UaVxekRTnNVRl1e3IY+z7cSmAd67GE3fYuVejpFrmJiLVlhO9nn5o0RdlN1Pl3rUe4YaBk6BO1m8qdtzG4j9b4k63p0rXLmBq/eRI0Wg4aG9Lwnwg6y9TIRi56GzkzE5qE8qGMyDZl0WTBoesEh0NTqRIJuCrkWEgKWKpakRy2mAcZGl77DTE8/pN+RM3qPoNdEe6Dhcwhkd0DYoydsd9A16BQDotPSMTDWuf+iSNdsY8JjVok53b//o+BQgG6VRoO//fsKH3/gxWwzsPGsjtNjYWLSgMnk4f79FFPTBvYPOmpicut2hAd3ZcI6YGzMxkmyyuRsgNPDBh63lVytqZzUDmefmXiAXLnMy5dtwjEbfp+V06MaM9M+1reLpDNt/tEPoyROpU9opq11iPj0ZDIdfH4HfV2XTK7NWNDOa69NclqosLdeUso4IaX7/TqMeo2cEBf9LoymPplUkz5GjAM9j9cq3LzlolYYKuBQLGajX9MTHbcgw55ssorPL9G1gYq4xSds9Ad6PHYTJo9RVQJkAvPxR3McH+S490hiSS4uXRpld/uAZEFAe9Kn0it4mNthwx808mS9wMKkR03JpdU9Gnbx5WcZfu9PJnnxpMrTtTy/8/G4+h6+/a6IxyXqliIrl2K83M5g6hgYmxI/ZVEp61ZWxnnyLMHEtI92U6bMFSJ+C198U1YKq3DQTNgnbIKmovk+3z2lr7NRbTYw980sL/twW7ok0mXmwl46QzP/y6MeP3sstFQdE347YaeBM84eteGQdE3DYZbumY4xYRboIJGWnj2UDSYFFexr0qvSc5BvY6jp+B/ecvIH1wPk8m2SxQ6jYSM/+1a2JFZm4jayxSaNql4d/HcPK8RCdo4LDSYibgyDNoO+lW6/wZkZK+unLUbtPkKBHr2unb97eMx41IqxZ+DiuJPKsIxZ71d0fTnELI/bcEgf0WlDZD7/9mkd41DP326IdaCroExeY0vBgcYCZi6H5H5h47TUJlXpEw+7MGPmweExkREXcYdFvS/sBqGNdunqh5RrEqGxMzAP2SrqGBiGqobS0lt4b7TOm4suJt0a3zvnIRgJ8nK9QK/X4X6ijdFgxtwHh29IKdfnwXqV/+L3JjhIZRXVt9jo891GnxvLDq4vBvjqm1MVZVtY8vPwsURAdUxOunj0WFQfbUZjbgadNrWqG1e4jttq43C/xtycD6PZzOy4mV9/8eoDTuCdsTELv/jZIbPTHrxOK7myeIf7HO2mef+HFzGZaqyulqjU+gwbPeYX3LzcqPLW+zGpwLK1UVIRauk+L82PcyIatbiXVKKqQGFyCRmfCvDkYZbt7ZJyzXu8OqZmgnzzdQqbQ+MH31/gMFFgf7vG8tkoVrvG9m6D3HGDhbMupV2Jx63Ex0Zo1gqUKjUKRSdmewudpqNRHtLWusQiPvYOiri9OqXkCgYsdPptKtkhu0cNbr8Tp9cacHKS5+a1MV5sFLl5NUoiX2L7ZZ65s2NUShVa0gPFwOyMV/EQ0rk2l86Pk07UOc6lCYVd3LgxzeefHCidlkAOYzMWEgddAhEfmeMUrbZZfa3zy2GsDjP7myVGZ2w0ekbCXqsiq0ucWKbsjYpRDTtq+QbnL4d4sVahVRvS7TeZnR9VyaNUukU0JJo/0A3NjIRtpDICddPYXC8zsehXzJL9gxZ/+o/PcXhSxqTrK4DlzHiYfKaKNtBTqcv7U7zlQ2ZnQuzsVEilmuo5kcp01YegyQTxURs/+TzBP3t3ilx/wB/8ZZbfe83Hz+4cEQv66ej06mAgqaFLr71Joz0keXBIfGJMvT6F+C70ZKP51cVWPxyoA9vzZ+sKBicKMt1wwNLKMqfJFIeHh/hkW1uRRJWZWqVONBIhV8r9/+mBs4vz+H1utWWTLc7Dx6uv4ukdcbE3Ob98iVarpmBqEikUXZGQnOXQMzo+TqNRU/18h9lBrV3m4soFHj9eVVWCra0dBRqcHI2TSGVYXj6nNFTlWonXXntdgb0+/81Xikw9HHaJhmMqxuj1udRlVbZLC7PTHCdO0MmGSW8gIIPtSpXtnX1CQa86lMZiowowJ+mIp8/WGIlEKRZzLJ5ZVAev01SKCyvn1CVJ+BGbO9t4PR5K1aqqZY3Hohwcpel1m4yOjSl6/cT4KH1h5eREtecjdZoiPhYHXZ9Ws0V4ZIRCrqB+H8GAn0ePH/Hh++/iCfr4+qt72Cx2LDYrtaroEnt43U7iY+OUqkVF0A77AxyeZlQX952331LxcEkIyICmWWvT0eRTVUCWQaUiNFtNasu6uDhHrdLgMHHIRFz6p2mmZmfZ2NhicmoU+j2efrdKuy343wHjsQj1hpCYJWIOdodZwTKzuZq6lN+4JnDBNrlihhuv3yYU9SuOj3Aidg4OVMJDXNe//uWvqdabajs4MTnBg4dPeOON11TPVbbhklaQWsHC3Az7e4cYpAoxFlUawLvffMelS0uMxuLks2nFFRCYXblRZ3/3UAEtq+Wa+mwUb7wAhTWto3rl51eWODnNMOj1VLdYSNfi9t7Z3FeJm6kZSZNU6PeHxOKj7OxsE46FyCQKxKfi7G9vERmJqAt8Rb3nk4xPTCrAqLx/hMsgB7RSuaDYGlevXeIkkSESHyFxmGBicpK1tU3OLM4qTaEoFQVYKO+F8yvnKeaznCTSXL52gVyhzNMnTzl3dpnd/Q2mJmdV7F3eH06zVdksRmIhDveSbOxu8c7b73D//gNmZgRopiN1muXk6IA/+9M/YfXpc3LlAg6b1ChrVBslVlYusr+3r9gMcnETfasM68LhmNLsbW/vKKe7WBXuffOQ9965rYjp8vfWa02lkDYbLArKmcuksVqF4t1XW8Rypaz0iGIEebb6jGA4ykAHHpcVrdPHapfFTAX6mjwm8Hi95NMZxSWSzavZbOHx6ipej4+JaSGe7+LzBznYPyQkYE+rkZFQnO+ePla10etXLrP65AWNdo33332Xo9Qp9+/cxWa3YmBAp9XH7nARiMfUv11UcevrG+iVptbBsxervH37bTKJQ14832IqPsLQ3Of0tIDN5uPBYYWf/zdRvv/RZfZWj9Hbfbg0M7VBF0op7KEoPbOD8s4zwmOTmJ1hytkDHPYApnhUxd37rT6dwgnNTofY7AIEovSSRwwceiyFOr7lczSbJVrbSQLjLrQpL7r1JPqR8+Btw8sXMH+ObirD39zZ46ffHFHo6Xixk8XY0TOwwOSYhzm/nP+cPN1Kq8i6VA7dzi69tpmBCdxBJ4/uJJmdtGPVm0g2mgxCAWXhqQ016vkCVpOBFw9esrSyxPTcLA8ePaJeEkL8JbKZlKp6SAVHlm7bLzd574N3OUmkcDuNJNIlxeGSOP3k5Ji6ZEt68LvvvlNDHaGev9zYUOBMYUgIg0EAsZVyE6dbXkNtNXiU93BArCxZGY5aMel1KhFw7uwZVQERbaCYCdZeSt3rjIIbylZcDAVSM9Pke6mKdtauYLOiM9zZ21ZDqUKuhNmiR8h/MoCQOkPiQDSfkmZ4obb0lUpRfZ8CuHQ47KxvbKlh7dTkmGIf7GwecOON67x4+pTASEjpSoUNVClWlNq3q/W5cP68WizJoOzwSAxoEaXslMqSGF8EAni4lyBfKXH+7AL1Vp3l88sc7R+xd3jIBx98yJOHj9je2+eNN15XFgvhtwSDbrKpguKxmE0GlQgQ9awM2icnJhVbQdgcWzv7yuxz/fpVdDpNPRMMQLPTVe+b00Qaq93K6GiM4+M9BTW9fOU6B7tb6n3i8XvZ3dojEh3h+GBfwXytbhujsTA7P76jznkjUxGMnTbbRxm6QwuT41H8pjKfv2jwT9/1cDPc4vDEhDcgzDbhLvjQdfu4vDIQr3HzNTE3VbH0TWC3Mezq2TquMTfroJyvUim3Gej19PVGLi2MYxyW0Xd0bJ+0ydUaeHwDIv6wSlSLkv2tlTEyVZiZChM7Y+HuTx7QarkZnfSpit9kUNSfQSbiNox2I3ceJQlYdERiIX76yY7iC6QbNsWT+upZkYVJO+2Gkft7NexOkwK4i8Neln2psoF8s69YM5ahQUHj85k6fokZ93RMx+10B02GmpUxbw+Hwch2rq84fPKZXqnUGfQNXDobZSeboVMy4fcb0BplxiNB7uykWQg7GRsxU6rridtNJEQV+H/8vncYi7joDgZMT7l48eKYl2t9ZqflMKcn4vPw5YOsiu6tXHQTiXnY30zT65lwuc3oDW11wbjzVYmJGQsWs6ZUfNNzbtKpJt1WF5NdOgg6GprGzlqBiUk7g84As8PIwswIB8d5SYPQrkIbObRqrJwf4cGq0Dfb6lB548oI33ydoN0Ycu3GiIqTxacEeiGRZwttrUq3a8Lt7VE40dPWeoQjJvSGHnaziwf3i7x7O0qtUadU7qOz9BlqMnUWS6VMra2cnrbU4f5wr8lJtk885OTmaza+vpPj4x/Mkjmts39UIDzpxaK1iEX8bB1Ij1a2RHamp15pDzd323z8UYz7d9PYPWZ6HYk+Njm76FOgj3anxeFpmcvn49SaLWpVjaOjuop1NxomAmEHa8+SeAJWKnlYWRklV8mCZlJ/vl7vodMbWV620W8Z2Tko0+/rGA4NSqUU8A/pD3R0mibMZoni+Pj5ZwnGYm4mIga8PgebawWicS92S41+08zLspG/f15nNdVTP4u41chZR5dw1M6zUosRs2w9jIz5NTQj5IvgskGhNWA55mC/0OJJvkOjpudi0M7N6Q43onYujNuUkuXZsYEXiTbvLjrV5u+kq6OZz3L5YhCn0cZ+oa16kI93a1wad+M1Din2NaxC+vRZODs+zsODNEFjH7PRzNNUi2S6z/emLJS0Nm9N+xj6hvyLn1Yo6jTun5pYS7UYD9u5FrUodsCIyUJ50KTGkOfbbcIhG/peRxGUx71DRRwv1jq08DHsyO93SMjq4LOtCksjJtI9jc9ftLi8ECItQKh6g//8ip0fnfOQLnVxB2Em5ub+WpLdpBXNYVBgvqVpG+VOm3ReqhdDHE47kyMOUoUq1XaPbFqnDnujY3YGmsBhNE6LTcxmPdGgmdkpN8/W8xj1TtXZnZ6ws3zGx4NHScbHLDS6FkqFIal0iaXZMN1uRWnU9rbzhEIWZuacbO/1aJRrzJ8Jk06V8bqtLC4G2N7JYLaJq76FWbMwEnNwfJpBPzQzseChKJfiTEdNx+fn4uzupnj9dT/ba1XllJXXosSlZGvT6RVJHIgBQc9b78xylKyidbrki1W1lR+btOK029nbqaM3D2nXazSaEAg78QRMTI64+cUvd1m5MKoUeflUm/j4qwjwW+9GOdivU0hV8PoduIMmWlWNgc5IraZRLgu8s8/1y6NoWpGD3Tr9jomA34LdY1D1oIFeyLUFlohnXZwAACAASURBVC+F1PTd7RrgsLiplgUG1aPR7pLP9/H4h0yOh9ANbHzy2SYrZ0dpay0V2zOYrWjdGmhWojGr0ss8fZ5jYTqgOq3Nbo9Oq6d0lNlii8tXJvjVJ3v8J386x8P7ebLZGm/emuCTXx4wsRgh4OypjZzOaEInqi5NYzDQ83w1ycJyGF13iMWup1Ya4A7qMFvslItN1jay3HhtGquxzfZ2jciIdOqazC54Wf0uy8pKgL5Rz1ef5Di35KHS7rKxLiAgL/4RA2adkUZnSL3aZ2baRjavo5TJcuHsCG//RZI54TDYdTgtRizBMI1cWrFLXKGo6hFaDRY1xJNtx/5xSh2s/UKyj46QSiUZiY3SqFTp9QUkV1BgMDkIJDOnLC8tqQvw7PQM9UZdEchdbg/xeJSkdD1tThLJI8qlsopqXz5/joOjE6Vb9bid5NIlTlJJFhYWFSCpXC2TTmbU5Vzo4NGoKGy7JJJp/G4XXp+XVKao6iGyXZbtnVyq6vWGihRLNeDht09YXF4ic5JQpGjp+Qv8aHtzV0WQxVM+uyiHy1dasTOLiwyGA/X/u1wuFcGWzujKhQvkM6+o806Pn+dq6zTg5ptvqoNVtyVdb5vqpXa1AWdmp9T25/PPvlZbHNmQ64xGpY0UlZRAEC+tXKTd66jBhHRA5dKs08Ps5Ay7hwfkM3muXD5PtVSl2mqozevY+Cgmi57dtSRnlibZPzzA6fYp7/2XX95hYnKcoaYpvZSou84tn+Hzr74mHAipC1az0WFmZkJtu8wWq1IoygBjd3tbxWd9frdKbNQrbXS6ASsSia5V2VjfVdHS48MTpqbHODhK8uH779Dstmk1WuiGetbXX6pOv2i8itmcim1K2kHrDrj19k36vRYv1neYHJ/k/PKSUrzJ+aNcLjMzPamgmcI1uHnrNdZebnHu3KKC2a2vbTASCqnfS7lYZH5xHr3eyMbmBhPxUTY2t7l+9apStSWTxwpM1+30OTk9JTY2gsPmIHWSZn5hnq+/ucfi7Iw6iywvnWNte0P1ywVgKFswOfCPxuN0OhLZLNPu9giFvKp/3Gr3MFttyloz7EmKRCMciqihjTAEbr7xBifHSU5SKcUVmBiLqe9t0Jc0uobb7SYU8LC1d6hqDbHQKE+ePsZoMSoA4eNHT1Vnf2JmTMEYXzx7wc03r/Lk6YaicZ89u0h8PE5TQITHpyrBIn+X2+Xl2doLzp87pxR8qZOMsl1ItFk4Fz//2S+YGJvi3e/d5mc/+xVGnZ7uoI9DGCqTcU5PUwR9QaV821jf5M2bbxCKhPm///r/URtOo86ihnYyIEmmk4qNcPfeXS5ducbpyYnaxBp1RtXhlk3lubOL/OpXn3HtxmUVoZdO9aWVS1TrJe7de8Rv/+4P+OrzL4mPjTE2PsHW5gZnl5ZY3xQw55iKH+elwnPhHF6Hm0QmRT6Vx+/3UhUP/cwMuzs7qoM9HEqdRlMMgkDYx/bWLmeWFlT6YnR8gpXlc/zrf/1vWFiYp96o0mg18bk9LJ5b4qtPvyQuw5t8mn4f9WwfGHXE41O0WlVC4bCqIuSL8pyLUi83MRiG7B7sU6t2uDoXxuK0cZAp8d1Ohb/8gwh//KN3KRx3MfotmBwD9NUOOpeHdmoffXyc7sY2toAbfWyC+s46bdnW9Y2Els7RH3bpJo9wR+LUel0q6STmfge93obL5aeY3sfoHOKxj5PYeIklEKB+fEjo8iWcE3EsyRQGfRPDmRUBQqFk5VIPvJ+gkq7wF5895fN0l3JtiLNn4MyCi7jVQ7KexS4aXboqDTx5NkK+0MBqsmMZdCmcVLCKIi1fxB7x8s6ffcTeWoJKNq/qQ3K5eevtN5UN49u795meiHPx2jW++vILdZZwud30Oh1l6cgU0ty8cYOXL7eUzULYMFJJmpqeUPYuGRrJIDOfKSkorMTQ79z7msnxcfraQIF7HU4H9CSdWVXvY0myDIeagiUKM+A0eYLL50Y/GKjBSr5c5dzSAhvrMqyNKeCsLFKO9g5Vr/6d792iVKpwdHzExNiYUvfJZ4MYC0QLarAaVCJOhtCSmJLkjXwNGS7Pzc6rZM6vfvkJS0uSVCupSs47793mNJlWdQd5Xf7gBz/gV7/6VD1vz8vQ+skqesNAJT9EExofizI7Mc3Tp6sqnfKj3/9d/uZvfozN6mR6dkI9Pw4PDl4pMdMZIhOiHO6iDXtKS7gwf4a9/T3FuEEbvmJ1mOQeZ2BnY4dbt1/j2Yt1pqcm1fchlSmz0aRqWpKcE37Bi5drauC6uHBGpW+EqyDDOhksPH32nMGgp0j/Atocj8XIFyokMidcvX6VarHAw29X+Sf/5R+xsb7F8a++lXU31qAFi85CyGfjIF3GZnTQ7xaxeLw83mvyFz/04DF0eJosE/N70FpdEpUWfruNt69GSOZabG/k8AYCLCy4+ebhEXMTfpYWPay9TLJ0fobt7RNVpRX2jXCKotEI//DlCW9fiuAIGcgeVBifC5I+7pGv1xkLW8jmCpTqOm5en1RDCrNFoHwDVp+n8fudpPM5PE4Xvb6FxEmW22/EqdcGjARdxLwtdg47mAZdEpkuU0EfkyMttjJ9BMWVq/ZZmvAQmx7h03vHRENGmh0d+p5GoqbH5dB4sV/H6zJyVOqQKJgY8wz5Yr9HUv7biAW928ZasoUJHV6HiXK1j8mqY9RhZmgeMmzomIpbeZlpUip3uDUdxGWtU6h10Rnt6H7xX08MHzw9ZW7chd9hYuxMkK++OSHqNvJotcyZWTfLKy4KqS4be1VCESNBAbalOmwdZVmc8yiHvDgNpQMSDDrZ3i7icFkZdLpkippyUgcDeqz2IV63hXy2zdxigMfPU4xGpA8jNGwT2VO5rPcxmKzqsDbsDVg/bDId11MvafhHJLbRYMRrZWuzSnTESaXVpN3X06y/gu1FAjYVxd7ZyTE2NkIxX6LXk+lgn+VLesTwoRvaOUkVCXqttGowMmFSnmehsjbqryBvQyPqQWM329jYLDG36FQgie2tAh2zlcUxs3rQ55pdvvfuAnv/L0nvGSNrep5nXpVzTl1Vnbs6ne6T45w0mRwmmZRNLSiZ9hrwrmDsYr02jF1A8B9jBRjwL+8uDGOj1pJBiTIlWRwOOXM4eebk1Oeczqk6VFd35ZzT+nmHv4YYcsjTXfV97/s8931duyec7PUZm7ayvZVXPfiFUwFlITg4KPH4cYGw38BIzEdmv0DfYCMY6OLx2ll9UeHcxSBTIzbW9wosvzrBbTIQmfSpCHe1lmNrc8CVC+KK1WH3aCkX2nx5N0si1+ed1/2EAxqSx23lvzTqrCTSLcZDVnrIw8+C29NVAMd0RcfUkJHn8SJ+j5FYxMuFUT0bhwVGh7xUml3+3Wcd/ma/pJzRLrp8N+ZSB85qu89UwMyzoxI9s4luo8V80EmjWCdbrTA/5BeLJB9tZKi2jDTbBmYDA/7pVRun3H10rSbbKfkdmRUQ7uFWkaLEy1odojYrvW6Vy3NeNrYKaCx9+hIx1pn462c5bs1YuTThIn7QpGfR4zZ2CZq67DZ13E+2Cbsd/PNPilh7WiJDVvYP8/x31yM8OigTcxp4UmlSzjS4MB/E1OtxkKsTsOkodw24LV02pK4R9ZPI5vBbfazkcxxmB9TbktxpE/Vb0de6vDVvZGFMx7dGXQwGLXQWI81+jeV1WImXGI4FyRTqVGsdxn0mpcY7TrcJ+7T47E6cHrj7IodBY6bRKxENfEPSf3DvgPEhLwNDnUy+S72qYWZGz/p6jzOLVh6/EAWehvCIjaBbR6Pa5+6zKpdn3RzkKwz6dWwmG8GQBatZR77RZe1FhtffnGJjNYlWb2IoaKWnabK9VqFcNahEwWjETabaJbmfw2q3qH8vCsOTbIcH91Lcfm0Is0PH0tMioxNWhoYsvFjKksu0+elPYyw9z6HR92h2YVDV4Q1raBb7DEQDamjzar1ENgX/8A/nePj5DiH/kKL5To74eL5UVPWavk6Ly2LE49VjsOlZflrD6hwwMW5hbaOiqjJOi5ONeIbxEQsG3YBnT7tcv+qgO5BNeJvpOTd2o5F8tkl02EYi1eLgKM/slIt2vY/dZVCXj2qji9+lw+k28yf/IcE/+x9jrL7MsRavqAGZP+hUlQKBAOn0NfRiMQiGyQq5/2IAq9Gj2AZWh0T8NBRyNTwuM3OzER7cjzM26SY85ub5/SQLpz0Mj1j4V/96k2+/4+fdG5PsHiVZX29QbdXQdI28+UaUbK7C++8fMj3qwmDpMjTmUhHPVKqmfL7ZbA1/0K4cv+urGcbHPbjMNg5SWXxeJ08fp7j5ToRUooZZryMy7CCX75PLpujrhKhdU8/FoLww+mYMNgvlQkEZA2bmArxaE4+0idlxD09fnvBRxkW8VGfC3Fck6Fq1x+iIXynxxmPzmO0+aoU8FpuVU3Oz/Oo3HxIdGVUOcyGdSwwzlTpWeijpV0ssWVRMWxu76uAVku5t8gin3a4gZtMz02xv76BjQFW29k6ncmK3Ww28Pg/pVBqdUU+tVCcUHkKr1dAUYGrQS7PeYnxC4vyrBH0+9CYrmxtrWK1mrt+4rgBVVotNbbAlGt+sNtQ2SGJ6srkVOJnT7mJmelJtUH1+J7VmkxdLK1y+cJ6V1S2VGvBJ5/3wQA0v9QaD2nBKYsvl9rK9vaUo9eIPFz+ypEFCQz7OnbnAwdExL5495wc//CG//uADLl26qH5GkqaSdID8swRwJj3r0/NzbMfjuBwe2u0uOk1HxUBlYyR/funQyyHE5XIRlKFMvcbTpy+IjvgZ8kiCIqsOcwISPU4mVSxd9IpTM5M8efRCKfOkcy2d2UK+zP7hIW+/fpOj5Inyp5uMNvQmrRpkyHa60axzcpLi3PkzqnIRjYbQDQzUmy267bYazItOUDRplXJVRcOjozKoi6uNtMPiJJ35phu7ub2hOq3ye5+emlCgr4FOQ6WYVyraH/3ohyw9foonGOThg6dcu3qJw+QBhUJDHdoFLCcXYwH4+f1WXj5bIRoJKZWbOOVFVycxd4vNxuFBQn02ZKhaqhRZmFnE7rDy5b17XLpwAR0afvnrj/mDn/wOJpNNWRbkn5E6OlapFtmmHCUTeBwylBpidWNNDXakb7u2saM+L+nssXqe6EwGjDoDwXBAKebk8ink8HarhdVixul18njpJd9+6y0Vyd7c3qFSrqiNp9lq4+Klczy6d4/o+LhKxMiwYGIsSjJ5opImou8SOKJ0qX/84x/x4Qe/YWwqRqNao9Wqo5FKlNWuvPeyAZct4cbGDrGpcQWcPEocK4p/bHpSQQJPTjLqZ6ilh8ftUpC0Z8+XaMqg6cIlNXSStI9cxifEHZ5Kq997p93m4CCBxeLg+o0rPH/6XJHDJekilP9AZIh8OqeAYWKg6PT6uN1udcGQZIrEbUeikW+qG+kT9Biot5rqz3Dp0jnqtY767sj3QpYk0i8OBnwKOPlk6YW6mEnlUuBwAhSV38urtS3VhR4fiarEh3xmxVjRHvTVJW44Mqw4D5WG1LtkiOUiV8grTonqXvt8ICekco344Z6qfRwc7nPx/GWlBdzb32F6dob49haphNTMDEohKiaMyViMa9evc/fLrxkKD6kLrC/oVyYs+gM16Hu18lJVRvw2O36nnoHexp99ssr//G6UP/43P2L3Z18ydHGSpnsETXyDnstHr1rDEfCQO4qj7/bR291oS3kGsVNoSmV0Gi2dSgZz7Cy1/ST6wzVagwb2y2/Qiq+CK4iu1wCDC100hKVYpe32Ysoe03M4yG8d0OnVoZxWZxePfZRafh+7z4bZqEUztYjWFaby+DekWxb+yb9/wterZRpuE56enjNTFrymAZ1uhXTJhNdlJFfuUW2XmQkOobOaKGaripklZwD9kIPA+DiLZ8/y8P5DBv0e0aEwd37zMWfPn1f2K2EySGLtu99+h8dPXmK2ysKsR/oky8jYsPodyWX7cO9I1XIkISLfVV8goHhZ1brUdA3KRBEKB9nZ2lFsAOni7x8IH8jAlatXWHr2QnFHmvWKqimMjUTVsMKo05FOpxlRw4Ou6rm75KCmHXD+wnne/9WH3Lp2TQ13VtbXWF1e5+yZRfb3DwmE/UrVKv95qaOcHCWU/cLpcqAdaJiZm2JpaRW3y6bqYTLQlct39iTDtesC2Iuj1xvVMPE4mVBJhv29pHq2y4BWnkei2X3xYpnY1CSvll+qdJjX5VdD1Eq9zuz0jBpCSBXJaJR7hZd2p6ngvKGQj5GRCfVZFFZO4iihkkrx+D4Ou0VpCuX5b7WJ7U34NxUuXLzI+saWYkTJc1OeoyMyUKw3FSMjNjGh1IcC99ZqBhTKBS5cvKC6/odHSUZGR9DrDTRqRQqZAq2e2OKcajjocgl534rW0MTQ1nH3//w1RrdGacrrNWj3GvS7fVXRsdPmg60C/2guyH99uc4Xe30uT3jRGXTET9JkigbOTBuVLcsXcpDO1ZhfdNFpDsjn+mTLeeanR3j45FDxIEZCTpbXswwF7Gr5Jxy7eruNw2Lk9o0p/uYXSzT7cP5ciOWVAu1yAYPLTfy4wel5H91yme39KlfPRSnXO2iMXU7Fhll+ckBflNFzbno1PV/fS3LjlpulpQIet4NkNsOPvj3L5lGZerZObNynNK9jfh13t4UdUyESdHNjcZyt5W0F/ZQEtsdpx9jtY/b0lEK832qpxEg4GiCf6+H1Wnm+VmI/X2RqIsL+QYkGXeJHXeq9AbmO8JW6eGU31TWxtDcgL+rMjo62Ts/5cA/NR/9kdPD53QMuXfOqbuhUzE+5JkANgRgMsJtMjMccHAn5Ow0up5FWU6M0diZ7j0rZpLSAvoA8mHu43SIAaiGJJtGMNTs6kicFDBoHOo28Mgasb2WxOd2sb5e4ftVMYk8SG13srm+gFA3VyW0xEjUJvwe3R89xssVQwE2tmWOgsdAoi1JBQ6urxaBtYdYbGB338XL1CK/0OXxSY8gQHjNTKQ1UVK+nsWF3wPn5IV6sJZibcbK5W8Ri0JM7GVCsa+j2WwwF9bg9EPA6SMqhWpQ76Sp6TR+nRcfhSQur2YDLrSc0YuX9X+SILcDCtB+9ocenX2VwWx1MT5rwuLRs7ebZ29fyztsSLyljMBqJr2cYnQxSFerqoE9fDxG/meSBeJGrXLg8xqN7SeYX3KqH2uoOGB/zqXhRo2VgfFIIqW1mJj3cv39Mp69haEjLxm4Fv6h5LB3iu038fhN2qxZt36hi+jOTDgrJKvPTFnoC4dIMWN5ocFCu8cPX/BzsN/g7V710dfCnD9u8v1ZmebfLjcUQL3cTajs5FhLNRou5kBuzpsfjTJWYgH+sUq/pMqyo6fAsV8aic3Jvv4bfaeVf3DCjKRZ5bdzO7LgdrSyPuzWaaMiVOny11ubmeT+ZfINSuY6528I37iOg1fLpZolpv4aFyQD/39cpNHod905a3E3rqMglftBl2G7i9QULK9tp7E43HpOO5ZMcpb6Ny6N29lJFtrJdvjPtxu3oc5BtsV+uMuv28ihZxes0U20P2MhUFVTIrTHxB2dFT6Rl1mUkn87idor+0ogvZCXs8vHhgx3FsBiOuNC328RGrcop+vBlkuick7VXJc4vhAmHHfzff7LG+KQNvb7Nxm5XXQ7fuRAgWaiwslYgNmKl2dZjdw7Q6mwcHORYmA/Q0HTYflxmYcFPV/67Ow0K6TrXXvOpasnhYYsrF4YIhC189sUuVouDQrbG2laFqxeCKmbf1Xa4uDDKp3eOmDjl4GC/xOiwnUSiRKshD16ITTtZWzlmbHIYnUG8w2aK6RLBUb/yzcrLe3rBz6efpPB4NFy4MMxRIsvRUVP1EqN+B8epporJX745xr3fbmPz2hkbMfL4YZpLF0dpDrocbB4pV/vkjJdqXUs+k1ek5If3kpw/H0FjqCg6tklvJehzkMqVWV85YmJiDK22jM1v5OGXeU6fcaro8O6mJHggOmohfiibRg31fhmbzYhNa1KH1BerAtxpcfu1ST6+c8ipGQ/Ptwr4HUYsph6R0RCFXJ56r87JsQnJBVksHcJBBwNNU9WHwsMWvriXV138+VM21lfT6rvsDQmMr0O1qCc8YmFzJU9noCEqVNaOBpNFDuVlhsJmhiN67j5q8ObNgJrAH6XKqlOayzZVncEh4K+dHFqrllDIiqGvI1No4neYiE652VjJEI5YFUCmWOlhsWqV6m92cURtH3/zN5vMnw+qCs6g3URvledfh+99N6am1ps7GVxGJ8NTRjrNHqVijZtXY3zyYJfFyRBz7h7/y0dFfpmC35tzkWoZ2TlIou1qlHbO6ffh8Q4zFI1y9+5dFQOU/ibqIuLg4eNHvPH6TdWBt8hwrNMkc5JVlwm5HJy7cJZcKs3S8gpzs9PsbG7jDXi5fOUSz588U0MF2T4LQKjVruFzedQl/Mz5M+zsbKtudDAcxGI0q2i9QNwiYR+1RktBtmbm50mlM1QrspVtMjE2Tjg0pCBO5VoFh9VLLp9WFyWDTvwdqpqnHNBCdz595iwf37nD97/3bRKJYzTGvvocbq1vqTjq9duvc/+ru+oyZbY5cNisKqIs2ym5oErvsVmv4/P72d3bZSgyhNNq4+NPvmYiNsrk8CSr68sqwi3DD6HGnzu9iFZv5PnSM8xWi9I5WRVroK8cwfH9OKnjLLOnppVdJ58tMdBoqJQKqscp22vZqgjUyuPzMhIJ4nC4+fWv7zA3N6PeSVqticnJGPcf3lNqKhkOfPnVfeV33txcZ/bUKRqNBvVimcmZSXZ2dnG7nQww4BcycrmuFFLyM7946bzS1UnFQA6H7X6PSGiEw4M4DreLgD9IIZ9md+9QbYjOLM4pra8ePc+ePefNd95QFoxmq082dUxY1QHaFItZ2vUe3oBHqXT39xNcu36ZX33wAecvyCWxxaNHj3j91m2y2TRTUzFFxJaL4uraOiPDo6rSsr4RZ3pqWrEVxCgifAaxD2h0WrWVcnv8itMgF2w5NMuB3GiUiK5ZDWIkHSRAPafLrpgHAoZt1FpMz0yoOpcMYSbGxnjy/JlKpMgFW6B9Um2Ry3h0OKRAkQK6OnN+kd29hNJTSfpCLiuVagmz3kqnPaBaLzE6OsHRUfybC7k3zKvlF0RGouh0RoaHAzx59kqxJuRnIiYh2cSVy0W8LhepVF7VIXpaSJ+kFftBDhOZ3Am3b9+mnC+xn9hnKBSiKJUE6cqjUfovqc0l0xkcVpv6rm5s7DI+OYrJoKVQrHD+3AU++eQTfL4AZfk+NQUEK9DSElaLCe1gQLXV5kc/+DbNZp/33/+A69evsreXwBfyoe32yZZKFPNlBT/r9iTB41RubHG+n5qLqdSSgKxK5Tyx2JzayEtEP3ks5oI6t2/d5Msvv1a08H5PhuknjI+MU64WVc/66rULHO+leLnyUsWttzbjCvIol3JJZ5w7s6gi0OtrAqd2qT+DqOlkOCIDLJPBqOoWe7t7/OAH3+HLL75CZ5Tnq/AMCkzGJsSPyUd3PuPiuQXVDU8nj5Xab/HMIiepY+U9Fw6G0M+NBoMa4En/u90WhXCLelmqK21MDh/LBxl+uhjif/2XZ+jstKnp9PSCEUzdDp1iFsvYPKW9VQZ2G57YKfqJDWrr2xiGR+k1ilQ3D7G6rRgvXqa+uYrJP83AUMVs9aMXpXW9Q72RpVvp0T/O4Ry1UU2DUd9moG2gGZpEPxDImYX0vY/wvPYGzqiLbsdL4e5fY/SPY5d00/p97JNR2vY2uqqJ//izB9x50eSD5RS4jFy5OUJtN4+xL9UvWe6ZSOXzOGwuIgEfG2tx1U+2eM1o3E5OWnlmYnNqW//k6QtCfi+h0RFWnjxjdGqCsxfO88VnX9Co1DDZbNy+eY17D56QzqR4683X+fLre0yMj6nh56NHjxWZX6/T4/ba1VBTQKfCpJHKh8fl4sXyKqOjUZVmLckgbTqmIKzXrlyi1Wmo6q7Q9h88fKKsGN/UcE5wO5yEh8dpd+Td46DSaLO1saXi8ZcuXVCfW6kCyOV4dW1LcTUk9SY1nImJcWqVslJhxqanyRdybG/uEQh5ee+9b6m0y9zCDBaDmeWVdXWRl+dsJBxSz8TdzTgvXy6reoTUoXrdNtu7e4SjUTJHJ2rIcfr0PI8ePlOf45u3X+O3H97h/MVzqqKytbGvNv3RSFil4UQBt7G8robvsdgUL5dfKZju5fPn+eKr+yqBJeyR48QRZ8+eYT+xx8WLF9WAbHnllXrGVWsNjg4PsbtsjE9NsbW+w8hoRNV/hLMg/3sTExMKhPv06TMunjurOv7pfIYzC4vqvrD6aoXYwrhigWyvbDN7aZ6lr+9TfHjI+PQQ7VKbY7kX+Qd4bHZS2Trtnoag10q22OD9v+/nwWaR5VKbgNFItqrFom8xHbai1fdJHneZm7Wg6RtYX8lT7up4+1aURw+OKBdaail7esGBRitp5K76ueq1VvLVFAszYRq1LvvpOtVSD02/ht/vYDVe5c3rY0SHXBwd5Xj28pCJcQ/djpZasY7FqSEi+uC9lPpZzC2OUii1WN89YSxsx+G3c+f9Qy5eCNDuSV3Xj9Wm4c5XuyqVmMkNsFmaBIUzo+lSzNdUYtDps6gBiCT5BvUu3aaOlqGrNL//7T94nY8+fEKz3GV6zkyjKMyvKmGfle6gS/a4weuvDdPTt1UlPzLsp5wekChmGHfZMZo0ZHpdtJUGLw4qpGpONB/+D+MD0UxlCg22Vqrqwjw77WbleZYr10OUig1WXtVx+QVa1OPyxQgPHh2oOGYtP8AdNZLYbTI1blYvhYYQ3jUassUKHpsFi8tEfKfM4jkvXoeVre2cugwdpCuKqns6FuTje3GuXYwoUMWLVzliYwamxoOs71UpZpp4wloF81tZKTE64ebl8xPOXfLRrvUolJu8dmOS1WXpRGqo1w0ccq1FnQAAIABJREFU7R8zEnNRrWgwavtMTrpVr/b4sMFkTC/nbl6+rBIacuJ0GThJCp27o2I86ztF7BYdvb5BAQj15q46nMlBY2w4hNdj5OmLY5xeG9fORSjn2zxZTqiXTsjto9LtoOn3uXpthN+8v0ls3qcmgXuJMl6HTZKD2GwSFdJykqowMAy4fTnKn/3ZNrMzFox2gwLKHCSytFsGZiZtCoZUKnWw2/QcbNcYmXCo3tNA68Rr6eAaEqqyAHmcvFpPc+VSCLdNy3/4813mJzyKqZBpdjG0BkxE3BxV+hg0HdYPKsohLxPcvqaOz2vk6WadXsvMt87pGAuYWM4aeL5fpWew858fZ7GYNVwbtnNQajMzYuXlYZXzIRM+i55ktau+sAadC5ejzbGoanRaKpoW5aaJl0dttdU/Y9PhM3ewazpcHjPhHAy4es7NiFVHOisvACPGXkt9STeSZXx2Hb9cb/DlcY9g0MGnSzUcHgNWjx63vHRFFdKro9E7SebaDHsMoNORKzdVyiGZbjMXMuB2WHiUruLs9dHYNaSOTbhdA7abPXJFOST2WPRruOw28XdOWxl2i5POxOP1Il2TjtcvxPj3v9ymk+vRMtZ56/IQ1YZsRiqYzQN0Jhv5dIezp61KObm/1+SH70bJ9DpsvxQydYR0ts7tGyP88s4WIa9ZEc4LeQ1Or4FsrszYmINyqsnGfp1A2IlbNHvLFf7RP55kYzWFWXnl9WTTFa7dmCSVKZE4FBrxgFxKKKV9Tp+y4Q+7ePFM1D49pLPx4W+zeKw93v3+EBq9nUdfx3n77VGePM5y+80hHt47QGu0E5uy8eSuQI20zF4McbCV4zjb4dr5MMtrWeV3Hp+0c3JQZP+kTb1e49RchD51OiUtzqiFUr5FPl0jErQRGbawvieTzyb+qIF2w8BkzE8mJ7T4OpPTfrq1PnsHOQUizWW7BKN6qJvIVhuMjtgwWbQsznr5q19s4B1yUso3CQSctLU1CukBHm9PddaKxT52p1OR3S9fDHN41CCXaxKI6nlwt8C1yyGMdi3JI3HA9ghFXBwfVRkd8ZA6zuNx+5R54OSohSvQJSiaEk2f+FaRhUsRnj5OKk2qx9knGNSysd5lLOZhd6tIKGDCbIX1tRZaY4tTZ/3srNYEMM2NC05W1ht4AjrsZtFk1jBZ+1RLAwJBNweJNLWikRs3HeTSLfUMKKXr7B3quHnLwdPnJ7jcRmUU2IqXlfZmetzK45cFXC7RsdnZ3y0xOSNgQQFvaRVstNtssbqSx+SAq69NKYikaFb39orcuh6i39Xz1f0Et+bDfLp8yHFJy7/4u0EeJUz85M/SvDU1wGLzkc1Iv0/AsGUFIZqSA2LfyECGklMjqj8t6QCX3UU2m2N0bIRcJqUus6l0juFoWMGV7nz8mTpISf9RCN1vv/EuDx4+olotqqHV0JDo9dKcHB9z4dwV8qWcimlOxKYVPd3ncmJxOFl69YLRoRF16BFK20EiyZhouVptVSEQt7io25Ki7Au61CFGtkniThdo0dTEBM1aQx3a6p0uE8NhjBbZSHaolKSr7GOgMfLg3j3m5mbVs1bUgq/dvMLnn3yp3lPSyZde6ueffU4oGFJwQHE1y6bk1asVRqNRdTA9yaa4fuUqG5sbjEZlcBLkw48+Z2Q4jF5rIF3Iqo1NuVBTUDJR7wlETiKynU5PXTDdHjl4SPfYpDzWwhlodbqqF55Nl3jy5CGnTs/j9wqosszKq2W+8933ePr0iUosSNRRAIACjTt3cYHV1U0cdrviBUQiYV68eIV+oGMoEmJjZ1PR/c9fPKPe/YVslonpSbVxPk6lePuNGwrwtrq2xo9//LvKly6O53MXzrGztamSEYlkSg1Gbty+SSmXUoOuUr3JyvoGNrOZ129d5f6DR+oCf5zNMjU6wcqaHDjHqZQb9AdtIgGJAZcoFfK0OqjLuEu83+UKGg1YrRb0eg0nJzk63Q5jE+P43Q5evHzFsFyoE0kajZoifq+tbeFxe7DaDGq5oDMY0NGl1miqP78Mkdr1tqo1SP3BaXXQpsXpuVPKUb8jqQynl06zQWQ0zH78SCkmyzXxRdvRavtqyFTIFXi1vsH46JiyHhi0Rhqtjurjtmst9f9zYnKSUrlMbGpMgSFFqTc8PKxiu6fPn1ZQsrq4sP0h1T9udmp0Gl319zKpY+Uet9jcCvIntXdhT8gWsUdXAcQEPnhq4TSJvUOSJ1KBcTE+JRfmigJrxvcPlDFE1IitZlf9tSQpwtEhNjd3CYdD7O8llFozHPwGkDc7P0+311TGh6A/xObGOv6gn5HIKLt726q2It8t0eEtXjgLXQ13v76rmDtiGZCutcPlUqkjAWfK/VNSPLKxrVUa6vIVP4jzzttvK5OEbCGFvyADPLFcLL1aVjC1ar1Nu11X3wEhqkvCUwYaOgR8VebyxXk+/fQhFquJ6elZVjdXCQQDbK5vMD+/oFRnz148UwO71ElGxbonxkdV/cLp9ipNn8liYtCXTnqT2IykgnLsb62rIUFbFmOlutpI9zU6tSmV5IwOHYFQiOThIa+/eZPPPv2aRr3G5HiUta0dTs+O0K13SeZLvDxIMqLV8egv/yHkNOytfoZj/CK4/VTSWxjiCSyXz9MXUFomg3V4jGbymJ7PjSM6QTtfpLrzHPPQhPr8y//fyvNH9PV2LNEo1d11LEPDGK02sodxBh3Rmdoxn3mb7IMvMVZTWMbG0E0uUEtu43L5KewfYRLzx0Ec3VgAR3Sa2uEBpb0ME1fEKFEAZwiNz0BuZZ0//KNP+WhPh8dnx2/qEQ67qBUKdPsdPBE/8VSRiWBQDfNaAn/TGrBG7RhGg+RqNaWS07Za3L//WCk845t7XH/jDbrdimJmSDUlU0irgZ4MV3a2dwj4Pcqe0h90qQiMOzpMYn+fmflplSyTIZzwQUbHh5XB49yF84yNj6jKknyptQY9xWIZh9um9JyS+BVIqc3hUGR0ubzX63UV6RZ2SCgYQHo+wgqQYWkhX1LD3b34HmfOLmLSm1nf2FCcFznUS9JJFkMCz5MKktyFDGYjK6/WVBVganKC509eqM28aG5r1YoCDErVLL6zQ6leUenIRq2GJ+AnK+8rp0MBRL2+ABabmZ2tXcZGx9VgM5/L8dZb13m2tKHsFhOxSTVMvXXrNo+fPCdxeMjsqXnqtbL638jLcqMhykKL4mHsxQ/UIFi+n9ubW6qe0EcsJiXqtaoCGtbrDaUq3Y3vsnhqQSV98qW8YhpVGjWGw6NKnbv84hVev49gIKgGdJK02T864MZrV9Rg4NH9p3j8csY6xu13EZmI8PBPv+SU28Neo8jMYpTcYUYtzs5P+tgrVynVOxQLdd4bN/E7s1p+udxk2GXE7dTR0kkVSxhtFrWUlfNQoSL2oy4hv4VUssYbb0bJZiB/UsAX1eJ0uvnZzze4cW2I0Uk3a0+TvFyvM7fgJux38/DpNiNDQRxuAxs7OX7w/XnFyPmLXywTkGNg08rYjJtuP8dwKKKSAnsbZcq6rur2Z1NNegMtDr1eAbADYYHdDjjO1BiU+iRybd57Y5xAwMzapkC4c3SNdjw2PTqdBYdbw5PHx9TbdRamw6pe7HK5sUrau9Li498mCHps2MJSlegp+OrWelkp/TwBMx6bmefbx4R8NoxtIzXRzg40jPuthCN2tYg5OOxSrQ3w+TTEInqK1QGav/zHocH68yzvvBfhYLfN9mGRN94MkE40KNdbSjO2s55jYt5N+rDG2KiLxEmJmTkPhWydgNdGrakjNGQjnayxspFmbtyMXlzM+wUmT4VYfpql3W4wMetUv6BiqUc528Lu1KvJsWy3q+UW4XE3ZoOGx4/E32ukVkUBpvxBD3ZrT0HIrEEr+nqX8zej3Pl1nNFRF1otKoo7FLSTL7U4PetmM9Ek7HdgsfZZXc3R6HUZHxVoUhGXy0a+0MQpW8MJJ3vbZSbnvdRyEr9z8cXdOJ2BnpFhE/UCNDodRkd837wgDFrVs3C6jCqqbrcY+fFPTvHn/3GZ6FiIXPoEg85Gv1+l2rCqP4fUE/zBEL/6YIWxCaHCa1QMqtMvc+9uhvnFAMMRq4qzNZp99g/KvPVGmEf30szMBwiFLDx5dqjijgJ8kK2GbAQPCx124yfMTLrptgZMxlw8undCOt/jH/xkgp3dJiWZdFsNpNM1fG4z9VJLOdxb/Y6iS14+7SabaytVks+mx9rvk6nWqNT1jEQ9NEt55kIaHBYDH28NyPdcvL+UYOlQi9mtx6HVMhvqUa728AYt1LINIn4N9YYRrbZNwOsmcZKj2dQRcGlo93Ws1/oKYFNr2mhqW0z7TTiMDlrVMmupCoshn3KYJysVHLYAW+Uqg/YAs8WM39hVSYBqt0+nqcVg6HHaZadr0PLXL1JMRe2Ye5CX+JTbir7bZchp4mWxz7PNNLdiEZ7vZsk3+mpzdWPSyo9PGcVrScipZW7CrqoKxZ6Gpf06Ha1sovsM+axsxAsMOQ3qO/DxgzRT424suh7FRo/FOQ+Zwzr7hTpzEzZy6TKZipZhjxWNrkulLErAAZp+j6Dfy/p+GkO/z+iom73tIkMTVpIH33xmne4B+UKH6WknR8k2dv2ARnvAUaai6i0Bq5Vyq0Jir6kGB6PjNqoNIw++3uFUbAi9WY/TASazhZ3dJIl4k7NXA7QbGrx+E8tLWXRWA0MhE199dsJ770VptOxKpTUza8cXcPPVZ0mymTrzix5219O89c4ChWqdzz+JEx2ysng2yLOnR7h8DuZOOTncaahI57mFIUq1Jr/61S6/97uzPHp8wlBIz7A8N44rTI4PE5ceccfK4VGVS5fcJLYbCCZzfNpCvSnRZyP5TANf2MzeXomaMJ4G33i0z17wkDrsEZIh4kGJcmvAmSknxWqH45MqZkuXRkPPdMyi1HnRsFXFrYQ83uj0yKRqnJqPKkK72WDmq6UDVX8qFtoMR23YHAbSmTq9pnzvDeSLErm2YTG2yaVavPb2GBvLSSoZDUanBqNBKLglhkc9qg85PGQgFovw6OkRdNs0OmbOTJuw2A28Wq4yP2/BZNby//wsxeKChVunA5Q6okWqMjzsUvWMQFS8602qNT36npbpOS0nSR1buzWuvObn2eMjLp2NUGr3qeXqjE8YKJRN5HI1rCYhY4trO4vJYGV23kG7PmAvkafV1LF40c37f33I7/7uBAd7ZbxBl9p0OW1mCsUeIUsZf3iS3/t/Dzk6qHDp7Ah+Q4s6OqymAbvxEpNn51leTvCdb98kFovx0W/uKF2bxNNCwSF1aRNll8QXc/kT5mfm1fbD5/Oqw/7lK5fZ3t3AaXNQrrUY8gfUBjcU9mCzOSXJrOjz1UqZyekxWtUOz1+84Ec/+i77h0cK0DY+Mc7u9g5nLswR3/gGljk2NsHS0jOu3bimLtDf/973ef9Xv0RnFDWdTZHe621RWOWVu94vF5xXG5TLZS5fu8Dm+q5S8RnNPXpdPU6bk3qrjs/nw2SycrC/T7VSIZeT99PUN53vZpvEYQKTVbxcGgJeSSxs4vG4OX12jpOjFJPjozxbekGt1iY2O86Th8+4+tpVDg+OyGaznFqc59GDZ6qHrzRLjRqvv/km2xtrSEFXDoFSk8jmCupnI4MHMaBsrm9hMJjUJUbgVAfxPYJDQ+rSGvC4mJ6PKQnWmlzYfAHl4T537hTtTl8dbI9PjtWlVGCCYgkRnZ1y2j+4py59ycMj5fd++OCh4ju88+Yb7Mbjil9w6tScMiiIpk0unWvrW0yNjuCwO1WMPVvIEwkHVTdR+tHiJZYDuDAb5PDrdggct0O+XFaX+2+Uh3XV9ZYo+Ju3b5DPlRnoBrRaXZKJQ6ZiMfXzPtzfZygSplFvKoq+XCb3pffq8TMZm1QDguRRklbjm/ffnLAifF4VLxfV28hYlHq7xqulVd59521era2STCS4cf06tVpVQd0uXzqHQbqvEns9PmEmFlOpAdHnCfRRfv4uhxudTqp3KaUPFO3lVGyEg3iSfDHL7NysgvGNTUzz2zufMTkWUWedbDqlEg3i7zYbLOQKOWZmZ0kfn6jfjdC4pScvF/gbV6/x+ZcyiJpQtQEtBmVPSGfyBEIBkkcJZRoQ8JT8vXq1/o1ezOVQ0DSXw6uAZPVaRQ028qWi0ivuHRyqC+SZ02dUjePJs2ecOb2AxaKj2eyyu3PI+FiUdqdL8kj6rrIl7qghUa/TY2N7i4uiWjzOkkzK5ySITRIxTifPHz9Tm97zFy+pQ79UgAT4F/B4FWdHhq2ixBJTUqVW5vTiWcWYkd+DwAVl+z83G1PWht14gne+dZulZ6uq+/7uG2/w4OlzIkNBbBY7H3/+JX6fj939PX7n+99icmyCP/3ZX0C/z+x0TLFIPv/ic2ZmYooyv7W5waWrVyhLzWN/Xz0DZLAhIMlyKcf8/KJ6R+8dxnHY7ExMT5HYP0Q4b8svl4mMRFTSRgYZAqesFItsbO8wMjKsLqCiMxT6t84ijJoiXz17xeXFCQb1Ehatlaebx0pbFv/VT+nFV9B6J5Q5oHGcwz82RK2YoY0Fh8f9DQRy9RkaR5DAuVu0qmm6qR2MjiAGv4debUBVgG3dDB2MmC+/R3fjKZpMHEPsijIvSIKsUT2gZYvg9Lto3btDN3YaqzuMTd8nsXwXjy2E1mJlUK9T7/Xpmjw4qdFuFzB4JyjJ7z9gp3icZfTSPN2zl8h/fIe/+tsv+bePG+xnewp2ODlixFir4Qq51dJM7CTlcpf9nRyBkA2tycpJs0rw9ISqc4V9IbUAa5RqbK6tqUGn1WbBH46oVI/wU+R5cnRwyMKZeZWWje/vMz05xf7hvvpnjM+MKv6GqPiePnvB6PCwitvLUFh69wKglIucQLJFzykDt7GJMcXikBqTnDsEaidJPhmGjUSG1ftAkh6iyuv22yp1IMPPw90DZT2RS7Q/4Ofly1c4PS5ltbGJSUBrQGPSK96F1WTE4nbicckzQq8AsdLFD4f9lMpVNaj8wQ+/p/gA1UpVcS421tbVRTVfTNNqiI3NhdvlpVQv0hULl1RsO11OUilOLy7QaAjoHGUyyqfT6pkiyROpr4j1RgCtsdg0r5aX1dBdkj/ybPT4fGyub6rak7AVhKUgAxOp1ty9+4DFxXlGR8MKSLy+sa24C7lsTr0b7Ra7MsU4XE4SB/s43T5VlxK9qLAbvvz6AZcun1FVhu3NbewuO43qNwyCc1fPgN7Kl3/yPuMBG4NWl3SuhFFjYGbezU5Wy/5mgphUGHUm6tkcn/zTGB/cT6iBvNXUYyev4cy4lkHHwHG5y7kZJ9X/sriQmrSkN/xhHdUKPH58wunTfnX3Odqt0OzU0Wh1xEZ9mJwacpkWR0dFIiEbbp9bGXrsBgOp4ybegJN6O8/KVpML0148Qza1rNI7LeQTNfaOOtgssoV3EnRYqTcHpFIlLB4fOy+OaembXLgUxqgxsbKSxmLTom2byZSqCoppsPdpF3v4h0yUmy021+r8wU8XWHqcQm9oMjExzNJyFn2/xtycl/bAwNy0k1/+zRpz8wG8bqfSz8Y3c1j8HkymNhqdhVOzfn7+n16Q+i8193/1L9/iky/W+frBCe/dDFNrCJPkhNiYl3KuwPd/cJ0HjzbRfPw/jQ/++i/3+OM/vsr2ekZdIC/cCHOwn0aDkbVVmTSNEZ2K8OCrHVJHWcYmAlh0Brb308RmA7QqbSJRO6lclb7oR9pGKoUOgaCZk1wHj7mPzuigM6hgwICoeUvltrqEFLIN5uf96hAdjWjR9E0sr6d5790pHj88xBPwsLgY4md/8Yr5OS/BkIFee6C2eM22Bb2uq+Lwe9sn3HztEq+ku0KPTFpDJKJVMcPHT4UCPcJkzMiTpQSteo/ZGY+KPmcyRfxhNy6rhq2NEgaLlhs3J/n8t7vMzgVULHd9uYrVrlVcAek1xuaNjE37+M8/j3OSavOd3wmxvd1AS4O5qREOknkSiTrvfHsMfb/P8ouM8q5PLwYJ2rtsH2nV5k6r7XJ0UKfa7PDatSFF5V1ZyTMZdTMx6+XT325w/uq0ggwNDTn5+rM4s4tRRQquZBvMLkjvQ6b5DrbXc3g8VqVJyme7vPFmmNSxbNG1bB/kCfj0RMMujtNVAgKvSFZJZFt4PCZatQb+oIsvHuRYnHNwacHNzz84wmPrcmpU/JcdLGZUdEymUyfFKp+sZ3l5qKPe1/N4v8kPLvrp1CvsVTRMucFv0rFfF4CQFUNjwHGlyZWoTV0ef7Oc46DSweM1Kq3MQtTDdjIPOhPTIyb2jwwMBXV0ayUiHgeaVkcBxzy+AduHDRUzN5k0OAJufLTZq3Uw9rvqoK/vG7F6DeQzfXbSHeKFAl67nWa3ScBiYibaY1jb5fSYEY9BQ8Q8YPFihDtfn1DHrLSVBkOfgNNBS1NnRDSXm3K5MJPN9fF5odHoMdD1KGSsWG1tOo0OI2M6mg0zFpsQ0kt4hyy8c2uCrz9LsH3Sxmrvq1SGyWHiYKeuoC5XrvnVhPTgQMBdOi6cDmISZkCipCB9A7Tk8nV0gz5TZyLsriZY26ry+7+/yNOnKfVS84e1fPl5iddvC2SqSr3cVZHXSrWPy6VjdiKIztLD4TVQq8D+ekpt0aXflj6qMRzxMDD3ufvlPrGYl8xRDXdQYC92GsLmsBvIHtcw2W34huSg1FJE94DLx/Z+Co/TSaZQVIOMfktLvtxidMjCQarB/KxPgTNrtTrxRBHJqYpZpN3sqshpq9Rm7myQw70KOlMXt81Hq1vBbLRTaQpoTyMwV9wBE82GTkU+9b0WlWaHclnP1ISbXKakOmH1co+bt4cp1nqsriRp1bVozHB6zs9XX2zTaeiYPuMnuVPG5LFTK2S5eGWEx4/SWB0a5Srv1Ae89a0Qf/OzPYxWqR+JpkeDUS8qxAjavp7VzRMVIzt7LkhX2yJ7UMPoshPfyrIw76XcljRCn+Nkl0qth8eqweE1KyZEq2FgONoj4Lex9LLIxYsCGjTw2UcHnH3Nx8lRkeNjDQun7TitsLpdw2nSc+GyUMMTONx27nyS4bvvhtiPlyk0YHLUTj6TYyvRVWrT9d0CrTJcumiiWZUkTJNnqz2cDp0axIwOm3m5Wsdl1jM+asOk0/NqO8vCrFfsOHQLVS7OWfmjv82Tb9kYDZrYSpboNjpEoh5SJ3ksbh9nzp8jeVxQXUu3x646gd1uH5fTpg5yrVZPRfYnx6K4fX52tre4fO0ySTFe9LrEd3dxuN34vH6MWg3FQkl9fyUWKVAhUeQ1Wt/YTMLBMImTYwrFknKv2+ziXy/hldqRy/eN6sluY3pyTLnfRdMqaxnZwJZqJS5eOqu6z0+evOLMmVlaTVE1dhXsryIEZZcfnVnLy5ebvPXmddXpF4jRgJ46IBZzeUZGxpSyanV1FbfXjcNqVZvD0bEoHq9XecadDgeZTJ5b11/j6/uP2duN89//sz/kg7/9UF3K3/v2WxwljghHIop5IAewdqvOzVu3ePzkKbOn5sie5Hn6+DE/+J3vKjji3k5caZ5azSpLr9bo1htMzkwoo4hQ9L1O6b1b2T9IMhTyU6+3FOzJ63OqAX672WR+YZ7f/PLXTM9NYbU61UXm7IUzatssEVY5VJrNVrWpzqQkAq9VyQOh4rc6bdweH+1GhfWdPfXdnxgbUak0GYa0mx0io0NksyXsdtGCpZhbiCkqdL1Wx+N1If+Svx4WlVd8j3y+wBtvv8HhwYHqq4v/e2QkrAY7Msy/fu0GyeMEz18sqyj23KlvBiMmkxmTyagGD0a9Vg2dhFFw8cI5xRRYXlkjHAqreLwkb25ev0Y6m1ZAPhkQSDx7cyPO6GSUaGiYrd1tRofDyvudyhTYj+9w+/U3ePFyBYfdiMsTUNo7v0Dk6LMvEX+Hg5HhqFpo7MYPVIpCespHh0dqICHDASHWSwXFYJTIaYWOsCz8bgW5tVo8iu0gtQNJLwSCXkoSze90mJ6VIU+Gw8Sx6pAH/QG8wYDiOZw5c5ZqNc/jR0vq4i+xZYFPHh8lmZyapt1p8/TRE6XaEyOBDC+sDicvXr1S28x+r6vUpVo5xAtvp99ldGyMQlaShFLMRGk1NZqBYijML86oi6l8Pra2d1UVY3lpDYPJRLGQ5Q9++ve5+9VdXA4XxxLXl+GELBH8HqWaFHJ4InEIeqNiOWULGWanZzmW7rbPi8fvVjHqo6Ok0oPJYEhI66IXFPp6Jp3FbDIpCFt0KMTOzgHBiJ/LF0/zb/71v+XK1WvYHRZaHYkAJ9VlTQYa6LTEt3eJhIZUjNpisxOP72K3icGhq/zxolH76vOvQKtXerN+s02lVWd6elp9Jk/Sx7x163UePn7Ka1cvk05n1CVKaiTyfCsXS/T6PUZjC4yPR7nz4R3efPMWOo2ecr1OrVJSrAGBfx7u7GL3OPELKKzVVYnSp9sFtv6vH6PVlChv7jLQ+zAHwgraqrPYab56inVykq7bRTdbQls5oW1yYBai/d46ge/9hNLDj3FEpuka+vRrA+wjMerlBP1aEU23A74Ag3SF8s4LQpduoRFY28N76O1O7Ne/Tf3lXRqba7i/+/u060fodpPovW5wynttoP45jaX7eC7cUrH27tEW5tOvo+8cY/NN0m/20NpB49Tw5//uA/6PD064m6pz6ZSWUwEfD19mOXdjilKpQa3ewWu1K+id3udm7MIU+e0UmuEQRrHUuFx0Gm38w0Oq5/zFJ3e5fPks+UKJckOG5qdInRyrDfXq8hbf+c67rKysoBdZttWgzBdCopfh8dLSEtdvXcdq0PPxp3eZnZtmODpKq1MlsZ9U9VqJ3AcDIXq9Hk+fPFXfO6fHTeIwqcCSMjhYX1nh3W9/i8dPHqvvi+jtJNm7vb2ruvOXrlzmJJUmmUwoEKAkytAZGYtGefz8sRq29RmompSkEmXwJqkeeRbiAss5AAAgAElEQVSI3lBUnsmjYzTaPtVancBQmP2dLX709/6uYp/IO0dUgQIzFWih0+WmPWiqlN3u5ibRsQlVfxR+TC6XVZahntQQK1Wq9TpXr1xSQ4tuq0O5kld6U7PJqlSGt9+4xW9+fUfxReSSL5W5K1cvsPpqlV5fw9mzp9TQQtSA+ZMcc4tT7B8cKcK/JOyq9aoauDx+sMTC+QX1HhDOh8cfoiQ8mEqFThciw0FW7r8iNBpSdq2+U0f+MMtwtY3ZZ1MKdxlGOnQaXCHh/sDBUYFcsUZKZ+F/f8PGXi5Lct/If/NfRTnK1MjlxTTTZmLKpgB3ktTMpnu02lpOnbXTqliYHLVy7278G+J/s4fboWVsIcSDrw+xmnRMTFtwO7ysrp0wPeGj2myrZHS6VGTpcYGrNyIk9sqcOxdVaT+prJcqDWKjDjomHWsPS8RmLQw0PXV2H5s0UygMMOuNaqHh8VlxuSxsbxxxanoIq8fG/l5epZ2kIq/RmTDatFTTHWV0e/TkSL0b7CY3w5Ma4ts9ysUGDsdALa4sloEaoB9ttzh3PshA1yS+W6dQaBGIWNA0ZcFmZXrGwcOHaVLpBnNzTiIRH//pV+sEPXbMpr66/1XLGuJ7J8zMuBSzT/PJP58cyAdZIm7LqydMjBuIqi1ChnNXwnzy0S6Xrwyxs1Om3agzEvGiM/aUuidXbFBvCkzGjNnkQqdv8/zJMZMzQcKRb7zsK0sZFhbDbGwmGR8Tj2yRiUmnOqC3tAMOtkrqQ/DO9yZUP35lqYHXa2B60oXOKP2RDN1uj55Gg9slkx6d0kbdfmtSaYlWlvMKrHbx/BjLrzLozQ16DSMnpRIRlxOby0i7N6BW7DHQd8glm9x6O8r9L/PUBw2l2rN6DOSzNaano2ztHnHhbJSd3Qy9ro6ZGSflWpfHT485e8ar4kSNthabVSj7AsHRKVBOv+tg/rSLVLKAc8hOPdfi/PlRnj9P4nJAvtJTfIUvfrvPrXfHadZKvFyqMH3KpaB1P/vTbaVTXDg7gmbQYHuriNtlodWqET8QpUeEWrmtBidjMTeZQwGfdJiaiXDnwx38YQPTAkzR9mm38hRLetKJCueuBNneKWI2GFTd4elSjuuXw6ytnuAdsROX6HDUh83a58VqkUZHw7kFJ7WOlo21HGGXWcXlbQ4jXl2HJ6tNpkbcjIcH9CtNjB43/9sXJcp9s9Lp7Vd0zAXaLLj1mEw6UuUKhyk9QY8el01PpY+Ku4of9+yok+NCk92y9JU7WDVGToX1dEx6CtkcYxEfj3cbCrChqw9It8FqQEHgZn0WbBYzLzNNKjUN6WadQlerdH03xm1slPsUCmX+3ikvXnuPBb+GcVuPiQknA41JXZSqfSt7+TL1ioHdwxqToS5XzobY2srTRsvciE85O0tFPWaXAGW7DFryGWxi81lJHRbx+wZoDW5mR2z89qscN6/5yZfbfP5VlrdvSr9Hhzfo5PnTNG+/M85HH+wwGfOSTOeYGvOzs9HA7NBw/ZqPnb004UAEs6VH6qRJv9+nkKlhcYmRY4DbZqdVg1K7glZqDBqNevFtblXwSCXCLFwOA6VMDpszoFIIfp8Vm9tAu1OiWtTS65nVBglNm8W5oOru379fJToiBGELBzt5rC456FiIjEr2SfrRVh4/3FO9a4PWxsiojsRxnWqly/Com/hulskZP/v7xyqV4fGZefY8w9iw9I70eLwGPH4H+/EKRwdVFhedTC/6uPfVAeVMS/VvI1EjlUofnb5Ls6Olkmnz1rsTPHt+wGCg52C/js3V48ZrIxRa8Ku/2uP3fzJOZMjEz3+xrTR+brueh/dLTC/YiI44ePk0S48OdpcDj1sqIEYShzmSmTbjEx7Vd/ZFAmyvFCjX+phMLcaG/aRLTUJerVKs1OpGvB4dhUyfWkfMEw1CQStTE1ZOjpusrlQYHjdz5byPTz9Pkc51WZixcfqUh2dLKaXaK9faxGXQJ4PHCSParpUv7uYYjWkIed3qMuHxy+a7g8Ot4/PPskSGrZjMbc6eGWXtVYZsts25S0EefJ7g5ushjpMddpI5Ak4rExMBCtkquWaVEY+JVKGHz+9WF2mPy4rN3iGXNagkhEajJ3NSwe7RK+3b0n6b1+adWDQDfnG/xPdvB4gNDfijn+eo9PW8d2mMw3T+/2fpvWIlP9P8vKdyzunknE+fTqcjQzMMMzmzM7Oa1VpaeVcrrLywJRnypeELA3K6cLiQARuwBQsLa7Wc1exyAnfIYWx2s5vs3KdPzjlU1amco/2+rQEGwyFIdrNOVf2/731/v+dh86hEZ0wOMiW9FL//ox/x4PET7cB19AT1ECfAVLtTpIoWPr95SxV3Y6MjfPjhL/RwfeXyLLe+vaP99nQ6rZfD11+5wfLSCptbe6RTCX72Bz/j8ZOH+D0h7t17oGBKIQ477Hb1RdssNo3JCRRKngMSBQ14XCysLOih5DSVY2llRaOJTptb/37ZhEkVIZsv0C8XPq8Hi8mugwvZMi/MLTE+McZ397/XS/rO5r5uovoHe/RyL5shic9L3Fpi47s7u1y+fJ7HT+ewGu3awZbeZ29vN8/mFunr7WNzdwu326ObGukBi3pKVIdziwt62ZYeucnQYnRoSCsPy6srGvWUCLpukoxtbGYrFqcLo6FFLl/gNCmD4Ajnz87w9c1vCIaCxGJhThJSF2tQF4tFKkUoEGJ4uJfv7j3g/Fk5oBWVXl1vtWg2RSXarVuEm7fvMjE2zGkqxbnzZzmNJ7R2IDwF0bQ57S6SiSTVWvX5z9Vkwef0YrS0+eSTr7hy6RwWm4NgJKzRfIE6fnXzFm++8RrLS8u4/T6G+7v5+pvbjI2OsXdwoLrQ4cF+vWT6PC6N9/tDLpx2t/rUJbEg/+7SW33w4D7T02cYHZtQ6rXEYG0Wsw45ZDwjsL6Zs1Nksxm2Np5fziOxMNFghLvf39UNsdvj1SirMF30QmkQPWKAuYV5ZTbIgEM218IkkE6wMA4+/+oWndGoXuSLZak5FZQdIBdX6Xv2D/Up0eDxo8f09/Vhssi8qaXnFLE/BMJRTlNp1dZdmT2n2zI5WMdPjlWDKEBd4QFYbRYl6wtxXHq2NqsZu0M+rx49+AkB3et3s7e9r/XLay/KVrfF1saudnZlOzn3dF6HS6+/+ppunyWJIT3lsbFBvv76jtLtBwb7ePbsGT2yva426eqMUCiXdHD08N4c0zPjfP3FLaanJtTRfu/+Y+3T37rzkJ7OkP5MXnjhOnfufKspiMPDuG7OBQAmwE95v8nrKGmLXCqtfIvDk0Md+gwODktLR+0c6eypvv5Gq0WHgOKnbjba2GyiYE7hcfvUhiIXaIfdSqvVwGK2IqARh93DxqackXrY3t7C4ZQhQYoz09Msra7ppcxisuDxedjfPdT+cstY19ddGBOyvRXQmlRxJqbGNK1jaJk00ZFOn+LzeugfGNSBg6RcZJsonI1iPkVf/yAff/QxPQPdOMwmSrUqlXwFg8vOlctXNYXR291PKnXCUVw4FjU6u6I6TMjmk4RdAY5rRSJmC96Qn4++2eb437xFeGqE+Ff3qLZNuCM+zG0DxXiStrOBfeg8bbODZnwfs9VEPZ/F2t1HbWsfqy9ItVWjeXKAq3cIYkGaTx5i6R+nkTrE2HZgsNtpiPUkEMRwUiC/cAvn+BS2WDeVbAFTrS69SVoGO9agi8pmnFbIhaFUpr36BMuEKAOjGAsFqnvLGHwhnGdeoLZ8VxdwBm8AfzFO2eQl8PYLtEuiNP7XfL1TZersECZ7AZfFQU2UjsUcq8un9Pa7SW7nCA/2UDHV8HX6cXoi+MKyxS2QzSbpjvbw85//hp/+9B0OE1LzGNSBUkYGac0q9Wodb8BLuVBmY2OLkYkhLEYjDodbgZ9Sg5p/NseZmRmNUC8uPFNt3j/5s3/M7373CaFgTMn21XKZiclJvvzsJuMTg/QNDOjQN5M91c/d1MSYLgDkIhzwuXn44Ckuj5NAJMjuxq4O0CRV5XS5icUiapRJnibJlQq8cOUamUya9GmGiYkR/u43n+ml/OKlGf3+k5qUVIbFihENhjX5K4PDeqNKuVpjc21LP5MWi5WvPr/JT3/2Ew52D3j6bI5zF89TkMFIsUit1OA0neCNt17Tysn29qEObbNZqd31MPfs+XfcjVdvcPPrb4hJ3WBrU8GfAqu8cuUSu/s7JI4FAO1hZXGVodFBZReI9tlgkXOnjcuXLvLdd3fUPCIX/fW1LfwBrzIEThIJrZj09HSxtrFB4TTH8OQE+YKkOlb44A/f47vPv2XswgRF6cj/9ZdEO4KY6iZOihlcVjvD3VbMViePnh0R6TCQtsSwHCT43//QS6LW4PZciaDHSC7R5NKFGLlKURXkP7gRY2engklgxWUBUbdZfJrmzDmPLq8djueq02bbBuYaTvPz526pUqNSshM/znPteidNMmwst/RC7w06sJuM2D1GPe973SZSiYpe9K9fGyOXTyuU9oM/OMf//a+/JZlo6L2tWKoxOBBS9bLV0Kaj28PGVpZ8qsjYeAdut01TTgd7JZrWFid7OUZHffT1hXn8bJ9SzkBEUuCFOtGYk54+G5sbFXKZCiajJPFt+IJerGZU4Xy4nWJkMqzaZP3O2jwldSQpejexkJOFFXkeN5mcjqhZTgbqLpsdX9CO0+2mlKupFcVw878ebQ/1O/jdp1v09HoYGnbx+af7qhJ68fogcwt7PH1a5aUbXt55f5b/419/SUenRyPZ/rCFTLrK/l6R87OyJYC1tSLBoMThJPzXIBBx8OThARcvD5FIp2g3zPrGjieT6ixMZgskj2tMX+ggly1y/06cV1/pZX07Qatu4fg0Q9QnLkWHRk+EJ5DPV+gfCtFqFmgJELAq23crB4dZvF4rXREHdq+dlaUjKhX4F//VFf7i/1qlVMzywsuD+EMmHt5JcfF6iL3dHJ0dfu1XVysV7Zd5PA1ODts4fHZVS7h9Vrq7AhhtAuJz8uj+CfVGg7NnAljNTiJhL5lilZWFPXoGozy5HyddqNIRc3J6nOGFG9JPFXJ5Ao/HhcmSJRz0kc+2pFxC30BE30BWm4nUaZF82si39xK88HKQoEs8xk5VI8mHSgwFXq+D1eUEPYMezp7r59OPlxVKt7ebprfLg9NpVhp25lQ85yZaIjZoNynWmurEtFgMbG9VcVjb6iz2yDawJ8DGXkonXlLLaDTbhP1e8rUi2ayB7piFoS4Xn9zZ05/DzEQH5nwZrEYKmbz+zOMlA//9b5MsnphwRW2ciUKH006xWsfQtFAzGKjXy9jkcGuR31eD/pib43JTfaxWh5PVzTSjA16WtzPEAn7axhIGu41KvorXYmOg28Xu9jF5i0MjTd8flgi47fiwciFq42yniUomhzNg4mIXRKMOjC0DhxkTDxbjWBttxmYC+EwWbq9k1GZx7qIXh0S9gi7iB3XsQSM7O+JL95KvJhnq7GBns0itXWag369Ji3v3Dxns9fP+e4N8+OEy3T1WvRx2d3o5TMSpZmw4vBYMZoMqxDLJNn19Fp4sFHj5unxwpeNkxB+UeHuL/h4viZMG+UIFj08OSLJ9buB0ozG4X/5ynVdf7SNfSJJJmnH6LGTTVYJ+J4PjJlaXK7RqTYYnPdSzLaqWFk6zgdRpQ9/jcgiVremVlztUO+kwG9nYKFEpF3D5bVw430Gr1sLmtZBPtFlYOtADkhg65NJoslcZ6AsqDVo+U5U21At5Zq/FuPllnJ7uIB29LW7fTNIRtenQ7eKs9ErzzD3M8O47vRiNJXoGwxzs1Fhd3Kd/LER3l5/Hj7YYP9/JyVaBldWMgvQCbiNZSYkEPJQKZoYm3aw83efmzRz/xb88oxGzX3+0zvGhaLW66OgPcLCbJp9Pqdc3vl9RdkAkbOfWnRM9CF44E8QVaJOJ16m02iQOqkxMOqk2DM/rMbUmG2tZunvddHaaKeXt+PxtzCYjX319yPCoh94ONxtrGSIdLtY28kxPe1hfS2LCLpMpDOpMb9Hb42FvP4fRbMBQbZKrGhgfcVMsyURZKNIugt4gJ8kUQbdHrSQbG01eeTPE2kIaj89J/KTE8IgwAnKkEnV6Bx0KMRXN2s3beYaGHOwdlLg04yWfEd6Bka4+J42qABBdxBMN2iYY7XWxJpUAo4MbL/Xyxbe7DHeLQaHK7YdpRnucmI1mFveK/OhKlKOdY+7Wg3y22MZQyzPY4aZtMit45ygjg88Sr7zxDvcfPOBnf/BT7n7zDZ19AwpabRvaut0Oxzp58eolfvXLX9PZ06XdyEQ8zq079/nh+++xtb1FvVZXens07GdocEgP9P6QT/WBsmXf3Tng/PkzHB7H1R2fij+PPctF7Pt79xX4JJv+aDismz+ZaMfCIebmF7hy9bKq4mi29PWSC8tpMkkw4KNSrLG9v0N//wADA/18+ulvmZ6ZJp7MUMpluTh7XqOQ0Win9ly31w/1cBCJRDTSX/r/LQE/+ckHZPOnrK7tIBJps9VGXoBn2SxTk2c1Rri5tqaRcoEFSTz7u7vfcf7irD6HJHJsMrfpiHTpkLezK8bezjG+sA+HycbaxjqdnZ1s729jMtgYGxugVCxTKZbUcJDOFbV/LgrE/t4h1tZXcHm8Sglv0tT6gsCF9neP9PtldGyMk+MDtSZITFuAvBarib7BIb748isdykQDQYU7CoxRgGZjo8Ns7xxov12UfwKHqlRL+LwyGDQo3MwXCbG2vITHF2B8ZEKBbefOzdCiTjpdIJk40UHP1Pg0T5fnGRsaYXF5mWJJoo4DtGs11YKJhUEUpxIntZlNGoWVC1s6k9FahzAkJBm0ublGLNapdHc5cJcKRR1AiFlCYF+7u1ua8JuYGuU0k1bIm/z6ArgTdWNELv/zT2k1DYxPjv/HOPsK4WCYscFhfvHxrxns6dfLqQAlb39zW+scRtlS+bxkMwU93Ets9tKlK3zyyW956foVPWiazBZhYfLd3YdKBB8Z69cO/VDvgPb9R8ZGePLkGeL7c/u8ujiwmKwMjw7y9PFj1QM+evBYtb3nz81w6/Zduns78Lj8mpqQ12h9c0sv8flCWoGDoowU1/nCwhKzF2fY2Tukszumi4pkKq11s92dfV555SqHJ3G2tw8YGexnZXVVLzyiK5uaGlGvt98feN7j9nrx+4P8+jefMT41gs/l1oi9DiGuXNM/lqqB1+/U1EAilcHjchDr6uL2N7cYGxVuRlINGeJAb7VQqr8422WLWKuIxq2lrvW+7k7dLsrPUmoL27v7TI9Nki8VtRrhsJmfJ3XyosNygdmoNQEZcC6vbGi02mAxMHvuIisrq6SzGULBkMbGL1y+wPLCikLLUhk5uBs52DtUyK042fcPTnj91RdJniRIZYRrsUqPQDt9fmWRCJ+naahyefYSqUSaB48ecnn2rG6BRRnntru5eHmWSrPC93fuMz0+pr1vgXh29w3w+MFDssdbBDrDLO0eEjA3sZq8fPEswdP/8UWm3r5Ebks4MTUsngCV5Ufk1peIvPQGBrsXQyFN+Whf00qOgTFNRLbEdFKq4uzuIXn/NjgjuDxuct9/hr1nBGNvH+ZClYbVQmN/C9flNzG0S5R2l7G7O6hkT7A1SjA0jLHUprj0EGvfEE2vF3O6SDUTx9XTSyZV0CHc6dOn+Pu6sAwNUYvnKG09whTtwXv5XU4f/RZDPIu/Z5Jq5YjQGy+z9Ne/4KX/4QnZbIsPrkc5kedSvErfxRi1UzMWU1lrPAIt83RHSWRK1C1mevo7cTsdHKxt8Opbb/Pz//A3nDkzTjaV1feG9P8L2aymmeS76OGjBwwOjOqfk8pjuVzHZDRpsmRnc08h1bGOqPI2Wi0xRQzw/b2HTJ2bJJsvkjiKMz4yogMgSVPJtlqME8OjowqElHpXMplSJsWNl64rA2B7b5d33nmTSqnGvYf3OX/2vDIlhKQvC9HNzVW1Q3R0Pe/cLy2vMzUzzmh/H6Vai6Vn8/q9ePHSdU3PCKg0EHbz4OEjnDYn0Y5OHj68z1tvvc3K0gonR8cMjw1gsZjI5Yv0dveoxlxUmglJBmRy1Js1rr1wnYW5ebxuD1vbO1y6MkuhkFXtrqTUrl69ytyzBSxWgw7FpWLmcAjI+7kq9wdvv05WtITru4xNDisbRFgbc4+WVNXusLlUxei0O8kVc5yfOcve4Z4OnMVWI/8rAEb5jhT2ytnpadz+5yYfGaRv7+xhCTjYuzlHh8Ol30E6XBDYqtfKZqmm9ZxRv5PbOzUsphZ/8VMbuaaVUh2tbY/3+kiXGgq965sIcrKUY/pykJ2VPCMTPaSTh5qQlPRzrlwmEnLjsMqy1sDm8glev4vR8QCl0xY1c0kBpvm8GUOzjs1jJn5ioFE9ZXA4yEk8j9troXDSxBV14zDYyJQTStqXn8Xq8h7bO21uvBjC3Rlka+EIt9fO7mYas9mozw6DGabGgpxWKhTkPL2Y4MyFIIVknWq7piT+oeEYeVFUmiDsNpEuVMimTDj9Rqq5gp6zxyclTSYKYElBt3A4xTbtoNmuKc9id0OG5nYM1rrWFkcGg3R0WlVp/elvj7g47SCZkyprmbDXSofU2nMNHjw+YXoqiuHf/8NwW7yuA6NhNldSun04iMvUwYTdVuOdH03z6PYWNjfcuHGO3/7dfUolA1aXiexpm4DHTChs5zRT0GmG2miMBXI5I/l8m0yyhsNuwmKDugmdPMRiNsKRINtrxwwMBznYyrO6luKV10eplIqUG63n1FQzGK1GpTTOTHVrz/8gmaOvT/zK23R1R/XBK31T0f/MXgwyN5dVQNmFiz3sHuSV4H1htpO1pSwHB3mNSjQaFlqmDAFnjEK5rIAWp8/I0ECUj/52kYER6XG1KVYaTIyEWNmI8/BhmZdeDGpENZUsMHOhl7tf7+D0WInErBRyFYWBRDrc3Pz6iNff7iITlzi1k3rJxIMnh1w+68bi8vHd9we4XVYunAmzvJ1krC9I9hROs2mNXgvJ19Cu4w+5efh4SwcMvb1hZS4IwbJQrnJyVFNNhAC+xqc6WJrbwmBwMnuli9/+agGrx8LYaJR0tobX0SDS4WN1MUMuW2dkyE+yVMbjMFGrtUifVNRfHop5GR+JsL2xx+5eCU/QRjnXpt2u09XvYmO9RTBiI5MX3Y9BL0kGYxOL0akQyRemHYwO2sicNPj5gyZ//aygvkqXz8a7Y266IlYWlhN60Z8ZczC/XsBvl8267FPaOqEqysPNZ1C94WRMSMkNKtToctupWmz8uwcZOiIeNuMy9Knz/qCDH5+3IcvqVqPJcL+d+aVjBrrH+M33u1TKLexumBpx82Qpz+ZxlfMjboI+Mz6H6Ops7B/n8Nmt7KdaqqSKRgLsrSfp7LGzu1XD4KhzfjxKLOzk3oM4Rir0jogaqUxvj5vbNxP09doxWWzs7KQYHetUgvn6cg6D3YjIg2cmYgTCNvYOs5w508PWRpqNlQQzF8IkT8sMDcR0yu3xN1lYzHO8L5esbhpVA/1DLu7cPqZSamM0NOjqFZepPESNeB129ZxOn+3EH7Tw1ec7TI52kk7mCIuCcq3E1PkgfjVM5DRy/uhRnLd+r5dMosbWTkHf4+VahZODLMeJBt0RIwNTUUrpOvlygUrBSKjTw60vdvnR741it5SxSsIgkWVnQy6iHiU2y0b84qUB3Rh+++0Os+cCJBNtNneTvPbGAFtLGU6LBaYm+1ldSejFKZUv0ijD1Ey/0otrlTYem4vhGR+f/mqbUIeVvh4Xx/tN0oWiAhD9AavqyBzOug4xgm476UKKdNLO2JSf23f2CAQcvPpqF3dvbXP9pUEOdwrkS1k6ukKUC00OjtM06haFOQ0OWgl47RzsFCjXy/qwkxpF6qhAtdWmO2om2uVjbaXI1FSQnd0Mm9tFJqZdWNtWvcgursv3Q4zNpWPMdjvZXB6P10VY/llN6cAZ8blNzC8mKFbbzF4UD3EFu82iAyKHx0Q+3cbpsBLP5ZX0f7RboG6oMD0RoVU1a40oFHBjNDdJ12okDk0YrEUCDhPFqkGHbGIMkQT85JifUr7E6mZO4/hD8vndKjN70cvhcYul1RxTkyG1LcxvHtPhMdDbFUK5eoU6OF38818f8c65YeKZU04TFc5MdPNkaRuDRQYy56FSp9pqEAoE1J+eycnvz0fL3KK7o08f5IlkSge+iWSSsfFhksm06oYE4ibb9WIuR73WwiL/zKEBvvj8Kzp7ZWAQpXegky9+dxO/z6+XhWfP5pWIHAkH9eIhyiFDW0CFLt3ACuhMyOgHR8dYhQjtcON0Wgn6/CwtLVORS+fIoPbN5fdld9o5Oz3J2vo6D58s8OYbr6sSSC7QmxvblCp1ejo6VP00PjaqHUJ5YM/NL3HmzDB9/QN6UJOLnRD0V5c3GBkdUChaInWqByzRWaVTKUYnx/T/C/hJ4s0ur4OA18/x/gnesHwfSSRxTbfjEuGWbaqAo8bHxvmrD/9Gt+qZXEp/7UI6z6XLF9Rtvbi6jtNmU9iZDN2P4wlC/gAmq0XhWbGOmB769o8OuHDujPquF5aWlJJOo43bY+PoKK7DE0nKyIBvYHCE08Qp3927xblzFxVmWJWLdshPuDOGxWhmdXWFsND+02lefvEK9x881cOhpB9yqRKlSpF44vnAW3gB8mzc3NniwvS0xrA3Nvawu6xUizXcXreCp6wWJ1nhA/hDCumSQ2omk9KtlmzAJKkodHzR4kml65233mR/R6B5NQVvFYUgbn0OhpQt/YMHj7DarPT39pBKZfXPy/ZaqheSJBBwVbP9vGv74P4j1RL+8J03+duPfkNf3xCDwz0kT5JgNmndqiQQwK5ulpdk4OEhEopyeHxAT3eX6vaEcSBVhkpVnKh1HTodHx1TrzY1tSCHw+mpcaXxZ4t5vSge7B1pf1+qI8ND/TqklTtoAdAAACAASURBVIFNV2cX888WtOpgNpmI9XTy9NG8KrxC0ZAeRJ/OLWodYXioV333KwLx6+iis6eD08Qxw8NTpNNiaTkiGAxwfHzE+dkr3Lt7l4aAE3t7SWXk+6HIuQsXmZt7qskGu9VEsVTi2rXLWm2pNdoE/R4KEvP1+RR2Wa2WVbnWGeviy29ucW5mQgca8r0nl/1CXqDJ/cRPU/rZ6Ors1I360vyCRq7F6BA/jWv9ULaUvXLpzIlPvK0RfPn1X37pBXKZlKY4lhZXNeFzeHxIvlji0oXzbG7vKvBPBjMPH80xe+EcyXhCDQZ9g/2YjAaWni3pUHL22hWyyVMFh06OjfG3v/5Yz1ICO5O/Xjb2chaSSLbUFKKxCD6/n/2tXawuF0MD/fzi5x8yIn70piT0ThRaevHqNdbW12g2WoyNj5GMn5LOpvT1Mlnt3PrkC5xuG2MjA5gaVU6Scb7ea/O/vB7mn/9P/4Ctv/sdIUMb47WfkX/8KYKnNEXHyO8/xIYTY9BBbmke19R5mtsbBC6+Tclqprz+HQ5cOAdiFA0+LKcJmmJ/qjepLT3EEvHSCPRgFLbBs/t4YxHMl96nWUyTf/qdqitbXf1Yqhk9x1g6h3RDmk1sYrW5qNeq+MMxauUymfguod4hMksLOF9+l9byA6rZUxyOIG2HgULVi2i/Il0hjH2d2A8z/MP/5i/5+XyaH74+THcsoGaIuYUk58/1crR3ijFgxe20ktpL88Y//Rn3Hj3VJLDDYmF8ZowPP/wVszMzDA31aZpG9HWyCOvp7GBldUNTKV29EQVhSq9/eGBYU1TyXhsa7Fe4n9xhisW8Gnq2tvaZPjOuz6GR0TH2t3c1ei/wy1atrRWaTDqvqZPRiSH9vNhsDn778Wd0dUWYmpnmm69uEQyHMbbE3pHTc3gsHGXvYJ9wxM/LL73E11/d1me4LH5EfVcuVBQkLLYOqY3J5FI28FIdkApQf3+3Rv1XV1awmE309vfq5+HRozl++tMPyOVK3Pr2G607XLx8lsX5FbkB4nZ76ertpFqssLK2puo9YRFInelI4KGlCmfPn9GKVjx5on38szMzOsxMpdOkkhkdngvk9jh+on/s9rgUCCgcGUkFyLCiv2dA7TkydMlkhXnm1srDzu6+QhOFy3K0s0etLbq5oL428XRKh2oC1hRY8+ylM9z56FtONrYZHuhSq0qp0KIzaqJtMLN7nMTZdhPtc/H1Upx/ecXLf/l7YW4vlnjyWGwkDlptA2vrRcaH3Tx6ksMfaiiYk0KNjl477bad87OdZJNV/vLfLfLK2zEsbbPWIkrZBvV2m4X5NF6PkZlzQRxuA2P9/Xz3cItS0YwvKPB2C0fHKXq7o7hddpaXDsgV2wRDVkIRO32dAbK5IqsrVQrFgqqnhRE1PChQ4xqZeIb+kW4atRKlEiTiBUIRH0d7SXq7faysp7j6YjdOm4Xvbh9SNbTwOM28eLWXL7/cZXo6gsNrJJcqay1rdEiMGTtaNxLFt9vb5GCniN1mYvZGF5urSWrlFu6AlaPdptaiLTYzc/PHDPT56O53cLzTpGXM4/VbdHFSFXbCgQzGq9QaLgw//9NwW+BSVy+GuP1tmqF+AxPjQdZ3chqFkA6egBrKZYm4GZmZFmVGE6ejQigYYGMng8ctkc4sgZCfT361zZkLXuxWM66ABWPbxPRUB8l0TlVGSwtNrl3z8PRZitmrMZ49ShIJ2TFZxZneVOKh+JUNTRfx9CnjI2HuPojT1WPRPnvbbKGRFXJsjaHxIBsrKX2w2z1WfvjeGH/575+pv/7S5SjlGqwup3G5TSRPq5ybCpLO1lmcT9IlkWeXkJDNfPH5NjNnozgdDu59v88P3hhl+zDN/OMEL7/UTbNqIFXM8uorQ9z8ZkOVXUM9bopVo8LHZKIpcZxzZ/1YHR7W15NclOj9Qo5EpoC1bcLsbDM+EqVWbpASEvdhSrVb0lMpFJJks2aqxRYvvtLJ+mqKvuEOdTVHwwFu3VxRrcfZc0FKeQP1Vlv1F/lcBbupRSga03RCu5LH6Qvw8P4ew31BfYgexRt0Rn24Akasthqnx/XnBxRa7O3l6e0Tr6YBh6vJ9naJof94uawJJ7law2KwcZjIaT8/5m1yb6HAyKCPiYmIPgSbWGi329jabbq8Dk5bNvKJHDfO2fH5jPzNdzX+18+SbOfaVA0WLHYDnU4hZDaYdFvZzhcZ9tk5yebpiPlInjbxuKWRCN0+F/d2S8wnyhQaTQZiLkqHJf7V+330ujLsJIr80Vv9PFhJUjTY+OS7IpMTZs6Nhvj67gG2FtpDv798wNXRAVLpEi6vkb3TJAtPm8Qibgz2Mj1hhzrdk6cVxob9NKsFjGYHvoCLtbV9Yh0BbDJEiQWZf5wlGJTtT4i7t3dZXK0y2O9RGn5Hh0zm2rq1EC1jPl/i0rl+moY6+wcFIl4zTVOL+EkZk9FM+iTF2+9fZud4l49/FefsGa8qYoyOFtNTnSwu7fLsQYbx6Qguf4tKXvpMEndOcu1Sv/IfBgZ8fHv3iFK+xfBkmPh+ht5BL0f7eTr7HdRKAlNrkCs0MLXqnLkwyMb6AeVcTWOHHVE42q2pWspmERhnnUiHg7XVDG4XtEx2VfMMDPuwWSzET3OcHApoz8iZMyHSmSL5cpaDrQY//mCEUqvGyW5JEzKhTrc6k+WwYbK7ySWyWF3gd9tVD9oVdbJ3mMHvFVhnk2dzKXwhEy9en+DOtxsMD/lotet8/rsTrl6P4vJLzNPIJx9vMzoe5IUbnfw//+Ypf/7nV9SBuru5SzDgptow09ERYH/rlOWlODOXw8QkvpvJsLmeYnS8k+PTHM2mXL5ls2tib1+m4mbCHX6ePdxlYqyTdE6i+6f8vT+4SDl/ysbqKUajU7tis+e6MLUsPHx0SP+4k3ajxuBQN/fubOl2yeVxUGuVVSWUPBUuSh2P10y92qary8W9eyeYHU1mJjvxeJzk8iXdfJ6c5HA47BpRzFardIaCNKSPXrdynDiifzjGxsoJU9OdbG6nCIsSymziOJkjFjUQ6Q7z0d/sq/v6g9d6tFpweJhgciLG5zf3WN8q8eMfdXC0V+I0WWX7pM5Av403Z4f4+JttNpNZvHY7/QET/+pBmdGgT3klYjGRrWnQ42F5I86Nt28wOjjErVvfMDY1oRuI2dkLPHkyr6ov2dgLXdlitZNKpWRBz+DAANl8VvVNa2ub9A0M66VVOrwSIxTd2OdffM2777ypF9jPP/1cVXRyYb7x2ivkc2lyYpcJPd/Ejo1P8OmnnyqhWDaSfYNd7G4f6AZPXOZtGnp4DIWiWI1G8pUSZyYmVb10FD/i6pVrGr3e3tlkfHyKnYNDHGazVs9Sp1leeflFtQM8evxMEyexaJiXX3yRR48fqWFAAGVSmxkbGeTeg8dMTU5qckEu3hLlzqWzCjzM5bO6nZRLk9cb0LhqJh1n9vJlBeydnTmjpGVRxcmWu3ewR3+PwnaYGJe4slw+mxgMLVw+P+1GneXFNaYmRxSmKlvQeqWKLxCgUMip5kyI+r/7/CbXX7jMoVxO00k6OrpYWltldHiQ8ZExvvjiFpevnieeTNPf10khl9d+6snJKf/gD38fEy02hBp/eEyh/Lym1dHbRcjr00N4IBTQA5botqRzfl/c8G3hpIQ1dr2yvKa9cLkoyb+fdGIlIn/xwqzq08QVXyuUVB0oMMSJsVH9dZYXl/AHfXpBazQMeP0eJVCfOXNGafHHe8dEIjGNuQvzQRKA4rH+/u59XhH1Xa6gaivRS8plWi7vnb3dbKxuYLGbuHjunA5C5FLy/f0HvPzSdQQa8Fw57H9OyB4Z4du73+F1uRiZGGNvZ5eFpRV+9ME7CtiymEy6NZZ/J0kZtNpQrUkMtF+rAInEkTIhtjZ3OX/+POVqhUT8GLPRqhT6vd0jOns7VCc5PDDAs7kFrl69yM1b3+lrJ5UPsyjqzCbarTa9fd3MP1tSbZfFKvBbk8aPi8WiwnEnR0f56qubvPfee9z+9lvqDVmKeHRYIsCy/r5+7t+X5U2VyelR5XUYm8K4MBPrCrK5sasKxKGRUawGq74XT09PNBosCYNoJMza5oYO44QnIBd9ec1N8t1zHKevpxu/z6uu8y++/JKf/vj3efzoCelMCn8wyMraEmMDI9QaAlTup9lu6LZSVmUCQhO44PBwP41aS8GUmnasC99pQId3svEUr7vD5WDp6TLRbjEIFJRwPjw8zL3vH9JoPa8+xcQYkM2xubPD1MwUJsysrK1wms5w/cpz97rRYNAhk7AsdncP9GIk1YPBkWG9xI+ODZFIJOiIRZQwbhAo8ON7+Dwe7A6X1pXKhSpv//CHJNOnqlI8OTokEg2zvrmvisVYNEri4Hm6JJuvUpP+XqvJza0S/8m4hX/7F39G8u4GrVaadtGMMRDElEtyKuDI93+f7MISrXoeqydA22GnVG1g3z+g5rHhnb6CsV6htLmG+ewl2qsPaO/u0J66Djvfq7XJ2XOWwtYy5pAboydEIxmnUTjBZnJhaptox8K0cnkatTzu4RmaNieFB59htviwd/aQefgF3q4BqsF+XH1jNOYfUCSvVQ2L2UVxZxGLwYF1sAdj/zjFz/6Gur8D7/XXcHLAH//zX/AX3xfUUvVGh4NcxEA978ZQTJMqNvSOIEqyst/B7FuX2NyOky+XsJgMDA0NUsjlFLgqUXOpMQWiz1Wb0o9/9+03+fzmN1ptHRkeZUmGtBMj9Pb38+jefa2IIVUqxJ7iJNbZqd8xUjVIpjK4nBbGJyd0YPD0yTxDA0MafReOinwHyTOnWqiqQWN/f5+zZ6c5SSY0LTA3N8ePfvwuj+4/4vLVyxq1FxPMyfGxsk9eee1Vjg73qTYbOizd3dtVGN/k5Bj/4ee/VGCmDK3sLofyWuQ5IcMNv9enFa56rcn+3q7CbIWVI/eSJ0/muHT5skLRT+IpXE6bfvZlUCG1tEq5yPXr1yiWijx+NEdvdxdbu9sM9A/oECcYDZNNi0FFzqVZrSCEQh0KQJSkw0svv8S9u9/x4ksvcvOb29QbNf7pn/0xH330W439y/eaDPDu3X9IV4eA6IK4PXb9DhI2iiRfRJVabzbp6+nn2ZOnhDvDDJ+bwG4w8On/9iFht5OOTifH6QqHqQJXzwxRqGa1+rKTrpGLV3lh1MV/97adXy/laSrjyKYp47/9RYKf/CREo2LkV79N8Kd/v5eSPHs6/Xz99TaVlhG3rU446KWrR6w6SY6TDU2rJxNiXDBr+jIUkop7iJ29I6xGUcSaaDUr2F0uJka7eDK/SzyZpSPi4yQhSU4ZFAc0iVLINHn0LMFPfzyOyVTjq6/2KWRaDE0EWZzP8YO3fZrUzKbrqrIU8GrQ59L+fSTm4dlyAlNd+DwW7D47DruLrz9b42d/MMrd+4ekjuu88HKM3Z0CfV1urB4fyws7hMOS5szS09XNowcHOAMGClkZ2bTwus1MTUZYXIvT2+XE1DLx9e1jVXTPnPVx7+4258/3s7p7TDnZwuxu0m4YuHIpytxiFsNf/omvbWy6qTbzSjs3mR2EQg4KaXA4K8zPxzl7YRRDo0A8VaBpNOHASvdAmHjymFz6eadNNByytRK/4cb2HplEi5FBBzaHlfxpg8nzUd0wxo/rXHstxme/OcbiqdMZstPf7+fh/bgqsZKpLMMjER482GOwz8vIlJeP/uoIi6vBhfOyKTBqBHJjI8ns+T7W1o+4dEXUHzt0d3vE/sbukcShG7z7k3Hu312llDPrgXr2xW52V4vkinD1soOjVFvffOZmi7nVAn5XjUDMpxRoC6IZgjvfHuD2WHnzrX5ufbPPxGSMolyqSg2NvnkddSXkFgsm/EGDuqUfP9wlFPZgtRpIxStKNv/Hf3qOb+8cU5Ioz6iXw/Uq+VKKYCiAxfGc4rjyKMUP3utjbm4fu9GOyeXWD+34eIijo7ROzexuI23purfahMJy8DDyy1/vc+mcH4/Pxs52HLvNxeUXgkqdNrddrG0d0yyZCEdsGok+OCzhClsI2FzEUzkqbQFmQfa0qQeHgbEo2Uyd/InQm6tcuzrI/dt7RPuf69JGBzq0k76yndeev91qVEiVbGOHxjsYHw7w/f1NBjtDXBsx6wapXDLyaKfOLx7nWckbeSbdmZCdUKNMbyzI3aNjSlUneVMT8ugUtVkp8g8veMhVylzsdhGgyLs3ejg6zlO3gdvuZPe4RrZc10tssZjjlct9VFoZIlEv0kb+5M4hPZ029nZrdHTZCLrsGv92Ghw8Xd/jzNAALarEswX1tscTVcIhD0PdPrZWk1x8qZf4cYNffPiUP/9nl3n4aFunblJNlM6hOLZL5Ra5ZInB0Rhmm4WtjWM8bjuxDg+7+yfk8gbCMRc2g4V8vqpb1pOTBrPXomyuntBqtgmEDfg9UZZX4nR0uTg8kLqHEYujSTbeUnVVZ4+kTTw6yMinyljFKlA3YHCbySRKHBxW+M//2SXu3j7Ww3vTXIGqkWylztF2Tun+sS6LdjLrdSPJeIpMssXglFf+lDIVhDa6vpThwcM0r7zZz+rSEaGgTQ0c5651kJL3jtfHre+2ePetKG6bgwZtbt/c5fW3OvnydwkK5QbvfzDO8V6KZKZGNOJieyvOylaNN17sUHXRysYR46MhpV4LXE3I4LWqVY0U/mCVes2pA0FJoHgjJl5/c5JPPlrSwcbMxX4Sx8e0Wx48vjY7+wLJcTE2FGZrdY9Ir59IxKNcj2y2wtFxkUjEidXmoDPi4ejkGJNJvizbJNMZXnltgtXVEzK5Cr6AGZvZTfwwiTccZGcvwd5mmaEhH25/nVLRrqmXqN+uJhHRUJWrDUIhFxad+svW4XmSxNY24g472RK1qNNKb1+Uk91dhqb6WFnP4rYbaLdr7O3VqNar+NxtXnh5gs21UwXpSF+Lhkxsc5hsRiqVJrGOIF6HxHY7+NtfPmZoMEw+VaXUrOrPT7SrbmMTX8TBl9+cEPFbSJ+WeOmVMYqFJEsbKES0q8NC0GXh4XKenogHn08SSEI8NuNrm4hFjfzZ35R5sJnnrTNuBqI9zK8tE4x1a4TPZrJw+cbLzD9eVRiX1Wakb2BQLyulconkaUY73kJQXl7boK9b3MFFVne2uDx7QXvncgkcGRzk5DiuB/mZs9PcvXOPWHdUL3ACGBwa7tdtj2wKkkmJu5kwmUxaQzo42MNicmqaSsjFt+/c08uowLfEQS/x/kqpQCDSSTTk5c7dO7jdPqKhKD09MkDZoVatqbLwT//Jn/BXf/1LIoEA2UKWbEroyGaGRoZ146KbY7eNpWfLTE9P6San2TRSyqU1SSDdzVpVKjlBfW4cnZ4SEXhevc7M5DQff/pbJkYn8XpEPetSraEkDUSdtLK8gcdlY+bcBY2Dyiant7dXkw3peIpyo6TANHGmSwdcgGP/71/9tQ4jJHY+P79Ej8T0Ax4Wnz3h1dfeYHt3m2wyTaXWYGS8X7eTc4/ERFBRZkE+X1Z/9dLSiurW+rp7efL0KZOTkxrHfPJ0TpWGHqcVg9Wi9SCpORwc7KjHXTRt8vcKm0G6tz969z0S6bRe1iSa7vK6td8tBoWTxJHMMPSvlW2s9E+lhiBkZSMmHG4HRydxTVnIdlkOsVJhabQa5FI5vQg77RYdaF++epWFZ3PaZ5d0xcraugL0JBmSTufVrrO2vqjLCI/LSyabZ3d/n/MzZ/RnVK9VlD8wOjpGMnWKyWhUtWk01sXJyQnNalWHVBdnL7K4uILP61eY441XrhPr7uV3H3+MLxjWdI/P7dV4slmiii1YmF/SupYcikNBD5euzvK7336mhgYByUmqRc5JAlKUIUulWtDua39PD/cffa9GjVazicFo1iSAcAhkICHshV/95jf8p3/y91l4uqRmgmq1opeNC7NnWF/bZHC4D5PZzrff3GHmwjSXZi+zOC8DA/QyKpRygXPKcFF0jbLBEqCfROsl8SSk7mAgqEP9ibFBfR78+u++4o03Xubg4ACfshRK2teXLWmt2WKgv49cpqCVmPhxnIDPRSgSYX1jlZGRQeLxrKYaVldWGRocVKDn9w/uYzZZ9LLe199DKpnV/nTQ42ZwbIjFhWWFAsogbWdnh66OHk1dHh8+37hLB/uTTz7n9957l62dLeLxU7p7uxgZGOSLm7cV2jh9ZpL+/n6NPwtQUNKke8cHOnQXiJ+kEmYmp9jd238+rHW5yWRTGNtN3RyLZrMjJgDMEiU5LBrQTvnD+/fIpHNqfrK7BOwqQM4pjCZoVetsiB1jepxcOkO10dDBztriUxKZMtligQ5viKDDyBcbcX466OYv/u1/xumTZ1gjYf2sVOMnNBIpDE4HdungF0uYyikqRiet9Xk8139AIbFLY2UJs8OmOmuTbDlyaUwv/T6NnQVamRLOl17FcLhPY3ebVk831myGujOIMZ+hWE5gjQ1hLpaoHixiDvZj6eyguDKPwe7G3TdGNZ3A4rNjzOZpB124+l8kefdDmmvbGAW298oPqSfilI4WdTPtjk7C+JjWDNpiDBgIk08eEhmUZEqVD/7VR1QsPoa6vWxsp5kZ9TM21snc/C4DAwN8/vH3jF3spCnvz7Ccv22Uk1nGp0b55d99yp/+o3/E998/1MGe6D6LhYwOkXd393j59VdYW1zRAdq5c+fo7utgZXHlub3i6ITpiUmKlaJu+Mv1Kq++9DIbG9v6LPjx773Ht7fukMuWeP9H7ygEL1cqEw6FFZYn3zGS6hG2pHArxCRTqJY0IXJm6ox+Xw4M9WmNJhKOqO2iIxpVHozBaGR6ZoaP/sNHfPDDt7UKJPcWp83F+ua2vr+DQT8rS6vEYrJIyevAUj7/kmaTRFw02qXDZr/by+VrV9nb3OQkmcFqtfzHikIar9ej6a5Lsxd59OApVruJnp4+AgJ+s7vU7mE3OwiG5Y5S1AGtPHNkyCVJJJNNjEtJfc5JuqCjN8y1y1f46utbemcSM4gke+Tz2pJxSr2uzAP5Dg0GQ2oVEIbNhdlzuF0uUsk08VNRvYeZffEaD+58z2/+zy+ZGfJplbJhFBiyAVOzKUdTjJKc6XXy5XoJu9PCh38YJn+Q5PZum3fOBTB76iyt53HYrBykCkwPxfB5DMTTdU6Os7zx5gDffLGvtfBo1I/BCmZDDYvZgcNt5UhS4EKCatYJewP4QpKMS+L02Yj6pNqUJBoLcHKSIeCVHLJZOTxT4wF2d1IsLGX1Mi61g/R+CcEJhMNmVuYzTF8YYH1pi8lzfTx9eMDMRC+PnmwS6/ARCLs0pXu4n8Fhd1CttPB4LbjdZtbXs1y+1k251OLx431adTECuPROmU1U9Ax8/mxI7RYDQz7i+0X2D0qEYm7ahgIdHX4FiraMTY53K1y+1MfGbgKf08bFy4Pcu7/E8kqB8aEwxVKeZL5Ah7+XaiPL6EiIhSd5pme8bOzkMfz6zwfaZ855WZlLs7N/opfN1a08pzsFrr02rBGUkN/K1nYWo8WC0VAn1GnhzscFKsYyP/zJME8f7WM12LlyrZsaGTaXc3gCHmKRIHNP97QLkk43mJyKPn+hgw46Opx8+btjQiEjN97o1xfbZHBo18obDeDztijm5EFjJnWSVT3f5kGFeqmhgEHpWeRTeZ4u5/njPznL4UmN777ZZHQ8pHrB1GGF5YUcf++PhimVm3rJmnt0Sr4gD/cOjo5zZFJGrlyPcbBzynG2wMhoJwsPEni8Rp3OlCpVzl4IM/f0EJPZyZNnp4wN25VJEOkO8HRxi8nRYR4/3GH6fIijnRxHB2VcHhNjo0FcXjuFgnT3mzx4lOXcWQFxWckk6hovD8bMVEtV7djL4V7cxOVKg0CHg8mBML/+9TqTE17Gx7s0OpxLVnB3mMmlGgQCVk4PW0R7jMRiAfKlPO2mkUy2TiQiV18riXhJe6Ozl3tYWt2lVXbRNJRwWNyMTob1QfXk2SHnzw9o1WJ9XgjfVnKZBkd7GS6/GOL4qK0qrLDbrh737k4/f/1Xq3T1uzlK5OnvlF61gZOjIkcFA7O9bh6tJIh1hXFZbTzdLDE7YuXNmTBPFjfxBCTC7eZov8yzoyb7LRfLR3mtncxKyoMG56MuXpqJ8Gh9n3LNxBsXfJhtsHFQI1up4nWFODpMa6dlfq/IjasxpXTuruYo2aGWb9LT4efW9yfI03lqyIXF08JndtIyNzSWXSnkmJ6RQ+wOLaObgk7tatgsLrYPMhQLdVUzxkIWNneqCn202wTkJFpKH0fCmwi6qNfzXLkyTcAb5tHDh5wkK/R1SEqmQI/E+k9LVBoSHQ2xsZHmNJnlvfeGODmokS+hDm2P10ZHp2g1swwMR7TPvXuY4PxMN0/mT7AZWvrPWl8/4vigyMBQhDt3TvjgfdHZSPTKqp+rk8MyZ6bDzK9kldp9ZqIPb8TG/PwO/X0xXD4jX3+6qzHO7iEHjWKdvkEPO3t5lueyeP0C07HS1e+jWS/SP9zF3nYap91EoWTiOJ5hsMNOvljF4LBjarTx+SxU605OMxmKxVNqRTsTE2EqjRJ2k1mHTRJ/n5rxMjeX1m48LSMrq6KtiVIp1hWW19UdJBJ2sr2dUsaC6LHKtQxu0ei0GmxsFClXqrz8Wp/CSCWaJZeScNShX7LxeI7J6R7dHty+dYjD3mL2YicNS0PBiY22gdPjEr6gifUlIbe66OxxsLud1+rI4GCMfL7OznqS/okgpdMidpeRWt1MR49HAakhtx9f2MT65imJvRwv3RCSb1on1MI9WFyss7WSpmvARDRq5MLFcb65uaEmg6HhEHsbBd3cDZ4JsbV6QH9vhMWFLG5Pk1DAxuaWkKh9Cgtcmc8R6jSwsy598wnW1w8oltpUWxIbq+Ny+ZlbPOHv/8Esd77bwGKo0TPYwc1P9unus2N3GtnZKnDlpSjx3SyLayUmR716MTEFwwAAIABJREFUmStXamQzVc6PdrN9mCOeOmX3oM7waISJTjdryQRvX4jyP392zC/mTVwIl/F5+0iVcxiaDTKlLDRdXH31dSU7y4BUhknVahWnw4XP79HvnUarRamQx2i2MDDYS0o2MCUZPnRwmkzRP9DDwVFct6xzi88I+yO4vB7tYF6aPa/pM6vDrn34x4/m+cHrryn8TYA2V69f59nTZ7z+2iu6+ZQNzNOnc8xcmKJeEZZGgTPTU/oAlItZT0839WqVZCqnmie/16sXwLMXzjL/ZF4HMUaTXWPuohjcWlunWqlzIoq2oUE2d/f50z/+I9bX13m2uEhPR5cOJsu5PJevXGFxYV4HE8IVWFhckB6c9u0NxiqXZq/p5WBve1tjxXKbH+jp1a2wQPcy+axemjtiIb79/h4XZmbY2pLnZh2n16laJ7mYV+tlTo+TjI+PsrS2jsNq1W2QQNJeufECX3/1LWG/n8kzIxwcHmBom9mQCLPNyIUL5xXKJD1TYacI7CqeONWt+urKmh5I8zk5IBoYHOqhWilrR1piqd09XbQadRxOD5lUWknxRrOJ7e09/fVuvPYiv/74U7p7O+kMd3Pz9nc4bEZ294+0Yy3VCVE2TkxMsLS2SMgfZXNzgzMzZ7BahNWziMEsmxixgzj18iaXStHeiUZOkiG9fX3cuXtbyffyX+EQCORLIHoYJf5o01TIzu4uvT0Cu6sTDofo7e3gJJnmYOdQ/e1nZqbIF8ocHR9js1sI+L3KkpCDa65YZmSgj52dXe0V57MV+vu62NmWz2oXWQGi1cu4nV4dsAgU8sLFWfY3dkjlMrpFlv8IK6FZrzG/vMKrN25gMbcxtC0sLC3qRntleYWBgZHngOJqS2PrAsmLJ+KMjYyyu7fF2MQ0hVKWRqWF0dhWN3lHd0y1Zv09fYyPT3CaTXJ8EKcur1UbfL4A/oCL3d19Nta2uH79ir5fL8yeV0uH2BGE9+92+5X+nRci/rUrmqAQC4104GV4NTrWi9Pm182lcBXktdZqhQGFPUptUupb0ViYx4/nefnGZaqNJoZWWwcusn2VaonRYFWDwsLqIh1hAXbt4fNLSiCml7dmo04mV8TvdXDx4mUWl5Z0qBOPxwmEQxq7v3P3Pq+++iLz8880PXXlygU++/obgl63GoZMFrs60acmJjhOnuiFXr43ZMh8cpRgfnFBAZShSJidDdER+tQWIDwIqap9/sUtvdDL5/782TP6eVnb3NJ6xszMNJvrKwoazBaK/O6TT7XGIQObWqXE5vYRwxMTGv/WLi8Q8ol5YZ6333wTp9fHx3/1IYenOY3BBxxG7HYTK4kKxUqVjd/8C7KPHyvp3ds9RtPhgUaS6nGcytoq3qFRTdDWPB6amSOcgZAOA8wuE9X1Nb14ui6/TOH7L/C9+kc09h5SmF/BceY8toFxcvf+jpYkbLp6qJbKmB0WDO5eagVRuhlpGQx4ekYpFjPUH32GZWAGY/8MzdQWzV2xM1Sxhfuonh5gSB3g+eAPqcbz1I9WMbUKtKxBrIYWtWIb0sdYYx59HVwjr2GzQ+nWvyP2j/6pnsG6rvy3pBrwR68O8mSjwMhMiHy8pBfdXCZNs9DGHHSwW67Q1S1gvDbdnRFsbieff3aTF166ysrCEk2DSbW8NrtdQaV2s5dSOfsc1noYp06NjlBU4/fJTEZVdSND4xwnJbEhZ/48P/r993X4fLJzRCASwet1a0xeoOIStxYtpKhbLTZJr51qpevk6IBYV6cmYRafLdEz2K+DPGGQCGBWIm5yeRfThAya8oUMPT09ymXy+PzsHR5qgkwgtmItko391vYh73/wFqvL688hoqKjzJ9y/vwFEienmn5bWVnTpPXh8ZEybMZGJ9je2yEaCmO2WrTmsLKyznvvvcGdb79TmKDUqzc3NlWJKt9t8r9zj+e0giY1LalLSGI1GAxSq1XVmOKSAWuxQvw0wcTEGNlkTlWYAgb95d/+jnfefZ3/j6X3jJE8P/P7PpVzDl2pq3NPh+mZ7sm7OzubuAx3DOKJujsfJRuKNmzIEiwYsN/4pWHALwwbtmxIwAX4DpLuJPEomuRyd7lhdnd28kyH6Zy7uqq6cs7BeH57fMldDqe7qv71+z3P9/v5DIY9Bf/b2zvCYXfQE2xxp45Wa1T8G3keSG0un04xNT1JupCl/PycTr3N7JUYxfNzekOb4rSZ9T0MGp06w20lm+xU6vxP7/h5w57jCC+aTk8Ni89OeixfM+J2GvnqSZXZuBmtQexFVby+MDvbaYIx6DUF1AxXbnjZ2xYrlZVctsbaWoG//ZPL7B2lGHbkvN1SQ/TpaSvP1mu8904UrdbCxnqSqSkNNrebLz86VpWH67dHFZPtYD+L2SRpDRibdNCuD9XA7uWapDh7SmPsD3epl7WkLr45wyVO6lQLDYx2C36fSSWNLhJl5q84Sacb2KVTP2yyfHeMrz85Jpfts7wcVMpw+S5IpmokEnVeuzVCrl7D53Lx8LNzbt6LUS700eurVHMG0gW5T2vptY0MDANVp/cFHVxZcbO9lmZsMkKr2eNAFotxPTa9l+NEjrFxN8VCA82H/zw2FBVRKaehVKsRGDErn2M2nyYeCXBRaGAa6HC4+pycadHLgeZehJ//5S53X4tzmizSaGnwuqSLnGJ5JUSpPODkrMTKjRG0vQ7FQg+3z0yz00M37FC4GBKK26jW2qprsbeTp1Lvc33FT7FQo1Js4vaKZkn6t1Yi0042XmbpDxt8671r/L9/9jVXro1SrXTIF3JMj40wNA7oN1t4RyLKs2s3D8lLf70N/qBb6YlmZ+OcnjfU4V9AUOlsheOTBrERC6GwnYdfHrOwEGbuSoDf/PKQdqep4BbH+23+8Cdxnu+WiNjM5BplxqYC9Gp6Euky7W6ZSECSAUOCYej0NKp30hsK4M9NMdXF7NQqMM/ebp67b8Q4PsxhtFjIZZuKzq8367jINiledJHW+2t345QzTXUAOzop4HFZcAV02PQm+j0DNr+W08MG2YsyN26OUi42uUjUGL/kI5kukjlporNr8bjMVJp9zHo98bidsdEQz55sEIg56HR0OC0ORZHO5Fr8zvdm2Xi5T6/nJDph5vljiSzKxddMvSMEcR3lWoNiuc3l2bDqBEpf0Od28Hz1gntvRNhL5KmXBECnVTWD/WyVlcUA63tVtf3+zk0fxWKLK1MOuo0GuUxLRVj29nLMz0QpNFqU0k0augFel5XniSIjbi/bZyWpUmEYdLGaNFQGWm4ue/nkfgZDR4cnpqUjI8XBAIPNqGL9UiTod9qYdDrssk3t6Pjz3xzw/q0wiXyRiZCTvf0qK9cClArS19XS7lYx6Gz0aKte+v1P9okGjDj8RsVPuH5jhi+/2sVmGTI/M86vPtqgWB4SH3UxPW7DKZq/kzKaoQBMxD8vMLk2kbgHs7VPRpIKrS52WxeHP8zmyzQTl0y4HB4O9pMkz2tcXo7T7TQ43G6xeNVNs9phayvH/Iqdw1cNllZ8hII2ShUDR4dJVpbDPHmY5uYbE+ztnJIrdNF0tMTGnRyd5GjVeurL8trtGKmTPLU2uDxautUhjY54rKuMjTqITtu4OK1wcdHH45U4epuFS27K5YaidfvDVo53anjdJobmLkIvEcDW+uNDxmdHlP/78oKLegUePDzm6rUgmUSNck3L9LSNATrWX6SYW3JTqeqwW7UcHWYYG/fj8ukpZ/v4gyZGonY+/dUBt+9GSJ1pOD1JY7BrsBhECyggsBzzSwEKmTryLguNCmugSadd5drKBI+eZGg22oyMaKg19QrcWLgoqc/FymuzlPMSexyoTWM5PVAqoZnLotcpoNEbsWg06Ex6whEzp8kKl6/6+Ys/2WFpwcfomPBOetRrPRbng3x+/5xCpsF73xmHYY5W14w/HGftyR6N+lDVMCqZOha3mWjMwZNH5xTSLW7fDrN/UMPm7LO4GOZkv4Y3oFVwtVdrGcrVHt/9wYzSk50dt+l19Lz5bpC15ymsBguHR0UMFiHLW+gPDGIgolFpYdJquff+NM8epFQqQGpLj746JV+p4nI58NkthKPf/O9li6KVi2q7gScaZO1pkuvLNrb2swS7RrZMRv7XX7W4t+RVh3L5EnI4Rzg6OabVHXLl1m2y6RwGk8Bl1INPUZol3ntyeIo/FFSO8KWlFXWZ6ba6TEyPs/lqn3w6yw9/73t8dv8r1XUXMrN06EWZ1Gm3mJu5RKtTU+pH0aLFI2HV45PLjd/nUjUvuUDLAUspxdCrTQ9oVfx/7tIU2VyGg50EfW1f2RbmFxdVXPv5i1WmpifURkkObaIj1Gn66HVmDk/2sVtsBEZCdNpNctkKFpuR+GiMjz/8WEWkZ2amePliVW1Jo+Gg2j65PMJpiZPLSFLAiccTUAk5YRC43X6ePH3M4twsJrNNDQKEHr97uI/XHeDk7Izxiaj6XYp2bSw+jstuIVvK0e8OVP8xlcqTz6UZH59QB0L5GaXeMDE+oYBlEqeV+Ojt27f46NNPlHJK4tASy5YN6MeffabAcrKZfflsHYvFovR/V67O8/jZS+7cvKE27hI1DQSDChQ7Hh9Th+qvHz9ncXGRTOpcKfXGJ2KKaC9JM38owJNHT/B6fOj1RpLJJC63lbt33+CLrx4qxWM0OsrO4ZEC98XjccV6OU+eqQ19Sw6gfdR2LBoN8vDRC/x+j9rCWs1mrq5c4fT4SJGOxfH+9PkLLl9ZYv3lSy4ucly5sqS+o2TIJP5tMQYcH++zfHWFYrXAi2cvlfZNjDDlkvRaUfTufreL3eNSh3mhfAuHQFIHtVpVDYskKr++saneZ26vg+mpaU6OTjg6PiccDijug1DIpdbR7w7xB3zqe2l0dIpHjx7h8bppdjvC+yNxkmBxeYF+vc1INIDDaedP/+Tf8M57b1MtFBQT58r1JbV9PztNYjab2N07UN/9AuYT37d0/4WTMDkVo93V8OThc+bnZgmEgxzs7WPU6tSlVyL3Y+OTKsJrNhupVmTYkeLlsw1+/JO/xc7uJrduLlMsive+SiGbxh8aUe9bSSjY7Db1c9VrDaKRqDrUb23tKj1fODiiKiayOfT5vcoqEgr5yWRzmA1WVYEIR8KK0i9b+Y2Xq9QaHf7JP/wjNl7tsiYaQbOO2UszCvqbzV0wPTPNr379AVcWr6pYdKGQUzwHqU9YBAon/AKfR7EpdFoTbUlNGAzKTDM1NcEnn3ypEiTTk9OKVyCXHQl+r79aw+X1oR9KnSfPzNyMei8bjAYKxQIGiwmf20utXlEXofPkhXp/2m12Nre3iMZGcbutJBNp3nr7Lp1Gi82dbTLpHMN+S13uhEdgNDq4c/c2GxsbBN0RldDc3NwlMDKizisvHj9idNSLzzfKWSqBzzxAa7Xym/UciX/1AxxDKNRLauBSaVYx9/To3FaVsBCP+6A5oJvOYgg6qOy/wrPyBs1kFqvfxzAUVl3zfq5Av9ygebaOe/EO1eMNtP0Ousg0WqeZTqGNoZym2a7jnLikBvD9YpZ6LoF1Ygm9y01j/ynDbAOtTYMhGFcK3na2gO3ydXqVHL1WHkN4HEO1RK9SpNPtYx6dppc/pVXtYXSH0Ovk75qintrF/9P/kXw1i/WL3+B/5xLavoU3/tm/o5ltExsz0e4IpLpCNldl8dYU+nKb7KCNOxhF59USmZ3n6OgAfWtAqVIhFImqdFlGLpEMVcXKHxSOzrm69ErNUIC7FoeNUiaHNySMpq4Cm25vb6HR6RUZXz4fMnz8R//wH/HhRx+pKo5c9peur/Dzn/2C0dEI4xMRkufZb4YImZziIQgv5PDwmFhsVKlb5bLule/TYIDt7T0G7RZDrYZLc4tEw17FK1mXRJDTrZ5tAiTcfLWl9LbRaFhZVdZXt5iZHqfWrtMsi/bNqWLdWp2B05MzRaGfm59WFbW5uXl1f5CUkvwZAvqUJIMMKFaWV7jIZhTYVeplwmVxu92qBXF6eorf41FD4snxKXKFHMdHR3h8Xpr1OkNJkGr6eINBlQrKZwXoacPpks9zT1VefAGvghruHx3zg9/9No+ertKq1NAadYz4/RycnhILBGl3BipJc+v2DWoaLY9+9gETDgHF1yiUtbhdJnweI0dHZRwuPdExL9lEkUeJIf/irof//l0jH7ws0NbauBLU88HjDItXxcKm4eFqjpWQHfeIkZNMkdcu+zg86eDxuQj5NHz021Pe/+6YspT8/GcHBIIuImG+WV5V29jMblwjGlLnHYy6Dq/fm+X/+b/XubpkJRCwsb2V5cqVMcrNPoVcAbfdSLHaZ3nFy7MnkgJtsLAi1XQTB+qSrcdn15AtDyk34XivyFhYx7Wb4zx9dMz1lQkMTtRS7tXaBT/68SSvNsuqrlkV7o1Fw/ZeRbGZfCG7YnbJeWZuekQlPL56dEYw6kHT1KlnnphmTk+b3LgVVaY5l9eCRmNQi9qpSx5K+baqMBu1A+ITFopZHb6IgVy2w+qLFHfuRtAMzWQvKkQiOupNE5VSHc1/+IehoTzoiqUGw14bjU5LvTwgFLeyvZolHHUQGDXy6plQQbX0B1oc8lDpVelVddi8BhUZfv3uGA6XhmeP08xLfCJZV4fSibERXr68oDvoEI/IpnpAuVTBaBpg0Vkw+62sPU0wPe1WsbqN1RSz0x5u34vzV3++QTDkIBSRCKAdrW5IOltk7WWPN970sbgUolys8PDzc3TGLhNTAfYOMjSq0s9r8sa9OF9/dML8NdEiufhPf3mgfq50usL87IhyY9vd3zi6zxNVspkWc0t2chm53AyVbmFhwUen0SZfbJBLdVm65SWdrjM76eZQYApDo6K2m0W70h4SG7fy/HlKTbmE6v/ixQVjQtm2WLmxHOLxi3M8NqGehjjaO+fVep2733JSrxp4+ijPG/ecqi8tbASHXTaANa7c8DA+NUqlUOPV+jnRMTvJxIBEssTNqy5sVond2tg+yxAPOTlP1wl6Tdy8FaXWHPDhL3e5/foo5UqN89Mm8UkbtXJHARtrLVHd9FTvKJPtMz2vZTTo5vyohc3eIxQNcnBSpNMSmugUR1sFpi87OD0csndcpFdrcWnJQyZfUxaJJ4/LfOf9CCaLjd/8XFRQBuYuO8nkW5yf9TFbJcSroVLp4nVqlWKt1tLjtGqV6nFrL6u4AybHgGp5SL3a4Z7QZAt9us0mY3EnPY2ZzbUMwXETvTpkL5rE4x7K+TyjU/J6NTGZjURHHJxmq1QyHcKzdugOePk0xztvT9FoNfjsN2dKyRcaNXGw2cBg6+Jy2fH6DZyc1DBL7takZyRkotfR8ennCWYnLDgdZiwOhzIzON1mdJg42EkSi3hoDodotRoGAlX0mBAGzOb2BeNxJwaHXAYr2Oyidiqoh9W46PP20uqBe57p4Ldric97efkoxcRkCL/DQL5SIdusEQu4MBhko5+jlGkzM+dAa4LEeQuTQcMbd2JcpBpsbaZ47d4o2o6eTLWkwC3ra0kMFivfuh3my2cnSksi09r2sMfN+Qk29hKE/XbsLgt//Me7vH4rpIihNqt4ow1qQKO3GrlIV4hH/ext5VRS5tLiiKIlV0tVjg46TFyyMezpFF1bCL+RsF1VKSpVWL7uwu5wU8mVKDdbRCMBNlYvGBs3YzQ7kQVI8iiDLxQgkyoRirk4PMwqhdr4lI/1tZxS8cTHtBxu15Wmx2nUUWn0cDiNaoN4eNLitddkONVS7+/z87oCxo1ELRQumrh9FpwuE4VCkwP5mfQwOhbnYPuMq8sBGm2tghsW8031u0gnyrz7vXk2NxPkcl1CQR02ibW/SuJ1GIlPOLn/RZa//49XFAzoaLetOqe9bl99znIpiWC1uSQPdsOQZ09zvPedWV4+PyKXbHFpUbaJFdWzvf3mFDsbCZqNLrGYU/nYR8dtfPTxvtLixcdMyvGq0dpxuyTO3FdDL9kQS7T8LJ1mfjaknMb7e0msJnkG6anXG4pn0az3EXB+KlVGp7WROM8paqzI1+fnXLRaLVpikBiAw91D37Hw/v+eZHbWRBADO8kaAa8Bq86ERqdjam6WrKhJi1JbidJu91QiYOXaoqrJ+AJOnjx9wZWleTX8KeYL5PMlpfCSS0A6fS4yLhXVlX66uLbnL82xKlH0hXm1LRSjgMS3pb+5u39IMBwifZZUajNhj8h25SKVQK83qL68XO6jo1HlVhd7RTQS4utHz4lFw2rYHPD52NrdJZ1I88brr/Ny4xUry3OKQ2AyWBWFXEBuzVZdvYbSa1y8vKi2Lk67k1u3rvOLX36gIHnTMxPqsqbVGFQs3mwWwKZQ3vu89613VSdeLgy+oJOJaAydUc/5RZq5qWkFzZONdDgcU0OSWCyEPyD06AxWh4fsRVLF9KOxqEoWvHj+FLfTSyDoY39rR0VhxWPdGQxxOOwUihU0iI1AYcTUxVpSb2i7LC9dpVwqsXdwQnw8TjEvqQsXC5dnlaLwwVcvmZgIqUSEDCJlSywX5omJqOKYJBJplZy7c/Ma+WIF7XCA3mRk7/CYRrmuuuxTk9Osra+pZ7vL41YbpYA/zNHpCYNBl4YAs0JB9dqKgzvgcSpOykUuh8VkVqDGbK6o1HgGDd/YMbxedSC+9jfk9XQqx+TUKFXxsANj43F+8fPf8Dvf/y4abY/D7QPMNrtiDclFNFfMqQFNo9lSwyfpasvFTVgmUv2w2kxs7ezz7jv3VDf9w199pMj/smE0GoyqE5w6yxAbi6lOugwa5MIl2y+5FAh1W3Sucnn2BUL0+x2iEb+K9Wo0RhYX52g2GpyeJ4jH4gr2Kf3iar2CyyE9ai0Gk07xFOLRqALzyaVa4J3jU5McHB0qU4jZKsDLczVUGB8dVUkXSUz4hJ3icKpor1wymo2WOvjL+2FjbU0lNuU/8lmSyK7AaOX9oRUgh1a6wDVmpqZUCicY8qlhhbA8ZJAgnADZLDodVpx2N2ajicfPnivHeqNS5eDomNjoCNHIKE+fv1SpEvl7SDx4JBjm9OQYu8etjCFRqZpsbxEJR2l3+zitNk7Pv7FwCDhMNqAOt7CTjlXf9ub1q1TLRdbWtpienWN99TkjkRChYJjEWVpVWER7Ju9xr89HtVyhXK4qxsj66kvVp7579w6vXm3y5pt3Wd/e5+hgX/1zee8IPFCYBZIGcJiNnCaTLF1eYntrl0azqupIQzQUcwU1XBQGhoDPSrksFodVEcQrAlIrNxWI7u133uH+l1/jsDgUt8LllQHWPpFwiPPjU3qVEk6fnWypjdfZJzQS5S8+OOb4z7+Pb3KC0ke/wOCP0xgMsHmd5LNZvJOTaL2zDHYf0G+10Y9OU0/s0b+4YGDUYB+7jN2op7L6mL7LgfPW+zR2NhhabBi0PYbVPoaZKPXdHQzBMJ3EAcNaDaPLTatawHH7d2jls/T2X6K3uRjqLKArMSgUGep9mBem6b54ifmN79Ct1jB6XXRPN+lsPMIw9ybG8CX0fRkiZNQFNjBzneHm12imb9FMH9A92sV84yrWvQMK7R6eN76NNRTnn//hP+NPtzX87h03Xz1LEvc6MEZsGMqwfpBmYTaINuCAiB9ttozF5SdXF898TWlGC7m8At1K5F4AeKFYiFAozNePHrB4eUEevYrFIFA6A0bqzSaLc4sqJSCcjufPN1T1JBKV17OK0+dSNaVBu8lf/of/j7/70z9QZ8NnUjmoNRV7a25uhv6gSzZX5u6dmzx5uYqmP1TVr0goTL6QVSpjAZhKhUwu0gKnlMSKXMwFYnmRSeGyeVTS6sXzZ/z+3/kxe0enHO7vMTM9x+bmOj/+vR/x+MkTTo+TanArz4MrK5f55KP73Lx1jUDAp77LRUsriSfRITqlg392Tq/TJTIqSa2hUhSuvlzH7rAzf3me05MjVSUW0Kh8FiOjAgwsqiSVfNeJOleG36svnquhyY//9vd5tbnF+blUZBzMzE5TLOUoFEsszC+wuvZCnTF0fR1bL7f47k/eU1rTv/jjX2A0a7F4jLQuytS2kgQiDvoyYLDayVUrZNMDRkZtLAUdfLKfIVU1suxu8i/uuTjLVBi29JzXO7x108GgayIt52WnkWKhTatvpFtrKfC21GR1OgsHmwk6ot3zuJm+7OXBV0fYzSau3gjx8msBMmtInDW4dTvEaTLF6d6Q198Kcridp9wyEI0Z1KZ9etaj6gyytb91Z5S9g6JiGJVKNbZ3s9xYiauhqcFs5/QgxcSsmVu3Z9javGBvu6pe75u3/WpZm001aVXAHTZRLbXUtl2GRhvrAvm2Mj42oN/2MtTXVYqv12uTT/fRWYfEYi7WXuSIxazsHZQZDdox2TVcZFoKkC2VAKk+RMcc6AZGpW8vNuRZ3mRm3MWzFxdMTQkDrMVo3KzutKlUhTuvT3N4lFJMOVmOBUNWTvYbaP7d3/MOxbkqfXa7Vfr4Lra3y0QjdgqFChh16IdGjg8LLN8WkE6Ki7TERX0K9jYyrsfnGVFk/ERKtrleuoMW+fM22VKX1++E+PTTE2anDUxdnuBXf72plGTRiAW7PHzPs8wu+BWB9MuvD3jzzUmyyQq5ahe3zcKXDxMsLkmXoY1ZO2Ri0svHn6Tot3q89+4Iu0dF+loDrVqbqXE34YibWq3Dy8cpll/zK/jD6ld57twNUW7U2NmrMDHpwaTTc3KaVdEhg6lNLt1Wzt1WpY1WN+DS5QBfPT3n3bcm2N85Z2JqitVnhwQ8AsFKqwunOBgbzaGKhuvtUCt0ySalswyjcRfFfI+D/Qo3bzv59NcZfvRH42y/LNDTyO8pxLOnad753jSlZI31taK6PMmHKhT1sbOZJHPRYuVWRFEbP/4ky73bHgIxLVaHjQ9+nSQcMyl6ee6ih8UjjnEfTx6fMzQZGHa7tGUj3u4xtxwmf9Egmy5iNNsYGuuUMnrG4t9M7Ss1uL7iVP71+5/5VQL8AAAgAElEQVSnufdWiP3dHNdvSWynyHlGuq0uBWIS/ZkcUizWjurk9brw4OsD5qcjjF0a4fgoyxdfnvDuvVF1KBPCpsQIX78bI5EocnxYxR+wEoqa+PyTKu9/O8jxWZvURYnYiItBu87s5Qg7GylSWaFtdoiNWBWR1eLus7NZJxY2q/je1naL+QUZHOnYf1UgPOrB4bKxuXoGBguxkFGBnYqlHmZTD41Riz/gIuDTUslpiAoZ/SDP3q6ADW0YbQaONso4AlrVd5XulxzwW+0+Dx8mmZyULY9MS+V3XlGdyUqpyfQVD0dbGa6+EWdX1UXkfGXj5Div4HpyuRsJ6gj4bJydNlRXNj7m4crVcbVhTBzLxnfItTtjqvudy7SpFKtKgXeRq2B1Goi5Rtg5OqLbNnD9epTGoKU6aa/WTxnxGamX4TjZIB53oBVXiKZO4qTB6Kgdq3nA89U2QZ+GUMjO0UmZcq7KT/72DT77fA1v0EUu3WQ07qNYKSnivcTbCvKeSfWwOodq0y+T+NGYfL6byulaLrdxB4w4zTZePM1xdSVIvdmgkOsyOeuhUWpyclYnFDVQKvS4cj3Gzkaa5HmT5Vtu3BYXrWGP1GmJXLZFNG6jWBKK/RCTqFG8FhyevzFDGA0YLXqePk5y+XIEDEP2X6UIej3qi2Nhzo036KXXqfPl/QQzl/yqO7e1k2B8yq365+nUgEjcTCjkpNMSBafUA/oYLRrWn12oLW5szI7NIcO1pgJleZ0GFX3V9HU4PD4efrXH0pUo3qCBX/96R1UShMyq6Q0V4V1v0KMz9Bj2Bgocl8/1CIT1Sr0om62NzTI3XnPhsfphWCMYdfP1b48Vv6On12BA6k19JiaDSp/q9Opw2LyMTli5/+U2b71+iYcPTtSfOzvrwmCWhJSG9QdpNHord+6G+ct/u43dpsfrsahElV4vLBYdxUoGo9GFboCC4aSzXbSWHk6jXn2BPt8RDocW7WCA0arnu1d0fOdfd3njSpDdE9FPNrkyM6LMIwe7WUIxH7maHqfDwmgsTrVaYX5OhiUbJJIZVq4sqk2WwPtksyaXTZ1GT/LinLnZObUtkO10wO+h3R2Sz+fx+3ycJU8ZG40rL7rE1AWcKqRi2Vq/8fprvFxbVzpAl9fO2tMNbBabqlstLizw8OFTdRkSbZIMP+TC3Gp02T3Y47Xbt9U2VqC1Alq7/9VXrKxcVdUA6dfLn5MpFgmP+JUGV2LKl2YmVQxZNIbT0+NKKyUGAbvVSq1eJ5PLMzU5jtlo5vTsmPnZGQrlb6b5LpubnYM9vv+731YdaRmASBQwcZpQSQh59sp/L3ReGULJwa7VbKqkVVgxE6oqEijx9Dt3bquajQwIDBoz/eGAcNTP1voOVo+DsjAXvB5K2bzqt5+endDs9Bkbiyg9Y/I8qXSsDouZ2blZdbkTiFRQLjaVMienKVUHGB8Ls/pijTu3bqquvsGqI5epKJViu15XMF8Ztrza3ObNN19TZGgxtUjNTwYs84uX1RBl9dkqUzOTbL3a5Pd+70ds7x6qz5fDYlcu9pWrC2ztHdBpdhXP5vLlBVKZCwbdHg6Xi5PTI2IhuTA2sDtcCji4ubapCNVyGBVyd2hUzEBZSoUKzVaNYCjCsC96QxPNWpXT81MWLy9xnjhXl/ZAQDa9KTwev3IyHx7tEY3EFWRMLqHhWFQp2UrFrIq8i5p3ciymEgr5soDDzGrTWK0ICNZLLitDUBd2lw27zcGLZxvEx6McHh9xY+Ua5+enWORSqOlTKpQZ9HqKg5BMJImNjpHOprm6tMSrrVe8fe8dHjz4DLPNzXe/9x4PHz7h8aOnfPtb71Ku1tjf3yEcjqheeaXeUp81q1lPLl9UkeNmq6lqHr/8xa+Ym59h8co8eztHdLtdKsUK4XBIJXcEaieXW6lXyIZQpzGoS0pPgKOxqLo0yH9W19a4euUK6fNz/IERBfU8P09itzkJSuS9VlMqR7PORHwixv0vvlApAEnWjMZD/Pu/+hnfev8dzHYHD796qDr3qWyOQvaCSGxU9fwFjimD4pGA2Bh0nJ2esjg/x/lFUg2EhPkg/XwBIorGWDaT1UYTbX+ohmn5opgTxhUDIxqJMRoLc3xyTDwaJ1cpUsoWMNkM6ox3cpzi8uKsilEfHp3x9tv3KOZzivMwIcC5epOGJDvjk+ryeLx/pJIoWp2Ok+Mj7r35Ng++vI/VqFdJWXmGnCcuWLq2pNzzj5+8UBeGazcuK0bEJ5/e5527r7O3v83eq13sLruqUgpzKhKy8pdfVvi//p6f//qHi+w9O0M/OYYzHKP5/Bl6mwG910+7XMQsJKPYCIW1l/huvEMvlwaHgdZpAl2tRt9hwRybE7wmdFoYcoc0HR6M0Rk0R9uq6ihWGq3JgkZnQGPzUn32EZrb38XW7qERE8v9n6GbXsR66Tb9vVUMbiflbAp9Pocl5KY5sELunL7GxLBbxzK/JF+J9C9S9FoVXNM36bTqFF98gXNyDjQmyCZp9TTY5heoJvbQHO4R+OGPMQVsfPi/fcxffHnE/Z6JsKNPxG8lW9aqdOv118b5s3/5IVG/hvh/8T2KpxdqWHvj6grt4UBZI8wmoxpWP/j8IY6gl3t3b2HUm1lbe8bW5j5/9Ie/z8Cg5z/+1V+ret9b77xFMnGmFogr15Z5+HANvb6P0+FSF3Oby07A4+XS3DzPn22QSByxuCiDQI8aYP/u997n5foaC/OLqoYUj42TLeRUjL9SbjJ3aYad3T30+iEz0ws8ePCAm3duKYDhwtwML168UJC9v/4PP2NJOAWjAgt+oqqDdFHGCfl3tZqhgvr1umIlaJMv5JUBZXllmS/uf0W31cDpdSvFoWz5ReGaz1woblrA62FiepKzkxNVXROTzIJoFItVtRyQBGjmIs/rb97h6bNnJBMJ5ueXlKUkn8szPz+tCPKNhtxpGoq/8aMf/5gXT55TaTV47+27fHn/kaqlCQTwKJlkIhpXSTGX1cGjp08Vn+O1N1/n4Qcf0jkqUCm3sWh1dAxa3nkjrNKtuUYde6dP2Rrk88fn3Izq+V9+4iZ5WiU70JLOVVmakISoVFRqnJxoGAlrCLh1dOsmBto6Pq+c32oMBnouXw3x9VcJTDoNoZidQXvI2Kydi/Mh2zsXTMy5ODmu4rcKeHqg7gCDfgOtYchMLKaqPbvbNVz2Po6ARS1+t3cLhIIOBYoUW5FoE4MxF0f7KVpNE5GInHfsvHiSI19rKRh16rRKrw3niTxur1Mt0u12FJdrZtxPudZkJGJW976HjxJUyyXsRh++YJ98qctFqonTbsFo1HJyWmX+qptX6xkW5kZwB02cHZRxuzy0mln2dmpcvephoNWTTdep1rWYDTouLRgJRSN8+cUenbbAd830+0aiY0byGYG2eqiXyhSLAiO2UO910Xzwz8aGFXWR93B2UMRga7N0eUxdoCuNIX6vmbEpN4cHGXSIY3iA02kln8wRnolytJlh5UZEXfpOTvv83Z/GeXA/o3qw26stlq65GXR06LUdHF4LF4kKMzNBLvLS2xtwkiiTlG7EvEcRFaW/sHdwoWKk33l3gq3tGp3agJOLPNeuRtR2dm8/xztvTvLRhwfqF/zWtyd5/vSUQb/D9KUgp/tZlq6McZYs0Ov1qGYlDmfD7rMQH7OROCph92h59ihPtdHl7bfG6TWajC+IxitJsTBgZjGsOpDSLTk5KTIzY6NYQVHTu22t6nvRNmNydGk1IHfRxB+yqC9iUZAZ9H10QvgswdyyX0FiDvdrlMrSQWmpeJd04WUL8cVnp0TDZrUFjk+6+eW/3+fKDQfRkTAm24Baua0uqffeH6OYrrO5l6Ze0nL7NSerm012j3I4LQK4cbO6XuG//Mdx1p+dUByY0XaaTE8FKNd62HRDNRErFOvoMFDqVAn7/HhsOtY3KsRiQhPXojU1GHYFa2ylWOsTiWpU/0UuZhfndRwmA4vX4pztJ7h9b5bt7XPsZjPPnp4zM+Oho9di1ujxuE1qE//Rrw947V4MkxEeP8hjs2i4+84IX3yRYTTmVHGruYUADx+mkNjIaMBIZ6AnMgqZiy7trp5I0KKME/Uq3LwdoNttMeIPoDX0KJe7ZDMVRvyymTfzci2LWd9H39dTbA9ZXPCpTubZsQCltMTiQRW9N7tkc2zl8VdFfvf7UWRaIB2xRKJBKCoPGT07u2m+9TtTZJMFZU2YmZW4TVdtxvU6ExfFKnrtkIKkZgJGDvfr3HnLRaMyYGOjisOrwW00q/d1Ll+nVCzgdfkxu/UKOFVqtHnj5jS//s0uQ70Om7ZH0G8kNB4llc7Rq0gar43eYsRos3O8meX3vj/L080DAqEwx3t5xqJO6q0mZxcNLDrUZU9sCma9Bp1eTyzuUpwLIbAepSr4HFaiPiurO6cYtGYFmxv0zZjtNS7Fx/jT/7ij6Kd+s51ENq+MEt2uXtFghUY60BhYuOznnXem+PiDLbZ2KszNOlVvKeh1EwqbSWWLDHoWldD5/Z8u88lHexQzdSKTDvW7kYPm8UmakYhTDbEk0nl0cqE26nubeQXQLBUHxCZslIttyvke4zNenHaD0ieGJQnSHnJ0nGYkPEK5WFMbLF/YTCbdVI7Tg4MMHq8Mueo47V5erkrMy6MO4WcnGcUm0BstOD0GBq0myUwNzdBKpVZSr4nFMWRztYBfprKPk/S1HaZnxIdrVO7lj3+b4DvvRRlo9Pzq54fceM2B1ejk2csE7707y8bmKWG/C5PTzP1PT7l1K4zOMFR04Wpd4IdD6uU+M1KzqMoldMBQM2DYbSpo5vicn+dfJohPuIjHjKyuVTDqjWQKJa4uj9CVdMmrDLffilO6qHN0VGJhycHmRgdPWMNEzMX6xgUBpwe9sYPeMqQgVjOzjom4nXxerBJDHB4LH312Rr8xZGrMSrrW4d7VMeYmKvzBvyyzl+wTdOnwi55Up6NZaXCSqTES9vODv/MHHOzvo9X0VW9RQGa//eI+XocXj0O0bnW1gZULd7kg03yrukxvbKypz893vvstPvniCzQS5fcKDb7IlSsL6rJ7dpzCaNVgNTjI5JJcXrxMNp9TfedmvUqj3lFxSDkQyGXmPJlWveBQYASrw6T6nKIwEljZ/u6x2ozu7+8yNT2jak1yGRRrwKWZCeUgl0OBaH5cViftbgujSUi9FlUVkSGBbNlr9aq6MEqKYWxslPv3v8Lt9DC3OK2SbSajgcxFQUU0t3b2WFpc4Pj4UP15Aoi9enmZxy8eq6rSvXv32N7ZVmCogUYSWDmyFzmikbDqqcsQzuf3qG3v0yfPWFi8Qr/ZoCX049FRMtkLgl4/OpNO0eZlkyXd9lgkrH6+VPJC6T1zuSyX5he4c/sWn336ieprOjx+DDqBzVW4ND9Bf6hRfvZXa1vE46Mqnm00WBhq2wSDIQXtEyuB/OySAmi0qsRjo4qCv7G6hs8fULYF6bfXGg1mpqYpV/PMTM8q08OLl2tq0HF6mubGjRUV6Rbv9vzSDJ/99mtFXa/Uiup3J+eLgD+otsNySdx6tUs45FOpsmqlQav9jXJXbEFSYZFNllaPorOnMmn6nT7vvfe2AsLJ1ieVSDI5M6Vew8MjIWNPKu+1+LQnL43x+Ovnaugg2zEZ2MhlIDQSZm/3kInJUQ4OZTPtV6mAer2g6hjvf/td1lZXubq0qKL0j568UKA8gXTK4ECvNZAppBQvwOv30mg06bQ6qrLkdLsxmy0cHO6pqkizWVP8h43NXfxeLxaTRSVOxIbx+NETRkIxXD47mYSYEzrs7hyqmLK40YU1IZAuAXLJQd7n9akDq3zm5O8VnxyjUigqTaRs/ne2txmfkgh+XSUQEmfnXFu5qhYl0vkVB/js7Iyq5EhiUN6DaxuvuHXrhvpnqfOsqrWFR2NopOK3c8DU7LTaRNYbTWWvMOjB6w0oOrnUeQSoJzqs05NzBZ7c3txWCZ6TkyROu41AeITDoxOlEPW63RiNFh4/fUo2k+HOnTvqZzo7O2Nb+AfxqIIIihFKzk4mi5W1jQ2mJqbUhlerHTASCLK6sYrf5VO6tLPEudJqScdfBhuLl5dJJxM8e7HKyrJcZnUcH52o12lAT8X9hZUhQ6Fvf/sdjk4TSh3ab9YZ0uH4JMmw18PpdbJ/mObNt2+r9/nGi1W1FRYTkFDW5bVs1mtsv3qlmFVXL03S6dbJ5av8dr3O//mPJ/gH70+SyBpUb7tVK1Da2EEfdOK89jb5j/4a8+go1tAM9eOXWDxRFQ+XfnnvcA37wnVlBNF4InSP1tFGwwzEDGWz0+u2GFaamBaWaFd79M82GVoNuKduUXz4c3QjIdV1t/iiGO02GqkMvcMtjEE7/ZE4FEqY2gOqAvh2OdXZSGN1MNw7pFa9wDY1g84ZZdDJqedEJZPCGZumm9inbXagr5UZjI3h1A3oZHJgMbLzaJPlH3xHsZY+/nyDP/yfv1Y6ztszTlaPqsTD8ry1c5QpYNKbCUzFmH37Gl/+6mOCbp+qu2zsbPH973yPjz78jUqVWewOakXh8OhZmlvk4GAPo1WMRmYisSg1ASB2u6pLf31lmdPzpLKPSOIqk8oyMTXJ5uoa+UKVucUZisUSZpPpGxNMtqCqLlJ9W9/cUr976cuLVjTgc+MOePn0t5/zrXff5hf/6ZeMT0wqILpc4mWY5XB4GQ56NDvtbxYoxRqx6Aib2zvKCnRpcpJgZERBX+WiuSnJrnhcJf8kHSZpT4F63r57i8n4GL/81a9VTUAYGmIgkXh+tVJTw2BhX8h3YzqZ5ac//X2ePntBLptVNR4Z0kqySmwkUpOpV2VRFOPh11/TaUttOaBsBFINsdnFKmSg2Wko3W8hlcUuxH+bgY21TRbnFxSrxDPiY3p6UiXEfvanv+CN7ywRDEf57M8/YCk+TrNVVinM8qCPZTDAadBQaWm4Gndy0dbzwVaav7/s4Z/e7dLvuvjwVYFbl1wEzC6enGYxGZqYrFY1NJDFj89sZGzGjt8lNQk9m9t56rUa3qAFj1ycLTo++uAMu9XA6Libk0QBt8OsLBHeEZMyIRTL3wyPTg4a3HhrivOdXQ5lKRRwqBSr0yt3MjPpVAW70UZf1ybotyKYGdGpjgRsGEzyutjod5ocHLWJTxmYGA/y9WcJQlEvS5cDpLMFdrdyqs45dcmNWT/kcK9MT6ejXpCqqon5a3aShyUFzR+JWFi46lfnWl/ITGq/j97cIT7lxa4zsb6ZQKsxMzqpg76VXsfA7tY5wZCLSMhGulhlZyfPD380x+pz+d31yBWaRIJu6u0G7baYVorYTH1ef2+W09MyZwclXCNOND//r8aGopWav+wgFgnx/EUKg75H9qJBOOZCO+zhjzjY2EjRbVh5690IJn2Xw0SdVKKIzaIlm9cyNeHj+CSDzdbFbvLii0hHoat6bHLQ3t8WmIYJi9VAo1XAaRbaclV9sZ8mBSqlweXXk0kKZdKqerkP7ye4dlMuCBb6WHm5mmI8bkYnJNpWXW2/sorKKrpBLefZDpMhL41eS7khs+mqehM0ezqqpTqFQoe/9ZMFtl+lOEuU6XW0eLw2irkqRoOWcq3DkqQNukO++izJ9LSHQMBEud5WW5TJqRGmJ0P88lcb1CtVJmaCCsIh0+xqsaYuLdduT/H00QlnJ22uXrUx1Bh58iDHSFhPv6dhcsZOrVRVURLJOpaKLTR9gceYiE7KYaDK88cZAlE7sYiNL79M4w0YsJn7pJISWWky0Lr4+KMsv/s7fi7SbQWU8XjMapvS1WiZDNnp9OVS3FPavZ1dcaN+Qwjf3ykpHoB0mAa9DnPTHlK1Ot2CibHJvvJRf/7FGUvLIxh0bQZaA52m6II66HER8LdxuD2KPF5rV5QrPpuXzapJTX7zxRZ2R4vsWZvxST9u35CXLzu4LVpu3guy96qmGAD1XpvZGSfZdBOX38TpXoVwyEHbaORoNcv8ihuL2URe4uJ56f9p0em1XL0ZpnjWZOvoG8e0QTMkEBANZIiWHGqsXRoVC71hjaUrU/ybv3jI23enlLc1Vx5QKfeZnnVSLte5OK4xOmtj0PtG41artrB5LGh6WjqdKitXp3nwaJd+W8vK9ThnqSybazVWliWWaWZ395z4uJPd3TZ37nlp59o8fZnh299dZH3zgEK6x7vfipDKf6NdPNmsElQb+SG9rpH9wxzdwYCZaTenx2WuL0dIHFQpdzuEZmzsvCjS07eZCTqxO92KtzEaMlBod/jVr4v8wQ/G8UZMfPzBMUG3hrmpICcpec9b2U2JoUGLW7zy+RYhXwePK0zMq+EkXQa7kW5ZS9cK+ZMSbpubjYMMGl1XqW7euj1FrVsm8zf00dPjDLFRL4O2gb5OdGU69o7yjIacKn5mdZkZdnRkszn8IZ/qJEXHdST2ukphKMCYsYhPXXDlYmzApi7Djb5W8RpagwGne1Uio0Z0WguzC26eP09i0OoUAV0udE67Rm1+Vp/kmL0SwGGB8+MuI1EdJr2eo4Oi4l1EYwLwrHN22Gc0ZqTRGTA6HuR4O0V00snBbpH5yyMc70kvuMPUvIteT8fUtI0Xzy6YmvDy8OkhZq2L/qBFeNSE12tXlpON5zkBURAOBEmna1jlc5kR1oOWUNiA0ehke/0ci0ccwB1efyOqenrVhoVWoc5Q32MkZOPValEZI5wuI2Gfk1S5TGzEocivg66GF2sp3nl3inqlpXp7c3NxXj4VkItZkW1LJbnkjJE4q7D+MsmtOzN8/oVsNB2iLUcriqVhl8XFMXb2EnQ7Qy4vjFKoVHn5+Ji5y2HM5gGavpm19bwyhEglpdPrsLw8wovHeSyaOheaAP/k5wm+P+1U8WHp3GeqLfS9LnankZnlu2xv7mN3m7Cb7Vxkskqd1Gl0VKdceoviWy5Xvol0a/QGtcGTLf369i4GzYCRcJxwyKs4LXJ5ikQjSuX18MlDZiZn1GFHIrs2m4WnT9eoyPbTZlUO42gkyBdfPMBqE5d4mHqtQjp9gdPloliu4LI7SKQTKrqYTKZVbFueG6J083g8XF6c4+mTx6q3Pzs9zcsXa0SiAaWQEtqzdITfe/dbqlJwkblQLACB5e3s76pLXDQcplQuq0FBVyp0Gp1inTjdJvb39lUqIZHKcm35CqdHx5ycnXD9xg0FoZKep2iaBL5UqxV5+613ePLimYrR5/NFFpfm1aX85ORcUZAl0h0fjSsgmkCojvdPWFy8RL0ugLcy7XYXj1ei3D31d3E7PPQlBNZqqlpVvpQlFPArnZgkJGRwItHV4bCr+vuVWl39u0HvCGa7UUEbrTZR2R3j9EhUVhJafU6T57x25waJs6R67aXzKVuuWHyC85Mj1YUV17WqRlh1SqE3NTH5N932fUaCPg4OTxQQsVVrqjSEELsFMHfzxjVSmRwHu3tcmp1QdRtRsLW6LRKJcy7NzbCxuqHAhNHRUdXRrVWlViVbFz3tVoPMRVZVuSTuL9F5sRrI/9f+3h7TM1MqYm00m7GZbUorKMkH0Y12Wm3FX3jy8rnq93Z7YnoY0m1L9NNIrdzE6rQjeBuf18Vnn3/Nj77/XbZ299T7ShIiz56uKsuGgBLfe/89Re3vDrqcnZ6pAc3C4iLHxwdKzWg2WRmJBDk7OuLO3dcUfFCqC5ube2rTPDE5ztePnyoganwyrhIFo5E4WoOWx09ecm35sgKY3f/yK1UxcDnsDAd95QGfnJzk4iJNtVFjcmKSw/19rl+7zkU2S1GUVrWKei8HAgGOTxJKMen1BtnfOyCfz/LDH36Hw8NTZXGSIa5UED/9+HPcbp+qGZynU0zER3F6vCTOTxkPh6m0Okqd5/M4GR8b5YuvHqnBgOhzhc0hbIHZ2Vn8Xo8ibSfOk6TP02rTenx6wuyUsEC6FMtFdDqNihVX63X1uRVTwH/+d/9QDbMO9o9VmkqqI+gEEnado4MTDo/2GcrlaTDA6/ap2orUmy7PLfLJJx9z5/XXSaWSasjndLqURnAk6MXudKiN53CgVUNN2aDu7+2qC52AIlPnGTXg0tJiZ3NfJQqGA1lMdHE43MwvzCrTiQwcUhcJBhjweW1cWbrG4eEhL75+QDDsolat0WiKltnBh+tV/uQfzPHT/+wGpbMBOruJyu4G5lAInaaDPjxL+XAfp1lDvd/HEhihk0rRrTdxL1xSal50ZgzeMK1Xn2GxuRhoHfS1XTqlIo1XG7hWrtJuVHGEo2poq20V0Tb1tC0mnDduqBh7cW8bW2Sa6oOfY52YwzR1lcrLp+hKKXQ2K6bld6g/uY9GeFghFxqtnGkttM8OVZ2grdNgCXnpX+Tptps43vwhrVaJzhe/UHA1nXcMk4y9bAbFXchdFAkGNVh8Zv7s//gt/91/LGGJaJjymvFYTBSQJFidUZeDYrdOcG6OZDGjVJZymTs8OWfE61WLjZFwiIWlaT7/+HPazQFLy5f5zUcfKzaEaC2lkiWDZ5vNycH+IdHIiBqEHZ4cc7R3xMylWWYvTfP5p/eVztVssSs4nsMpd6EoJ8kEo6GoSoKJVvJ7P/iuqjDJ81iAtzKYEttJSJ5nO0dqiKwz6lR1TAIZqWSWdrPNjVsrZLMXio8jgFBJqQr8VQZYwjTa3NhTML5r15YpVrKK7C/Dwo7YhUYCrD5fZ35uhlJFOFo17HZhmLWw2uXvbFIg8aBo/ipVxRGRFJ3GMFSA5ZGAX9W1yqUqJydH6g52+eplBWVtSw1zbIxWs8WFWFhmplnb2MLmNOD3BMhmskzNzKjUTK0qrJM2S8sL6DQazs7SHJ6dsjQzzWkux9TCFImvX5FePVXQZGGtyKA67DBi0ms5Slbx+yzsXHQ5axn5b+f1/A+/5+C3jwsKjJgbQLta4qKs4yzb4Z/+foC1Vy3CUoXs9nnwvMgbt5yY9AJElc+3VDBsfPFZioXrfsYmTTz6NMbhpmkAACAASURBVKXSt0tXJ+kO6ureIpwfgZGaLTpVKRbAHsMipbaJeMSqzloD7YBaXhgO4PY5MZu11AsduhrRCH/DeJGqAH0HZ+cVquUuP/6DMVUjbdS0bG0f4nb5aHRaWLUaVffp17UcnmcJuM0E/G72TrLUKj3evjfF2qtDlq+NUc51GdKg0x+SPRcApaQd7Gj1MjjVc7Jf5vZbY+ztZqAzoNPRUpdnV8CpEqGZVB2zCQp5GAlJ4tPI2nqOlasR/vVf7HN12kQoYmXY16ga2aCvxevSKIC2JHiKtRqaD/6bkeFposPkpJXOsMPm8zy37ozT6Vc5P2srj3MyU+SP/uASH394rj7k0hcRVaDBolPkV3/YzuNnp/gdVm6/McHjR0lWn8ih1E++2qVa7DMSMdGs9xi0B8wtR3i1ekZ81MPUvJfEaYVqvsPA2FfaoSESadCy/SpHp69Bb+ypSoI4vCfmRuhUTJwmklxeDihwz9pXCaJzXnxuPalUiX7HwP0HWe7eDqh+/tFenjffD7GxWubirE0wYsQ94qCYqoG+z8SMl4N9cUz3sZn1aoJdq/eIhF3UmzX8Hif7J3WuXHWQPa9RbQ6ZnnTxb//yiLfeDjA36+Uk0eTkuMCI10SprGVyxka11OHBV0nefi+Ezmjh6KhAbNRELW8kOupS1FqPU6L3DWplLaFRHx//Zp1Ll2KqYybaP7EpRMID9WB58CDPjZUQc3Mh/vhPnqu4slQfPCEdxaJOkc/NFg1nx+ITKDMasDO54FZQnMfPMwwaGiIxE9u7ZSKjVgWf0HYGPHpW5+Y1CxZTl3rNTLZcVhflq/M+Do9kgq9nfMrP0UEWh92Cw6Zhf6dMqd7m7ptRNjfzBMIuGvUWycMak9NBFU20mk0kTkpcuuojn2hi8xgU5KrTEZ2VnlZLPsQWKq0yUbcXX0jP1naahaVxttb3Od7rqC/bb39/VPWXnj/IcuO1EGcnTQX3K0i/5pJHGQ8+/fiU6SkPWjr4/FYS51m0FjO0hkxPB0llSpwelbk0EyIvxoTukG9/9zL//t88xWTVE4zacJiMnCYkwaHjItFUkLV33o6oWkM2bcAT1vLqcY6rt71otSYO9sWr2lWgR71Wx8xlH5/+5oh0ts2VBdFpRvjk430Fz/O4dcQmAjx7cKgi6HduR7n/1Q5Wo4/lG34++OgAnaFPutzizWuzLF6ys72RoFrqk250iTjtaks9N+/l6KzLyoSNJ/tJpZF67bqLw506XtGgmAasPU+ofv/thSCHOQ07J6e899oN/urDfWYntVyanuDLFwlKp1mWF4I0uw3cPhvaoQG7UUPPbOLDj44x2QfcuOLnYL2G2QahqFWxLqSuIdHKdlNLo95QUXmXzcn0tFQWspSKMJQumnZAJGan2tSwtZbHbhr8/yy9V5Ck6ZWe96T3PrOyMivL+6qurvbd0z09PQaDgZsFdrHLFUGKYkhiSLqRdMEbMoLinS7IK1ERCoUiGKKWXC6XXHAXZoHBYPy099XV5X1Veu+9UZyviQgEAjNATVdW1p/fd877Pg/DET+dRodqu6p67tJD6uva+Nx2Vi7LNm6LVl1LMGDh8KDIex8scHIWpdXsERpxs/k8o6Ja4oJff3zKex/Ms70fZTQSpFzNU8oPMNmMaLpttdWcnnHT7PeIHVUV+M/lNtBuD5Q1Ym7SQ6fX5PGjDGMTHnxBl4pS19pdrl4Z5dFd8UNbGfQN7B/LUGyG18+PGQqY1IVXutDdjo1Ks8D1SwH6Gg9ffrqN1efkzjt+oodlzmKySZOhkx2jTsPWRp7Vq2NkkgnmF8I8fnxCvd5naTGiElhCTPcFLZhtPYrlOuGAn5cbSabH3KytZbh02cfUdIi/+LN1Vi9LT1CeVRqWlqS6laZbM3Pxpp1PfnnA0lIYh8vI7m6Bl69L/Oj7k5hNojmTxq6O3d0zJsY8HJ9VmZ504HVbefwyS71a59xchGFfl71Ym3/8qMtVG1R7HaX2o6uh2avRauno6J3MTo/hdNgp5MsU1QfuQE3/b751TR2UxPcdDgap1mVr31Q9RunZhob9/P6zL9RGXg5McuCXmPLO1gErK9Ln1CjdqFzoZSvSqDYVrG10ZISd/T0Wls9hEM97r8vr7V1VU5INokMUYkdHuJwBOr2G2oSeE7Jxra4ASC6vVEUEWNhVz39RiJ2dJdg93FWqPtmWCEU5NDKsyMkShTfqTSpaLbe/zdfbhIIh6o2GStsIV0Bo6B6XU1GtD/ZP8Aa9REZDSke7tb2nDmKzs+KWf8CF1Utsbr3G5/HTkQ2JwYjFbn+z2ev2FVhJlHVS1RZrRCqR490P71DOZVX8W16jTrOnBiMLc3NK03Z+dUUdcgV8KAe5XCZPeCTCq9evlNXAZrVRLBTVZkm87PJ8dtlslCsVFXcX24DEUINDbw6c5y+tqA68SW/E4xti7dU6nUZdRfU1OjP37j7g6uUV9vePmJodVxvaybFpxeUQFW+l2mRrc5v33r/JL371KVcurKqDrygfpyYm1ftC2ACi8VtdPUevo+XZ8+dcv35Z1T5ksyUQOHnv3Ln9tqpLyPcpRpXhYJgLF87z61/+LQ6nT/nqdVqNGlzWq2U8Hi+Tc+OcHp/ikmF1sUI8nVJ1EPlnR8+i6ndXLptmq15tdGrNMkadHpfHz9nxmQLSCdgvGj1VjA2pbiwvzrJ7cKAUX5dWz7O5s6sqFK83tlXf224xkc5mubhyTg0FRG8qW+WNV9sqni9burv376k0QWg4iNvlUABApbzM5ahXG2pwNxIaptFqUavUuHTlkooxf/bF5xi1Bs6tLitKvZgzxkdGWHu9qQj2shUTz7y8zzf29pgYmSSeOKHRGahLuF3SEkJU6HY4y2QI/xcloQw4nj17yfT0BDub26xeuqzedwILXFo4R75UVLBIj9+lhiP37t7HZDUS9A2rrnMqISkru6quyWv03nvvkk2lFMTQ7fLS7taVmjEppHQkYfsGFCr9fQH9Dfn96PRGuaerOLLT7eX582fKOx4eDuJwOUinRC+5ydTsJL12l3y+oGpZZqP01kX79QZ+ZnOYVcxZ/OqNahW7bKx1PTVgkyGQbDYF3CcJFKny7O8fqtSkqENNJiPHx1H1vcswsNNpYTIa1ftakhaRSJhqIc/ztRfKTiDDwXKjgd3hUGkGMWQIrFHUkGsCBXVaFbxT2AGPvpUBjcB8O+gsZoYcWr7ZbHBrxsR//mfv8fBX9xi9tYJv5hyZ6ClunZZ6Oo/VbqZSjtPu2HBNzsLePWpdC9YL1zENWpSePsI8sYjW6aBysI15YgaTO0iznqX5zafYzl/EEJol94Vc7s9hXrlM68nv1JC5U+vgnJincfQS+/g8evmejR4G/TK6dpNOOo05HKZjddOX6HQ9QzcRRTd1FZOxSyt1hi48TS99pmxA3YEwadrYXZJYkk255EP01DfXcY2PULPZ0CVS6Gw6dO4RdCY/ztURtv/q33Ppnzzn7348z+F2nMagC209C+fGlKkrcZxk6OokgcV5SqmcOieI1rIgg/FEUqWw4jLwddoZiQzzzbcP+fEf/Ij1V68x6rRYXC6ePn7G3OwE51dWlONekkJDAQ+JWJbDkyP+m3/wM3VB+vUvf6MGxQK1/fyzL7l247KqD8l7JJlKEgyG1RnNanZhtZn5+qtvWFhaJh49ZeX8RVqNColkSiVUBFBYzJXQG/WKbSZ2C9nQS0UuXyyoGtC5cws8efSCcCSiturCjZpbWFCMg92NXfWek2qbJMz2D/aIjI2h1+p5+fwl4xOj1FoN9ZkrX2f95YaqYM3Mzim7xsbGFhcvn+f+3ft4An4i4TGlWpZVnri2jkXHe+0KRrORr7+6SzgsjCLRiJ8p1oj8Ox5LcuHiokpbbWzuqFra7u4BK0sLyhASGRlTKlu3x8G3P/8ce7nDxXcu8uzpujI3CefF6NApeLZcsuU9t5E3cnGsyW//2yC/etzj6XaOP/5BkGevSoSDLl7upxg0tdy47KfV6fL0YZpr748SPy5xcd5JtizPDqkhSJovyeiog83tMvquQGTtRCZsxBM1DDqU+aKHhbOzPIGQGaPJilnbV8+gRKLLrZvDbLyWtJ6G46MGE9N2stEuG/t5fvzjaR5+myKfExvNgJ/+bIRiHuLJDqlMHJfTAjjIpSqsLDuptOHxgwzf/V5E8WWkDuT323j8OMrBQZl//E8u89XvT3j1ss75yw4sBlFQV/B6BLjbZ2c3w9S0i1ZjoKqSxWwPfxgsVjP1ipZIyEgm10CrdVHKx4kme6wsDeN2axUbS6fT43BZ1VLGYOywsjRCKpmnVtOxe5BQdQRZhjRaHUyWAdqBhVi8huZX/ygyeLUZ5ca1UdKJLrlCQcGVrt8I0enpqRYL3L0vZMeIulyJn71Y77LxIs/7Hw5zsFflxs0wf/3XezTrA77zvVHWXx0zMTWqqLV6GbjUtehNfXWQlom0HBZzuTq1aotGU7ahbYaCVpxeI6Ggg621InPn3KQKTRVL1Vl1xI/lgWjiOx9M8sXnMQ6OizjMGvzDZpzi2aKn+t6tKtRbPVYu+Kk2m+yslYmMO2n1yipO7nMamF90c/fLMiZnE7PByPnlIPunRTWR67Y6RMZt3P0qyfSsRG+9bG5lOD7OcPHiGPfvRzl/fpi33grz+df7uMxmNSk63q4yNm9RSqJsQsPFywGODwsc7Ja5dsOrPqCePT1leSlINl+n2+uipY/bblBe9S+/OMIoDIYZEzPTDsxGG42KRIH7TC/6+LP/d4f5WSfRs6L6BRgdd1KuQ6/ZU13PeKyFL/BmcOLx6+h0rRhlglVsy2ckZpuV5WUdr7dK6ucQ9OvUxUTc5aIdk8/StScdLlwy47Tp0JtsPH2WYDpiV+CjRreG0+IhnSjz1gcR9Tod7baJJ5KMhkxEJjzkczqarTbXr0U4PEpyeJRh0LETCOgYmbKxu1EmnWly62aYdFwGKT0m59z8/C8P+PjjCGfRAsNhORzZ+PVv9llZCqK3CEDETKFSp1VHTXrlMjq9GEDXGxCNl9naSaHpG1lcFuiGeJ2tys0rCRCDSYvLradYlsjVKJ1Om1g8S/S4hm/UhKZupN3t4fdqCEZc3L93wuRMiGDQzOFeQXEULOYeVolGWXRq0zYh/dy6dDq1NDVtNA04i3Uo5xrMLZtxDvvYuH/ErTvSxU2qKLv4utu9Nn6vEatFy9lpW20K5mft5GoNDF0rp8cJHH4Xt1csbBxW6FRquP0uxkJ2/uMXMXwWB7vJIhNhA2+tBPjf/uwMq9XA7Stu/vZejpUpJ/Z+HaPNyDurAfa3Y7Q1ej6+GeY0USZ1llaawZSK6psU4GU3nsTicatD8nh4CP0AnuyUGPZoODwVLZaH+6/PmBn1K3qxttXhWB5608O4zE06WhNbRwm8Lj2xWF3FtXWmHi6HiXqrxeJMkOOzLJ3mQB1CxYYQPUphdxhUEmRuNsDGflFNVX1uG3p9m1iizNUrs+ztxxQ1VqJU335dUJt4t0OLz20RnqNSyDTaNUolHft7Je6851dpnFfrFTx2HTOLTtVPrtV1HJ+UGIuY6HS0aiq/tBhSvfNqtavIt5MzASrlIom0FovEFns9xiN2tCY9r9YyRCKiT4kyIxTucld9iA/6drqDMn6vU4FtvvkywfWbATKJGq9fV/lH//08LzfLpKJ59XMulzUqEl8stzENLCws2Wm14cHdOD/46RRHOylmF8bUEGXneQ2DrctExMHIhJdytalUNbOLM7SbZTbWk1y5PEY8WiURr7C0bKXdNWK36hgMdBztFbn4dpi9zSQz0z6SSgkqB5Qe588NU2uVaZSNTE07VYw7F6/g9tuxurqU8rD2PMFbF7wYOj3+4D81mXTpGHJJ7UVLsdZTz6/twxI3bl5haW6cTz/7mu9+5w6VVpvEWewNYGxuSm2J6+0OC1OTapsnf12Aa9lMjvfef4+Xz16q+Ktsic9fvkijXqFaqdOVfny2yPz8jNrkJBJJtZVo9DrquSne5GQ8BgMdc3Mz7B3vszgzp1Rjl65eZG97V9HCVfzSaScWjTI2Nkm+WEJONJICKBVKyhetGcgFwqKec1LRkX8J1X52dp61V2tq+1QultVBSEwEzXpVxUoFQieRe6Htry5dVH56gYQNNBpFrI6dxdSF2OOTiKVGDR3k+4+Mjqg/38zcnIKjyfZdNk56gw6zyaD4AdHjKP6hgPpstJidpNNJirUyzWaXsdGQgvoNh8IqOppKpNSlv9pscLi7R2BYfPMm7t17pHzVeqOWjnS+pTutGTA5M8vvPv2UD957X/0shH799u0bhIdH+P2nnyoYoc/vYm9flKEOZhdmePFindHIiIqrSt89nkzynQ9vEz+OE5mMqC3S0ydrajucFI2bkMUbTXwBt+pRSxRWLsCxmNT7+liNZkbHwwSHA9y7exeNwcLi9JsI7d7RMR5XgGazqhgzbq+wWoSEvaRATfIeOT2Lcf3Gdb76+iEfvHuTQrbK/uGuSkjEk1FFcd/Z3uPcuTkO9vYYGR1TA5j1tQ2VzHjnzjvE4lFCkQi//MWveP+D20RP4io1kMvL5rinhhRj4TBanV5BHrU6Dbl0Br3ZyJPHL3jr2hUsVhtr65uYDXoFJgwHhzFZNHS6sLO+zdW3rvJ6Y0spvQY9gfDpVR1RtuGyfe70NGpDdLR/gm9I4HZ1pZ07OJLBYEU9+3w+v0o4FYpFNcwSxoE34KIq0WGbg8XFOY6OouzubjExPkmpUlZ9/dWV8+o9GBodod4oq02+1CVkCyhfQ6ClJqNJXVLrlarqrd55521++7efKl6DABSFki6GhZOTfcYnplVyMCTvy26LQrmsko+jYxH6Gglka9kWI4EMgfQmJsfHKcjvk0bOI7JcKOFyuRgKhzg9OqXfGZDN5Fk4N6UGa6VcHp93iHavhUGjJ5HL0KzU8Xh86oKXTCZod/qMjQRJpHNq2OYf8vPqxQtWL12kXq6q1zc8HFYchl5Pg1egermCSh9JyuDy6kXWNtY5Ozrhe9/9kGfrL/F7fHTkkqsdKO7BkydPlfd8ZGREwQglRSMJ0smxCF9//Q23b19VFhPZRkvU9s6d62rAsHewxc9+9vf56stvmZweU0rEc/Pj3Pv6nqoh2N0O1XM39Iq8jHWZ81v43f/3PWqvc1S6TTVgq2W7jM5O09RqGTRqaG1WBqKVDI6gy4vKucPAGxSGI71mg/q9r3H99O+o6po2f0TtaBvd5Aq28By12D72mcv02wWa+y/oaJ1YbAZoQ+NsD5PPQl/vops5gfELmLsDNEdr9OcvKxOVzuai+fQJrjsf0M3GqUejWDx2yieH+BcuUetr6Zy8xrl6g5bAj0tFmrEjDO0mpoXLqsY7KBSoJOV/v0zzNK0qmo1ah9LAhlF/QOQHP+DSxX9F2qhn3K1lbNhMua3hIFVmwmTC4fVw2ixhmQlRydfwuv3oDQPOUkmWlxbZXj/AZNYxMjqBxahTQ9DwaITo6TGXLqxyFE1Qr0h1c4bdnW1lMTm3sqJggqIQ7Wu6aogqHXsxSMhQSoZRwhsR+Get3MAZ8JKJp9jbO+Da9WvqGS7O+iFfkK3dLYaGfIpVsf5qU4EtxaA26OlYPjevkj8yQJaFkdGAqgJkMm/uWH6/m+hpnD/+k59wcHLC08dPuX37FmsvXquEm4D+BMYajgQ5OjhUXCrZ7rdbwinTMhIKq8GBsIcE7CaVKnneiiL06OiQonx+npvn6PBIKQ51erE2+alWSwwFZHBaUMDXdrOJ0+1kanqaakW0uTtq6Dg9N00qnlJ1gfWtLZU2k3+O1CkCXjdas4nAWJDC9in5x6dMLwY5TcTw2szYXFb12XyWLFCs95kbsvPNSY23hvT80/c7alj/OqPFNuiRqDUJexyk0x30zi5XF1x8/mWW8KhZ1Qj/5ndnTI6bVF348KCB0dDlnfdGKSTaNFsy1swoYPaThylm50Z49HBXVbyFpySJc5ffjsnUgq6kwoW1NsTm8xRP1mucX9EzPx2iWm0SHvOy9TpLJpvjzntzbMi5dyKAxiyMsRIev16lBITUVK80qDZ6BDxiG+tRrcqdM8hhNEWrqlOWLlkeiJJ476jCwnkvIb/cbeM06eJzeai3+pwcpJmblUqhoHv1JET/OGRjf6PK+UshXq8lgQZTM37ylRZ+nxmv3c7Dp3GGRy34HUYSZzWVmFd18vtpQkMDVs6FiGVa6DUdpWXVdrU4fQN1Zj3YS3L5SoRkWgYA/8PYQPqUEn/pDup0B/Ig12OzmTk6zDO/5MViMPDs2SkBrxOtqcfE1DBf/O6A1SseOk0NuUIO+jZFyZWpqcFuZG7Gx1dfHTAzFWQkZOXJ8z3mZ/xEU6IaSvHuOyGsdh25TIOF5WGyqToPv04QmjZTzvRxuqT/KPqkUz76aJLD3aIiyOqNGnweu/KsywduKd0hMGLFoIjfcsHSU2v0iIwY6NSMHEskddzPN5+mmV22c+P6mIoHHx2WKVSL/PGf3OGb370ikanTrNXwe1yMz/jY3oypCLrO2GB+doKT6Bl6nVNR1kVh2Cm2KLU1ZJMlJqbc9PsiJ9FQLjTRm+yYDE0yeTlAWAmNWNlYq+Me6lPIaOj3Bc5kodW2sL2Z5KMfTtFodzjez9KuaTk+K/CjH0gcNcPzzRLf/3CIarmFx2/F6bJwsC8btAH7+7KZMuB0wNCom1qmijc4pDo/d++l+PDdUdb34phMViIhF0cHado1g5rW6uUSPeljYzPDyIgZk8FOt1Fnbt7FJ5+ncXjarMyN4rDr+flfJ1mY1TF/PsgXn+xx+50pam25eDTIJzuMjLpxupo8eVThynWh8krMf8DcTBiztUUmIwffJiMjFjKFAV4HnCRqGAda5ue8pPMlZubD/If/sMEPPpikWKvS02l5960V7j3cYOdVkWqrzcVLHnpNgzpYCijFYDESi1VwWqzYXH31Czk24uarb85UjHlu1srWRlZ1siQWK3HBPn1ymToXL05SLBRU58+gFwd7AbdL9BltQhGBihmUq/P52iHh4SE0mibxsyIO+xCZbEYNmDLZBqJEtji7eP1O2qUBZg88/Ua6r278ITNbmxXG5ox060YVRxoecvLtoxgryy46TT09TZ2N5zW+/0Mfxk5LbQoSGR3/3f+5S9Fg5nsX/Tw7yJHvtRl2WMgWGlTbknkwMhkwo9EN+M3zHAvDDt5a8rN9dqwUO8Kij+ebjLvbDFtsVI16pXLa2Cpg1nZ5b2kYi7WLz9zEqXPg1PbQaCtYjBqG/RbmZ9zs7JTQ6LXcuBTmxcMdXCErm2tlWkYrToeRcr2P325mN1piYtTK67U8c5NW5s95OT1u4g861UPw+CjNxaUZNo6iapsgqZ98so4/6MbtMxE7SfPkaY5AQMPy4hj7+ykiE3aih6LI1DPo6zDYTCRjRQX/CYVc5LNNxidtSNpOL1tiMUH4PWRKVUYmfCrZ8uxZTD2POr0uM4tudrcKTIx61eXd7X5jwojFSiyuDmMyWxjyGfnk023OnQ8qGvGztRj5TIvl88OcHpSwmbUKjpdO19REXy56Rp2F/qCIUe9jbzfF7Q/HlY3g4f0ELqeZYMCsFJ0tObhOeHH6ujz4ssDCspNypYfN+mYbf/1WmG8/O0NrBK1JQzZWU754l7zOVR06TZPZ2SBff3PCSMTKrZsTJHNN1l5mlI3iux8t8cmvd3E6Je6lw2TX06oKvVBUSBZS+SZuj5HllXFevzgldlZn9YpfOW4l+VGv9dGbodWRw4WAqjzYgHlHn7f/dRaj142vPVC1JanHBFx2FRmfvXBdbUh2tvYx6CRtcsjNK1cZCoR5ufZUXX73dncJBwNcvXJZbQbrva4CRMqluNPrMTExpnrk0mvXGQ08frzGzVvXiJ0lqNVKrKwsKhXR/UfPVWJKNqcWi5NE7IT+QDYsdhLxpIp7nkXjCmYrm8R0Ura+btXddno87G4f0qdDq97k1p2bWIxSWSqqQ1okFBS1uTqYCan5yy++Vgq+yGRYbf9lYyigNImHii/M43TR6nZULF0z0Kj+s9/vVUqy08M4kbGQeu40RDWo1WG1GxgdHlVqKKvDrCC2cuEaGxtX/VL12u3tcf7cEl6fn9PjE2JRUWbOqyGvbGLl+xRlYqGUV0q6hbkltYWV6oaozWSIJ5ervZ1dlpeX1La3Uq+oGHu50sRplWpYHbfdQbHRVkC2yKgM9rVqECL0aEleSDxQdHQSUxUXt9Q65FD74z/8KX/9879RmzYGemVoGBkapq8Dj9vNg/tPmJmbJBwaUhfFZ8/WMBg1zM/MK+2VDN5OT6I0u22MGg3DoRFGR/zK0tCWC1doRP0ZZMOn1Wi4cukCn3/5gMjIEN5AgJ2tHYwmraruyWsrHvuj0zPeurZKTjrLRpuCBEq/WwYeWr0WPQZlEhCXvQL/HZ4oXsSF8+fZ3NjAF/CpQYrDauXT33/OyuqKAmzFEmcszy+pmLpOP8BudtDotlUXXFgGEtfsdlpk0jmmJkYxmCzq/yeE+ldrm9y5c5PNjW3VkZW4stgXmo0qx0fC+wmqi3651uDy6gXFh7A4LLRabTR9Hc+ePsXv96uL+Uk8rmKf8p6WBEOv1+KDDz7kL/79X6quvM5goFrOqaj77ZtvU65WKZfKSl+YyaWxO11ET88UFLCYK3B0GiM4NIQU5kuloqrb2OwWDEaj2i5ubm0THhIjhVtVXgYaA2MjYY6jkjrpKu7EYKDBI5teeXKZjIpdJAM9OXLLa2wy6dTAWwZrskmUDbwMLsx2E5q+XtVfBJYoAEDhymg1crDuK75JKBRib/+QSrGA2W5VdhB53wrQUTSmevldtjuVN/2rb+9x7coVzq0s85/+8i8Vsfu2gPcO9hkODavt8NH+EdFESsW/RSt5Jh3wvrBc5hgfG+eTT37LR2d7eAAAIABJREFUpYtSyYlhNZoUkFLUhWenxyyeW1LMBvm80OtNCA0yljxRiR1Rdvp9XvK1Kh//8I9U/eDgYBebVSxOBqUtLVbLSJ61UxOrTElxKmqdDsMWM7Fmj1i8zc6/mEdjX+Bsf42hCzdoFrM081nCF98mt/8Sq81P83SHvsuOwT+DuZ5DE5kh9+CXeL1B9fzU6XxorSZaLjuDnh5N+pSBTUffakKXLzMITcLJLhq3D7M/TO1oXcEIpU4QeP/vUnl1n/L+M/S6Af2hMUxDEfSVGM2jGD2fC9eNj6jd/wKdawiNtk3fFUYjQ4PYvoKN9UPDOG6+T/fpIzSNIoPzF1QNwXhyQMfpwDy8oqqold0NbA6tGt5rm6At53B/cBtGPMxf+t8pNXS8fynMSazA1JKH+GGdrqFHvdjDNeKnH3rz3JxfmCOfz6uUUFPUstNj6lkpwy2Bhb9+taHMIVqDjmQ8Rb8r8ekm7U6b+fl5Usmkeg8EPSMMtD3sNgsHp8f4vX7FlhHoqLwvI+PjFDNptYkenQgrLsmrV+tEowmV+uprNGTTOVU56A+61KtNZaU4iZ2i400qRQbJZ7FTQsPD5AtZtAOJqF9k/3CPs+Mo4XBIDX7F0tHVwPlzy7x49oLb77zN+torNQiwi3Wk01VVp0ajQXhELEd1NdCVZ3e9JdYrC91Wm36vw9UbV/j0d18o9sa5lSWVejEYpPt+yvBIUKVa5Lkvr4ec1aX+KcTr09MTpa2V5IzdJSkHC2cnZ4TDYfb2d1ldPa/sHg6nh2qhht1pYVBIsXv3mKm5IIViDq/DikVnZv0ohdZhwt7v4na7+GyjyN+7YOGffajnk5ctQiErlVqTWKLF4qKLarZJrt5S9xmvxUhVeCmWPiNeLw+eFfngpkPxXtxeD7/9zSaLiyFGJ238+pMDliZc2N1OoqdJ5lciKqXe6WjU0FDqV/VKjWdPCviGZOFhJR1tqsX0tZtjvHx4gslm4cKlIH/xF9t0uxpuvR1mbT2J02bFZtTT6FVxe30UEiUakko0aJgXFpTDQjxRppqro7U41MJ2f0cW43PEEicqwfzW7RCpeA2TWa+Mc61mE5PFwt5GHrfbTFdT5ea1VY5O48SPMzhcPqVIlETK62cxZs8HWZwd4q9/taZYeDNTTkxOg/oMevX0hNHxABr9gIOjNO/cibAhKfdcDa9twFlckrVWVq9E0PU7fPXlvlKburxWlVYSQK3m8388PaiVKiQzTfxDcG52kr2jM/Y2C0TGAySyNW7fHObXvz5gfnEarS5JNNYhm+xx/WqIRDaBTuulX+2weMXM1nqLcrnF+Ut2TvZEeVPj4lWBClVpl7Q0+xVWRIf3IMr8XFBRE+XDUzaGZ9Gaipt9+INxXr9KYPeY2HhR4oPvTFDK1cnlaxwfl1lYDeGxGEikC8zMhdnbSeL02NGbNBxuZGi0xCNrZul8kC9/f6r66al4ne/+aJYvf79DOa/hez8eZnezzuSEma2doqI+BzxWrC4XB9sJfGEzJp1FARPk0CHT+5FhO/VOE7fDSYsGlaKBdDrH7KRbTbsqta4CG2r7OjLlJqPjbmp5UZU4VMTjwoVRjo+TWM02JiY9PHi8o7pHbpedZKyKzaFB0zeoJEWTDj6fmdOjGhpDm4WpYarlBqfxPJHQMP6gQR1eZyak31TB6fSpi5bYB9Y3ZePa5+1bQunXgF6yd11SmQEXr7h48iRDV7beATN2s4FGQy63bUXmT+db2N1GsidNWv02b90Io9H2OT2q4/FbSMXL6qDcqnexuW0sL7vZ366qyE2508Ji0uGwmlh7laLZhYU5K26PRekBh/0GFUmWC0+106TXGhAK2tTXKtaaHJ5UuX7NTzzapFmrMzzqZHOjyO2bYSoNrZqgyhbu4cNTtDojH9wJqW2M6K8M1i6ltJavvzhgYtGDbqDB63Spg3e1XOXwuKB+Ll75EBnoVBR5dj5EMZ7HG7FQTDXJ5+WvBUnnq8QOc1g9BjVdzZwJFMiKwTTA77GTL7fJp2VIYcKgb2M2OPjexxP83//HQ7whJ1evOEgktHjcRp49iDM5buVgp8i7H0/zu99FGXZbuHTJRa7Y59yUjZzQvgcNHr028r/8Jk0oaGbIZWDZMeCb0wrmmp4FgYloe5zmyrTabrqGJu5+B6d9wFlez0/e9vLloxjHpQELQ276hh52g4mtZAOTtkW2rlFdsI9XA2weJCh0ZSPnw+bQ89nTlOqAB11OHIMMjZqOtdMG//wjN2ti9pi0IkKuIa8Rj3nAiN9NuVXD6zLS7Dep5nsMRXw8eVqjZ+pzsJlgdtartHfJcpNqGhaWhtAZ22y9yHLukouTgwaxXJfLF6wKFri2XuDiJZe6sBcKNbLFsvp5NRtddKYBP/reIvF4mUwuQ/zUgME+wOfQMz4V4NPf7fKHf7JMuVDjq6/PGA25FAVfSLoDjR6ddsBw2MnhXk4lQwIhJ0++TjE6b2F0xMP62pnqnGu0vTeqrlZX9dz2dsucv+BldMzB61dJAn4nNodRkewLEufUtrm4OsbBQUwB+EIjEguvkjgssXDdx+Feh9lxg6rLiL1EtkUS5zNZOxgtWo6PitjMZvXnPDmpKA7KzbdGqHVqVPJa5uYDiuL/+VdHRCIOLr81zqO7RyzM2jg8rmKzuJhfMnO0V1dax0Q2pw6cJvMwPTLYbA6qlQ65TBWH20610GNiRkc60aDUBLMODHYt85PDnBzGmZgN8u2XCTw+He9cn2V7d593V0b4h392zG5Gj9/aR2czQaOJAQP5dgu708mFKzfY2dhVHJWL1y/x7PEzGs06GoTCP6w60cKM0Gt0KrZ4/dplfvGLT9SFvdlq4PX6efHiFbNTE6rHubO1Rz5XZGFpTvWYJXWg02jJ5ss4bRb8IwGiR3HlN5fou1QWovHoG89xMceQL0C33VSRZCEzC11f0gbffnMfm8OptuqyQas1ajjsTuWPbtbF+oACqMkWWy60GoNWbdLPzmLoZTrS7dBudVT80+2W7nOSq1fl8plXm22hwksvO53McBw94w//8Cf89tPfK4r4nTu3ODmJqo2O6OHy2Qwms0318DfWNxXMauncgvLTP3n8hJs3b3N0IpubsjowiE3k0so5fv/lNyrRNTM5qp6vcph1O91MTo2ztr6uIu/irhLI3fzcHPu7+8wszCsXeqfZYHZ+hng8Trnaol4vK6r7+XOLPH32ingiwcL8JAd7x+oCJ5TpePyMXh+uXlyhVMjy9OU2E8Ja6LQJBQI4HB463QbPX7wiEhnH7jCRESidf4hCPq8UpKl0jJmFWfX5JVun+bkp2u028dgZPbTK7+72OVQSR57x8nUEfvdHP/k+X319n2n5PvYPVXRcYrECWJuanVA9XhluCO+hUi7T6XXY3T1icWFKdf4ddrcyUkhP1maxkE4XsFgMKpouZwUxdki832AyKJe3cApMNrMajIxGRrHabGrrZ7XbMel16jOzWq+q12M8FCJXzCo2y9L8Ap988iluj0stDUq5MqepGH/w8UeU8iU2t/cYn5hU/WKh8ctgye108nprS+m45Ga4MDvF0xevFDhOtJhao1FtFukMVBKkLAMgu0VVKwR2abJoObe4rMCRC/PzHB3vU681cDokcaFRwwipa0lFY2JiUl0yRCtmNOjlI1SZLASYeXJ6ysryolKfCWBRYLlSXRCegoCKJeknKrULq8vUmm1qpbKqYGzv7tBudtGbdKqyICyBB/ceEgyF1eexqNm2tzYVNFRqfpICcTtcPHn+knMLi9TqJUYnxjiLnuG0OdX3odeJsrTK1PQMxXwWm92hah/hYEgtg4TaL4MwOesJx8Dj9qrfV4nM3rh8RSU1/upvfqEGiZKKmZmbollvcXx4xI0b1xgKDvE3v/gb3vvwO4opEI/JgFinaOj37n3L0NCQAmiWyxWGgsO8fPVSPd9kcLC+vslPP/4D7j/4kkw6j8NuVxvZg5MzZVK4evm8Uje+3nit4KHCohD15NCwl0ePHzNsduAZ8ZEqlAjb9Dw9KpErtUj+y2V0kYsUanUc3hGyr17gDjspn0XROYfVQ1qvNdHRNDA6gwyOTtAvTNM3WumXyrR7DYyYILbNYPmWSorUX31L82gb89hVKMXphqcQ0xe1Mh1JOvU7NBtlbCMTdApH6N0T6Jo6cFgxOKw0t9cxTE5RPz7B7B+nVYth0FjpauoQS2O7dof66TY6m4dBPktXo1dJBbPXRu35I/ShcbTuAINiml4mTcdop+1146i3aGWO6flnGV6+SOLJZ7ircZz/8E/R1Lr4vvOvKGfavDVtY3oiyGk6p1SS5VSDslaH//IIk+EQL19t4nP7cfmESdQiepZSl6CjvWPGJycVi2v18gW2Xr1mMJDEqEvBnyvFqkrISkprOBjh4f27ePwBcukcyxeWONk/VnUC4YtIpTMcCbN/eMDh4RHT49PMzE1weHSqjBHTkxPkshlcTh+n0VM6XYHYOlSdil6HQHCIk9MYlUKZpZVlVeXa3T9QoMuz42NVQ/ujn/yY+w8fqdi9DCGlSnJwdMDB7hFTU2NMTI3x5OELpZsVdoBc/gXCmkol8AcCagAXTSbR9FFDcRlSy+titsn7r6GeJdVGg52dA4xmHU6bQw0CZAkmzyGp70hcXS6nwtTY2tjnD37yY06OtxUcef3VNj6/k+GhINVqQ9Ug//CPv8+zh0+gPmBiZoTP/s1n3FwYIp6T5KleXYqb1Qpao4Z0qkGi2lcsiMlRC//idgdNR8ODqLCGSozaHXS1dcweK8VYm6VlG58+KjIzZMfm1FEqNdk5rLOyZMVhtFDOdnEEhJ1goVaqs7Ff4vy8H6/fyOaLIqNzTqUEF1PBlbfGiB3EaLT7Sj/uC5hUWlzX1ylGDf02qVyHWq2Dy2RHY21jMxrRmWS476bba1BM5zlKvqlDJgppPDYHN25O8Fd/ta60qMMhE7GzGsGwi1gyz+yET/2cG9WeGkTlKw18XouCXPuDHs5Okqy9ytNr6bn9fhiPQ8+Xd6NcvOghcVpXqQgBEZ8eFbG4dExNu1UtdHu3wKWrAVZXJ/l//q8npPMa/uhPRzneSNJDx8KSh1cv6kxMmTFYOtQyRppUqVQGeG0Wyu0SFTmjBwNYrT11ttXqe9QbJjR//jPfIBz24nB2efwoSWTCQTZRVX7UuQtBntyN4w5YaLfh9CjNxIyDGzcm+fyTY9VRko1JwC+ANh3N3gC7yUZGJs27eWbm/CQTcjC2cXhUZ3rWj3x6SgT//renaLXygx7QqrVYOT/EwwcZRU1fXRzm8ChLszNQgD6Ju0vv2+oYcOPtZV4+2KNY7dDrW5gcN/DVVwkuXvWoQ6nOIETzGmaLlWyqqnrE/+P/eoX73xzQ7xjJ5coEQm5Gx0zkM3UF/mtU9ZhsGrqNARPjFqUpc7qt5AsVQmMOHtyPM+S3MTltVa7X59Kxrne5fEO8nFpiZ3kVi0wl8kq1MjM3pNREvbaWfE6I8lZa3SoWo8SAO+RzHebmzeh10jFMUs62GJ4xMh6w8+B+no/+ZILf/OUeV26OqA+RdF6mlFqsJgd7OwcKspbLF7BbfegtbbRdvdp29Ac1+n0d1UpPvZ6VQo0Hj/IsLdqV+rDWaKnLyOXrQQrZJol0DZfbyN52iWDQTXBIy+FxnXy+xa3bQySjAxWBGxp3KmK9UWdSoBOhDU+ODym+wci4Ga1oX3Qa1tZO8ToMhMd86uDdqA04Oirww4/nle9djAzCaJhdCCmS8PZ6jvnFIXr6KrW8hm5vwMiYkY3tKrubJf70v5olm2jhHdJzetag0xYNTB3vkJ1Gu42mNcA9bOf1eolrlz0MhwO8fLqvJpPJVI1ud8BwyKUgPkaTnZGwh1Qxx9u3pnnw+1Py5SrXbgTZ363Q0w6wmHV4nFY1rPEGzJxfHSV1luPgMEtPoycSsDPQ6dU2oFTL0BZEbr9HtdtnZtnD9ss051cjqq8u0Kpeo4ehb8Tj72C0DRHdT4K2y9SQFd+kh3JywHa1zb/8ZZzjfI+BScOCT8NMWKwNBcx9PXrHG1bCxusslxc91Lp9DpMdLiw68OmN7MQbvE5n+dmdFX5595AZDxisA6JZHRGfA72prVSDsxEXG6kKiz4LgZCHLx+nGAlYcdksbKVT9LpmWr0BUwEb+WadeLxBZ2DgwqSNneMSpQ4E3C72Y1lsHVieMinf8qhvwKRbx7BRw5Cpy0rEpNIlnY5VsQWSXRuf341zftyLd7zLwU6DucWAMjRIJ61cb6E1GjDZ7CSP0rS1es6vBDg+KKshTTZT4txSiGS2TKXRZWLKg7Glp1AtUa7ruHLRh9Fs5fH9Q8rtLjbbAJPGzeFxAovZynvvTiqH/OlJk8vXRzg6yGGxy9Crw9xcgJcvY5weFrjx9jTxeJ5g0Emz3mV/r0A4YmZ0xE1sv4B7zMbRvuifUHrG8KidnY0C6UwRt8/MnFSeGhUyuS6xaJrIcIC+rqR0VgJ4vH47zO5Wld3tFG9dj7B/nHoDpikLT0R+n9+AIoVw7nSZFQFYVHqhISvFyoBKoUE01eK998aZnXbx+EFa/e8F6rKzK1yBCI1qB7NJq+pVlVqLVqXPxIKV44O2ArZ+53sTPH1SZOWCl7Wnp5jMDj78aIrf/mqH9+5E2DtJY9c5WLzg5/NvYwxaTS6t2PnrzzL8xYGO6ZCPZrNEJt/EZrKoD9W61HhmFxmfnuPf/tl/ZHVlnksXz6tNibiCJdocGR1VGq9CNke9I9aVt1U/XOB5cnn56qtvuPPO7Tcw1VqT/d1t1RefHJshGjtGK5evDtitFkWulr50aGhIRZ3lAmgxG5hbWOSrr7+iUW2ojqdcak9PTgiPhtjZ3ldbE6NRh9vrZ3NzQ6nd/F43N26+xbOHz1QkOp3OYHPZ0Otkaz3Ozu4R6xu76mLy/ru3FJzpydPn5AsF5uZn1QUqenaGSbSrfWHV6AgNh9WzOZPOEo4MK92a0NAX5+eJnUWp1kUdmFd/T9fvq2eJvA5Sc7A5nZwdn6hLlxCmZRs5ORnhxdN1tUkVt/xp9IQLqysKICj9ca9HHO1GtUGSGPa5pXl1We73RK13noPDHTWEqTcbbG/sEAoHuXBhlbW1dZKpLBNjYWW7CQV9Kok1PTWmDo+yTZNYZDKZpNVoKHCfyWrC4/YTTcRVRFTAjJlMTm2dR8fC6vktXIVarUw2m1dRVQHZSTJOLp6iTZTLpzqYSme8N1DbfnmWy4F7Rmoi1bKqTWSyoiW2qct9Ih5FozWoDZMM6iTmLQTqRCyuzAvy2ojLPuD1qYHN680dfF6P2mpLbVAGU2L9cDsltVJlampabeNPpcddrigugIDnXE6n4j/EzuKqZ37z5i32Dg5UKlAi7PFEHI/HxchIhHQ8rbbuYgiQxMP1m9f4+c9/yXe/+y7jYxH+/b/9j/iDIRxyACuX1aF7ZWVFddPFd9/XdpUBoFopqBj/9MSo6g+vre+o2oLTYWVn55TAsEfFkoUP4PO5OTg4VVH+ucVZVbWpNWuqAiCJhIO9AzXcmluaZ2/3gHdu3qDdfkO/lhTO+NSE6hKLSjAaizIxPgODNo1mi0wuz9tv3eTZMxneNdWFRDaOw8EhCqWSAjlL7WRJvvb2Ho1WjbdvXScWy7K7v68SClL7kPj17tYOo+MjnJ4lWDq3yGeffqkuoB//wY/48qsvVHpT6PxSL5Gfl2yx87mC0vF98/V9hkPCBwlSKhZweX0qwSDwNjEOON0ugkN+2p06k2OTnJyeqUqJVivDOgtmk4XlpXk2tndIxlJ0ei2Wl1fY2dvBaTMx6JkUILM/eGP1EOaKUNFv3rrO7u6uGgxIzWRsZJRGq6EGbzIUeP7qNdcvrSgV5r2799Aa9LRaXXrdvtIyv//RR+rvJeJnaLRm9AaNgqzJe1WAlp1Gi3ytRsBpZXY0xFmtxP2nRZ79k1Xmf/Qhmf0NfG4nldMSJreDvqaD1jdCe/0BPZsTndGEyzNEtpKjffAaqytEJzSMJTQK2SLV+A5WR4B2MUfH1kW3n8F55Qbt0UksGh+N3DbNv/kzdO/8BPvSBNWf/2u0s1fp1evQyGGWeofWT+dwHX1oVNU+NOljOjOXMWYP6Gh1DJIZ9JNL9A836KZO0S5dxBCYRKdv0Xj8COPUEq3TNfSRRQxjUxCP0u9WqD29h/X7fx+T1Hf2X6nngveH/4Du829pS801+oDw+/81v//V7/j+v9rip3fC7G3HKHW13Lo6RyVXolCvUXcHmJ4dZmtzh+HRUcbHQrx4uYbDauOP/s6f8uf/7s/VM2Z0dESlOsXiYLNauHTtghrY3HvwUFW/BLR5JBBSp5tsKs3u8SEf3LmjLtiq6qWXpYFG/Xe50EuqKXqa4Pj4lJnZiKqWJGNZfMM+9ZwpF4uqjuLyyJYactkCgWCY50+eMzMzysuXm2oYJVawXK6E1SRVYQOVUoZMuqiSTjK8/eC7d9Ry7bd/+1uuXr3K+MwER7uHxOIxZSm5fvUiTx+vsXp5lVImx+utDeqNloK3GwxmCsWySpJJ9U2yroVsltm5WWLxOEuLCyoZJENZ9Z+lmjqj3HznNmtrzykX68qOIOaU9773HmZMvFh7Tb1d5d13b/Hs/mPqHS1jS+N0DzOcrW+QiHaJTLsY82uwepzUimUyeS3tXpexISPVio6duAwu2nz2PzvVRv3JTpVGp8P9jTpep1ZVw+ZGHaDvc5rq4fX08FssBIZdHO/n8QlQT1KMXlmU1Ygdtrl628HGqxIXVifJJbJkCg1uXJ9ga/eMw6M3iQKXW8faMyHxS2IMJqfcpJJlZQgQ445eY+Pu/T0uXxhmZzuvUn6hiAObHc6OqzjdOpW23lpP8id/b5Evv0rQKg9w+bpEz3pcuOpXdwOVaPYYFNg0eZZl4WKIerlFJlXB6bYQPc3THehUujKfbDE961Dw0p3tEtOzTlKxIuFxLy9fpRkJWhVHrJyqsrtVozNoYTRo8I0IB6XBj348ysl2n3qzycK8hVqjS7PUxuyys7uX5eigqBaFBrMO3cCI3aPjeCdPp2PC4uhit+swmYRZc0an1WRqLoDmV//T+OD4LM3stEc5uNPxGpcv+unQZ/1FFo9Pj06nw+q0qU1LPtNgeiZAs61hbFTD2anAoLSMjDq4902UC9eGcOpsbO5EaQq4a9xJs9zH4TJzdJDCFXAwEvKx9fqQcxLX6A8wG4Qr1WLtUYEb70xx9+4RFpMWpwempiLs7iS5fH2C18+PMJsdmExyIapy47Yfn8PA1k6V2++O85//4pnqm4yOW6iW+oyPOanUm8q/vrFVIptqcf26xF6LajIdmbDgtttpt0Cg/GuP44QidqWLOjgsKFqsz2VFLCg2r5W91zXmlzyqR2lx2Nhaj7K33eLSW3ZWVyJKYdRsQ1No/P0+4aCNXKFG/LTG+FSQ6EmB8GiAvcNDhlw+0ukSU1MOrB6zAvQYdEZ+8benXD7v5Mpbczy9t8XQsINErElk3MHZcZrJsSCprJBELVgdBnWQbbd6CvQwPx2kVW+rmLJ0VPU6HcOjLo536iQSWQYDEza7lqGwgc2nKS7fHmH3tfijjTicFo4Pqnh8GhbnRtUhpd3Vq97N8xcZwiNG5bItZLtks0UuX/JzuF9CY7CqzYP8Mju8Tvq9Pl6fnb3tJBiatJtGjg4qfPTRBLHjIpVOl9ULMnVtK5q51QrNlg6Toc9w2M3udp1gSKs6xpGwW3DmPH1ypA6O79we5/VGnEFHz/CIXW0ZS1kd1XYOr9OjopZyiJ2dDZA4a7F6wYHJquXeF0n8IxY0hj6PvhJVEswuhJVnXLrEEuEdmx7idC+nqgJCiJc/W7NfJh7vKfDY5Use1tbSrD3J8Z2Ph9T2VeI/8mf8zWc7TAbtvPPBLJ//+hiNucn4mJdkTia2Bg4kDu828tGSnYNoie3sgFTdTLbb5T/fa2AKaPnZjRC//OqYnq7PyqQTl8tItqTh2VpcxaKCQRdubYOSVoNBa2DQ7jM5Y8XQ6vHJN3lsQQ3vrI4Sz5TpGIx0irLF7nJQaDE2pOPy/Ai//u0+mTb86c1hdvaTmL1WrHqtIucXOjo6nQZjLjedbpGwx85OrKgeoBq5HFU7+I06vnc9xGevs2wmimi6HrKVGoNWV12cBro+E04D5101Qn4N//C9MWz2Lt9+nefqzTEVl90+6VFrDdDIlPbGCJ99uaeiURcXfPzqsyS3L4epNQt0m4Y3rud8iciIm7PTitrSen0mdYD83g+v8HLtjORpQ/Vkly85yZ41VUz12p1xTg5FT2TkOFriaL/AD344TaHSIpUs0q/r1XPBqNURlKlp36oO5gKQKRQFazNgf6OMDPPnF5y0Bnqa9Trbrwt4/XZ8AR1Ot5lCStzYBWYXPZzsVzBZ9GjoMDk5xOyyi//wb7YIRcyqD1suNBSA0Cvxq26dg60Wi0t+BcQUaOS5FTfZdJ2zwzbDYalt6fD6HLQqQoEuc/3WPL//zSapWPW/AAg1zMw6OTlp4w2aSUSrVPJVZqad+EYCnEYTBP0uyrkWem0Pk8OstImJTAWbRY9/2Eq10KVRKzM+H+J4q6QGDVdULSDF1OII2XSByZCRB6+K/POvB8yEnLQrOYZsLkwOPflynmymy7vf/YBcIo/ObiaXTStl3OL8FKcnSbZ3dvB53Kyev0QilSCRSKgD2P7+PlarXYHVDo+FZWFjY3tTUeqFaC4bi4cPnyklnhzCyrUib711nYcPnzI/N6s61FKlkr70q1fPWVw4z6Mnj5iemmF5ZY673z5Urm6n28PJ8akCygmh3KQ3qDj47Mw0qUyKaDymLh+y8R0dl63QU0Uqz+ZSmEyyoXcwPTvJ02fPlWZMLnfRE6kmVNXvRr5UZW5qgo6AiUR1WCnR7/Q4ODllfmaGs0QCl92ianLL55YRX3AeAAAgAElEQVSVg/7Jo2dcvLyqXMwv1jcYHwlz6eJFtYWcnp4jXygpLZMMwFRk0GpSMVMBlUlsfXJ8QhkW1jZ3ubgiNYC6UmCKQ1hgeZq+lrX1V8zNzSvIn3QDBQRXLJdJx1IsX1hWjIWnL9eUWjGfy3J+eYmD4xNCoSAPHj7G5XRgtbpw2szqIuT0+NQ2KBVNkS8U1dZ1cnJcDTvESS/Aw7Xnr5lfmldpOqPWjNXyhmcgn6eZbFZVZkQ/J6BDq8WiBirHp2d4XR41cBCy/JCo2AZyOfaofuzWwSE3L1/EYnnTiRV13tK5ZTZfb2Ex6tHozYopJHF2uWxJyuLG9RvKHb+xs8HNG9fotdq8eP5KsQpE1Xd0dEqxlOP2rXeVtjGVSXK4f6Q2zhaLUW31LSY96VSSSGSMQrmoDDuiBhPCt1sSB9U6OoNGDULEVOMNeMlnSipaWqnXMKJlbHJcDYuGg0FVfzg8PqbX6xEIBJlfmOLF83XVUU8ns8ps8cMffZ+739zHPzxMp/3GevDRR++xtbGtFhf1prBbAqoeMNCIyaGCf0gOsLvUajV++tMfUS0V6LQGfP3NA+r1OuNT4wrKqdHoGR4OcnR0pHgEDnGcP36iNuPCvZDBjbx3Wu2m0kBGRse59+1dhkJBteSRdEtgyKO6zBKJHpMUSKvJ2eGxSjRKkmd0bFx9zZWVc0qb5fMEVGXAYDFgs7nIpJMMBQJKuSWXmuFwEJNwOpripXar93wsmlT6R/ls97g9FPNFliSh0GhwfHLIxNQMx3uH2B02TGYzDrOVJy9fqOSD1BYkrSMDQavo4cpVpf+TXnbsNMri0qLie4iWT1I+I2MjbG/uKBK7bO0DAa9Sp0lOO55Kv0k46DWKiSEATb1Zi9tm5+69x0yPRxR08Hj3kOmFRaSDKmyEaCymLmLSkRbugNPrZWPjGblYhnBYztgNkqk8Nkm37nb49J/e4vbfuUW66MCoidL46h765RnMVT311Ck6l59OLq5Ue52FRTSZBN14DNd736GdPKDyfA1BPuuu3sZjMPz/LL1nrKRpep53Vc45V51UJ4c+qXP39ISesJN3d7jU0hbFtSlKhiGb0A9ZhgwYNqwftiDAAkRRIAwDpAySS3K53MCdnd2Z7enpnumcT86pzjmVc85lvW/r72Jnps/pqu973+e57+ui9OwF7XOXMNbq5Hae0Ioc4jkzj3L2bdq5bcpPnmC5/A6N2BZ6h4eurY/m6kM61QJqp5dWt4pdaaGYSKIWVR9li06igN7soKGrYRo4RymyhTKXQR0apny8J5Wohr6wrMQ0RP2g1EYb8kqrQktYCCbmUdfLZHeW0Zr9NPcfoHINYvzW96mvPSPy4BZnRhbRvznO+6/+O9ZNJi6EzNRbHXYzebQdBQGnjWqnyfw/+ID9rQPWl9cYnRiRZ7OpyRFu3ronU2ICACreCzMzU9y88RXBQIiDw0P5GRPVgUwqJ4dierOZWrnK69ffIHZ6LIdbIu2RK+RlFUmoKsUzxOfzyhqT2MAPhAawOOwcHhySSCR45col7tx/IIeq4p8RQ6Z2qyt5LVdeuUouk8fr95CMCoaQH61OReT4GJvZwe3bd/joOx/LBdve3h71RguzzcT48KgE6714viItMzanA4tRTz6TYW5+kb//xWd47HYavQbvf/QuTx48l1wNYb8RAzfBIhDx8Gwmi96gldR7nVGkjK0c7B0wNTUljRcipSR1sn19PHv+XHIQRF9e1NKa1QabmyJ1KCC2XV774ArZYk3aDp5/cZutO7v47CaZYgyGtcQPK3jcNmKZGuVuDatSkP8NfLVVZtLV4/96X4PHouPGaol8pcW5CQuXF0Ls7Sf44kGZVy4I/W+XpXWxnHPQzEOh3MLuUrEw4yZfUlLJZ0ikuqzs5nnjsp+hASd7eymBfmNjq0RP3SMYUmNRm6l1OzhsKoqVNucWA/zqV/sYzF38LhcdbYudJZEsEfYEFRcvCA2pTdY6793K4A9p6CqEDtlD5KiAZ9iMy6Lg1henaAwGzGYFRoMOr1eAFIsUqjVcViMffnCG58uH3PkqjeK/mPMcdiQrwm0WXCDIl+tSj272mNlYOcLhtHJ6UkepbnBhwcX6VoVyUcncWTunBxmGxvoIBNVyQfD4UYVqpkJ4xiLfw8nDBol0WqYDxcIn6LNIBp7gZG1vluU7VqjQxSIcfYehQSenO6JKXWZ6doBEIkfuVIni838+1Hv++JTRCRf7u3G8XjvjYy629xLUqj1sdqOMB8dOivj8Rkm0vHVDuF9dUvEjnOLZQo3TeA6z2kS1LWjbCubnPRgsWmr5NhsbaRnBVRkaWMWkqCC6J125aRP6yafP8vj6NLIv0a52iMZSOFxuYod57F4rkYMS0wtGSiktlWpGQh32tgrMzTvYO6xQKbWYXxAHvRZXLwbIFZt0alBs1Ln19RFT4yJ+3KWcL3P9bdExLrOynKLR7kmg17U3vMzOi6n9c7RKHR9/f4qVlX2KaT2+gQ4jfQEyaXFQz6LsqKUjt93VYbEIvYSGleUYoUEDHpeRTLrL3l6aixe99Hoaml0FKkWLfo9DRnvzeWiKKOCQmWxCROa1TM7280f/7p4k3J9f7OcXP3/O2HQAjVovQUilWpNitiYv412VilQ0w7nZMH/xNxvyv9trdwj4zRyd1hgbNtPtKXELb3CqQqNck1u3yRlBm1QS2YsSSyGVY0plj3pLgU7T4zRWJeAxyUODcLR3FB06baiXhVLRht1hZHcziVJEsTyCOtzgeK+Iv0/0i1v0mg2+88k5vr61ITfmhbKSqeEQ1WZW0jPf+XiA3c0UOlWPWLSC3+uhq21TLFblRerKlSGU2hpf/OqQd94bJJOs83xJDBqs1FoKbGa19MELCna90mRqPsTuRpahsA2TucfaepZuu4daqaXZ7JLO5Zia8FFtt+gIDZzfTEuhZW9TbN9UBPot3P48jt2jYW6xj6WnO5TKGlB1mZvxUqtXODkQijIjyXSOi1dG0Cq70uceHjKSiHeJZQosnO/HajDw6zun9LuV5OtVzk+HuHHnkGhWwb/6h35GQ242/nNH5+ZWiz+6mSKvMzJl1lPQdAgqFbQaHTqtEu+9PsxhpMjnT/LMTZlRd7pYfS4uTnoplTscHJ6wfFDg+sUh1nZK7B0nmR40MDUZIr2fxDczzdNH2xwlkgz0m7HrtSIILqFZpmKVsxemSNarpA4EGC4sIVh6ZYVyWSPhmDnxkgv2Ey/HaFQsUu93lM8T8Dilri2TrDEY0hAvqqhUS/S7VBwlevQLdYlGwZMDAaiyU1K1iURKvDLu4nWPBo0qJ+Onv33egckhjmBWtrayEhzUVvQkFDERaWLz6qR+rJCucHiaZX4kiMrUlRd8dbNBNNPB7TURO8ljtulw2cyyStIuNTA7jHKo9/BOmplZI7lKB22zjcXnkBvOwdBLZebFc35OTtNyCGG3qUhHG7Jr3xWAHoua/d0S4XG3PPyZTTrKtQYvniUlv+LMvItErCaVc+vPYzh8gnMRkGDCpbUEpQKEBgwMDwdZ2zhCp7Qg6nW3v04yNm7FrO5hdxvIpNoc7KcYGXHR6aqlfiw4YMLpUPPskYj/NnBarWxsJZmY8kgootD4XXulD4UavvzimIkzVvn/efxkl6kpL5nTBnqHCofdw/OnOwRDXuxWFQptW+pw8oUaXpfoNrZ5vpLme5+McBRJ8exRhe//Xh+3bmdQqTtoezr6hkWnP0om3ea7r3oooOXt//cUl0rLpE9B2Osgnq9QzNcpNptcffUqpXyDwZEBms0WP/nFLxkJjzI9OkKhXpLRadHFdQl9k0YpDzYmg4lqo4padBhrNSr1ujy8ZVIJwsPD8sBy4/MbXHvtVaGU4MaXt2VsUasTzyixqR6Rm9xPf/EzJidmSGQyElAkfOrCTpNOFuSBXlxURQQ4GAxJEJSIxwvd4PbugYxuN9t1hofG2d7dpt1pyEuViPSarSb6g0FMNj3R0yRf/eZrzszPk8/nmJkel9vGo+NDWQcRG5ec6LyqdPIQWcgl6So0OOxW2Xmfn5/hJHJCr9OVl7uNnS1UPdBpVFy+do14IkE2kZIXTK3WKPvZK1sbDIX6mJ2dIXJ6wt7unuQPDA4My436s6dPJexUXLLFQMwnIqFKOIycMNQflrFOjVaNx+Xl3v2H+EMezi4s8vD+I3x+H3qDXsZZRS9cuNnFplR0agWRQvQsxe+/0WridnnYFfHyUuOlAcZqI5lIyEOmGLAJfsL45BhWm51T0e9vCY1bFovRQqNZxWpzkIzG5ZZWOLXVeh2lTF6mPcTA9vy5BRmrFxdwsX11OB3ksjl5KRsaCZJKZORQuV5vSkL2s6diQDNKLJ6iXC4xPDxEVehf9QZUAquqNbCzvYFPMB26EDk8wWGzyUP6/Nl5vv76Lttb2xK8tbOzL3VaZ88vSk2eWqPnzjd3ZW/W5/Nz//4Drly5yJPHT2WMV1Q0Htx9TCJ2wujoqEwuiATLysoSy8vbfPLJR5xExFa+SF9oUP7vr129yrOlVZk0EJcAsUzZ2NqXtiGh2BIpCKvTQjwak4MEsR3yhvw4rRY5dBKWI9F3Xpiflz3c4fCovKQeR2MyUv/hh29w6/ZDOqIO5nSwubLBhXPnpYYwVypRzBdwC294NsXQQJh8IStBaTNnzkhmUy5XwGqxcnx6zIhICBwcya67IH53W20JORRWh1g8KeGXKo1OXp6fv1jB7nBKDacY1of8PgYGhvjpp38v1Z35fEZGTWOncWYX5tFoNaxvbDDYF0Jn0Evto4grVxsCqNmWqROfNyAj/c1GFafPLy//IskQHu5nYXGOu7fvS+q/zeqg2+3SEV3+kVGZwnC5vWQySZw2G/l8SW58RapDmCHSuRTDg4MyJSKGOkPi3Rc54dq1q7IOI5IuiUSU+YVZyTcQm3uxORbgvuuvv8bde48oFPOMjYyRKaRYW17jzGQYlyfA5uoqc+cvc3R6ilmnlVHzWq0hN7Jao44+v0+CNfUqFVaLhnKrhknlIps74Wm8zZ/+YJ7fvd7H4U4a2/lZas8eg8EAFTVqt0WykISiUWk2YbA5Sf3yR5j8oyhnX5FcmObpNnrvAL1OUy7cDC4TzcMdVMF+KDTQDAxQu/G3pIpVfO+8j6GpJv3Vp1je/b4cwOaW7mB7431a25tUth7D9BX0Gh3dSgq1WGblDtH5RmQqohfoo/HNHfTzZ2ibzPTqZRo3f0bXNoDzytvUTjZQ6p0ou21KkTX0/mHUGgNNyqiiSQx2Lw23i+bxBr1kFN25VzB2vChMWTK7MVxzYURA3fTOXzE4ZGXR3yJTV6LRWaQFymwyou13oXLaiR0dywGi4J+Iz7nb7sVmM5FMpVBp1ChF5ayjJJFIS/bT1MyMrI/2D4TY2diVumLRr5eDLY+o2Ig0cF4+x4SxRqp3p8bZ3NiWjAsB9RNK1tNojPHJUfn8X19bl3UBm9lJs1sXYVA56BMJJpEEqDbq8s4hqkEbm1sSKiv+Lr1uj6y8ffjx+2xtbbK6vMWVqxeknrAoBsqjYSqVkrRIqNVK+WcSjBOh7hT2D/FcLpSq+N1OOcCsVsUlUsvoyBCpdJxHD19ImODY6BCPnjx/CQ1UirpyVCbXRJqqVChJ1k1k9wBPQNyPtDRKNarthmQFTM9PMDQW4q//+EeEhgcZmh7g+RdP6DcYUfUatAp1lHYjnU6dZK4th9xe0XPXmLh1kCdbK/FvPgxyJdzm8KBBpteg3hDrERWvzTq5/SjNtN+EvU8lTWM2R5dIrMPsqFUOSZ8t1wj3K2Uyslhp4LCLD6CZkL9LoaDkNFnBbtDg92npn3Dy6F6CvgE9pydtuczxOHQEQ+K5l8MbtEpWRPw0h1t8pzpqWr0mYmq+tVPljddCHB+lSCQUaAw9hgdMaLVw/2GS8JCHbLqFQtfEqFXgcGuhoyIYMLO5XmBkxkE13yOZiYucG4mTKhev+kkXBclfDObFu6uL12fF4zPKhblaKTCAKhbODMgzh6LX5auvj3nrzTDbB8fYjEZqFTXVcomTkwZOt5rZhX4+/2wPj0+Ly23i9q0k3/+dcVmtqlSy0DNw/0ECh12o/zQ4rWrSiSYmj2ATZLn5eZH3PwrJNIJWWWZ6bpQHd3dRfPbPB3sut5ZMosDgoIuHD0UsrkCzoeXs+QDtRgeDQYFCo+DGjSO+++0R0ikFuVRG0sv1WjU2o55iqU2uVOb3f/8yS08PqVY7dAUZVHwRVbB3lMfncBE9TuG0K/D3+bj3zTHXvuWjnGpRKHXx92t4dDfG9KyfbqeBzaLn4DBLtapkdFJPNqGQXVhBixfRMQU96rUG4ttmMpvYXk3TP2RiaMT68tBbrEutQnjUSeQkg1qhJhC0kYiXXsaTEz3CAyaCAQfpfImN9TQm4fFUKDHoNPT16wkF3Xx1a4fFMwNk83nSaWE0VxLsezncEF08sXnZ3S5jMAlqqRat6KPnejgsGta207hsGgZHPGRTJdae5OkZu4QHrZyZCxE9TfPzHyf47d8JYrXquHvngF7DxMIlD8l0RrqUG9UeB6c5zs0MsncoLjh2FB0lR9ESAz4rhVoLQWJKJUtSVbi+KXqskE1XaTVNvPt+gKdPDiUBtFRvyYOouIBcuzKG3txjfTXLqYwpC3eukt3NNENjFrnF0Wt7mK1Glp6dymHNxWuDcruvM5sx6Hqy0iB8pBvLSTxBPX0+0Z8Rl+MsIa9LPqAFyOwnn26hbCjpG9Th9bswuxtsrVckLLJdr2J1u9nZiZJL1ZifH5DQqpu3IoT8Bnw+Hf4hF/lkBbVGh8WgZGs9xdFxmY+/O0kyXkSp7pIvKqiXKvT3mQgMOCkWGvz8p3tScSliuiarmm6zISN6o1Muntw9odnuMhS2UMjAhasOTk7qHO6lCI/ZOTkq4A+IqX2FXKYie7GVqoiYq/AMaSlnhcNTx4DXSDTVkOC8SkMh6fgdmqgrFXIdE/ePK9zY7nBQ0qKyauhr1Rl3K4nk60wMODlK1kgnu7gsHWx+HSfpDpNePRafgehhjJXdNrspK0OuPPmMXDaQ6oFFAekmGNUQcEM5r5DO0oAdjgpKGU80acGIgoq6h8uuo1wGu7nLB1e9JOMVej0zifIpI26XpKFu7h1TrhnoartYtXWMdj/Rkyz70TIafZd2W4NWAZcXfbTrDVrtLofJIh6ThkpHOFVrqLoaNo8aNNBTaZe5KL6zZS2FQpULIyrGTQrePSto1G1M3Qa7OfESrzM9GOLOepRBv51SsUah2qBTLnPpwjjRVIrBQaccJooYp8WlRdkoY7WZMJkUrG7k6Wm7cssieoSNRoexMTO5Uo2Tw7qcvo9MOtlZS7Aw62M70qSSr+D2WCiUMmgUVrwhA7l0hUQsz9XX+3lwL044bCcer8pY8/TUKIlkXG5io5EiCKVMVwCv1PQNWHCYzXzztZjmN/H1mSWUc2rOh8loYy9ywttvn+Obm8uCXyX5IIJ2r1bqyeRaUn/ZN6Tn4uUxDvZiUvPWaCu4dN5PLtPmy1v7jA7bMVkNEvonYVWlLlqNBq1BTTGbR28xye/f7tExgyEfxUKTaqMi4XSZRBWdSUmvLVIVJRxunYw4iqTRD/9kiblLXmKpIkG3im5XLQ+re0c1mrUC331zkI//Yw53wMmwA7b3U3i8VgnxjGUrVHs93nz7A7745edcef0SBoOe44NDqVkTXfqu+DY0WrR7CnodAeFrYnMJPodBbrjFAERsxkUEv1ws0O11ZH2jf2hQgsQEnEiIha1Wh7xEnkSj8oJaqxdxe3xEo0l5aPV43RJMJ7au4iAu+qAiElwvl2XkPJPPUqk35AVJgIEElV+p7Mg4pCCPz52ZRNwwHj56isfnkR33WCzJ0ckRF89fwKAzys6ywy1SYEiKtNjc+AMiEdeWvmShWJqaHpa9WGE4EL8L0Qu/dOUK33xzR1aYhIe5XCpQq3dIZzNYDCYCAZccSAsGhbjYi55n7CSJwWqUg5OZiQliqRSbG5vyfTc+OYJOo8XvETrRb7Db7NjsAlKbkEDC8fFhCaM8PDqWkKue4K5UxSG1Jbdigq3QN9AnVXNatYHj033OnT/L1vq23LBncgkKmZLsiosL9+rqJj6/V14GLSaRvmpTF2CtWk3WJ1B18HsFHFApL6qBQFDyCZRKBRNTk1Lj+PTJS92cqBV4vF75OxS60OfLS4xNjjESHpCU5Vy6gEQRK9sEQwNEIickkwmZvhC09Y2tbWk/WFw8i9mo5SAS4ejgEK/Ph0b3kkGwuDBP5PSUdDxD30BQbnU21jbQ/ueU3eLinCR933/8TF6UvR4vo6MjbG1tk4wlGRkblTUTjVoMq3Q0KzWMVhuxVIxz83MyDaTTG1lZWpXD4TPzU5gMZtLpuIQpCsq/uOSKM4qoc4iYstcfwG01y+HLw0fPePX6FSqlGhsbG3ILJ4q8SrVO0slPjk8JhkN4nF7q5RrFcl6CwPxeN41Oi42ldSanpiV/aWZC+MHL0n4hwIhiwy626MIkcnZ2iuN4FJ3BTKvalEMCcabwuBz09/fLrmwimZSfGaPVzNzcGclhyGWSeHx+ORQbHxmXCQgxSAiPDBHuH2Z1Y5V0Nk86m2V6clxe1AVjpJgpyJ9bgMUEXHdx4ayk8YsahLAB1KtN+dkXJo5ULEVOpDBeu8ZpNMHKC2ED8csan4DlCoWXgF6KC//+ziFz8zMSwNjtKgWvjN2DXcbGJ4jHhKrVLVMzlXJZVhTEMOiLz76Ql52BcAgEKyMZl7WUq9euyiTC2tqmjP6LYY+4tNUbwpLSkkpml83K4PAY0dgJSoWK/d0dPvzoQ7qdjqwa/Pmf/5DBfgHEU0qGhLBqoNKi7HZ49fVX2d7Z5tHjJ/K73j88ILkeiegpnaZISYQIuB2yRvPLh0X+5zft/G9/+r+y83/8K/yvv4a2pZDGHMWZs1iycZLLz9AG7LQyCWzj58hFTtFbdXRbFVQiWjw8R+PFffRzl2mebGFQQKmrQ0+HlqZLb3ye3o1fYBgapVfK0V24TrdRgp3HYHTSKZeoV3IoDo6wXLks66jCnKRpF9GEp6lk87SfP8R84QK9bpPa7hHaQADqdRTiO+wZh/0X9IwqWtEMOqeDutEiWVri320IzJC//2NatSY9j0hOGtF7++WwT6/SSZig+Px6zl6lebCH/bKVf/UvPuM/3MvwzhkvDWUXRU9DOlch1Odm6dk+F3/wPu1mg1ajQTadpafoMDsxIzV7uWKF4dFBbt34mtn5aQL+gKwViffP48dLEnR4+eplSc8fHg6TiKfZWFuXZ7u+/qD8/KysrKIT3BCTEYPaxPLqivx8LC4ssLtziMfnlMA9rcmAqtdlaWmDoeGwTMGIQbNI85bKFTmAXlvZkIPS0EA/1WKRg6MTaT/Z3dtncXZeDpzzxbxMMfUPDrK8tCwrDeJ5XSoWUOn00mIjoITjM2Ok42kJthN3EAFYFsBNrcHM1uYqC3Pz9A2GeHj3CWq1GILA3Owi9+/eJRnLyAG92Wh+maY53GN27oxkALicLp4+fo5So5R/TgHgNLss2OxOSZAXUNjErcekUzmMXRWmgEG0JDg9EQN3A4e5Nt16hTGXmrW8lmimzf/+npr//oqbrdMaT08LnMa6vDnvlO//xzs1FKouYb+VSqtOQtTDFxyyUtCrV3j1ygCpQkneBdKZFm2FguF+C/1+ozSuba0mMFhNmA3i96/C4FTSKTc4jFbk4GVhzs3RYZ22okm1IM4SKgYGTZTrHaqlrmTR2FwaLA4DK8/ymMxdWUEw6U2oFUqmppzSkHbvwSEhv5ZiCXRWLQuzfvKJGtvrCYx2vVRtBwMW9o5EgtDEUL+XqDSZKTDa3MQOGmi0FRLxluR9iISKMDiNTPpIxks02h38bhu5Qp219TyDfUYsZh137+X48COf1IWvbBSIRYqMz1jRqlpY7BbMRh3NakcupEvZKgqdUfJ93C6T/Dny+TZOpwu3V8/JcZpOQ4HZrMfhbqLV6Hl4N0lTJNT6LCj+5vfdvfXlCnNzSkxGMxu7Wa5fG+P50hFanZbXrnv54V/u0eezEouJA7OB4TE9q8slTCYVY1Oig2jiqy8OMZkVBAbEZruK1aTmzv08//ifjpHJN7h/85SLV/tlLKbe6OEL6Kjku4zPuymctDlJR2k2hYeyyGtvBnj+KM1Q2AOKKrGEMIrW6SrUnJn3cHiQY2E+wLNnSY4iWf6rfzhOZFcMEXLUaioGBz08urcrDQZag4Z0LIvBbqBW1bG7HpfKwba6xfiQiDhVyKSVbK0VmJixsrDo5+njA+lIPjgscbRfYe6cGY1WHNRrjI252V5O0BcWzIEOx/ESkzMDdIV3vFOg3tTKy+L1t6b58jcbJFItfG61nPx12zr8fTAxN8zxVoa7tw9468MR7t5NcW7eistr4fZXEfoHTHQRxOQaGlG/0GqZXggRjyep1ts06yqO9iqcvWome9xhat7MyVFdbsB8QScvluKyTxIYEvH9BB6HmnhMTENrfPBtt1QW3bhxzOtvjdKql9lcK6A3qaTXXacDl0dPvdyViqJ6rUSvq5fdfAGqMakNrKxmGJ+2EBagloMCbkcPvcnEgzsJjGbxd2tGrzczENZyfJBnfaOC0dxkaMgtu4DHp3UiuzEGRt3U8x109g50dPLyPrsYwqQ1kC2lKOdNNNU1UrEcuWSPq1cGuHlnC4/bxLc+nOTOV5tcvTbONzf3afXUzM14KNQLcivx87/eQmVQMDZsYXLaLZMFAgIyNuFid0NE/ZXYvTA1EeTrG7s0W0reeHOAQqPJF7/cY2bGJuFFxWyd8YlBEuks3V4LlbqNuqVH/KJsOhUP1iPouzqGBxwM+bXom21Wd9NkDQFurEX5bL0qu+vfueLErVRwWqqi6GnlYCffqDM3HiQtErW/uhUAACAASURBVBFBuP3slOtvTPHgxQmbqyXZXRV0drffwj/5lpOPP3wV++iknCCaHcNyAtBKx6mq3ahLCVSqsjwYGIeuUjjcpJpJkEg0efboDu1mh+3jKoeRNCGfk2i6xJPVKgYdNID9Elyd0tPI1xkNGNiONig2ulyf10hoY73do2u0MhqysL6SQN8z4hnQcRIvsb5b4NKUm1Yd6u0CNrOJ8REP8XSBb7aTXOqzUK0r2MvrWYpm6dbh6riHKZeaVj3OW2f9BO1aBlw6jo5POYw2GBsOsHZURKUpszgyxM1Hh2h7PTpdLYVqHbtVi88tmBg5asouH7wzztLzUzpUuHq1jxu/OmX6bJBasUS1pKCnVUrP7sFhm8VzRvY3c3Ia+slvh9ndELpHDa1uhaFBL3/zV5sMjBgJuCyUGxVZJRLDzONjMTQscvniOOl0SYIhE+kyZq2K2EkVh19Ju66SFoRctsrejvhOFvG7dWi1WgxWBbs7JTweB3aneChrZI80mRT0XgVet5G93ROGx8bJF9MoGm1cHiuHkaSkCIsURavewDvgZmXpgD6Pk8GRIF/fXsPmNLG1XGDuvB215D31iBxnGQmb0OrVPHlUYXJGz/CQcBpXCY/5uX1TRBaV9IVMEirq9QmrgpZ//0fb/OE/G0SJgSfPI1yfCfJvv4zzo6cNzoX1KFVdei3Qq9XoLBYaHRVjZ2blZUarMUm9kdBNicSKUL0KXdrB4YE8FNlsdowGPTs729isTg6Oj/hvfvBfy63k2toWr127wu7eLuVKQ760apUGJrNwagv2RlvGzwVZWRyIdHodNqedmze+ZH52Xm5oRsfGaHZapFLi3RAlmUzz6rXL8pLdaDbY2T9kaGCIbDZNS8iuSmVsFpuEE+oUGrx9Pumhr5RK2CwWeWmYnJ6Sm6RcIS0J6slEUjrRxeVdo1aRTWWwOey43S+HhWJgMRQexOtyy/60gN0JRoHotCcTMTR6HYl4ErVWSzlfkIc9sR0Wzml/qE8mFMTlRfikf3PjK5nWEbHz52vL8hI4MzUj++iFTF4ONLxetzxANhoCfKiQ0dZkOoXL6Zax7cH+IdbXVkkXSrz6yhVu3/oGl8vBuXMXWF1ZpVIrysGDgK/tbGzLy7LFZubw4JiFxVl52MznC1IHJdZoOzu7Umcp4GwjI8N8+qtfSXq7z2snchBDp9fKAYowNiwvrTE+NSIjqag0aFVqMqmUpOJr1FoKxQxGs4NAwM39ewIi5yWbq9AoFhmfnmRrZ/9lHNwiQF4qGWcfGZ1g6dkznC67/F4JJeDZ82clCDByfCLTDZOjkySzaQq5jAQdnsZikgTv8/kkw+bZi2UW58+i1SsknO/F0jrj4yNShSi2aGITJyB8Ivo7OTbB0+dP6Qr4XzjEtz/+mD/+D3+CSqWRl+ZCuYherSWdz1OpVjAajFJzZ9SZCA74qRZL8hJitTnlIFp8JqemJ9ne3UenQhK3RU9WaOoEp2BhfoFcXiw+xAC/yfnzF/mz/+8vpBJT1Bnq7QbD4SEW5s9wsH/KruA8eLw8f7rM0PCgrAisrqzL/mhocED6yIWm0WA2yZqK2Brev/dIgqymZ4Wq7FQOLQW8z+P2UKsKGO4w27uHKOnIuptYAYsKx97uDnOLZ6QZ4Obth7jt9pfQQnWXZq2JyWLB4XLhdtn46stv8PjdfPThRzx7+phiUaTNytKzLlSefp+b09Ok/PkvXr7ET3/8d/I5J2qhvU4Hn8cl3weC9yHqBvOzM6xvbaDoKiiVy8xMi2FCknKxQi6blwPFTLpAo91gdHhcXtoqpQKhgT5sJgd7BzvUa00Mgvo9P8f6+oq0JIh+vlB55nIirQQDg318fecOLoeDUrEihxvZVJqAzye3pV98+gWvXD4rhyyiOyx0tzqrHYtesIdijIyGZQ3GZBLaNresIvzk737JaNhPKiUghlpshh6pmo9OYpdHj/415aU9WlUlRXUHnwKSh3vozQbUUxfoHOzQU+kwOEw0ii/BbY6xWbI//2uqQp149iKK8CDtjXV5AegNz0ijQ/30iE5k+yXw8sJ7NJceozPrpfWl3Cqi1nkxX3md3C/+E8qAF/v59+iuP6fnMFPb2UfjdqG0OWg/+AL19Fk6xSLaUL/cFHdjMdQWO5rhUVSdGoXnL1A4rBgnZqg9voPOopXvBRQa9L4+FDYrrZMTWpUyOrcLRbWMNjxM+qtf0U2XcF28IoepLpMBdUDH6Cc/Q2NTMz4o3i9NaqIcX2+h6+ko+Sx4+n0y0XX7i9sodXrSyTQzM+Pyu3+wtyeHQltbW3zw7fflFl+rVsphcUxCZdWkc4IJ4vovnf2MfB4N9vfx85//Sg4Rr792TQ6SY+lj3rr+tgTpie+J5L0olJSygpvlwmoTNpqXrIlapc7Q6JD8uxdWDKdTMAay7O7tcemVy3S7IvErgJg6FKoOpydRdCo94bFBoidRUrG0HBAJvpGoHPUP9nPv9gPmzk7JrbgA1oqKi4B6Pn54nzffeoOtnV353xoeCZPPF+V3W2gKRaVO1KsuzM8ST6VkhVYMM8UgVQ5fEeePl7Uw8axzOhy4vDacITfbTzdBVIl1CjzOPr786U2GXDqCIz46pTKJYgu3x0gxLxTLBbk82inV5XB+dzXOP3tVw8fzRn58vyKrUu++6mF7ryKfdSINGPS7SRQqbOxnCdr0vP5KiL/80S6XL3ok6LVUbOP2qvF47Kh1asmBE7/Th4/SnJ/3Y7aLYakSg9bC42cxTk4rvP3mANlMSlLvK3UF+XyFoN9MV6MlspPD67HKWrTTrSSbr1Mpt+QwSpwnXF63PKOVCw1iiSqtXlf+93XoKFTFedFHLFJhe7uIPwQ68axPiVRFW+pShUZ5eS3N+RkPzY6GdKbAwWGeV14J4vKYONhJ0OmomJ61kYrX5VnTE9Cx9PQEh8vL9kZSJjJLzbocHqXSLYxGFZ1mC6O9R+K0hlprxeMS1b4opXxP6ludXh3DQzYe3Y0TDBhw+vUSLN1raEmXs3g8FgYHrUROShJ+GI/WcbsgOOTE7hSV7yKKz/+n/t43N+P8o98Tvty8PLAZdA3sPg+J4yLFIlSqORaFSkCv4vSoQDRS4o23JuSX6Nc/TfDOewHUBj3rz04JjzlRqfTkSyWOD0vMzLiolhtU6kounneztZumUdVQb5apFVWce6VPVgrefrePdFSoLZTonXqy0RKnJwUmZ3xUxSZQdNr1Stl1LdcVzM8IRU5ewAMYHHZw95tTzl+ys7dTZWTYR7NVY2dfwB3auIwehuesUqUnot2ZbIt6CSxCH5YV/XU9ZrdBRi9ruS6TZ+08fBAhEHIwPuyiXK/w8E4cv9+E0aKl21FSyFWYXRB6viq3bsW5/IqX7c28fOgpmjA5YeUgkmPyjIVW3UI6Ged7vz3PjS9jfPrpIR9+4MXhMUgY4sWzw5RrBVp1JbF4maERGwf7Bd56d0xO03cPUuTSTfp8AvpkIlcUcBmNvFxrtB2cLg99feKhUuH5ozznr/pYXc0JBjZqjZhsaeWLISfWxpoWVqMNha7N0pMYRqMOv1+NUWzHWzp0yi6BYRO7m0WMWjWNlkr2lG1uCye74iUrlGUDfPazXSz2Nn6/BWXHTq5SJB4pMH7RTTFRYX1ZpBHckuq8uVUhEFRitOjkAKAlurvTw/zFnz3m+hsBxuZD/Pt/+4g3vhWgnK9zvFtFaVbjc2hweQ1Uyy0y2Y5UDfZ6JqxmrYwdthpi+9mV9YzwiJ7TeAO/00KtK7zmRQxWNZ1Gl7ERlwS49TRaxsYtPLq3Q09jYnTMiMlo529+uM4nv9UPDTUniQytpoqD3TqXX3HJLY3Y7omDomAbCGNGKqdmcy3DmQWLAL6yMOnGZINPv06Qbpr4yVKBTE0oKfX8g4U+bm/scm3USSLToanUk8o2QSM2vD1KmQYKe4uFsT6WN+Js77ZwGFR8900/H314nrNvXcI6MAAl0R/tR6U30xWeWb0ZpfCl6xVoejlaxgv0Tm/SLmUw+ido0wKbD2Wzg8LnR6Fq01M7UXRzUMrJ2Lt4+zVicbRKBSsPXnDjp5/y9icf8Ouv7vIXfx3lnTeG+PqbQ6w6BW2LgRf7JfpNKs5e8qBXNjBbPNSLIu5rkBvrTCPP8kkLq0rHWEhLrlhj97SDzW5gVESXHD2OY2L6qyJZ10jbwna0xajbTNjZIhut8VtvBDjbp6PP00TRa6LSuvl8OU70uMZoQIvBbKSUyXHl4hhWl47bd7awu42Uqg0cGh1HiQ5mQ4+xSS8/+dst3rg2gNoowGQtogcvX3TbWzF+9w9m2VrPkEtUmH01wOl+nrXlNDNnnPJZdRqtMjOhI5OGWrEpNTnlQo3xSS9ur4YXzyISlNRsKhiZsFEvaCjUChLI5g5Yuf2bI/7bfzxDqVDhxhdx3vpWkN/8ZpdeV4fd2kGp0LO7V0Zr6HDxYpiBsIO9zRQbWwkW5h0cRRrEo0XGJ5zoTaK6U8Jq0srETq2lxucz4bYZiBznpTXBbFVhEs8xs1YeSm/eOGJuzoPBpJRRfTFo8Dgd8hKdytTw9jtYfnbMyIifrrJKRkyNDToOd/Nk63W+88EY8ViFtb0UH1wO8We3MvzlZo8hfQu7SStdzRargHMWGRsKcOHVd3jxfEkCasRlwCkuOyY9+9uHcqotLvDFUlVCf6ZmxvG4PFLVtr+/D1JD16RaqcpKVSgYpNHs8fjJQ65eusC9+4/x+/2Eh0c4PRHqP7CZrZhtVqnrWlxclBel33x5U0beg0EvKs3LZ4Rw+g4PDHB0fEwmm+HShXMUq6K+UKI/FJDdSqNZgObiMsZ76cJFtjbX5Xbc73axsraBPxRkbXX9Jcvg7DzLS6tUylV8frfsyaeSUbkFF/1x0cXvqaAvFCR+GpX+eDE8zKWyhMMDsgcuusE+X0A+C0W9YGxykEQiSUfQihQaosen0qEtOqYdhYp2vcL69hZ2m0tC/4QjXij6BP1fxKA1QjM3ECKRTPP86Qt5QBwa7JcbMZEMUWhU9Pl8AhJANB6T7vX+UFB65cXvdSDUx+HhAatr63i9Pj748H0S8aikQPcP+Njbj0hCcjKbxSsMNC4HWq04bAgllJmz8/NEIvvYbQ529g8QPRUB4xJsn76ggDNtSHLzcDgsKweiay8uwW6Pm5XlZYxGixwkNBoNlldWJD9CDJS//ua+7OAuzs/Ijc/myg4Wu7A4tOUQQUR3habK5/dIOKToa3vFdrLXk1yDyLFIDfTLRImI3P7W9z6UAL1nz5ckTXtkdJS11RUWFhckzFBUTWoiIddTyGRDvVlFoVAwNDAo0wxOt6hK1DmNxDiJxnjv/bd48fgFqNSMj43KoZMn5MOgFsMqrWRY9A/45d+3QyRXjk+IRWNMTEyTiifYOdhn9swkjVrzZWJAHHYLJQrZkqxsCK99JBLHF3BJxsT09BlpuxDxY/Hz0O7y7gfvkMum5UX59WvXWFpbRanooNUYpWVDkMFjx1GcXi9qhUi7lOTQLHEa4+233+b+vfvMn13k669+I5WUYvAmLtfCMX50eMhQuF9aB1yOl2m+nb0DLFajTD2VSk0unZ2XdYRKvUqfX6g/l5k6M47DbOHZ8rJ0ZqdTCS5dvsjBwaG8nIuLiIA+iiWBqtdhfWeb69dfJxXPyOGfWq2Rn1+NWUcuXmAk3M/axirtthKd0Uin1cDt9BBLnmI2WuXga2ioTxoDNBqTTJ2IgdiLlSUunzsneRhjo2OER8J8devOSyWhXst7773N2vqm1Gd6fA4ZtX7xfI3BoT62t3e5fPk8nXqDyGlcpraGRobI5TJsrW/IuonNbpIVkkQqz7W33mB0ZJAHj5+RjWdx+VyYTeLPAk6Pm9Vnj7AYzaQScdyBILnTGNFqF0elwv2v/iXZlYc0i2bUFi3acpWuVrCkoJNPoLY40I4MUN7bxWpxoCzXaQTdqBUatFZRkWxRW36AcWieWnQZk9mLemCGWnQDc2iensNJK3VE5sE3soKrsdpQzSzSfHRLch+swUlKtSrd+CbavhF6Wg2Np3ewz58lm2uio0KnWEF35gqtYhKNSN22GzTbeUzeQSrisRXZR714jk42i87ZR3X9EXqzDaPPQ7MiNrFJep0CBvc46mCIwu4aaosFXa0uE0hCvagcCqKMprG9fZ4f/ps/4Qd/esx7i33QanBSKDMU9KHvdTmslnDOTJI6jTM2NorNaiZXzErWw60bd+Wy7fK1KzKRJjSfIgIvBrQiNSdSPQaTidGREf7qr3/M9PQYFrNFVq3EZ6FWrWCy2jk62JcbdqFF7/OF0Jq0pBNxgv397B/uycrB5NSotJ8IQKq4B4jUVaFYkoNs8X6q1Mp8+7uf8OnP/p43rl9lbWtLKtYT8YR8J+rNVqKRU0bGR+V3LJVIMT01wcbGOovnzuHzOVhZXhPhN5msOjg6klWW8xcW+ezXX0rwpvhelkolySAR0fd642XabmIizMbGJoPhIckSEZwVwWo4Pjnh3IVFqRoUA2gBB1xaWsOq16K16ORA7szCHImdI3K7WUrRY4JWM1lheyp2mZweIJMr0muWcbt0VApqqr0Wj+M9Juw6/pc327g1Bj57mOHqVQvVtDiJ9mj3BBRchd0uUqRNMgUF33ujn92jLBu7AvRuk8NWvVEv1XtCDbq7n6YvZGZ3u8K77w6Qr9Yo5Koc7IjteZdvfytIQ6llcy3GuFjMbrcoF7K4gmbyiQYmI/LOqjebaFcaLJ4NsrGRIJ4p4Xa4qeTLEoDqDVhQaXrksz0sAhDdblDNt6UxyqhXYXeY8fYZ+Pu/2+bNbw1KxePaivi8OSSXbfFKmFJRGITi5DLCoKJAr23LdGo6XSaTbsl0dyBgolTqUq9VqTaUeNw6ctkiQ8M2Mpkuzx4meffjEVn3Llc6MmWqNigxaBQEB8TwIEulqsbq1jEwqOdkTyykSgyPubE59Tz65oSJKRtum5tKPY/BpCYer0tN5PR4SPIPComeeG2QisXp9QwofvOH4d7tuwd87/sT7G0m2VotExoxEewzSErrvduHhMdsksIcPa2js/QIBZw0a2VaDSUdpRKbRcnBXlbq/Lxe0RFTSVer6MgdRhIo2lYisSSNcpfpWaf0Mx4dVihU8iye9bGzVECh0zI+aaRaahOPlun0moQCVrQGG8G+HntbbdrNioypFPMd2QnJpHuMjdtRGTpySpLOVNFoxPOizsysj7/7qZgIwff/0TSHmxV29uKE+rQU010mJp3sHZc52M/Ii7ZG0WN/X0Ct6nhDZoJ+G19+tk94zCoBUpGDNGaLWqoWBEFyYyXJ7IKHRLZDJpVBo7Kg1naYPmPnNF5g9UVZXgBHZ3Q8/KqK1tDE5dNKfZ3daKRcquHxCGZAiXy5JtU9Z6b9bKwVCE/YSZykZAypKvojDhO/+fUxr701jMvbYPVpVioOBYBK9N1jxy1q7TLDgyH2dgsodS1GwqLHnqZaF8RkF91WCZcvwI/+aoWRQQNOq4F6RykPkGcXpvn886e8dn2IWKLMZz+J8Yf/coEbn26wcMUrY5ORoxytWgeDzUpfQMmTJzkGBmy8eBHj/MWgrFp02zX5cF1dTvGDf3qFezeXSeTLeB02dHoFBq2enUgCn114TxUsXPBjMai4eWcbm8EmH0Amg4J2tUcim2Ns1MXeZgWLU8nYtIlqVkGu1JWddvGlXX6cxmLVynj3/KKbpScpUukGh7E6/+P/MEm9YuTP/vwp770/gk5RJXJSZmLcw95+gUxSgBkFPEqDUt1kJKzm2bOSjFVfvODn/qMjzi70UyiUKBc66O1KNvfLeMxW1PomZiNM9Zvx2zVEEnV+ttTjj+/mhdSKqZCGsyN60qkKar2RXLPLfqyJz17llal+Hj2P8u6lIMWSkpuHFZ5vpcRchssBBd//3Qv8/v/5r1GJLKzChCKdop7doXmcotmLyi5up63CGAzSK3cx6CwUM4/RehdQesK007u0jtega8Uw5EVZSlIsdtCOncehtVHd/xFm7xtgsdPJ5uj5AqgtfvQBJ71MDIXORIc8KkGX1PUob+2xf7JOZD1DMblHtlahvFfi7laD7ZQSs7qLa0TLk5Um33/Ni0JsbUt52Sc/LlnwmrrYzSpuPMugane5Nu9FW6/T6ioxevW0RX9XreHTlRxnw1Zi6TbHuSYfn7GgqRb5natGWl0tBmWH4ICbbF7B518fMCsgMkcxtG0lC3NBfn1zn+982C8Bfj/8UYLvfeInlcjT7Zo52k9i82jxekwE/CYZofvF3ye4dMnK1zeSzF0MEnCpePQozoUrPqbPBPnFT9cplpsEgyayqRY2h5IzZwISRtjs9mg2lBxuixihFZtDg9Wh58WTnDQLPHq0i8nmYPqMTupZ3A4F4QkXRp1ZgkydATPZTFvSk4f7vCRSFSKnOUIhE6Vsj1qjyrmL/XJTLKbHidMsgUGv/HeUkw0ePTkm3C+ARSKy2pQXbpPOiEbZoSaNIE36++0SgnO8ncFiMjJ9xsann0b46LcnWX0SI54pYxeJrSEHvW6P1eUkFp2Ra6+FiedybCzl8Pcb2DvO8i/+4BX+7z99yP+zZeHNUROJZI6uQU+n1qRSbdGsNrl6/T2OYyfQafLqm9d4+lBA83pyKyF0er0enJ2b4zQWJ5aMSiWRoMiLA+iTJ88lOEx0Mvf39iVxXWjE7A67jEOKuKR4BpcqQpXYk4cEMajW69Sy363UaKR+UdRfNGoFtUaPeqNEq9mWINSRkTHSqRhPl5Z57bWrclsk4vqCwi483+KfEUR9oehrCyJ5LsXY8CR6TZdoIkso5JcOZNEFN1lM5PNVdg/2GBwIyYqB2GYODQ3z7MVTSRxWa5XSpXz7zl2uv34Nj9/D4e4R8XiUi1cuS5Xh7W/uyri1J+hmenyKbDEnlXmCQl0sFRgYHiJ2ckw+V5Tww0Q0QVMcTOpC4VXHbDdJe45QEkYOjjFaDQR8Adwul9TaRQ5PJQBN0O6FtuzVN16RSsB6s4lR2DuCIQ4iRzJCKbqv/YGQ1L6tre8wNRmW/BcRqw729dFpNmUM3WKxyeisgDKKn295fVmmDGx2ofBLYnPa5LDlydMVFCotfSEfXqedoxMB2arKjb3YiDbbbe7du8OVi5ekAjMeT2G2W3DbhBXnmMXzZ2XsdHV1Q3aPu+2WNEk8ePiYsbERHC7Bikji8wvnc5NypSR7s6JDm0nm5eekbygkL6wiqSLAgKPDw8QTJ/QUPQYGhzk8PEanVNAfHubWzduStC80XmKLlc0UJGleXHLFYVpsBEUaQmzwFhZmOTmJSjCc2Jjv7h9CV8nU2Cg///RTycPIF/IouuKwK2CuFqkJi8cTnJmdl39escXz+TwkE2l5SBS2ArG1GxPQSPEz5PNcOn+O/cNtFucucHh6IuFyFr0Ycie5sDjP4XGCw4MDCWI0WQwk43EMFrO8kIZ8PlkL2j84xmQUmtGuVEyJg2kylcVhd5HP5Th/bo7llVU6vd7LbXehSHg0zLOHL0hn44yOj2OzOYhFo1KXViwUJJ1fXKqERUB8rsRAStRSpqenaTZqFIplmYAQUOGp6RlePHtOqyU6sinOL56T1YDj4wiTU1PcvHWb995+R1Y8nj5/wuTElEw5nBxHyJcqUmMq/kwiHSIuB2KRJOwg0hzQ7HDv4QPOnxOflZ78Hopos4AnWmxWUsmU3Pi2Wg0U3a4c5hiNdqqVIn5/iEwmK/8s5XxJWkOEJ16lBZfLLSGND+8+kD+zTquQ/27xuX30YgmTTiPtNc26+Dw7ZCJL2KKuvPGa5BqIFJLQPIqhTywelRyFixcv883dr2hUSrgcFnpoUfdaks20upcn9Xe/R+H4gMhhBr/XRL7QxHf9PRTZGOmVh7hGz5CLHEuFpcJqonkSRWk1Y5w4T33/Be1yB6PeTM8pBoLQONlEZQ3SjR9jCoWodOuYvEG6rhDKYpp2uUHHqEEnLEN0KcQPsJx9jYZQOyYjKHpKNDYL6onzdNYegUaHQqdApXfQrhZoZyJozB46+SLl+B6Gy29i19spLj1AqTagnL9EIx1Hp2pCo0Nufwn78CzdwTE0O2tUFQoMViuKQp4yFTTeCXpqaD54QtfmxnFlAXvxlDP/3S8oq9WMuc2yotVqKtCoejSVPVxXFthe38Nh0uP2uCR3RKXUYNALAPWGNNBcvnKek+OoTHCJbbv4nPmDXvmMCfj8DA4NyG5+u97iOBaXtYI/+IMf8Iuff06tVmZsaoTBoSG+uvG1TA6Jl4XQ6FWKJVn1EcwakQ4RAEGhrdbqdVK76RY2EpOWbDon61ZiuHd8LHSqLfr7Qqi0ellb6Na6ROMnLC4IW0sEo+CpZfPyPdasCxuFmukZAcmNyLrK8NAQHr+Tp0+e4/S5OScGd7fu0Gu1ZcpldX0TlRKuXLlK9DjCzs4hs3OTEmZeLRUYn5okK6o4tbqE66aFrW1zn9GpYVq9ttBHYeq1aLW6bNx+irkKOr8FRaOMxWSj2G3RU3eopGu8Ohlg7aRE0QBLm01+b8bAjK/Md2bNLMX18t3WFzaTztehqyMTE98XI2ZHj6PDNlpFj3PnfWzuRykWxcBOKOtUDATcHJ5WSOWKjA7Y5LMtWyySOuni7lcxMGTk87+NcOWdMY52c3K4MzBoJ5/K0TNaePE0xiffHeEkUqXbglKljNYkMmwaBgf03LqRlXDy16710VN1SMZrGIzC3hPg/t1j+kPCoqCQSxZB3h+fNrO/WUXRbfLqG2F+/KMdTLYeU6N+1tZjXLgQYG0zweXLU2xvZUimcpwZc9PW9djdLMm4vs+nYXc7R7ZQlTH/2YVBtvfixE+rnF1wkc7o2d6OcP5qgN3nIp6vwBNQkYy2aTZVfOujMAe7UZRtHemssERpOTMblInKJy+i9BpKJmcd3PoszvCECZdPg9tmypUeQAAAIABJREFUJnKUJZWtMTro5dHzU4L9do728nhDGsmNqtd6KH76TwZ7lVYes86C0QyP7kVZnAuysxOXtOkPPxzjL/7TLhZ3j6GAkUq1y/lXwuxvn7C0VKDZbXDttSme3tmnXO1w7qKHpw/ijE150Ru6PHsquub9Mg7sc9rQW3rsbWfoqZRYjVrZU56cd/HgVhyVTvACNLi9XWo14aAVw/U2GrX40NQYHXegEBus0wZT/z9L7xkcd5rn930655wb3cgZIAGQIIfk5J2wEzadb3V7d7pTlU6yFXyWq1QlVdl6o7LLLr+zVXapdDpL3rvTuXb39nZ3Nk/kcDgMw0wiA90AutHogM45d9vPw3s1VTs1C5Bo/P/P8/t9v5/Pqp0f/GWMi5etcpmp0Q0kEX75BQ/7T7O4HEYMdh2xeJWAR0nipEqp2CUw4pTxCtEPd/tUEvQkLANi42R2qmhXhxxGsnz3e3M8fHDGttA1TBi59PIYR1slfEE9uXqXLz89ZnTMgsspPLhBnjwWrl8bw4GW7b0CbrcBq1lFvyWmUAMcDgOFfIdMtorPbcIXMnAW6zFUiZ6jmd2dGip1DYfTzOi4Tz40bny0x2G6xh9/d45UoUouKaBDbg52M9R6bdotHf1ml/MrVjK5PjeuZ/jv/9U8n38alzAcr1fDr34bJxDUozOomBh306r2CYS1nEQ7zC1ZuH8vJWOqVrOZi2thvrwXYcTrwek3ENkTsCcjTx4IXZ+NcxcdPLydli9gl8/AucUwG1sxCoWupBk3KmUJn8pkGtS6QmFl4jDagLYKhwe2nxRZu+agkhuSPauxtGbjy5tFLl3yM+g0qRT7OL16OcVcv+AhnupxvJ/nwgujJE8rXP/4iDff96PsG2l1usyvuNl+mOQs26enbBHy2XB4RWy/wslpm/CIDUV/QOToTPZT04UcNr0es10tYUbRvTOWVgJMhixsbZZpK3r43UNGfA4q5YE89KZOOzL1oDcZaJYajPs1MlqTa/SJH1b42UaDm4k+ChEbmxIu1jNGxnzEIgNsjhaRZJGpoJf1SRNPDxtUekLj0SFXUnB/v4BTA//Tn57nW2+P4XrnH0PLyGD/BvVsjG5vnkzsFsGlq+j8czRO76FTWempVTRLh/J30a3Xox1dYdCuQ26Ppt2NxhpG09KjVZWoJxLSC1vUW9HW+jI2XWql0Cm7dGp1dEYPholRKk9vofSPYWhkUbVNKM4t0zrdxOgNojPakB4TxwSDRoX8kyeYNB0yrQyf/OV1fvjxHpj0fPNaiP/wswjvvDLOs2cJCsMBX18RlQ4FymGL4zSoDRpm3Cpub+Q4qTbwWvVYlB2qCg1+nYq1xTAf3D3lZrTOgtvMyria4LAoIZ1mNfh1XVoKFflcgX5Pw2G6j0bfI5Xssr4epFuq0h50sJi92Jx1yRYZCXqI7mdQdrR0FC2sLhMbD7JSh2l1GzjaShEc9ciYlkbd42Avg82tRdXXUarVmBj1S97FnXsp3E41I2EHJyc9pqfVjIQ8fHEzJknoeq2Rr783LdMhOwdlzHoFCmWHQMAi0osc7VYZm9Tj9anInClwe80U0iXMFhGVtEqtncerkZPo3qBPNl1mcSlMNlMnliqiYYBnRCdTQLs7FQlPvHDRz+lJA71OR60lhnRmjMYWFoeV25/HWLlkp15TYzWoOYjkWL8SZGcjy+qlUWKxJK0ymGxajpMNvv7mFA/uRGVU2yrip8MWtdpQsk9CI1b+9AMll2YdnOVOWBsP8PCgjErTRyGUcxdfpDFocxCJckHEm6On+Ed90BcxQpeM/haKedm5FkAntydAqVyk1Wrw+muv8MO/+YkEq5l0WgYDhfQSCxZNvdbkjbdfk11fodcUW+J6pYLZaaeUy0ud2Ob2DhfXLoKiz/T0GB999Bkzs7OI25/o+Xf6Q1kjKBRqOCwmeWgTm55svkK/KwBETgljFdHaRktYEkwUSjXmpibI5CtEovuS+C8uieICJ9RyC/OLPHjyGLO4DFtNWCx2IgcHhMRQoy0OUU1GQqNkc1kJRpR6Qr3++SCjXJTQMhEfTaaT7O1HmZoMY7XaiO5HmZ+fI3WWISg2hYWi3CgtL81ydJSQwD5xsP3tRx+xMDcjoY4CFiX652KjLtIT9+7exWCyyE244Ca0WnWMVsHc0MuEgFAkipTAs6dPJGF4ff0FmWJYOr/Exx9dZ9htMz4zLQ/EKpWajZ1tDFoDy+eWZJd/Z3sLk83O7NSE1BGK71VosAQzQVQBjo5PyBZKkqmwvbHFyvlz5CsV8mfPwVtW2RE2c+fOV6ytLuFxuHj4TKgZe6xfOMf9e48k0V+lNmC3m7GaTVLBJbqq9XaV6fFJOVjajRxjNRpIpE4JjYzIrbGw13QHUMjneffdN9nb3kJvcciNfrv93KNdrgit3QC/2ytBuAOUcjCvVSOHGXs7B9jsduwi0mwws7G5LeF0ZrOJZqdN+iTF9773u5ycJHiyuSurBaIr6/c5sVvsfP7FHXqDDjNTE6iUavn1xNCqkCtRKJdlgsJs0pMv1CQfSfjpq6WKjJKLd6vN7uDhw8e8+tI1GeXd3duV34+w77S7LUxqNefXztFqtThNpHB6Xdhsbo5ih1J5KwZjYvsvaPux+DHffO8dvnr8lJOjQ9566y2ePn1Gp9NmbmFWfmbNFpuE/Z3E41xYW5HwPp1RL60tubOs/P3Y2N7G43bJc0W7VabZhGarI13lvW5LRunv33vMWHhEKgCFpePkJEU46CccCkngrGBTaI0GPDYLu/tRvIEgJp1ORqrFe6laLeFxONiORLAZLDICP+wOqTer6HQGaYp4bg2oy6GJSLI43W40KiU7Oxu8+vqb3Lv/FX6P/7lqzuMmfhzH6rDgEVDpZIZmt8ns9LSsDQjgaKXZxKAT/d3nw8hirSQJ/8l0jv39qEzICADlCy+s8+DBPcxmIyfHJ9IwIjgjYvkjuATnL67Rboi+codWvc2l9TXJfnC7hXL5jEhkR/69iqpWr9HDZNCQ76i4s5mn9bO30flXaHTaqGtCQdnE7BinefgE3dRF1O0UpUwdjcOFstugdLiFKzhJSzCauiJJm8Z49R0qD79C73KiqBRQ+wKIG5Cqq2Cg1lNNJzBPrVA/fEQ7fYDFMYF2cYmBe4TBhz9goFShWH0BsqeSDaB3hsjfuY7dradhFekPF+30LhqXn6HKiFI9pF/JYQhO0d7bxvTW71C88Uss9SLd8Az1wz1seiWN8gDD3CRKr5fm9g7GsJc6VrT5DBqfj34yxXCowqipclYVWmrf8y39hdf48Z/9F/7e//EV31r3ki0W0OoNeLw+ktETbBfmGZrNTAV9PHq8KWPbYQH+HPapV5oyaTIxM82nv/1IpobEMrOQrzM6GqBUq0suy/T0BAf7B8zOLrIX2aYkqf1etEoNWqMRrVrFQeSQ0ZBI0tTx+73yGS64AzaHi+3dLaYnJtna2WFpfoa6iK8LlercOPVah1xOVHbbMm1QzheIJZIE/B5MVhOJREZyxgJ+t+RRLJ1bloNDh8OOSWfi7r2v8AcDKPtDhFokLFgWIvlULMth4XCoxOcTd4EDOTSenB+X9hyVSsHW5hYOp5dyocjh0TFff/9NyQDZiUTke69SLPLeN99jb/9ADphD06OyovDxX/wNhe2ETIA4VCoG7RbLayHOymW+eJxnPWxHa9ZyeJplqDFKw1e8UOFfv2Lmn79t4sZWk75CR6rRpFNoEvTr2IrUsetNBJxdql0dsWyFMZ+OoMnOUFenWFahE0yrZIvJCR3jEy7imaq0qCSSFZwGG5df9bO1f8bZURmVQY/HZZbJX60AyD8UVpsgu0/TfO29KW58GJXVQaEOrzc6csl6eNzjaC/P+XUjY2EfVquJP/+zTd59P8z8jIP/5/sbaLQqvvaan0pNQTJeRmvUkEnVJddtacFIPive+3qyxQYWk1DWOmQ/32wbcHhQw2odMmibaHZrsqJcyg0p12oSnO/1q+g29BhNIqWpkUn0mtDBF1rUhj10PT2zSzpa9SGRnTIr626OT+ry/S16/Q4H/OqDBJde8uP1mtjbznEUL7M05cU7hky2Wl02tNoeydSASrFOwCeGsKKuqaSvGJBMiJppg4UpB/FsD42iT7nSQ/Hhfzs6rNSqtLsC5jdkfnmEZKpELF6iWoXJaTWHO3VJ3xaUYVEm2Y/UmJoz8sKlMD/+yTYLiw7UA9EWExf4AcmTGteuTUkVYHS/gstjlt+Q0FJo9V2qZSWRgxQX18e4/mmEQNCEzaamUVcyVGoZ8agpNuucJurSgS7AVl6/mnq3x/nzozx9GCMSqbM462J0wsAP//aQd96boZg944tbRa5eCmOxK8gmS9jMFlK5LNdemCB71iJ6lGFqzsfeVp6QX+isBuSSA3QmHc+2TrA6NCxMiAl3hYsXQnxy/YjlVQ8XloL87c+3EFEIl98uNwNKhRYGHYIhMxtP84xPmmXv64vPM7gcSpYuemnlOqSrLcYndBzslQkGfJjMXTotJbv7GWZnvNisSnL5FtG9qtw4LpwP8OxhhnS6wMSUA7GO8Y/Y+M1vErz4YoBKJS/VeQPEJkZFwKXn/qM0k0tOuq0OtUJXQi4i0YYI33BpLYzTpefXv4piMukJetVYHWILWZVDF42qTzLZxuNTkU/D4nkzqXif9qAhe5qCJmm1K3B6rDCsUysMcft1VOsKtMohBq2SFkN2NkpYrEqU8rCsZu2yj/1t4UnXEAxa+fmP4phHFFiET9qk5yRZQTVUc+GKh2ePC0S2c7z1zjSpTJaH98rMzdsot5qMC6BaVUW90mNqwcLWU0HMVrB+aUSS8rP5Og8fnfGNby9QLIrucI8bN5KoFQaWlkyEpz38/Ee7XHl9kvRZnvhugYAABY64UOp6qFpK2s0uA4NRWhOKAoLZUtHuK5jymTk3o2PnpE291GBh2sitXQ3/+pcpmm0N6+dU1PMKDKo6ry1bieRUlAt1spW2nPYpVYI4KrpPPbaiJWJnGpzGAfOeIf/0H77Jd75zCd3CVSjmqRealNNbtBJxzMERzNY56sefMXQE6ffUGO0ees2aPJQrNFbUJjGQy6PsKekXd+XG1eCeo9dVo+hlGA7UaEweBso+oAOdhWH9ULrTNYYwqu4JA5WLYbtJ4fgjDP7XMBuNdJQN2f9W9EFtMtNIPKTdquNff5/i3peYR2bQhC/R3/oc/foLoNQxOHpKrR0l9ajIbz67wePYkNZpgbtpEM1hrVfApXVYbBr0gxqLF2bY2M3S6uvxiOeCWSjqGnLL2a53mHCbqaEnJbJVqEiW2mRKGl4Id/juORPvTA+wKIdkRT3D6uQkP5SVILNadKI97MSqtBsiJq2Qg6j4QZ16d8jqWpBULo9uqERns3B8cMbigp/9owIOs0FujpOnQwJBsJqNRCLigi4AcxaSp2XcdgMOl5booejUi3hhj0S8jNmqoC+cs5UeSr1Bbv139vJMz/lptesM+2q+upWTgFKLuSe3mnaPW3YT+7QZ9lTyguJym2X39fGjBOFRPbWyimJFwAQDnGWKPPgyzeyqg4UpDw/uJfj6+8vyf0+nyrK3HTlIMzHpQKMcsvGgyNqVMKfi9+lhlXffCksd6O5um4sXXRxE88zP2PGM2HkiCLIBOI61uLDspFKDJ49TfO3yFAepFC9fG+EP/l2WfKfFlM/AdMjNaVJ0381s7qRk5DKVrpBInfDS1atsbm5LuJpap6VLh2F3IC+JaqWGfm9IrV6RF8WZmUkuXDzPZx9/Lje7gqpvtZjIlko0RSy122GoUuP1uOV2TyTLxOVSHMTy+TxarUZe8uVmJ57E5nBgMhiIx+NyCCA6iiJGPTk+RlvUzhodUqm0tAj4AwG2tjYk8btUrrN+eRm7zc3u1g71pnCh+yTwMXZ4zMzcrITIif5ysVyRhzfRuxZkcaFaEvH+fCZDNl+SPexGtUIgFGJDXLbaPdbXL0ji+rPNLRaXZsmcnsmOpziA6gxaFuZmaTQbJJOnf7fNbLN0bonT+Al7kSh/8L3f4ye/+ICwPyQPfiIlIDai+UKO4MgICpVa+qjFBVKt1cmt7UhQwP4yLC8vcff2Xbl1tTssxI5OpLVAbHifPHjGwuI0iVRaGgBsVpP8c0UPj2SUOhj2c7B/zPr6ee7fe8bMzBhlkeryigpHh+FQLS+JnV5HbsUEC0fC5PI58oWKrAe5vR6ODqMMGDARnqY9bJFPn4kwh6wDRPb3OL+yDAMF+XJRGjje/frbRI8iJNNpXDYne5GI7OiLA/K9+4+k0SB2fCR1cBqdHp1Wxf7eIVqNCrfXS+YsT6VSwO30ydqJwy6qPTUZLxfDap1Gx/FJkosXz0lS/e2vHjI+GUA71NOlL2P/B/uH6ER6RaGUZHGtUE2FRyXQTtFX8PTZFnqDQXIZREUodXoqIUtim6RQDomdJCnm87z5xmvkSjkJ9BuI/nVVsE1UXH1hldN0lsPoEcFAgEa1RnA0KL930XOZm57j/tO7HB+leO+dN8lkspJ+L7SP6VRCDjNWVlb48JPPGYqocjgohyliMyRo6KFQUNYlTGYzT589xWV3SvbA5uYWJqNRnudEnUZEgwXjQQDJvC4H5XKZ8XFBFC9Ier9QM4rBRyqRweW0yU3ijRs35edEpwar3U2lUqTbR3blV87PyQ3r3uExh5EoWp2Ivmd4+eUXpGnhJBmXxp58vig/L3aHi3gshsfnwu/yU282sdiMlIpV2c8V6cjdrT2ZXBEkdGGgsNlEFQSZLBSDCLE0EETt0WBIWprqVZHmEfC/olTCHcYikiUwOTVJLHrM9u6OBAAex5LSKnBx/TyffvaZHD66XBZmxmY4yaQ5S6eYmJxlb29Hbu8vXHyBR0/uUTjLolUpKTfq1Ostrl29KhktV66+wu1bX8r48NmZuNCZ5FIrm4mTz9dlbHrQ10iDhcUy5MuHBf7ff7HC23NeniVrzH/jm1TvP6aW2cBpd9AxiZRLHb1WxdAzzqCZpZtK09HZcAfFeU/LsJugeprG6PCDdkinWcVs9dPY+Bzjm9+mpjCgf/IVndAcZqeV/pPrdIKTaNzT1G7+EMPqW5CIoQpPgaJGZzeCYXGVSqGIunnGUCkUyloUSh3a7CbDiRcZ9gpoFEoGFi+l3/4NltWLdCKHKKZG0fgmUCr1tB58iXp2TiYMq88+l39f6AxogqP0hxW6u/sojWYMb3yL2q1f0T5N4Vl7lVZ8H9uIg06li/VP7/L2xRFUJiX7BynCFjVqk0kCYO3razSrNQScQ9iepkbDnKTT0kDistnY2t1jclrYGlwcR2OyUy1U1g6nndPTFNVmXXKBxADIbDfTFWk6hQqjTicBouNjovojtLYOqaEVm3/xLCvlc/IzK8wd51fPSbilqDkJhZ/ObGDz6aZMh4jLl6gGPXz4VA5OBYw0EYtLa4xQ4abPMjjMdgIhP5tPt+RW/zQeZ2x8TNav5uYmJUX+OJV8bnC5LfSset54521ufP4FjYoAXvvl80nUKgVrpNMayuHH2GhQ9vv7/efQcvHOSJ7l5MBNLOmEUlk4uO0TAU6v36OXEtyVFiGXknQZzFYl5Y5CnpNaordvUcvtfbMxoNBUcCfRYsaj4N+85WDFXePJXpuNlIppoeIzKsiXdCjVNclfctoN5AtN1hZt0trm8xpRqwfkztpSrddpt+h0OvKy3KwO0eqEbrXN4aGAtOtpNNsYDWr0Vi1Pn5RZv2Ti9KBDX9PFbhVDAwv1+pBGp8+wo6BUqWO3CC5EHa/fRKc1wGDXEzssYLIoOct2CAXc2Gw6aYfrN3syffPH//Wq5LG1BBiz3ZOd//EJO0pVl3Kuh3fURCnZQmcQ7wG7TKTcv5dgfsHJhXUfv/n1Pi9eEwyiKvHDFkaLGqdTg0qhI36Yo9YRCQA/tVaXo6Mia6te9p7mCc47pc5awJ2nZwV4v0WjXsMfspJNNmVkP5VuoVC1RHYIp8/K9IyHvY0Iar1F8g7E8Mvh6/Nss0qn0mFqzsN+JM3cnI/FGQef3z7l6UaRP/z9cXafFVm7FOT6Z0co/voPXUOD2MJZ1Dx9eMJ3v7sKwyoP7+Uwi5WbWi9hfxuPTglP2gmHLHz6q7iEiSytmOUB6TheYm7Sjcmt4y/+4w5jU1bcPgXJgzYTkx6sdhVmmwDPnOJ0GAkFzaRzVbRacTPSojWpSBxW8QT09Pod9Gql9G2m0zWSmTKLM2YatQFmvVUSqj/6PMqf/IOLHEUPUBnNmA1qjk7zlIpKuTk22zU8eZAhdtBhelGFy+9j624Sg/35xTQUtnNyWpZRG0GbFVRGlWLI+Kifz77YxmMzodCLGGWVwIgKs17H7oZILWiZX7RwGG8y6rfIF7Vf+N6TJdKZFq9dmSVZEK5pPQvLTn78gy0uXHLQKGilbu6zmxlWFpyyl+/xiS1eAZNRS7vVwGDREQr42HwcJTRmJV/r0yq3GBm3crBfYGU1gHI4YNDtcu9+kZlJG2tX/fyn/3uDlRUnOr1K/nJvbGRYOedCqdfwwQcpvv2dAK1qj2q5j9Y8oFFuU68PqNaG9GkxNeaU8UuRuVQr2lI9mMvW6CvaHEWrXLs2RqHclt5oQWAWzkmj3ojVNuTnv87yyjUvTo+O23dPuHxlEodZyd7uCcFggGdP8py7aORov43BqGRmwcTu0zJ2n55LF1z88oMIdqdOHsgUKh2FchV6LRwuK7lcn/ERA52BkrNMlmZNzYWXAvRbQx7diRESrAnU2OxaeWh89qjG+WUb6UyNelXYBkxYjRpKxTa+sEr+nc1OWDGq9DS6TdK5Ng6PETUqdqN56pUOJmOf1cUQ+7EqQ12b15ft+Mam+Oj2Hj+/1+W02WP7pM9MyIha2WbM00etstJslLGZLBj0bm4fZHhzfZR6LceDB0l0diOxeIvDRh///x8n/N/+5Zt89w/PoQm40VqXGSZOKMQzFBJbclNuCAgzg41m7pi2UonOuUq/HUdVyaI2jlGrPMXke4Ve4wxo/N3F3oiW50MGhWuSbvwBneoeRs8FNK5xOoUY9fwxOr0SrcaCxrxEtxuhlzkCxwJKawhl6ga1bgdD8BoGh5vS5sfofHPQVdGvHaBxTUJPj1LdpFKIQzmHORBAqbHQbA0xm8botA5wnn8PVI+h5aFR71EqpfnBf77JxpN9PoslUJbU6BQK2sYuiyEjK9MjaAwVdo/UmAdD9nMZPE4zZ6KXaTGi7LS5uD7CX/wiydyEngWfir+62UFr1TEfHPCdcSV/+KpLApxSKSU923Ni7lGkwvK0k8OTEm6vFmVvSLrUZDLslu7WZrPLabIpUzm/97uzpE/OqDSG+HxiQzuUUTnxUD3O1tAPu7gDBlR9FY2uiCEqpNNVDOc+/FmUyy948I14+NsfHGAxD1m7EqTRaWLXmdnbT2CyCpWqXg7KcvkBtaZgsKo5OxOfOyVrVx1UCy3y2brUhAmVmcerpdfU0OyIFEqPlTUvaqOSs0SFelWB0TnAZddz53ZKgmAExdjmNrL5NEGlqMHrVUm14Em0wTvfCPKTD6K4HSa+8+01vv+fbuIaFRHdUW5+eojNYUCt6hMMWLn9heAgiOe6jsNonZcuW0BpRdNP86uonv/r0zPOhfQILKvPLiB9fU7zBV567W35M/O7PVKpZrKYpTKuWCyiM2iIHSWlO9xqt/H02TOmJqel3kwA7MTGYnlxSfYY7371QG7axaVWpVaQOEmhYIDBLLaxWuYW5vjkN5/IKphOeJLtNgqFDCG/gMrp2NjekpBFAUIr5it0uy0cNju7B/uMjIyhVqvkJXE3ciAPRsvzMwRDQb64fltufMfGQpLULCLbIkrt9NjJ58uSCC10aRNTY2xt7pA5yzASCJDPl0idnbE0NyvVabdu35aXKsFdEZAlj98v++6p04TcVoqLnhgwDtptmURIpgu88tI12YVPptKER8NkTtMywiq7ohYj05MzNOplvnqwIYGKiWSMiYlx7n71mJXzS3JbKyoGnV6TpaUlWbeI7B/Ky36t0ZAxcLVCh86ok4dYoUgNhYWBRkTRfVIRJQ4c4sL7zd95h6PDOOnTE8amp+Q2UwyNRQf9NJmVMeTFuQWOT47kkGdsbIJgwM1RPIleo5VJj4WlBVrNptxUtRot+oouiqGa5XPzPH7wBKPJzPT0pKx2NNstAh7fc1NFQfT2T2U6QugWi4UCX3v1FW7euiWp93Kb0e1ILosg04votxggqFVKOQgoFyryd8dqN1IuCVOQQQ6ZBOxJqdUwMSr6uyfoNGqyhRzDgUJu9mdnZmTCq5IvotBqpNd+Y3NHpnuuXb4sgXqiZy4sE7GTNE6Hlf29PSakZcJEv9eSB0aPw0alUQO1UirLYsdJpiemOTiMygvp6soSQ6WSzWebtPsDZibH2N7Zw+ly4XW65OX/y9u3JGhSMCWEwtBssxAKjkhTznDYk0Ml0SMX3Xph8RCfMb1OK6PMOr1JciUsdhs9MSioVlieXyJ2EpPVhuPoEQ4R9a81ZJpBaCdLZzm0eqNkZuh14mJaJxjwS4bS4fEpocAI/WGXQMBLuViSYDERiReJAQFdi0QisoZ4/8FDGfEXP0NhpxCf7XanJX3UOrVOqiOvvfQCj+4/lZs0cSESnwPxPYqliNB1rqxd4NOPP6RUaeO02yWvYGIiIC/Q4uexfukCkd1d2cUXUewH9x7w9fe/TmTviL3dXS5fWcdmtfDRxx/z3jvvSOCnAMuJAaHbYZU95OPDOMGRgIRsbm9uPQeT2q0yjSSWRaI+MDE2xo1bX0rtX7sjLlDg9jqJHohkiFCO3cXrc6EYduUz4d6DA669eIH5hSnu3LpLODwhB4Wtep1WT1w2RjlLJ7hx5z7nJ/0Y7Q5ZhbpwfpT/84db3P/f3+LclJ7jn97H/NIVjLoOutQRnfAcw2aPQj6VT7lJAAAgAElEQVRBu2tFQxavOyR1nZapSVqxU/rdGqYLX2NYOKK6t4lWJPXEkNXrRlOuorS55Oa8m04wULfpW8P0jrYxzC2j6fdlOkq98hLd+CGdWx+gnztPI5dkWK5ifvltFMk4yvA0lXs3MIxO0yrl0XoCKPodhrtPUfocaCYv0U4coOz1MSxcorj/CK1VD5joFTOSSzRotLEEZ2nmoxjXXmWYS9NMHAnJA1q9jeFwiMo6oFPpyX60cX4Rr6HIt/6HT3hylOPSsp9hy0x+WCGWKDHrtBN4fYV44kwaQcrVAkFfUP59i89f6jSFVmeQz12X38/MZJh0OkelXGJieloCR/VaPR6/i3arK6Gl9UqZVPIMb8CHWqGSgDjBihCfC60YrKrUlEsFWQ0SVo9Go8rWsz2UahX+gJdaqSLfAeLf3b11i5FwUL5jxID58DAuv4bgQuwfHOAPuCXITVxOB3Rkx18M28ZGR9mPROQZO3Yc5/U3XpHDudv37jLiCsiaivh5plJZaZsR/300fsyI14vBYOTmF7dYXV+Wn2Gh2BZpoFy+gNPmlu8CobcTaYqpuWlu/PgGEwaVrBjq0GI0dmhpzVKfPma3oTR0KZVb1AsKlmZtHMbK9I06eioDVxxdXg/U0ZnFQN8onxd9o+B26dl6msHo1Ep+jcWopNnu0qkqMNu1FPJtGc13uTUcHBdZWXLgDTgZNJU063US2QJTowF29guMjWskE0gx1HF0nCQdGzK+7CTkUhPZazKzaCAWLeJwW3HatGxvpXjr/WWqtTKPHlTweQwotR0OtoW1RcHouBm318Knv92Xy8NqtcX+doGrL09yeJghEPbw059Fee1lGwszfra2SpSqNcZGLRRKTYJhD9d/G+PCCw5OBe3fb2dh3suTx3GGCiODlpqz6hmvvxlmiJq9J3kCY1bJmarWOwwHA1n5UmuGJI5yLJybpturUyv2iMVTXHl5nEf3Uni8NllPyJ60WH9xVFYZT4/zcphxciwqRm0mF12Uy0LZWMHt0HLhSphffXAkq0x/748m2NutE43muXo5yPZ2lWy+yEjQRrXUlM+zlYtjRHfzKD74bwJDl0PFg42ynOAvTZuIRurMrVqpFbtyUm63GYmnsoh3m9luwKJuEhoX2jYRexWdVaRb0WRWM+JTsLdfR6FSEvDo6SrgYL+ETqvmLN8g6Feg0VvkRiyfKXHlpVFKtT6bG8dcWg0w6A4ZCTp4untCvazD5xBxNz83rx9iCVjIJUv4g0o8Ph+PHiQxGExcWveTT9fZ3kzJHkUm3+XwIMn0nAuPiM6JTut2g5l5G/V6m0qxhkFnJTxl5ehATMnE5U8ttSIrF0MympFKlzFohhKeU640OTyqcOGiAEd0Zf//O99dZHsri8akkNGuna0STt+Aak6B261mcWWMLz8/lBN70SmZmbfTqClJCrK/fihVEnOzfrkpEJH0w8Mi3/ydRbaeJYnu55ia98gp2elBHeeoTW6R6uUm0aMaaysuaVaoFfqYrF0JCxH6wq1Ihl5Hxcuv+nn2JIdSrSbg08kp0ojQmSVK2J16tBorW9tRLlyckwfs00SD0UkLQ0UTndLE1rMqF170yB76k0dZvD4lg66eF18P8NWXMY5jdcKjDsKjWmr1IZl0BbNJKQ9RFr2a3kDN3m5CTuyvXB3lL76/w+X1EdT6Ahq9g9iRSDbY0StNFIo1OTn3+bWcZfro1CoaHaHIMmA1tTBa7agGHSot0dcTE0/h5laTTQl7Q5l6Q7hSVfKFKx7AL389QCGlYXM7ztySUItUMJhcqIYNXFYD+0dlpidtEkRS76pw2Mzyl6IzHKDVi8NcAbtBy7hLRb6s46++PGOrYeDZSZV/9l9N8HSvRCKZZkk8wPUKYokiwbCZcrVLPdNjftlIyO3hR5/ukyrCWVvLH71o4J/83gtc+8YrMLZGLZNHvfuIVjnJaalMYO5l1Fo99ZMIKqMGjTlIv1GnP6ijdiyjbsZpdYX+zkQ3t4l17g2p46MSodfporWPoHHO0sg8o1WIoqaN2T1Oz7bOsB6H7AamuXep5uLQOUOlNjLs1BmIS4FGhcLiobJ9F1t4UXapFao2w3afYU+DUldF670iis0oSntUMyfY5tZRDbV0W3W6tSw6o5tGeY/hsIvScR5VPYfROYpSGOT9JjC6wBiEXJz03V+zHU3w088OuPuoysNUE7dWh3+0Q9Ds5ZWLPh7FUgyLNRpKDSYFmAywedji3VW7hLrVtTYOk11J/y3WBDW2wlsLBv5oWS0PnsNBl0S6wXFRw9SYHu1gQCzZZG3ZTioPmZM8Q/WAsbCDWv25aibg06JR6mgMIR4t4PYZGfXqePAsz2TISLk+IDxqJp9tY7EO2NsSCjorSq1WKjW9HgPrL/upZNt0BnqOD+JyKi2YEwJ6eRCpcWnNy34kidGkZXQsSLffkFsUkWbqdQa4XVpmloLsbyRltN4d1NOpCCduQWpsREqq0xQuXaiXW9SqHYrFHsvnXJJR0OkqZGS/1W7Jwat6oODxVgS3Q5C1OzLiLui3erOWRq7L8pqLo1iF+VkXDx+mcLmNKLpKdOYBHo+JarnHfrQmLzN+a4V028a//ViwGtTkcjJxL4dGIhg2vbyAyeIgl07T7XeZnpmWTnRxmVw+f07G2UQfN5FOMTM5yWgoTPTomHK9TvzgkH/2T/+ExxvbbGzssHRukW67Kt3MIj4vDvyZZAqDWS9BWttbO3h8QbQaNX6fj4dPHqBVGZmeHpfE5UBIdHyLkh8gNHwiZdHp9SUFOJNMY3U5mZud4Sh+TCGXYyQQku8AcZA8y4mLofLvXPQ6JienpAHj4998yNzMJE6fUNmKDvOyPPSUizV5aVBrVSiHgkuTlxCx47j4GQ6ZGJvg/t37ciCiQP2cgq5WyWj3xNQoqXRGdsG1aoWEDWYzBem1F6AncQkWkKJOtyU7oLPzczK2rFBo5J+l2W1LVZzotBqNemmMkQyDQkWC7wJ+oSpTScd6rdag1WrKOGzk4JAXr11h2O9JsJ9IHkxPzcpNuOhDiu2sTqul0enIAUQ0eojZYGLt/Cp3H9zj/Plzko5eb1TlJX90fExeQuOJpKxs2GxmLBaTJK6Xy6Xn8XivV17yRJx7oACf28edO/f5k3/4B8QSCW5+fkcS5M+fOydZC2aLUXbJBY1eRGTFJVB8PTGw6HUFdUwlSfEiav7ON94mur/PYKDC43HL+LwYjAgiuNiAibrXUSRKYMTPl1/eZWl5XoIzRWVBq0d+z8JtPz87y49+/BO0Or2kTy8tLFCv1kjEU7h9blRKBQeHJ2g0KoI+j0zmie2MYBoIm4FgGkREX7delX/nE2NzZPNn1Opl2dEWl12rzUOlWmA0HJDKPhFdFoq07Y1Nas0Wl18Q3f8YAa9H1g8EeV/o5x4+esirYhjy+ZesXVyRbAQxIClVqpL8LQZekm5eKkrdsejKx4+PUAggcz4nY/xigCH66+IHIHr/YqBwYW2VX/7yQxlBlj1mnZpMLiN/3v2BINoMKDcblApFaeeZW5iWFYvTkxNpEciXSxgNJmZmZzg9iUsttD8Y5pNPP2F5eRmDySitGhqFCpvdLOGZw2FfQvq63Z68HIjvSfSO/SN+1AotidMYq+eW6CmG3L//mKmJEZl6ECyBhfl5OZzLpNKEQgEZzRaJjNm5WQktFDF+u91GYGRE6hSdDpusewhgZiKR4PQkxdK5WY6iETzeoNS21ao5NEYLNouVpw8fs3R+WWoDBU9CDDTsbhuhQJB0JifTNGKL+/jhIwJ+l/zc7EfijE+G+fbv/g4f/eZDmvUOrW5TXubEdvH4JI7VqJQdYA1dBiIxWe/hsRr49dMsP/9Xr/PeP/9d8r/4EQqdBV1DQbVTo2UyYhs0aShVBF95B3WlTKVxSiVTwj85R3V7g04uTVfAEZcvo1C20Fa6KC9cprV/H81ASz0fQdEcYAzO0c7tS320NjwhzIjU73+FvplDOzFPY2IFQzFJq5rFtPoKjXt36BzcQRWew7xwlXa9gM3lpHGWpXV6hNpslrYQzUBFTaRM/OP0NF06G/cxme00lWKxZ0epFxFvM32TCtXYJeqb1+ntbWGeW2Gg0dEpp2jubGGdX2VoNdM5SeM+N8vZZoQRN3wcbfD2//xIViiFTrvQ6WLRWukWCrivjmEZm+fXP/xAqjgNRgvxkyhXXrjKFzduMz05gd1p5eDgUJ4RhcXD7nTQqdfRiIu9wyGVppID0O/LKk8sJgaQTqYmxzk4OEBnNIFMoWmwmkyMjY0QT5yyubEvo+SiEiYWDr//x7/H7Ru3SWZS6PUGwuEx8Yhi4/EGNoeRF65ckRUUoaB0OT1oDVrSZ1lUaiXHB0Jh6sLicJI4ijM1Oyu1tT6vk1a3JblPnU6TbruH2WwjkUpgNVmZXZiQetx7D5+gRsHVa5flEPDBw3uExsLc+ewLgsEwHo+LnmrIUSzOtddfRNeB3/7wl4SMDtqtHCMuKwfpOrX8gPOrbs6yVcwWvayAuawmOZArtOtsRvuoTQZ+Z7LH//q9EPuJPH99o8K7L/qonJU5rQ/wGgyMjRlRqfocH1V4vNPnwkULY74ud57WGXE5GA2LYWudcnkgTSehoJ2+SgyJ+3i9NrJZkbbt8bX3RklE8vQQA48iFrseraJFs63mJF5iKuREZeqgVollapaJaQcGjYlbNyNceykk6+mJY2FlUWCxCxXpgExSaFuDGK0KUsc1MSsj4DfQG7YplYUSXZh0OsyOGpg97yV5Uid71qDZUDAxbWCoFJddg4S0+zyiwpdndMyNwaAgmcphtzn56m4Bq77LxKKZ40iDt94IkxR/3rMuBrMSu0fF6XETq0GLQq+gU1ejMDQpZ2HpvINms0+3p2BH6Aa1oo4yJByyUit0pFK5O+xI9fCzjZqM/Y+F9FIxKBbWI+OiAmrh5z+NMLeklwOsTkuNy9FlfCLI7kGG44MqL74yxnGsiOLnfzo2LJ4W2I40mF4wSdhB9KCPy6fAajAwUPaYnnFSq7bJZbsMun0mxgz0xYXzSV7GZDu9Lvlig05Dw8iUBr3i+WVamAEErbhaEv9/otumpF404fWWaHa1HEfbWIwDeoou8ZMO114Yk1q/eqdL0GNGpRNI5QEbG3VGp/S0mz2MJh3tspLTbEkq3lLJtqwqLCyayRb7bG+XuHrVJtVlz54WGQtrWZpziV0Bek2Z+w+LhCeFlmyAVQOxdA29wYHN2iV92mMkLF5MZXJnQ4I+tTzEC5BUZzjEpNPjHTOx+yTLK6/62N/K4Rm1kz+rkUn10BtgZs5OPt3lMJHDoIVSTSsjN2KLtDpvxRUQH1IVOpVa9vhF72NiXMeDRwUSp2Wmph0SIiK6jBqVjXq1gEqlk93Vw2yWiRERY7Pw+Y1j7BYd3/rOMt//y2dMT5g5jJVot7W4HRqy2QavveyToLAvbqaYW9BL/Vs83iBfrXBx1Uer0SOX6+D1GmQ8TcRIJ2dtfPVFEY9f9BGtVCtVCbZTKY3ykp5KlTm3EuDWjThmmwpfwIRKYcTuVKEc6NneTVFvVAiNhJiYMVLJN2n2WtJLerBTl/T5ZrWJSttlftaJ2+fkyeYpUyEf17845tWXxjDbldy7K/y+OknaFn29ZndI+qTK/Hkf9Jo0OxrZbR2fsrO9mWFxNkwiViN9luaN96e5dyspCZyry6NYbTq2D2LMTI7y7GkMs0mNRilUgwMCfjEFNmAUTvtBm3K5x8SYlX/8/WPuJdX8wVthtreznJ/0ya7VcFjjwvQkNzbi7Jw1CDj0vDDrwaFq8fFGhlxVQaaqlgC5f/Cml3/zb/8+oy9+A1oKuvEvyD7YA7sfi9FFTd9AW4ygcV1k2Cs9j/q5lqlt/wLj2EW6Kjf0E/TEASnxDN3YZXRWH8NmnZ5CSV9jksT31skNlAYPev8U3WIWU3CNZqOIvlum1e/R74rKxJg8NKoNOhkR7IpBgW2R1tkTtDo7XfUAi9kFai+V/V/RrxSxr32NtoC46bQMNW403az8mqT26FmMaP3rdLJ7mP0XqcQ+wuq4QqXylH4rj2fuW0TufIDN0EcRPIdJ1ZVk3J5ShSY4AnY7FDM8vv6YG3fv8Oc/esL2KQSEg9im4tVZJwqDjpDLSfsszb1okaZKQ6/Z5eXzXizWvnxOiGHdvWgDvd2Jtl/H1R7w3UsKvv1KiFq9x9NYhZ39Mn6nFYNFKRWFojZz66tDuYFx2gd8fLOAST9gecFGJtvHpO+j1JvJZ7Ky62kwaokel+Xz6bNP9rEY9CyveYiflGWP7Le/iWBUu6k1a+xFS7z73gSJWIXeoMdo2Eml1OYoVsLjNKE1CKCUQvbxBS7e5zTx8FESq1vDyy+OSjL/WRHsFg2hCQvNijgwq2TMVlzQtDoN0aMCV1+ckpTw8TGPrFo1Kj06TZGcUuL0aIjHuszNGjiIdNnbyzG/rGcmFKJcr9DuIpWhHcFYUSK5IwKcZzW30erNdHsNbtws8v6bQdxuC//+B5v8yTenyJQ7vP8fcqz7NZK5sr44RrXV4/6jffoqA9/8znvEIlE5+V9ZXeNwb4d6u82wP8TmEPHGhHh9Mb+wxIN7d+WfXxzcyoUCHq+H27cfojfquHR+hQdPNpibn+b0NInL6ZTk8O2dHSwmK1PTk+SyOeqNBuHRIIVSQQ50S6WcjFOWczVUerV8eZ6epuXl2+8Psru3zeX1yzx88FBeFIIjPvlPkejQmyw0a2JSX8XtFlyFEyanxuRmRlD3S0IX5HDK/mapmJeXl8WlRfl8FBfUtQvnJFgseZLkpVdfZXd7W35fXo8Ph8uC1WSTz9FsPiO3sPe/esji0jL5UpFwOCg966IiIL5msVCWoEqhRVVq1FJHJy4dvoC41CRlCqFeb3J0+Dw2LRIOYiAgYvd2p51mrSW3Bitr59HrlFKHKKBoeoNRbp3GpifY39mi2RJRwy5ra8sSXiUOvsLTLIBJw0Gfcl1smLUcHESxmh1SgypgeqIyeHAU5Y1XXuckcSLhZ0YxuNSZJAhufHRUbtjsTjdKhYJ3331DXvbPzlK8/ebbxOIxDo9isncsgHbXP7vO/Nyc3KSJAaRWayDoD7K3t4U36EOnNsiYvBheiO30SfxEusNHAn45DBBqSdGX/cmPfyoTIv1BH8VwKD3tArqVTGc5icVkX11c5AScWNg5BCdgdXWBew8ekknnubx+SX59EQW2Ol3kMlmOjg9lR1gkE60mM6nUKXaXG6fTwoOvHrO2uiLtEWJgIkj0n9+4w/nlRQ4PjylWS7hdTvlnazbbVAsVMvksSwtzMqYbP0pK0KUAE4rPod/rkr3cuekFWTu6f/++hA2KbbeI5c/NzHAQPZRww3A4zONHj1hbW2dsPMjmxpZMwHSF+SJfoFGvsnZumUyhwOT4hARA1httGeEvlatcuXaJw/09RsdG2dnZR+DqxWdQJG/qraa8qJeLBSbGx7HarSiVSgm8EyRy8b0KyJ1QMIpqzfUbt7mwusJBdF+qL0fGRnj2bEteunxeDxvPtgkExAY2zisvv0rsNInFKDZ7KjnQ2YscyANst9eSP5fw+Chb2085v7IqU2T5QlbWooSz3WDUs7u7J53nGp2aQX9A9FAAOUN4/SNED4T2TksoFGJnc1fW5bQGUZUUn2mlZIu88cZr/PhHP8FqtcqLn6DIZ7JFmZ4Ih0N89tmnvPP+OyTjaVkNnJmf4NadOwwGXV599Q2SiTj3BZByWpg2yjjsNpns0GgMWC02mQhZXFriw99+LCsmNreDZrnFBz//BW67WS6AQh6/HJR9/+Mtvjc34M9+/WdE/vNfMeKwo51bJPrgEQGHDuO1FXStNnf+/K9xX1ilspth0lJGbXfQnr+EWqWjt30blcnFQNcm/ek9bDOj6JttFPMXUBst9ONPaRd6WF99mcqTL+jbglgCc/RPH6BoD2iJCp+yhSG8wDApdMJCtytO0H26oVkGpSiDbAmN2YfGaqJ6cBeNwol69Wu0jh6jKsVBY0C1/BK9Z7dQDvuozAG6lQTGyUk6aiut3ftoTHZ0bi+d1Cnq2QvoTVrKNz+G0DT64DRqkSxUCvZOl2ef/oIrv/9dEgfHTP+PX7IeclLvtqn3+syF/TSiJ5QcBoYjfuZCYbKVMsNeT6ZLRN0nEU8QDAWkXcUm4KLHcZkOmVmeJZVI4XGLtE6d3Z0I05NTUo8novkCzt0f9AgEPPi8Pj6/fpPZ+Vk55L3+yef4AkE5OBOfo9defZXNJxsSPAzCN2+QqSPBKxE/29DEmBwgtmt1OdyzmEzyfZAtnjE2ESadzMnn1M7uAS9euSy1pfHDKJNz83IhoFYP5fC01mjKYYOoEAnobzwWZ3XtPBNTk2w/25bPcafHw9HePu5AgHKxLJWYQueZOk6x+vKSrBs2q20K+0fkto9pNwYyJt9XqjGYhmi0Zuz6JiqjldsP08yEzGgVDdqtHmhdPMvWOO/T8C9f0XEpqObf/SqFVmXg3JyZ03RNLlkGQxVzKwYiWzU+eVTnd9+yUawPyaUF9rLBjNAI0mdrL8P8mIHFpRCRiNjUq9EZ1ZSKalLJEsVCnlffXODOnVP8Aac0qJULQ2YWPNgsyOGCSCHcvxljdMpBv9XFYXFwcprAaFVhtFgpVKpMj/hw+izc+TKKx6GX99Fqtczq2jj1YpdHm3EGXYOsDAimWchlQhxvu83nqYhUcSATcEuLRhQqkVY3oDMj017F3HMl/JHg2Yk619UwpUpL3gUFEy2fq/G1d8fIpKo8fpDjxWtTaLUdHj/Mc27VLu9KaIWtRS/PfHqTEY16gDdoInlcITjqJJ8qSsOHVqtDb1TTqAyx2lRUKx1WLwa59eUB5aoSt12JxW3F5dJyJgYeor5RgK5CFLORYHbx7hFqbvHZFvwBz6iRo70Gil//6fhwOGhitGrYfFpGDLzcbr2Mj1REdLyqwmQSrt0KPq+J0ATs77c5Sw146SUTJqOObqOP0TKQB7qnGw2m50zce5DlwoqPzY2iPPBq9ErKNQ25VBW7V43bqsVsUGJ26NndrKO3Isn0YttxclJ/vt2x64kkGwQCGvKZ587FoL/LzmGPMa8Nl2vAvSd5dDoFb7wY4PSsQik/lNNX8ULZOuzxB9/28dEXOaqlHm++5ObmV0XmFkykkzA7Bs8idUIBHf2uAodXTSYr4plW0A8wqIckMw0ZGRwf1bO108AgD2RC9WXhVx+e8vKqkXSxj1GnZiJkRKHvkU6p2I/kmJpx4XF0uHwxzJ//xwh9bYelc0E+/ijJv/gn6zK6WilW8TqM3LmXA4MSk1ojp+LnVhwUCzVmJ4P89OeHzM3psTnV3PysitmpIBCwMRXSojGpiO5WJIBE0G4XlgRQqMnxcZnFc16yiZqMiAr6r/CSDocdnjwpsbrqod0eMDVuo69sUs0ruPfwjK+/P8KgO5D9FvFgYaiRlFurzYheoyB6UMTssHDlioj61tnaTcsLs+jiPnmQ5Oq1EWx+E5t3Y5JYGj3O4fFZyWfqzK34iO2eMrkQkNoMZbtLqlTj8KjB9JidsXED8WgRr99Gp1fDaDZxcpIHjKjocGF9QjImtvfOyJyWePvdczx5mMBg1uIL6th/msHgtMquvvja/UFDbnpEJ7hSHpJIFgj5rPR0WixqLZMTCmkMcBv7WLUaomcdDnJqfrZbYzPXYylo4b1VJ1+KB+KMhoc7NbR6LWsjdkkVPki0OD/nZPc0K0GEh2kdE+YO/+gdN3/yv/x3WKbPw2mJ9Ef/harGj1mrQKHuo3Y4GViWUPUqdLJRurUGGIXNoINaO0rj7AkO/ziNvgFtvULL4cfsHKOd2qevbjMQnSZNAwUOWioVitwhWv8kPcMUytOPUZlDdIRisLSL3T/PUDtJK3UDnd7CQGMHnQdqGwwaRZSmKYzhebr1Lu1SQm7zO41ddPY5un01nbNtNEYdik6XYa+Obva7dPPbtGPXMbsXKLf7uPyL9FVtVEo7g2GJ3ME9nI7Z/4+lNw2y9DzP866z7/vep8/pvXt67+mZnhUAAQIkAIIUKVEiRVn6JSWusrMoclWcimP/cDkpJ46jlFwqVcpl2ZISxhJjUiQFEsQ+wACYtaen9307+77vW/K+CP5iMIPuOf197/s8931dqExd6qkz9JOv0S+VSJ58Rq2jZHrldRTlGG1BWA5PYgzZEDGiwt46H/z0l/yLf7PPaakjK0gLYQ0uu5rb05Okign2L0u4TFbilQrxSpuQxUazUcFmhJO6gUiqynLQyXkhyz/5qo3bs1aCAQPrp1U2H5ZRWXvMjzlJJ+uMTLgk0+PRVhaPU4PVaKbaqNPtN+jVv1RVKfVtSuW+7MC6XGZGw252t6O4fWaGhhysP09RKzcJD1uwmMRlqURAmEYyPWwevVSMJrJp6dIWUNREvE2z0cFh10gtpoCMTo+ZWb02zhdPz2mUewyHhT4vKwncYrtjsgiVopq9zTw3XxymWVewuxMhNOrEoO+z8bhAIORiZMzIxanYPFt5/DDJ629OsP4gxlde9dFTaEmfZQSwHJfLREOl4vPPLvnWG3N8+vExUzMWzFoLP/3VBdevW2XtK3HZ5c7aELFCg2I0x+IVM2/8eY67oWGKrSQWjYWOsks2VyZfg+99/7tsrm9J8JnoNw4LeKLeiMVhkzHGk8MLvB4n4dFR6tWqjLjPzE9J17HVbZeKo5PTc5kOiKZE9F+BUmxtHGa5NdTpxEE9IaRIUn8kLiKtThutUkuxmMMrYpAmI5/ff8w3vvE1qWHa3z+USkIReVx/to7FYGJ8eownD9aZnBhHI+KZJydS/ba8vMj+7p6MbApom9jA5rIZKsLvHB6WUUpxWRCdc3FB1ht0Ut8kNuDZZAq9Rke+UqSYL0kIm7gwacxWLi/OsJhtqMUlp1WRm3yRehLwqgEK+cve9SoAACAASURBVFz2eO2U8zXJPwmF/Li9YggRB9rMLSxKXZvT5qJYLjIaDmJ3OdhY35bQQTGgCAUFqNIgtW8ifSe+N8OBgISeiXrMoNvBbLHKKPbYSEjCqXL5wpc1jWxOarBiiaiseYm++8HuPqvXV2m2W1K5d2VuTn4dY6MTHO7tY7DasVqEvqtBOpdFq1TL4YLZaMBhd5DJZHG4XXIr7HC4iEQu5FCo2W6wsb4pf43P72Vna5fZ+RkcDhv3Pv1CavtcbgfFrOiU9yTXpFwq4HS6ZKIhGkvKQ4yoG4ht+Ycf3pNVgKvXV3guurdOt2RPZLMClHQhB886lYrrazc4vTyT/51IkFhsFsIhAZeNokIjL62ZTIZ0Oo3JYsNhsUnl3urKPPVmT8bu1SotClFPtBh5uv6cF27fkZdWUZ9od0GvVWA0WbmMRGm1O7z44h3RBuDB46fUmw1mJmYkCT6Rycm05ezMJJcX5xJC6PV7ZH3j7b97h5mZWfY3N6X+y+l1YDQYZJc9HPQzOjbCe+9+LOswomohajS1chWVTmCzkDR0j8MjD9ria9zfPcLjdkiwoEiIaAw6tje2ZRpC1HEE6E/47WPJpKSiHx0cyhhzu9mhWvkSgiX6gWen53g8TklcNwrffTIpGRvHRyegVlMvVaTaeXRsnKQYCJnMeJxWuRwa9FXyEFqrljg7u5A1jZHhoFTtWe0m/N4AGo3QZ0Gz1pZmho1nGzLOWqnV8Lo9Mslit1vQaw0yobC8uMB779/DYTcSGg5JqODy/BwDhYqL8wtpWXi+scXVtSXyuQIGrU6eJwTYTwwRxCBJwNxEakVUhpRqEYEW1QQF+XwBt9slfd8CTigWGs1mV6ovRSIimUlzdnBKcNjBsIhsH4ihp0YaBNxOi+RDDYdDbG7tcu3qHPlSjW6rzt72lqxLuBwmTCazHPI9Pslh1jQ5/Le/T/X8CJNVgTo4CUaxaezwZ3/ykL/+9JxkCjI9FWaLhtdtTX7/D2ZZe/V1ilXoJk5p5KJYp25B5Jj2oIomMEIPLf1MloFZT0/8DC3eoXFxQDsVwThzg45ugNaspxXLo+7WaJ5u0XMG0Dq8tOMnqPUCImaCShbDcIhuVcC5L+nk65iCIfRz12k++Qg0NhCAVL0Jx9Ao1aMd1DaxHS/LtEk9foHRM0I5eoTe6cF67Rb1d39Br11iEB7BZHDSzOdpZ6PY5lapXV5Ke5Ln+gitsyLjf/hjlidCpM+TMoI+P+cms5tlELDRdrnk8G/9yVMCQy7Gx8TQOEaz1afXqTG/tMTezr5U+NbqReaWlqS+VKUSvXiv5Cw8fPwIs8XOzWsr8uLYqNepVCsysu33eWUKpNn+8rImjDFWu0UCW5t1UZs6w2y3US6U8Lm9dPviOWuSz1/xWRbWlOnJCVkxiaXShMPDnB6dsnbjquR/iEGDzWiS+lSNRi9NMOexS6x6k6zhHZ0c4wv4aXWbLFy5wsVlVPIDxMX07OyETrfHWCiI0SasQGWcDjO1cgtETlCpwuC2yvTU4WfrkKigV0BJsIYsJgbtFjqrDr0SYpUBinYXu1mDSixqalkOCzoazT7XRgwsOvP8/VUrKpOJzw5LVOsqJsNaLuMVovkOX73q5OlRGY/dStCjZ++8isvcRGfVEI2Aw6KgkG2SLfYJjZkImNVSj6e2KfB6jBSzLaKJLBpE577L+ISRo92WVEnfuOlmfDLAwwd7FHMqqUmPXmbRGnW020JvrGd4SE8i2pX9erEnb9c71CodPEMGwiEX/X6TZLJOMl6hWe8zd8WD1qjEoAOLy8HRTpJkpMrcNQfVYpeBRoN/yMrGZ5fYXVr8AQe5Sh2rUcfFeRnUPdZWxDMmi89nI50vE3S52NyLcuNumFq6w/P9BMvXvNiMBp4/zeEOqZmYcNHv9tjbyHB2WeHKFbsE0c4vB9l6FmN/t8LybTulVAuN9su6+uf3o3LB6nbZsNgFR0/H+tMoE2EjNq+Je+/FmL/ixuwGi9ksa3eC33T7zhRKRV8aGcTQYnYxxMHWJc26nr6iQrtrRPHXv+cZpPNNXFZBfjXQqAlWWJ3YWQ9fUE+/2SFRaEtidblQF2Z5RqdsxKJVGeuqdqqMuO00Oj0OT2r4AwOcHgsney3eeNPLux9fMjfmkpqPhw8KDI1qKMR7WNwCINfGbDXK6cbW0ypKg4aQH7Il8LtVDPld3HtwyZV5Lz6jgqdbKVo9tTQIOEwGdNomrYaAWnSp1JtcXnZ55QXRfREbIZ2MpEcuc/LPMJh6pLJNCfXJp3oUKk1+8JvjUqOgVw6IZTSUaw18bh21She1VUU2DYNWG69fS9CnlmTsbLZJqdhkOOyi1SiTzbckrX7lupv4sQCANTDrlFQrCvm1nh4MCId6eFwWYokO2XKVuWkznz4syfj/9UUn7fYAo14pI5nNjobD8xx3rwV48iTDlSmjhOiJ8s/5odDIKGl025yf1Bif9soY8eVJC9RNJsccVBsaOo0GDqdOujKVii4uh429vRyTV+wS2oO6K+0EtRZYTXoJkRCdQLWqRrWmo5ipy89CX92hUm0zFbbJGkQy2yDkMTG1MMx/+j83WLntoNtRkE4LSI1Wap7ERF6MnYTj8vIyRTbfw+cX/vkyJquLblvEWTtEogVGx6w8W6+zdsdGPNKmWixi95hl2sE5rCBx0aVcajI7LyK9cUpFFStLLmLRPI+3BOG2hduuR6XvSadwp9dHpemiUHZQqjTYDQp2nle5dstNpV7BYvbw8f0L5kaNvHQ7wKDUZdir43/4qxjP2zp+tVdiIqDEolWxZNfKh4vepsdn1lPo9nh+mOPurJfHWwkmpsfoKOv85KMU/VaP37jm5T//e+MsfP+76IdepvLLf0OnKdgXenp6LUqlC5XeSLFRIfv0Y4YXbqKkSyMTQyO2AuZhFAqjTOC0GhW67So6qwONdYxmJUo3diLe9BhGX6SHiU7+FKMnKF/Q9fQx7WYGw/AdVIou1aNfojd66LvGMOoDtHJ7aByzNOtlqrH3cM6+xaCjpRZ5B7NzDaUZGsUKBluYfj9NOX6IzjRMv51CZzEz0A+j7AiyeQulzoiimQOlHYXFR78ntDUCpFLEbA/RaTbo1s7RBiZRtVoo1E56qi69Yox++xz70B0KdR2KehSl3YO+nGFgcWJQmWi5nGj8DdS5OOlEgj/5ox/xl4+zUgv51QUxIDGjMGoJOpRSnegZs2Noa6k1+lhNXVrlKseZGkoBtWroJRDSNejy3dsmvrM6zP2TE966GeKLbVEJSnP7ho98RUE6m2dpzitBnsJh/sIdP4loieCok3S2KpV/4oUutmAoWxjVJhKZIg8elXAYlfhCNu7ccRG9LFCv9nB5HZyfp3DZDNx6YYQvHlzSrqkIjhop5iok4wq6/QpzC2EKuQoGgxKlVsX2szivfl1AMMsyRTQ0pubyssOzxzn+8L9eYWvjUh62O92+JOKLbjU1PeVKkeCYlfCYg8efZtGZ+izNW3nyuIzTq8SgNcp00NxCUOx2+eTxBfMzHlmpsXuNHO3nGR52cHEu6PQG/EMWAZSgUKjjGzLybK+NoV3ltRds/OO/U7GXqDIyqGId9hFPlRl0ezSUakYmxjDrTbLPqdcY0Jn0EkxXKlVxB9z028KG4uCTzz7l9a+/wcnJifSuN2oVZuZm2N/bo1yqSmjaoeg0myzEIzEWl2ep11vy+y9iyoIkHwgGePzoCWaLGZ3BRDwa5e4LN7l/7z4Gs0WCvexWofYr0hNwskIWg8GMkg5TM7NksgmC/mGxTpDdd7F1CI+GaInueqOJ02KRlHWn2yWBaSLdURVDjJNzRsbGJE05JSwERhMmQR122qW2SfTly5UaGoWaVq9HIik65yamZyZ5urGJotdhaGhIbqPE11Eq1nj4+AnfeOt1+bVHoxfyQnR8ekI2k+PXv/0d9g93iV5cMLewjFotYFj7aLQWqW8VHetYPM756al0Ync7PemXFzRrQZ7W6fQyFi86+QJIKjbkQlUWvYhg87nptbs0KnUiibiEXtUqFYLhkOy8r68/l6aBLl1yqQKlUoGF+Xn29w4ZmxqTxPtnz599SbkuVr/8eqplWjUBj9VhNuvwDQUkDT0Q8MtqgRikDXpCtaTE7bSxu3vE+Pgo/W4Lq9NJISe6/QrZ688V8jQaTYaHQ3LosXdwwOnpBS+//BK1Rk0C9oZDYXa2dyWjYPnqgkwciqiTgM/1BgoJmDIZdFLF9v7772HSGxlo1HJgInRYKytLcoD19ju/5MrkGJNXJrn30RfSPCDo+qMjYR4/fIjJ7ODiMsb4SJhweIjD40P0Bgvlgqh8jEjCv7jtCz1dNJ5gbmYMr89HIpMml8zSV/a5eX2NXqvJ4XlEeAcw6EUzRi0p8yL5srmxxc1bN+TF+ObNq+QyJRriTDLkZlf8PGgMcoP/fHuH6elJ+V4XsXbBIVAqRD1TgPFa8nMo7BFiMOH1D8kUU7vTkWDM1ZUVCVQUl2KnwyFp+dVGTQ7PqrUq81NTElj49OkWV5eXcdgtPNvakQMtwUYQHWgBFdRpDWTSCbQandycijL37Zs3Jczv8OwCu9UmN+YiuSGSE41OWyoUxefQarOTSaZkKqJLX25Bxf+LwynU0R0+fvcTlq8vouoLHZafJ188oNsX1hS3jGzPL87wox/9GJfDLS9UZouDzc0NuYUVqQST1UoiFmdO2DSSMSwmCx5/kAcPPmd4aIRytcDS4py0CAg7RrfZotsTykwBa+1Lb7iodYpB4N6++Hs20mq3WFlekKkjcXk83j2SaReNXkNPoaDdbDE+PSsvYGfHlzSadbxeH3u7+zI5ND4T5vRwn0q2xPWb87z/0QY6bUtuLB/tDGjl/1xMbzj61dvce3Qhn8U/e1yjrKyRbRr47h0fk64esbqCf/9Ogvf/+R3uvLhIev0R7Xga5+0X6HtCtJ8/QuNz0xJDmcf3sc8uoL7yMoVf/AfULiuW4DKdiy36dgcdlYpe9AidQo3SM4R6YpFBKkIzek63VsZ84xbdTAFF4kJWMHouOw6NBWVghEYphVLo7PwjaBKn9HN5UItLd5uB2oxpcY3yxz9j0GxhGgmjsDrl91cfnKMVizBo5iSvoFZKosoX0C6uoa6kGejctL1OLPUi+ZaC4flJhl76XxkKabDbrJRiFfROPblEBbdfy+Sbr3Kyc8zq9QX+9ie/kIkSoZIUn28xwBMwScFQ2d85ZGFxls3NbYR6QySMHj94SCg8jM1mk/WYZ082MZsNTExPsbe/L58Pq9eWqTU7PH30kKWFBWamx2n3emxt7XKwd8LiyqwcQInnueju5zJ5fP4AFquZ44Njspk0obGwrJeJ/r/gdoihZqvWZHN9l7mrU4yNj3Hvg0+YmJiUTI9DMZDuDphZmJS6VfGsMYqbaldFJpNg8sqMrP/EY0mZIFIoFTgMZlknc3lduAIedi7OuL4wT+r5EWc7EdSNNm6bMNgrMblsVNsNIcDFphqg6Bjomxuo6h1afUi1WkTKsOI1sDbUYsWvxK1TUGoZ5dkp6NMyHlSTirbR6zWYnSaUtHi605bWpMUZC+GwiScPUjhtQgUoAOMKlmaCKAT8L1dl2O+h3KxSyHU4OcozMmxHbWoRvezxjW9OsLebQKXokUo3cTvNVOs1vA4r6+sZ3vj1UXmm+fi9XcwGh7zwT46r8A672HmcoVzNMzoaIJJsk07ksNkMXF30Sg345IydZObLLX23MeD4MC/T3MIK0VWK2kJJQupDkyqSsSovvzjN9tM0kWwDlbIvFzEGlVoEeumJdGNfwFedRCIVWReYmzVjEKrOThufU8/zZw3sTqEqFCBUBVs7WQk11zrEAtrNhx9e4HEbJfxZDFqF3j6RrhM9bzI0qsfnV3N+WcGgdEgeXeQsi0pjIeg3oFZoSJWL5PO9L5P07YFMSlSbA0anFRQzA8nRm5kU1ZYmGnMFu8WNQimSYGaS8RKKt/9obPD+ryKMhwWtUc3+cZuxCZOkNleqSkzmHvNXLBydtWRE7Oq1AJ9+mGB20UYuh4zUr66IKbWC9SclVu/a6Db6NMtiGtMiPOHmfDfL3JKXarWNUtdiYcbFxXmf7e0s+WqDgE84eAf0+yJur+U0KjrITWbntGxsdiTQ5mtfdRK57NDriFpBBb9HSaOnhn6PdL7D1KgbpxWebGVQKvRUSg2uzFpY38rjtdqw2nr0lUpypTaq/oChgJFHTwqyA33rmqCc6jk8acqto0kvqgZaqaVbXfVz74tLlH0jza54+GsxqvsMjaqol3QUak2y8SbhCSWffVHj2qJFXuzFZa7VrZBI94gl27zxmod+R8H9hwW+smTB4jPI/rhWAZH4gLFhA7lUnVa/x1jYitmhYGdPeMgN1DJFsiUFNosal1spX3AnhwVQ9Rj2m1AoehilV9ssISi/eudC9lo8QybSqaKEIDXqEAzp2d6sMDNtpl7pyW7PzLSN9a0YOpU4sOlxOQySOjyzEuLyJCsJsN98a4KdnTzvvnvEyorYxOgp5Fvs7QlquRpfQCgsVHT7dVp1MNm1uF1Gsok243MGTnfLaPVqDNYuLVGJsCiplUTv2kiunJd+S++Qkc+/EL0eM2eRtIRLukRnsFHFZFfQ6xm5/1GKN94cJjRmkZe706Mst275KRUa7B8X6ZW76N16GiWIJRrcvmbnJJ7Dordznmzw0pqLQafJSEDLRw8KbOQ7JBtWfvi4wpK/xwsTBiJVJZF0j/lJFWf7RYpKuLvopdNV4zMo5CVkN13nl49yCLj+W8sm/vf/6bfwvvE9NJkGg5MDqlYrlYNH6NyTKNEz6J7TbehRqWp0lA0MhikUNg29cgm0IhrcRKm2U8heYjG00TmuUzr/gl6vhtIAFsckbREH1gkdH3T6SkytOMWuAa3QAJotUtGj1zpQeJdpd1QMKpsYHVM0VVaUFz+h06pjnvgWlcyuPGALpVK52UMpJkHlJI1eF53Jg9ZmotcyojX1UOuGaCoNNFP30TbbYJukmztGY/Ogd16hmnuKWmtB2RFKkXNcoes0Lk9RDs3Rrpfp5A4wiHhyu0arY5IgqbrGSyp1jyH9OCp9i1JZj210nG5ig2a5iSGwgKHTRbXgkb5cARL66N/9GX/1f3/Og40cjaqS4Skl374xy5OThPwejft0HJx3MFv1GHUD8rk8Ab8VVBaenVTZTzX53nyLb836KJaqrEza8Q65eL5bpNSqy05rudDA59cxMzLEp88uMWn6JDIKHIJ+a1Rgdw4wGK3s7BRkfWVm3I/FpZcXUvoqDo8yZEstluaDDHotPrqf4/WXPByc5cjnYXzUSKPRlhtkkagRBFq3y4BOJ5hNRrZ3UnisGhKJKhqT6LxVWF7wEh4x8uF7l1TrfZxuvRx4ma1OepRJxOs4vDqpKMzEFegMokcuLvJxaVvwuuwoaZMvDCgkyuRLbVZuejk5q6BVqDEbdCiVLeo1LVOrOp5/lmHlegibU8UP/2KP2Tk3ncGA3eMC338zjNOi5l/+KMW/fV7iO/M2SVOOpKs0qhW2L1qsroT43d/+Pf7j3/yMVD7Fa6++hM3ypR6s023JPrPYWJcKFboKBdVciWgqyfT0CDPTkyTjKYrFutxetmplFpeWJcjLpNdwfnYhU0bhkTFJ5hZbWo1WSSKZYWZiQvY8xXZSQOrEIScai0sIl1I14Nvf/jaP1p/JF6QAPTXaDUJDwzIqKPR5XWESSaaZnZ0jlU3LzefClQV297ZRaFSkUllCwQBLiwucX5xLaJsAkwpIobg47exssrq6Jjeswk0ueoAeh518qUgynuHl117i6ePHjI5NyM2w6HQnIlFK9Sqvvvoqp6cnlMrinealWC3JmovFamF0fIzjgyPiyQRzs9M4nA5ZN1heXpIAvb3dPew2OxNjI+j1FgqlrFSuxRNx+u0ewmsnYIXffOub7O5sSaq6ULEJ9ZRICojoY6fdZiwclhtqcYitC6p5syF7qmIwL5RYqUSOZrtMODSCWmfg4OCQcqEoe65qrYhVK0jEBfg1JDfvIk1wGbmQkC1hIfD7A/LCLzZriYRIIIyj1KlQ9Hvkc2WSqQzTUyNyextLxJiempbANcFJePGlW/JCnMnk5L8X9ThxmC6X8tKZLTq9YvsmSPYiTXcei3Lz+lVJle73e9Qq4pJlIh5LMD45is/lJJpM4vf6ePL0iTg+0GrXJYBraWEVrUHD5dmpjP/uHR3icXrodbryoigOe6JGJXR5b37jDd59522urd2k2+nwyf0HTE1OykSBIOgLxozojJeqFWYmpyQ7qVVtScuD2P5a7HaSsdT/zwLpygukGFaIbabgYEyMhKg2WjKKL84ilVpDDmtEGkZsCkX9Ye/oQPKMVlaXMRv1bGxu4PP6ScTz0jLyvd/+DX7+87+TwD1Rgzk8OCYQGEatGkj+gPh7FsMgi9HB4ekJ3XaNOy/cJnL55dcgLhSiHjA3N0XA75f2DcH4EBv89fUNVleXJHcglcvKIUs0cskPfvfvsbW5JwdkQpEn4GjjAvh4dIbbZaVWr0n4VrMlPm9WuZkXzBKDySwvUOJClk8VUGuFAssjEyjj41dk6kMMx9/51QdMjo9isZhZWFrg3sefSkq402mTUXwRgzAZLbz/wT1uXL9OvV6SSZJwcJzDgz1pPVpZWGZz8zn5UlUaBdrNCnqjGb1Ri81k54OP3ud73/1tCvkMm7ubuJw+vnL3Fp8/fEwqKfTYdiw6NZvPt3F5HKxevcaHH33MN37tO2xubLN6dZ50Jks0EkVrNtCqV/F7PbQaLR4+3SDkt8lot8tupFcs8vC0x97Hv8NP//wD/uDPzujozEwGOuhUXa5oVFicToLmLueZLu89L/LPv+PmP/tn/5Ds9gZKR5DWzidQVaPweBjk4yj9PgymMI3IJq1KC/3yEspantbeOgNHCI3bgbrRQRWaop7NoGjXGfiHsDpcFA/3MHnNECnQsBowzd6h9cWPv/z+ByZon1/gHB+hY/bTePo+httvoe63SH3+S3y3vkKnoUVRSdFUKTHqrSidVloDLZpanub6x6i9Q3JBZZ2Zp1Jq03l0H80rr0qwXa+SZ5ApQaFIRdtleHYF7aye4Wt/ysKImfnlaT78SDzzrOi0A+xDFjIaC/VGE5fTyvlllPDYCFajnt29Q2bnBTh0IOsAhWyBxZUlaTkRxohUJonT6ZHK00Q6K3kW4msUz+dEMsHMzLT8eX7y5LFMb41NjMlhhng+f/rZI2nUCI+E5M9INpXC4/PSEMBZq5VatSmrT412jRfvvoDBbOL5+qasaYnn7K2bq1TF0DUqeAB2tnd2UQyU8hlht4ilWofpK1McHB5LMJ5gwwhkdz5fkWpCvd5Ip9fiysw4xVSObL0qYZQX0Rhun4vLg3MUzS5hm5WtT/fQoJQK9WK3Ty5fJ+SxcnieZXLKx0W0In+GZ4dVsvP//nGHtlrDm0Elf/xWH6XWwwcbSRRmO1bdgK6ihQIje0c5lqfF2a7BZbIjz5xOZ5v5Kz6OD4ucXdYZC7nIlgq8eMdHs9QlkmgyNm3hZDsvh5XpVI6ZSQfji06efZpiaNRBLt2VzJFkJMtIyM34jI2drRKZYhWPTY/La5JwO7HBLxXaxGJFXD6l1Cvm0k26HRWFUprxsKhWKbA6VOg0eo5PWviHQKMy06gWMbusbD2NYbKIxJqGSl1o0YfYeZJBoW5z584Yn314hlKnY2gMjncbeBxmTC4l3VYPtdrA4weXeL0W7HY9fXWdflfJ6tVJDg+j7G2mmZ0fwuUUz0fBFyihQke9WWNleUwOQmPxNjYnZNMpdncVvPLqENfvhPnxf9yjlG1yZdaG0+vk7CDJZaxEeMpEu9gnV2gxNWvl4ZMc4aDgWPQl80XY0EZHLWx/kWZ8xUe9WJUXfa1Bwaefx7i24CYebdFSthgbtlGtqUQFIDgYaBUUkk2WFm2cndfZ3spx684QZ6cJyiUlbo8Zi03F/laNtTUTuwdlrHY1Oo0Ch01DJtdBLx6sKy4y2Q6/+OCS8RGHnOZPjbiJFirUKx2KtT6jXgtDYQPbuwUCHiPVWouLWIe5OT2ZeI+5OQ/RWI54uicjGiJ6LJ2OFTWFXAO7GbxuDaWWnoPdHHNLFuKpJnaDmldfC/D2+wJOo0arGkjKr/Biit673ycOx26pSVAPOizMuYhclin3dLQqQqOgYXzSxhefp3C6tJQrSpYWjLTKPar9LucXA9S9GlqrjVq9KmPnpWKDxSmnZBiU0j2mZh2oBgPSqbrcEI6P+yQkKeCzs7GdZmHKyc55WQ4EJv16gkEBeFBxfFFG0TRw66aHw8McvZaa4FCf+0+LzEzaZc/+Mp5jYkhEz8Hp1MmJ++efJbELpZ5XI7//qUxDRuTbXR0GdU26StttcLj65HIiDdAnlxWKiz7DQQvpRBezTSE94qI/4nCaCI2ZycSaoorF5mae4QkLz79IcfNFN0NeO9l8ka3nLSanFKg0Zum8rOQK6KwWGXndfJbBaDKgMXXpi16xzYTJIJgQSgnXSBYKqHtaJkQfqC9e3Gbi0bq4q5GJtgn4W/KHeWerysSslq3tvKxFXLs1yf5eDKWqhVJlJB7J0mppyJU6TE+5SGZL3FzwkSoXeLqe58bqKIp+ib3DIvMzXgJOPYlIgrbSRr6n5397kOOg2mTVrMfn1uBRKSRT36UVoDHxoO9zXuzitujQapRcpmqcRxscleG1IXj1G7P8/f/mH+AYnobaMfXjI0me9497aJzuYBmZQetzUEimZaxe16zKhEJPZ8Ron6Gv6aMQk4rcKdVCCsfSHbnFijz6G6587R/QVWloJfdoNlqo1VY0ThtqlYXUp/8HuvAaes84yk6bSr6KxaSgWU7LmKFaWUNpvUKXNgqlGpXBSi97xqBTRmfxoTS7aZeSKK0ODOYJWsUT6tCo6gAAIABJREFU2dnXuq/TyR/QrCeFXBLhhFO7x2jH92lWEhg6ddQGIwOTm3oxgsYcpls8QGUM0Nf5UJQ20XmX6QktoTgsOIfRtNq0NTpM/Qql+AYD8wpa7yS9/b+gaV/B4HTTK2ZRd1tkYlG5rdDaJ0g9/r/Qtyw4l2/T9ziw+t30lDoUrRhv/y9/yh/88TMExchkVKDvD3jhdpBCriY1VAGHyCgpuYw3KDDg2lCbWNHCT09qeJRK5idUvDWh4IrXR618RMA/RKevI5VpMuzVUGw0OdhtcOe2XdKG/X4H0Vgdm13PzkaC2WUx4BSpozbRZFvGj8dGHFjMaj7+JMXqdafUa46NePj8fgSd6HuOOgkPe2W82Om1c7CTljF5l9/Ig3sJVm446LQaMNCRL/cIj2rpVxV0egpyuSpjkx5UijbptEBo5OSQplNTUG81SV/UmZzz0BIgsmxH1gD8QQs//08RbtzxcnJYJJEs8NIrY2zv5JgZt3J6WmRu3stxJEkx38dkUDI27ODkoiI1kDbTgP2Topy8i2Gm+Hyt7+V58+44h402f/TDCGsTLiLRPLPjLoxaPTuRLB6DiaGpaTpdoews4/BY2ds5liA80cvNF3OMhYeIR5KUBPwnGKbf7WIwquWGUlSPxCpTdIJvrd1lY2OD5eUZnC4vP/3xT/naG6/KyH3kTECT/DIC/dlnn0t4k0KjlIddMQTY3z+WZO9+v8v05DT7x3sYjTbZ8RVR8mQqJQcK4iIpkksOj4uT4zNeuntLxnbF1lxsL0U83m4zkc+VqDWbWK0GWo0mlWJVRlSnJkfJ5YsSVBiJXsokzN0XbpPPpSiKbrBHdO760tBw/95n/O7vfY+PhD7N6aLebOP3edjf2cbjF6yWAkOBoOzuGw1WIpETDCYLI8GAPCBOTo2jQiEPnzdu3ZQXTDH0GB8bQWtQ8/kXj1m4MkexUMDmtEtmguCwiOGCgCmKbbG4RMcSCebnr+AN+CnmcvJ70Ov1ZWphdGSIo6Mz2dsWIDtxm6qWKxxfnPP1r72GyaBlf+8ElVaDUtWjVBTvkrasTgi93sazLUaHh8jk819S0KsidlvFYnfIA7piAG6Pj/hlhJML8ecECAZ9nEdj1MtNFIqu1HaVhc6q0WJkbISd/UPi0QuCw6NSH6tSaeSmWlz0QqEwkYsIPt8QyXScUCiIxWjlyZN1qdASvzaXz8lLpaC/p3MFbt9cY/3punz3/Pq3f01C5mYWBHSrLanwItq+uDgrUx6ff/I5aLTcubHC02fPyKbK/OYPfo0nD59wdn7J8JCfvkIlWQECOOh0OTHrdHJj2GjVJftCbKVnF+Z4+PChJP3nK3XcNjNmq5lsNs9wMMjjZxu47A6urswTT2Qk5V1cWgVI0OvyglqAPTtyARMKB2X/WMArReRckL8PD47wBQJo9Rp5GRG/NhwalhUVoZssV8vcvHmN9WdbJBJi0CU2jVZJ8K/WKrKXf3RwID+HwgLQqNS4sjDH+++9LwF60xMTcvAhOB3CG94W8BBFXyZkhK3g2tVrPH7wQEKHxZ8pBrBCFXhweMrQkE9qB20WE6Oj43JAIqLJjZZI7zkpFvPy0mWyWWnVxe8rghRKvvGt13n752/Li7JGbSBTTMjaj8lkJRaNoFKoZPx5dXVRpldsFjPRyyThMcF1MfH++58yMT7GD37nN/n3f/6X8u/1zu07cpjWaTXlFtbh9LGzvcWQP4DHL85eRywuL1Gv1dh6vs3ttesUawW5lHr51Zf5l//zHzMS8PHVr73Kz37yUwmAE+pB8YxQaQzMLq/w4x+9zW9862s0223JYbj94hqFbJXT0yibG0/Rq5HDxPN4gskJH+lonoepMuZOj0xZzQsLLsYtVVnBrHc0HOTb3F3y8vl6nMtki3/4nSD/4r/6GtW0WHgMwOigHwjRj2ygtntpq9VoGi1UTi/dSlbS/XWjM5KHITra/WoG6i1q+Qu0Zh99qaTU0m/VUfZamG+9Rnl3h37hArPXT8fkRJG6oB+YR+Mbpx15Sr/dkumXdjOHotRHabehcDlpxiJyQaYUNbpOBd1wWC7vOpfHWF79Ab1SnuIXP8W19FXajRLN04fow4tox69Tvv83aM0BlONzaOopgXlC169hmjZx5fvvks3W8YWNTNkMVNoVxCMgPOYk0lczPD1B/PwCnUpLX9Rc1AoisRjzC4vUa2WK+SKjY2Mc7R9htVnlRV2wJsTwRvRsBARVp9UzNj5CNJqUtRphnBDKyfd+dZ+XXr5LpZLn8ixBr9vC6/ZJs4BWLZScNVkLFXVZ5UCccfsSFiqGoqLWI2wk52dRPAL42WrLJIn4941mTRpilpeWePrwKVOT4+wdH5NNZPit3/ktHj16QK3WJp/OyqpNMhGj0xvg97swiiRBtc55NI56MGByaVZqZ/3CELJzwsXGCT67jVwsiytgoKFSUi3UGPK5SZeKKLoDvA4T5VaDEYuGTK/DJzt9Ok01v/+qhn98XcPWWR6730653JJA1FiuRQc1Iy6jZKoYjDZSxQr10oCxaSe0qwwHHJQrdS5jHZneCY/qafX1aDodNGKmdFzB6DASdBhFmIGGACjWBlL/t7MRx2I14hrSUsnXCQatlGtQzArVsJFms0+9qKGjr9JuinOQkpFhHZlUD5Wmj9ki6sltXAEdbpuWVhs2nmZ54/UwiXyW/Z2OTHHa3FoCTjN2u5ZoKs/UFQ/VdJvNvRxzU1ZcAn5cbVHJdBid88jFQKOplfY6kfYSi1aLTSnfhfV2l0K0ztyah4ujGucnOTRi+WnVUMi2GJkW90clxycFLE7BiHFLNXW5UCNbqpJItbkyZic44fnSZmAbyAWTUJRfWbBxstekUi5is5nIFuqSuSDg+3IwVNHw+q9PsbueIBg0UUjX5c/EyJiZVLbGxLSHQiZLPNmnUhbPKDNep4aHzzLSQvfyV0fYeJRC8c4fjg867aoEslxGsrz4chiHxcdPfvQIg9OAzSTiywquLfv58KMUFnuPkVEL9351wd3XJyQD4MG9E4LDVjlpaNS6RKJtQiM6PD43kZM4gZAZDWYu4yXKWTGt19LTifhPmaFhM5l8j8RFBf+QHpPegMmiIB1rotEpCI366bWLlMSQwaZhLOTjl/cOGXIZyOf7pLPC19xl76DPV+7ayaSVFCo1Xrjl5flGnuu3g3z0ziHBEXGYVVAsNhkN+UBZx6g1UqkIHZyeJ8/SXJmxsH9YRSFe3IMuo2EHiXydfKFPwKVmdd5GPNdjX/TgjWLS1MPjVGF0auQ0KnHeYCho5qWXglSqPR48SCNKtwZji9PLLvNLTmqlEtdWPMQjXfbPymhVXzouV68F2diIYzRrUCsVWM068pkum/tCseWmkhNqHKt0NSczJZwONbFImy4tRkJeFJo+6XidoVEjl7tpvvbWVbaex9Cpe5htWuLJOopel5m5ETnxFBFioS4cD4vLR1NS8KvVBsMhF4lInh5dgsM+SrUuqm6bUqGGb8hGqz4gk24wu2ghk2pLyFfA52RnP8VwyCKdqCNDLuqNBlubacYnLXi9ZrZ28jhsaiYn/Hx07xy3Sy+rIq16nWy6zPCIT34wP7+X59u/McR778Xw+IxSHeJy9lAoLRzu5QgFlBRzPTm97PU6xGItOqo21cqA81iZ5bARrU1FvaVG2+sxGjLQEJ2b8yY/O9FQ6/UxDPoSZrd1GOPrK24sWg0X2Q7JQh6P24rfpkWrUpNv6Tg/T0v1SiRV48aUlX/6X75K+PoNbAt36RzvUz76BTrPLXodFdS26XvW4PweLcUAnW8NuhVUOjP1+Dq9rgr37CvkI59ST5zjCUzRHShJxvO4w2Pki212DrfQdcXAaY9rN1/j0WePCU5NQ6vGjbWb2N0memIA5bKhtwaFYR1tb0D54D2U5hAD1xgGVQ/MPTplBe1iioHKgD04SqdZkhNQ2iXSFzvyReRaekluwAbVOp1qCUWtRK3VRm/W0Ko0GWjboBrCaPJTb5zSLtZQ2/zozXbU7TadQRO1aZxO+Yh2I4PBNEYl9hytf1TCu6r5KCpjEAVpnOHrFCJRFJWH4L/DIJtCF5pH2dfRzN9Ha7tGYfsvsRjdmMa+TrWaxuwK0CllqSc/whl+Ge30KFTS1M/K3Hv8Hv/9//gZpTYEbDBzZYhIJkvApafe0mNUKTCYhHqmgNWiIV1XYhq0OS8PqFb73PK3eWPZws0ZH18cltENviRrO1wOivUSyVSHVUFlrSpIJlvY3EqmxgJcJC7oNcW2SCsZISI2rzWIVEuTfKZPT1nn2mqIZ08KfP31EGenBY7Pc/JlZzEj6b7lQpNStUWj2iY8YaJY6siYXzbfxOexMDSs5dmTMsFhHVqVinimIanjYutstqrIROos3fJxupuh1VGgFRWivobTsyovvexDLetEwrssYn8tlC0D4Ukb28/jlCoDggEd/VZHDkS/9euT/PLtI5RKNTdv2Ng5bOJwKqiXexweF/lH/+gmDz+Jo+jXmZkxsfRPU7z1cpDCUZRIpc/SlI9Wr8Hz7Tzf/PY3MVp1HOwd0qiKKo74et0UK+LQ1pDAOwEx0uq0MkqsEgMGi00eQj+79zlX5ie4sXad9fVNGXGcmAjJC7bQtk2OTeDwONnc2CWfKxIIerg8i/DbP/gBP/vZ30q38fziIheX5/gDQbqdOuHhER4+eoxWp5MRcRENthhsFColirmCPLxlMnmmpibQ6lTy9xDE/PHxST6895GkoYdHhYrnS1WTuJTpTXrMJrPcGH3x+WNeefUrmPUGtvcOsdrN+N0ujGYz7733Iatr10glErRaHemGTmdShAMhWgJgOjUl3c7icJrNZFDrVAz7hni+tSUNKg6bhZGxUdkdHh4d4+T4y+6qgMoKJd/oyChWq1F2rsVmX8Bqp6bGuf/FfW7duCG3TE6XW+rKnm3usrK0wMn5uYxyu9124tEkpXIRq9lKpVGXloNOXyRoshJqp1GqpF9a6CpdbpeMnx+fnjISGidyeSG7iCKpIN5XsXhKJifGJ0apCJ+818PJ0RnegFdevu6uXZeX9N3DE6l1Gp8aIXYRlYMGUd0QW/bDI3GOCMh+7WUkKRWLZoMWq8su+Qb9QVcq3TJp0cltMTwSlBq7oWBYGh20WhXjI2M8Xd/gtdde4ej4QG7Nkok0q2trEk4mWBL1Wl2qAgWLIx5PSa2dUPEq1ANeeeWrPHv8lHK1ytTUNMcnZ7JCqFQoWX+6wfLVRb7ylbv88Id/zezMNEq1jkw2LeFvWo2WXDYr02vi+yb6xUKDOVAqSFzGpdNeVEQMOi2NRleCpYQm7OTsDJ/PJTdV0VhCJkxEqiMej0vNYV6Q6G126ZsXQzSPy0G/C5lsVtLMBVR3JBQkU8pwc21Nku8fPXkmqwWxmLjwj0uy/Xtvv8vK1as8ePyIIV8Ar99PMhqnVC7IdOTK8qIcuLSbNaYmprmMXspNp6htCJbGa6+8yOVlnHpbJDHFRcgtqwbCdCTi1RcXEcmwCIjf2+sikxeJrTpuv4eTkwtCvgClSkF2pi9PLvEEvOTT4jKhY2xiglqtxoMHj7hz9yaRyxgrCyv85Oc/5Te/+22puBWfI4vZSl3UFsplCULU63Ts7u7iDwxzsL8rBzF2m0Omg7Z3jrBbrXJAKH72RCpEmCjUWi2VYkkOkcTPwOtvvE4iHefdX7xPMDyGyaBCpxM9fT3PnmxJTdnE5ASXkXPJlBDGhL/7yduMhvyYTVq2dk8YGQ3J1Ij4u15cmOWTe19gt5soldv0e125IU4mkpTTlxgMWvzBYTTKAZepBKpGm2Jbg0WrIOyHQdVIud8gVu2wcV7hZRt8d0nJ93/vNaxrr9F49i6dZI0iKlzDU1SaJbSVKMrwKo3DJ/LvQ2O1M+h3MYZmaPk9FP74X+O4dg1Ck+jtQboeG/1nHyH6muq1t2h+8Df0600MwSHqhQTGa2+iLKRo5ZP0XW50+RRK+xAdFNR2HjFotDCHfKjtYfIP3kU9uYRjbIrmwTaYzajdw3T3P0drddAavYqhliB7eIg54KfX0zFopVCozdIW1LVZqWw/wWizoPOHaTX7tBIHGAc17G+s8fVv/yUPk31+41qY7aML6l0BrRPMmh4djxW914LNJLbHBak69vrdHB9fSH2sUIMuXV/F63Py+IunMoJvNGrx+fwSNprNpqUxRQAoDvePuPPCHaYnxvjZ3/6Ma7euSZ1qOpXk2rU1Do720amNEiYqkql9+T5oytrL3ZdelKwUofUWCsJAaFQ+L9975wOZJBD8MlGVExH5tZurFHNFfvL//EIOv0cmRyjmy8xMzpArZSmVS1iMeqkR3Fjf4urqqjRcRWIJXH6vfB6I3rrdbCZ1ciq1j9pGn0QkTjffQt3tMzzulBXBWLIm3yur8z75Z8aSgjxfY0anp2FQcv+0Qara5uaUjj951STP+QONgkpTx9PzKk61ALjbyBaq3Fn2kM232TutMz0lAOx1hnxagl4d27t5CRT0B/Tkyj2ykS5uX5PlhTHKFZGIaMp3/k/+NoIvYODaso9Ov0E+C+fJLBMBG5fJPkZljZGpABfiMq3WygRiq9zE5dFgsGhRKDrUK4Jl0vuymldtEI23cPvVZOMDRKS6VW6hMwgrTY3RoI6pKQORbI9kus+d22b2n9Z5ul9jdLjPyqqbSqZLstIgHesxP6fB67RRqfWIxAuYtWoMejVKneCuWYilaiTOity4O8zxdpGhoI7lNT9/9Rd7vPpKWCauq3Ul3V4Tt9tAMjXA7dRiseqxWvrsbBRJF3tcvzPEwoyR85M6W5sJVq650GmNfPRRhK+/EeDDX8UIDTsloLHWrElu08lBjpm5YfSmAYXiQCbKLs5LTM542duMYrLpJGPqxi2HXKoKW1A0XmZsTCyolPKsKYCo4j0i3k8CJqv45X8RHFjsGj74eZS+vsv4uBOVsoPFpuP8oEm7X2NiwkM+X6IvAF5XnPIAlcwXSaZrNCtt5haFBqxLLFWBQQe720zQa5MT/+agzf7zLCtrAbSGPuWsoL326ferVEpiYyU2ZgL20pX6v/ufRJmY1jA05kHdVZJMZCQoSaPVyg/Zi7eGcfp0nBxksFq11JsKwkE777x7zOSEHZGSTpwUGR33kknW8QbMslN7eV6U3YnlZQeoW1wc9eSF1OwQU6YWJqtQa+mIpCosL3kwmQZsPssyOWPj6KiKzaJE0dExOqsnHW1SbnTlQaxYrlPKDbBaVKzd8vPscYZossrLr3jZfpKm19VJbcPUFaHIamDzGHFYlTQbfY5OSzKyOjZiZ2c7w/GFYAuoWZhy8dnnCVYW7eTzDdnpuLY0hqLf4v6DGKu3AlwcxxmfGiaayTA97iF6UiCdFd0OI16fjvMTEbMrY7QaqeRqhMYCUhlRKjWxOJVYdS42NmJMi9SCss/z5yleeDFM4qKGzqSW/tt2B5wuEQ1SU8qWqQqdjEUnY6LhSReP7qVAocHv1oC2Ta+vJ59ocedVO4nLhvwwjkyYiV90MFoE6biHz6dh2GsknWvQGQjgzoC5OSdnJ0UGdFErDKzdcvHLt8/o9zqEJixkiz2MKr3spWlNevQONR6TlnsP0wx5TXgDBrQKpVQFvvd5krdu+Hl5ycaDvQR/8ajKecHASU5N1wxX/T1sWgUeu5HtyzxXHC62cln8Og0ji2HKZylS9TYnF3UieTVXjF2+dtfIP/vX/wTj3E165QjtVIJmsYGumEah11DRDaGqFRFgBZPeTttik3HRXu5S6u/ENL9bfY5l6k16uSOSuz/D4lnDM/0SG2//KZaJBSJncVLxI15+87c5Pdpjf3eT+cUbUv/o8Zjlz0CplOf0aIu7L7zJRfRURocWZxcYnh6nkC3i0OvRG3s0B02iB6eohTd69jqZbIZcsQI9FbvPnuN26AhNXOHxZ+toDQ0axS6ra6tM37olY4ACrKbMn9OpVKkNBAvYwKDfolfrYdDV0LvHv/xcd+vSyKAV2sJWhE69g0prRGM1Uj15gsE1gtKkgb6NVlP44MP08o/ROpcYOLyUP/tTVIEFNOZJTC4fqWd/h9WqRDf3fWrVCKp6iZ5Kh7JwQXdQZ2Cew6rMyZevw+tCPf0q/W6Nz/7Dv+O//Ve/YvuyzZgHXrgxwc5JAqOmw0zIiUanYi/axKZpkCirKXXruExODpMdRkxd/rsX9SKcxXDAyVlFLTcIIvZs1upJlxp8/fUrrD84otDu4HEFuTyOozT1CLlsJAt1eg0lTnefYhECQSORWFtuXRdnnaRSRdxuh+y+lYpCp9VjYVEo4axS9VNtdKlXRBJHJxWlNrMCnV3H5sM8azet9Js6ds8z9LoKhodMciO3djvE2WGR2GWZnlB5rQSotZSUy1npoD87bvDVV8Lkyx2211Ncv+nlF+9ecGXay852muU5J+2eiOgqCI+ZMFoMkudSa7Sxmvts7TQkU0EM93QKHUqzFo1CQfL/A2n+wVsj/Nq/OqAwMOFR5Mm0lHhdAuLYpqfoM7PyglSPnRzt4fcFpBpS/COAR1fFBWNrE59/mEQ6iaIv/O1GcoUc2XSOF2+vUW/WqTcFwGjA3MwM735wT4KYHDar3P5XK1U0Wj02Qd5WKGg2O8xOhfj5O+/z/7L03jGSp/l93lM551zVOcfp7smzO5vv9vZ273hHURTFYzqYtiCaMimYgG1KAmzD/sOwDAiWDEgATYjyHXmBR17YC5vj5Nw93dO5u7qqq6or5xx+xvsu96/Fhpmerur6ve/3+/k8z1e/8hUyZ2ckUyl5wBNqLqU34CSeJhE/welwoNNpqVTKjIyMUmrUZZJkYX5SOu29breMaIqoZjAUJl/IoNMaJcBJrzbQR2iLahhMJlwup4xxF87SpNIJ/H6hdfPywYcfszy/yNz8BOsbOxJad+25C2QEACoyLOFgP/n7n/DiKy9y+9Ytum0Ft1eAKoeIJeISsBaPp1g+t4DDZWNne1d2TOOxFNHTOMuzM1y6doXPPvtMbkpNZpNkGAyPjUmLwHA4RDz+xcYpVyqQiJ7IA6fF/oWCTaOBG5/d5fnrz0kFlehHiwu+cCnnMlmODmNMz0zIP7Ogv89OzvDkybqszpiMOhkXFZtfvdlEMn7K/Ow8lUZF/vNKtSo1WWeJnHzdr167xp27dymXq3LD/dKr17l5444Q+3AcO+Lrb32deDyGwajDYrRzdBKTFoZKqcj46KTsxQsQms5glnWMsZFRBgOVBLCK2sDc7JwkrqezGXlRtdod8tB4/8F9uTXR661yiCK2yGr6GK02DkS1wG6XYD2RblBp9TgdJknoFvwPscXOpFPyoie2e4sLi9y9e59I2M8rr7zMT376U/oDhcmxccqlstSINtpNTHoTXq+bXEFoJQPU6i3MFiPHR3H5WohKhBjqLMzNSUq40WAmlTllbHRCfi29XkvCI8WfZXJymm6nTTabYWp2Rg6wPE4PDqeTpxsbeAM+3A6bjEILLar4GmZnp6Ueb3ZumlQ6RSVfkQuYfm9AqVyRCY9apcTlS5eJnsQk5C6Xy6IRpoSxMXY2n0k94/TkJDt7+/L/i4xEULrClhEkcZKkL9RxTRHhb/LyS89zeLiHIpSDVpt8HUWMW3y/1ze35eVcLHhMBqOkrQu4nt1mk1vx69efY+PpU2rVlow0W202PD4n5VKFQV9hbHyMZ1ubuF1OKvUG4XCIarUi/e5H0TgBnw+DGNzlRQqwi6o/IDI8JM8lHp9X1h9EJSQhtZR1RsaGSGeyNBotFudm+eTzm/Ky7vG4yGeLTM5MUqvkZDWhWCrJ4dLq2grHh0fyZ1Zc3sVgWGg0xVBFAECFgaNVL8soczFXYO3iRfnzWK1X+IPf/z3+6v/7Hsl0hkKuyLWrl6g0ayitLrGDXXw+O92BRiYmBVTa5lVo1rTs7aeZHbGg6qk5EODJowH/8zf9/NG3llEmpki9fw+l28U2GcDiHqdk1NNaf4jFP0Qt+QydMYTGqKcXfYZqSPBedDJJKH72WyfHaBdWaZ5s09/aQj00inb6PJrkMfVCDNdLb1HdfExf78BkMTLIHNAv1FE5Q+imZ2mfHuHwh2lo1ZgcPuo3foliseN76RtkP/8xNPrY584T++T7eC9/CVWrSft0B+tb36Z1cJdBpYfSaGIcmaGVi2McGUXp6+mu36TZruCaeYF+I0vXPMBpclNLZykm9pn67W+w9OL/TV4N5yY9tMsqtMYBBqcJi8lOw++QpPSzwyiRSBiNyUw+m5EppuBQRCa2BCyvUhKcmXmK+Swmk43TeJyl1SVOY0kJev2NX/91nmxuyM6+w+6Un0+iQiLUkwKWKYwYB0cHLC0uUavU5PtEDCivXLkooYPbW7tMTIxLmOjtWw/kezUY9uJyuNg/OMRuF+fYgqyeJZIJQv4AjWadoXBIvs/vP3gkfx+hgy5ls4SHI5zGMnTaVQKRABqNhlK5QSASxKjSsXX3Lqa2hkajgLkleukGXAEDz07LUh8edDlwuHQUCm3J7rIZFKbDegoVLYlOlbwAslfaLLsVvjxj45qrydJCgJ9tFPFpdaRaHSKuAScpsTFXUe12WJx38e6HKXRaNdPzToxNhWJPpHYMFAtd+p0OS4sOFEVNr9emWVUkPPM4XsdkVMnUsbDFiftOrSYMaAPGJoUprEM0VuT6qxO06wonh2dyaCHuDyNjFi4/N0S/DW//+IjQhJ7kUZc+HUZDXlwRI3vbWQk+LzfgG785xDu/jGEyWHjjay5++eMUSk8tGXSi8iraN6GIA7NZIRZtUsmq8QyrZJq93dBitHQo5Lo82xeLbo3c0AujUDZRRa/ToDOqOD5p06eF32GUJjGRZqqVtEwv2BgfMvDwYUbaewaKqFl2qDcGzM+6iR/U0btU9KsKF68F+Pj9JF6fiUBQR69voFBusrDg5KN30gS9sHI1QLOJvjZtAAAgAElEQVSl4tHtFLVmk4tXI8SPW7g9SFNAptDmxS8PkzvN0+8Lg5uH/R3BUTPy+FGGS6teXG4tJ8ctudC12tXoNVZMlq6825otYgDwRwFF0L7Nlj7FSoNOU49JrWFywcrjR1nG5l1EPA7e/tUuKkWAUdRy01/L9DGYRZpLj9UuzmsGjCbhcC0wNGHCa/Hz7kc7TM8EZaQvElDj8ARkTPkoUWBMHOBNfQ62azj8OqbH3WyspzHaBO3VTLvVplYWQBsdJrsNo6HDjZs5nBY9585b2d6usnbexebTAt/8tXOo1X3+/b97wlDYxMtvjLK3myUV7+Ly9CUEYf1piqDfhs1pkHH0vd2kpHL3B2Y8HgNTs17e/8UuF64OU2kMODnIyK2DN2DCoBMddRN/+91t1i7ZOTvtYHNYmZ0SDABQ+h2ymT6vvRXhaLfM08d56QqeGNeimPR4bCYZ//7o3Rjnr0Yo5RscR2t87asR3nkvigYjl69aiZ5U0eocBL16kpkuKwsuDmN5CfITvdFMps3QkJ9nu2nMBhPnL7j48JM4PquVpUuC3O3i9qd7rK5N89nNDV57fQm7VeHpwzTpswrn1gJ89nkar9PAwjkB9utQKna4ebfKcxdF367G6LiDoWEHm4/PsAk9WKXJ7YcZrl8TZPmWvOR5vBZGJwI8uB8jFDZjNWhJZbuEhx3c/HCbuZURGU3s9Uv0ehpuf57kd37vHA8exUidVmQUt9fQEhm3YLJpebqRo1lqMLsWplkUh0loiRhxtYPPL+I/OsJDara3y7TaCrMTVm49zMmOdEp4gEsahv3wmy97uHsny9lAR1Wr5xeP2sTTFa7OjhDyKuynS6TyLeltnptwkU23pXliKGTCbtDwnV8c8qygwqzS89qKjv/tX86zcuWrDEJ+avu7KI0Q+eRjvL5lsBroF1IMND3UKhNdsw2jpkP5ZBPX+MtUYvfQaPuoXT7Uaje6VgnV6Aqt5FNUmgDNXhGHz0v5YJ2BboRqs0p89z6e8AwnsT2p6lBrFSLhEHanh64Q9w4GpI8OqKoGTIvN4P6JTO6IyH2l3WEsEiQaP+AkmmdtagVLUC8j7B9/8AEWo43ly1f55a9+hd8VZHJ2gsODXQxquPz8KzKJ8ld/9Te89dVfIxAOYNEoDC3PYxbGAIeN6vE9tHoPhdQxBrNCry42KWq0FofstiP85v0KTbUNb2Se7PEmWlUNW3CRntgY6e3UT9/F7r2AyWSg2iyhsw/Rr2elcqibeQY6H6aZ16lGP8bustGr9NAMXcDQPqZTV9MXjIPMXZqKFbUtImNfRkOP3spXMCopHv2/P+B//X9+xv6JgsvZxeKyMek1Uh90qdRUqA06zD01GNtUKw0MmElU+2RqLb5xxYM2k+a3r7sYmnbzaKuOuq+nUq8yOqLj8GjASbTGxUsBGp0ifay0yjVmZgKsPznB7RLvoxEOTo7xe60kcwp6TYNavo/T48bkahHfq3L1+gjRWJlcsU232sHmMtCrd5lcsGEzmjg4KHJwIrgqQanTE9aNXLbDH/7XM6RSDe7eKtJqFhkZc1Nt9OUDxKDrc3Y24OioylfeEHGyAW//MsXv/nZYgkV7PTXHp00cpg4z8w7UBjsbjxL4vSZ6fdjcKfHVVyM82kxRyHa5tBaRysStzQqXLg/zlz96yrkhrTSHnF8Z5dv/fouPNhtcHvOgM0OloZZA12ZPxUClZWh6FpPOyMlxlNm5cdk3PzkRPfZZYqfRfyCSG2Uiy2rUMzo1wt//8G0uXFiRQDEBd0uns7LXaLCamJmeZWfnGblMhnOrq0SjKQa9luw167XCUpL/Ih5ss3Pz1i0J/3qyscloOCz97SKufW5lUYLhhEIvk8jTU/Up5USkOsyTjS3cDjuKSs3C0hxmo1FG9dfOn5OxTUG4P8sW5EPdKFRRtRoasWloCLfuKPv7ByzMTRMMBHn/YzGwCEqncb3Rki57cWEUQ4drVy7wwSef4fN6mZubl1R9u92KSqPn8OiEbrfF8sKsTCs8EcyCvth06WQ1qFAqSzii6NqPjY6zvXMgHfNCv5bN5yWwTAxtE/FTmQa4evmiJNRXag36fZW8HGWSac6trchoYKlaYXJmgm69xc079zl/5bKM3VcrZbnxDvjc3H3whNHIELHYKdPzU5yeJPna196QA4FarcrM9LRU5pUqFZr1LhazjrVLa/L3ESwAYRIy2QyY9EaK5TqNaomjgyjPvfQCGhUkEnHsNqcIVnDv7gMuXTovzRcilRA/TWC3WTBojAw0KlT9vrzciUuduByPjk+STadxepxUy8JQ5KfebJDP5RmfmqIsLoc9RQ4yxkaH5TD5WFwePUH8AZfcpMdPziQR3mI14HYKNsax3K5NjE/LtIHY6MdTCUxCr9dt4QuGJeyxVW+ROksyMizOCnUcFgu9fk8mIkTlTxmIhFFDampFDUMMRkQ0+NLFi3z++ec06m1cog6QFfpEI2j19DodVJqBvCCIQfnO/j4TY2PSQGSzu4hFj0TqHrvPwXAwIA0S4aEw/V6PbK4ga3e5XFlCjhUUOYyw2m14HC4JTxTaPmFjePL4Mf5QSA5k4idRGX0PhQN8/vEtZudnyBWKtBsdrl2/yr07d9GbDDx39Qq3b90jlUzw6isvsrm1R1/Vw2G1UanUpLbvnffeZ2lukbm5CQ4OoxiMJuxiuCT5ACZK5YJUGQq/eigc5u7t+1KNWawWZRJIKA7v3b3DpDBzGI0ymSGTUvWm1D4K2JnNZJMWCXEZExUgl9shD8bP1p9ybmUFp8vDzu4W/U4ft9cnla/iZ7BcynH+wiVy6Ry7+weyKhEeDmIzWCgWc3QG0Ov0GRoNS1BdNlPE53VTazRk0khUSIQGUqRPquWaZBAIfefJ4S7lSg2XwyHjzC5fiN3dAyJBJ1cvX0HRqvH6fdy+eQeT2YJRa2D/2QMJMP3s5j7n5v1S9Sao4AOhCUZAsbU8flrmml/Hf/jvL+L9nTfprGepZxsUBwquaolO7ZCGiMC/9U2a23fo5MpUa2Wc81dReS30yhW0PT3tbp3G9l2c178KpTZ0KtS7ArKbRe12QadJL3qCdmIWda2MYnGhGVmgde8HaLxzKJWsXNbZZpdp18t09p9gCARRrAE0JiMaRU0rfoBr6TINsb45fkr/4AD9G7+JavcJxolZqolTVNkkXbMGi8lDS6tDScWxjY5QrjSwjEzSSsew+EIUttfpl6vYZsdoNtSE7FbymjZT/9U7fPWFSU72Y1J3prdYyEcTlM4GXP2XvyaHSLG9Pcyy1hJjZnKM6HGckfEIXWGhUNRy8GSxmiUvYn5+kVjsmIPdIxYXZ+RrKPgaJqtJQjyFTm5xeV4aQ4RGVsBYRUpgbmGes5SAUVfotnpyMGX3WqiVG5I5IwaUDmGBkEOHGEvnFiQcNBj+Iv1xdpZlaWFB/vpisTM6EiZXKVEtVqXXXUAHRTpJqD/FYOnu57fkEG75/DlOYnEq+SLpvTgXF2aIbm9SOGtiDdowDjTorEaalY7kD/gdKoo1lQSOmgNubNoG/bYGldrMXqlGsTLAYe7xu6t6/vwtN7lSjWbVwpOjHKf1AbM+K2elHhG3npzSZNRnZfegwn60x0hAg8WsUChDOKRl96jL+JhJ1uTOMmpWli34bWZJ3Vd0Bgn+3d8t4vTZmJww0WupcNpN3F8/wibVfQ3cVh0L5wPEDnLSCqfqgErfl7DA3FkXX8gml7l2p4lGuyt5SqVSm8OjuhwGhX02Rsb9fPxhjOFwD4vDLCuWdqOZ45MyQ1MeIr42sfiA46O6vE+9/nqApxtVNEYV5UJHcqD0Whgfc1Kv1EnnSxhMVrn0Fry5gU5N4qjH0KjozhfZ22+wsOyT3DbBvDN74PSoi99rxh8UIPYWjUFfWkGKYsFd7nFWqLF6zk2vpUOlb5PJKoR8aqoNFcl4DaNRzeiEiWp1ILkE6XhLVtVWz4/KRUe/3+Bgr0Fk2CzZDYKNNDQi7C5f1BQdri7FfBudykShWMPhNePzm9h9KixRZg52xeLDQk0whiwGNFoDqr/5fa8ilESL827effeE6Rk3Jh30FS2FbAW9QS1d7O12g35PoSE2kn6zgFGzuDbNj7//WCqG5hdcKD2LfOFELEwrtGonTZzCbRixYNQLgQo8fJjD59dz8cIEG4/jaE0KI0N2Wj01zVKbQrVNsz6gr7SJDPmYnbHx8QdHuANWSUAW1Oh2VXTGjPTaPSmy1vQHdNR9eWkSPU2z3kAsWqSj6XNlbYL9wwzLywH2DpNo0ciL/Vm6wNC46H4W6PX6LE37ebaT5cqViPxnrb7YAtk43q9gNYntgZNqt4Zdp2ZidljqcyqlLidHVV54zsdxvE0qXSUUFNvaFqNjAcSXpzTF5aPG+naT4YiZoaBevjiqgZW20sRiVMv47+pKkGZdxXHsjNFxLwYdpLJVqRYRkaLjkyZzMz45uTo9qZIttLmwFpQWg4lZN0ZdVx6mEtEC6UKdyJCN2fExTmI50mdVrP4+q4thvvedXclqqIqLvNOEVm1iYzvBS6+EePvHcUaHzcwsuvnFT+JcumaXpEmjySTjkZmzuqSIj42HeXh7F/+4gOEYmV91cvvjU5qDPk6jhVJbgKaMpLN1Wi0Fg02HqqrIi9jwsI9qoYzLbZMHqUp7QKfbZ27KRjzZpCw87FYNK5c8+B1OPr65SbOuZ23Wy/pxiWy2xqU5BxvHHZbG9VSaJc5FQnILE411OFUb+R9+mqFVVmPy93hx2E+3XaLWHTAWCsrXaGXcQ7FV4+lmmukpL9V2nQe7ovev5dtfd/Kv//m3GLp8TlJyBZRGgFCS64/x2lRoPBYKqTTdTg6H2ovistNvadB5AwyEQ1ptQEMbXT1L2+LGpLbQSj5Ao7czEEWo8gGG8DVyR5/iHL4kt1/o1Az6JlrlhBxIVStJjDYXKp2WZOyIdqlNNHWMumNE79Ch1pvIZ8Tmp0alVOP5L11D3exyelahWkozPD9Pq1rh6PCA4fAoL3/5G9y++R7jY8M0hVZQ6WNU1HKDWiiWmZ6d5ZP335cbHq/Pzf7jx1y6/jL5fBGn3cbU9AjDq8+jqsXpKEYZKbbaA6iCE5S3b6JD9EH7dNRNbNZxCqmnWO1hOREWXUv6GbSinqA20s48QWULYlHZaBmCmJ0W9DodzcQOfV0PgzlCsxRjkH/GQOfDPf5lGqUNuoU9VEYrGlHPsQcx2cbpNjL0OtBKbdI3OYm89bt060k0Bzt8+Omv+KN/fVd2LkNjRsJOM0fxEsNBE3arnkS8RqunJehvUeq4OEk3pOnholvDH381wJyzzmZUzX4iRaGl5eqck8ioS3pre0qXRkfFSMhIodilUhxw5UU3v/zJvtyGTc0ImnWZxJGaQEiNz28hk6rLyk5gyECp1GTQ0cgBz/KSH4tZy49+cILB1WVtwU8m32B2ysvWTg6dxszSOQdatZ77j6Koen1MViuKViXhTVq1la3tDKGQHq9bS6mqY37FRSJeltoqi16R9ZzlVTGI7Uu3vOjvCU1Qo9HAYNJK4rBIGmkNZuxOo+QExE9LItyD12ziON2Atl4mPq7MWfjzX1a4e9rnrUkjB4Uu0VyNkMUsN+rtlsKX3voasfixpDD/k9/4Js+ebRI7yUlS+eT0MCajTW5EO70+rVqV1fPn5eVbxCmrlYr8nBfRdZNBIwnkYosvtjsTo2P84p33JQBscnZSxofF96Xd7eJ3u9g/jjI6OiwvGSJKbLE62NrZlRubr37lVdKZFB6fn2ZD8BbgJHokN7wnpyn5s4Fay43PPsHhcsut5/LSMoV0jmfbO/gCAVwuKw/ur8vY+9zCrOwsV0oFSYG/d/8+RrNJcjcEKVytKPIZGPQJ1oaD02gcg0XP3s4hr33pFba39/G6HNQ7oprVl8Bcg0ZADofZ2NxkdGyMZDyFzy+i4XoazQ56jYqzfEaq5oRfWsTr21XRs69z7dpF9vZ30WhM0mwg4LKilmE2OdjZ2pHDkYjYmLi8PNzYkHWTqclR2dcWmrZcsUijITYQk3JgolPrWFhalB120fNX9dXcu3tbDrPW1s7zyUefML80KwcL0YMTxiZH5HY0KSoWVqvcigj4n0hKVKplGrUOZrMOn1dcXh8zNBKW1YFKrYvXI0BKXvk+yaRz0rsd8PmJn8ZZXV3j3u1bWFwOcmdZ6XevV0v4wiEyyYyscAhQ3ZVLa8RiKbr9LjPzk6QTaakC1pv0spYoUkDioiCAjlqdipnZOdl393nE19fg0YMnzCzMSPvFaTKJRqthdHSEXE50wAXs0cPdexs4XFbZLRdVgng0LpWLYlCVLxal0UN03sXFW2whlxYX5M9A/DQp4X4CDBbwuORSI55MSkK2AFuKAWipUOD8xTWePduTFclsRpg5InTaHRwuJ1URAU7GePnVVzjc3ZefzYl0mnDYL6sp4jJSLldkZ1VwTQrFguTvCDWitCbU6tLm0GoK1sGO1HGurS7LxFCukJdxaJ/fz97ONuVyHY1eTb/bl2pHAXL0BwPS2iAi+FvbO9J0Ql+L1+uQl+Kl5QX+7sc/Zmx4nN/4x9/gL/7iL8kVavi8Tq5dvcBx9Ah/ICQ3rvsHB4T9IanxqjdbJBMJ5mZmCAQDUuFXKeVZO39BDk5S8TPsHlF9VNPutSWzwuvxc3BwKIdYM1MTuF0CEH0inwWNlui0m6jWKjhMVvwhweFQkc2eykGYiMGeO3+Op08e4fZ55ABDXPIFY0O8fwXUTNQNRIIol02jUetkkkIA/8SgY3X5HD/4/g8ZGY7IS2W1XJVbQZ/Pj8Md4sLaijSW3Lz9ifys2d3b4auvvSHTe5V6jVsf3WU4YpMqudnJCPGjKLsbOUbnQsTp8HS9xB9ddPN//vkb9DwDVEdlDu5vEVidxKwxUO90UFwWtNEM4hW1+UI0ynms/QE19YB+pY7I7OlsdjSBMCrFKLyvlG7/Cod/GJXdyqDXQW1x0K31Mag6NFUm9HoF49Q0nf0dmlsPsX/929QSMXS5UwZBP5qWCaV6RPvolG45hfON30Oj1VP4+OdoBxWMc4vSrqHRuFCNzVF7dg+jyUr92X00oXHMl16i+tO/wTQxisoTRN1T0y4mQKjoJqfpJVM4zSZqiobqwX2a9T6z//xP2fjp26z+2ee8dMGNV6vh2Uma6ZkRtM02O7EKzrVJ9FpFxtZFXUsM3kT/3ucTKcw+zzb3WVhekPWUxYU5dnYPpQv+3OoyijKgVa1SrFfptgbEj2NcvLgmNX5HJ1EJeK3Xm/KcJRYxrXqNnd0D5ufnMNvMMjlVLpUkGPrF6y/IVMvjp095/UuvSCBpMnOGUa2VyYP1xw9ZWz0v1aTijCUGRUNDIbmMKmaL+EMBOq0WC6sLfOc//ZCZtRlmVsYpZtp08ilU5SaN0yy50yYqswq318zUdJijx3HaOlEENUj6fK9W4NeuzfHxQYrsWY0Zl5Wzep+m2cjDeBPDoMKfXPDw+6sGFKXKRqzHL7dVLE+pWBpy8L0Pkrx22YNeUXOSqQhlGNVch4kZC61Sj8CQHrvNSvS4QKOlJp2vsDTjAbWaUEBPIdeUi2SbUdTkDFTbXdRKg+EJAdJWcfAsh9dtoNETZRI9dTFQmwmh6Do0Cm0aDbVknniDRuwmk2Rc5aptaRfqtBrsn5T58ovjnKazZNJQETDxEfC43RzuVIWNkmpFoW9UMCpQqyJ5dTpTl3JehQh69RStrHpr1T1eeS7A1n6R8WE3pXqTdLKM0WlnYszA/mZJGkowGKWRYHLKzc5ulohfCxorjx7mmZnXMT1q5+HjMpFxE8ebRWmzM+i1uN06uUyolJpMLFo53m/Q7mgJ+eHZZkUChu12DclUh3PLNhw2I5tPSxLgbNIP0BjMlDIVDGYtQyMWCumO/DyaWrRzdFDDZFCxsyssBwOsTi/lVJO+vo+Y7V26NMytm1mpow8GzThtYDY6mF9w8N6HMZw2Ez6fAdWP/iCoJBNVpuZ8lEpFNDpFuqh9YTvNSp1SRcfUlIU+IpJRYHzcwe5WDq1R0LEt+Dxa8tUe9UILm1XPgyc5hoZNaA0DQmEbrVoLjdaE0hExvBpnBT0mUwebWfSgnJKMWi51Za9eXAK1NgOhkBVVp8OHH6awObXo9WpyuRpfenmG27dPCA7ZadZ6xOMVXnghxNmZSqrftOo+wyM+Dk9KFDJFIsN+7I4u0YOC7PEH/Hay8sPeT7Uotm8a1GqThDc5HAqxpFBI9BgKBhgKWTk8LVHKdEDbRde3sHDezqcfCr+9kfNro9y/G8Um4rOaAbWuWpJGjUYLdmsXg8nMztMM01MemijMTrt4up6WkKpOp8xZos7y+TGMGhUPHpzi9RqYnhuWQ5FgUI9Wr+XhgzKNTh2HUc/Egge9ViV1S+MzHorJNqWqOBxoKGYEZd+Fz60WS2KMThPv//yQiXFx6ezSaxtlxKWc77D6nKhmqNndzuKyu3i8fsrUgoeQX0/IF+L2nQO8PhuxkzozSxaS0TqhIQFTUnG8n2Fyxo/VqiKdFtUPJ7/8SUz2lOfmAvIAki8K/yl88zen+I//4TGvvDQhY51PNss8d9VLNJpjIhSm3lXIZXPMr/rkkGUoZCeeEEyEAWcVhf0nZd78dR86RcQjwWpsoxidnKQqZJJ5HFYrM8NGym0NlVKbJ7UWf/FBl0DQyJgZnp+y8NlBVvbZVyZGuLebI2Q34DSrsHl1VCsq7u7nKZ91pD/5d94c47/7Z68x9OorNM6iVKMCFGRAVc8z0HbwjS1xun0XXb+N7dw/oVs5oBrfwRgM0D/4FPfiPyWf28LhGKKl62Ad2Cgev4919CXq0ZsihYrOt0pLUeOymsFgp98eUE7cxu71oekHUQx5eqU8A40T28g8Gir0RUyulJO9x57awsOP3qZv8tEqV7F6XDKma7M7OTs5Jp/Pcf7yeRSdjcP1Z6iNKoxo6esHhAMRTnNn1GsCwqjlYO+El159gRuffS7p4na7loFWj8No4DheY2w0Qq2Q5/hkSzIfzq/OYDAZsTkDjIU8HCaeMr/yTbzeNq1yF4N3FLNeRLLbNAtxzMLRqvHSrx6j13WplLUYHAH0qi5NlZgiByjufIxl+gqt0imGQVNOhw12E2rvLPWTu3QrFcyeefLx9/GFPOD7Mt2eGkP3jLPoQ5zuAHr/PEpJmAlWUahAeg/D+TV07oukbn+XD/7+J/zn78bZrA+4dnmExTEVnapJflZtbMVpi9xrpyzJ+yLuvnVa47QFf3hezf/4RoT1vSrxbBmP00m13ZRqmDe+MsfxUYL3b5Q4N+PC5e+iUrs4S2S5sBqSVahg0MTZqeCLmOgrCrHDkvzs7KFj62mCheWQ/JDffpZjdW2U2zcOGZ8aQkuZRFqN0aYi4teQjKvQO8pkYl0iI14iQb3cmB4dCB98mFozjc3h+EKj2G5yHCujVXVZuTDCT3+yw8iYSapBxSVT1NiNxi6hsFsCzSKjdvZ2cijiXaLrcu3iCO+9d4Tdoyd1WpMpg6OTLGurPjnYvPewwpXRARs5Ld/+mxJfXjTSVbTYLWYG7SadbpPJpVVcniEePnnK/PQMe3t7kvAv6gVmg4jfV6lVS/JyI8jbrU5Lguqy+SzhyBCJqPDXXiMq3s+5krzcjkZGKFSL8pIuoHuFbJELl86z+2ybVrcrtWcC6KRXa+RkuzXo02706PW7DEQfMhykVK3LrfztO3dZOrfM8uICt+/fZ3Z6hkQqSbfZJjI8wuH+HlPTk2j0eu7fvsf5C6s8ebSFw2uTPf/5uQV2D/clvKxSbTI9PUZ0/5jxqWl5iRuIAenoMM+e7chI6OlpHLVGgHQD2OwW6tWmJOFrlIGsj9kdVpmIEYA1sQGOHsZYXl6RfWehKxMU+oWVeW588jmKoiIUHuGdd97j8uXzzM3Oysu02AI7XXay6Twet0c614u5HKlcVl76a/UuyyuLHB7sEfAFyRcK7Ozus3ZuSeqKxAb45PiUIam8u83a2mU6nQaFQh6Xyy0j48LFfuHSGr/42buiNcHk5Lj8/g8LxZdabK7H5OY+Gj1h+fwSR3tH8iIlDotidS2I/X6fXw57K6JSodHh9QdkJF8MAA1mM7NzkzKZ8+lnt7h46Zykw/t9IQnjEn+Jgc3y8jKZTFbq/krFPNNT09jF8GfvAI/HKWF/YtudzuZYWJxC1Ufq+4Tz++Q0jk0cJPtdCeATZPZQ6AtQbz5XxO11S3DXxsYWoqcgvt5qtS436s89f5n33/lIUuNF776Qz8souqhmPdt+JkGIZoNeXjYPoic0m3WuXLrCWeYUrUqP3WqVF3YxbBPv2ZnpMTafPiMYDGI2GSXbolGp8uC+2NCHpRFgYmxEbh+b/QaT4wKCu0UqVZCAQ4fDLusKGxvPGP0HlVkynZU6RdFfF8ZSoaITy4752Ukeb4hBWo/h8YkvvnavV/aRlV6bVDLH8Miw5BeIi6kAUYqznagjiEnZlYurZLIl1p8KmKaAhJqwe9zsbj+TVZzllVlZaRCDo8P9KAJQMD0/J0GU+3uHrCwvUaqVKBfLjI+P06jV0Wi0ZERn2mKWIMuDw0Nq1SZur5N2q8vu9i6zc7OysjI6MiLib3z4wQ10ouPvNKPVGNDLRU6Ct958nc9v3GR785CXX3teQhTFMKFaynEUTTA6Miz1mEKvJvSJ4nXferol2QQCEDc8Msbu7g4ajUG+/n6/i8cP1+XXtrK8LGs8Is0hLvEoOjngWVld5u7nnxOLJuhr+lJ1ODu7QDQex2QSXvKgPIsdJ064fOGiHASJxMxf/5fvsbQ4idfpYmt/E5taR6UHpXqLw0SD//g7k/z+P/sG1Bvs3HmMy2CgWUvJYWnw0ovochViiV3GvvY7VHa30JxFGVx9A3UuzuDogTyzaJefR0kdQ0sklaCZraAbHqYv4p+mpIsAACAASURBVF6ZLOqGqFk18a2t0vVPU/nFd1CvXMWqCDWaMBWp5QZVvIm0oiNvFWYrPYgLvt1NlxbKcYKuvokaK7qBguHyy/SSh3Lor6plUVQmmrUC6oEKdSSCwxqgmz1FMzxH+clPUBkDOOZWaGw9xhaY4Gj9NsOvfoV2uQzxKG3BB/vHL/LtP/4+37tb5GuL4pRmxh0OEoslyKfqjC6Nkdao0Vm0BIJ+Nh9t8fqbX+Ysdcre7iGVQo0XX3pe2iVEykSo/tafbEh1XcAfZv3JOh6fD5NRnEcc2F1uMtkUJpOFdqsmIa39jkK728ZstdDvdyQvZH/3GJ1BK0Ge4ixdE6kFp02yNwTBXxDf05kCaysLbO9GiR8dcvHqJfmzIgC3Ia+XB3ceMz05ispkZjgcke8/q8vC2Mw4eweH+Ix26pkKpXiMs+MqIyEbVsHNctl4sn4iVdnohcmrw8yQsGWJUKqBs2yDak+kXBV0aiO2ADzZ6+FQK/yrq/D6opWDtODNeCjrtTzaKzHjNlAttzGZVBQFn8WqYHboebRTlgDu81fd3Pg8RSTkkJpnm4i+p8sMVHrytQ5TEwI42GJpxUN0r4BiMjA5bqNVbaM3GDnaTcszd73ck9y26y+FZXX44CDD2LBV1hIHAw2vvDLL7m6cQl6wzNwcCsj7yhA3bh0xO2mkNVATOx4wPeckdphnZsEqIfK9Ijzaa3DlggedpsrJWQedYuTLrwV4sJHh8XqDK+fFOVlsxps43HqePMzwypeHqGRq3HnYJTzSp9voyVrQ/YcZFqdsLJ8T54Yyd+7WcXh12MziOWvh3t00157zUKt2Ze3A0h8QHvZymixLq1OhrKZer7G04KXZrrH9TFjqrLj8Kna2Cpxb9eP1+Xj3vV18Lg0jk04+/TTPi8+7ScZKslro9+u48VGSmVmrDO+Uc3XMVqHPhX5fDBa0+INGMvE2dp+e2Tk/jx7tUi5osVqEHazF9nobi1fHa6+F2XhSZm8rjzekZ3VVPGvUJBIVVD//b4OK0CZFxDarUKdYULDZFTbWS/g9JobHnGRSWZLZHhcvioliT/bu04kSY9Ne1h8mCY7ZpVpP9O+GR4189ztR3nozgN3hY/NJErVOT7VS5JWvTHLns5gEnyVOy0yMWFmYG+HW/QOsDgur5+y0GiZu39pjZNxHrljHa7GwuOoiflZBq6iIRasS2teqt2XEanLYR6FUZWPjjLnFAD1BzqzUWVgJUC+o8QRtUqWRiAt9jV0OL1Yu+qSKy6y3olW36SkGGUkUQMN8uSonwd6AUW4yBMU4E+/w0huj9FsKH723T2sArbaasZA4XNe59Nwk6/dT0vnu9Cms323h8qgl4FB21bJ1PG4dJycF0okmQ6Muxie8HO0lJIHcbu4zNTvMzTtb0p8rtD9is9jt9lBre4xE3JgtavaeluWbQEzOxcOyWOjx6pcmJCTxNK7Q7ffkQd7isNAs98iX6xK8JejOSq/Ozn4Zs0mN3Woiddpmdt6J2abhaD+LWdBRK1X8YavcXJXSTcIjTg738jjdVoq1DPFjHbNzFoaHrSTTNY72a/hcZsYmDezs1vG59PgjLu5+EmNyzcGQAHscZVi7PMWzzWOGgy4+vyEmsUG5fU6c5nBZ3Nxbj+PwmXjluXFu3z3GatMxPxkkVqjSEdtSpcnmscL5WRtjASN2w4C5MRvvPMnyJ98vSniX0SEm2wqvT1u5uZlkbTbIabPP9k6Fr7zg5/BZArXNgtas43CnzUGmTsQNf/aHl/ntP/g1rKOTtAcDKveeolLVUIwGNLUOfY1Oak8EnKZ6cEtOzD3nf4vM1uf0BwWs41+inV2Hdhet1YZSKYEiKMd5dAbxt3b0ahVK4CK93COs3jVqlQM0gz6qcg7FIKLHFWqFDPbQeZRWjYHWitY3i5L5nG7tC0Ky2uKi01Nhco6S3nmPD977GZde+Rbvv/MrCXH0eDykU2Ve+9LzvP3jv+PKy69iEJukXIp8rMHowijtaomdJ1HOXZgnkdpnYekChdghBosXlVbN0VECu9ctY+O16hlalRF3cJiZ+Wny6ZQEcx3tbPD1b/0BT26+y9HxCVeuvcnh1gPCoSFm5yIsnDuH1hWmktzD6/VR6jmoxNbxhqdkzK7ePMVgDTPo1CnGP8GkG8UxcYVBs0G1to3FMi595QO1GX07RscUgWYSleEc7U4MpbqPbew3aSbeZ6Ay0FWb8ETmaJQP0MkoZ4tKWYPHa8PkVWh7AmhrUX7611v82f/+91SbcOm8l5lAl7N0H5ffgWYAwkh9dJRmbtiKxWXlL98u8uUVDf/N616W/Ub2Ei12D1IEXFZ6Sg+P20U5pzC7qqZUgHd/meTS8y76bbFt6kvOiFVrZXRKz51bWckQsdlVVKsqzr8YJnPS4fZd0YOeJh7LMTotLi81YgcVPF4zAb+WRn9AbL+NRq/QaelYXHXTazb59NMs11/0YzUa5BBUPKwF0E+kW6wSqOXkOCqASFpMOj29gZajoxQWi4FA0Cb//Z0bCYIBE4GAhWSmQrujEBApK52J2EGa8VkbN2+V8fgVlmYCnMTLEgw3FVLJGtbFfxvl6lRY9mqTOZHGEXqlLk+PxXZlBq8nhFrpUSyW6IpDIH3Ora7wwXsfSE2cGj2tVgVF0bO9t8nv/NZvkS0UeXjvPnaXS0aZ7c4vNns6jR6v3yO75MOjY3z84cesrS3LHqaooJ1fW+Hu/dsIltPy0iK37tyWz4Trzz3HWSLJ9ReuSR2azxchFHRLSJzYRFsdNrkVvnHjDhcvrmK3u7h77x4vvXxdktVF1NlmNRKOhJiemOTTG7cZGxslGPSROk3RHfTlYEhsIgWc6NzSCrfvPECnM+BzukjlUly+eFkOAzrdFq+99gpv/+LnTIxP0W42JNdA9LfzpTJqrVpess8yZ/KicPPGbYYiIVRaLevrT/jGW2/R6vZJnyUI+oMEQyH++m/+lvmFaanLE5dtcXESl3YRe9ZpxNB5ihdeepEf/ujH8udCpxNpLjMGnQ6z1YTL5pFKRIfTyoO7T3B53QwPh2Q6odmsMTI0TLvdo93rEo/GWFyYRTwoM+kCZqsBk1k8P1XywHF2liGbL2PS62XN4ujoWGr4BCwRRSHg99BstTmOJlhaniURT5DPZ3F4fNKcc+HiVd5//23cLj8mm4lIcJiDw335nHd4nUyNj8iNm+jC7h0eSQCd2+uQ6Tirw0WvLfg3bvl7CBp3sVSQr6+4xB0eHBIORzBbjRztR1m9uMrGo02GIgFy+dwXqkCLQaZQLGYjvYGIZQ9kekC8P0SlwmQ0siH4Ff6wfF0sVjvJ5CkatYa5OVHbinN8eIzNZmZ0fIJEPMapMC4sLcquvdIVz2dB5w9JA8WVq9dInp7K96kAVuVzZVkDuHhhTaoDm3XBoujIKoXH55HDJUEfT2Vzknz/+MEDLBYT7oCfUq6GQa8mWyxL5a+I/4uL+9bmNl//+utsbDylXK0yPCT0hH3JEREJAdFPFv1o0Yfv9fuk02dcv36djfWnvPzqy2w8eUyxWOXV117gNJ5g69kBy8vTUkN259Y9mZJptFoyMj8/M8FApaJYqrG3u8sLLzxHsZBHqxVgyilu37rN8MQXsMucBDdGaNSqFIoV7DYzU1Mz8n0u+v9Wi1l+j4R67dadu6wuLnKaiNPodPj6m18nnT5lb+9Ypj8EFFmr1uKw2VBrdfKy1my25PdODIRy+aI0HczOzEkzQ1VoRns9csUsK8ur2F1Wbt+8wdTUrIQ3igGW+Byxu+yyxpg+S8khSjDklWDEx4/W5SZfJEIyKdEfFwuvMPcfrEsop+hui0h5t91mKBIknRMbuABPHj2TQ8e9ncc4rGaip2ny5T4Xpy20exrubhX55N/9FvPfWoTPj8i2BfdIRbZ8igcTbRWohH5XLThnagopwanQo/eFULpfAGK7zTqDdhtLJChVoq1uA0sgROOzD2HtBXSDOv3TFBqXm8r+NvbgMP1GGd2lF6g/vY+yuYvh4hympZdI/ef/C9vyCmZRCUjGJANI6xtH023QS0VpaAw4ZldQimWUST+DRIvOxqeonVYUjRaz3k3XMEDj8KJ3RTj70f+BKbAAwXEs6hZ1nUlWLdOPP8M9sYZiNWNq1WjVamgNRsyWOkXLGLN/+jO0xSb/6CuzPN09pt9RYXBYv6jMBNyEZycoZPOEAx5ufXSb1avn5XNq/fEmNqed+YVZEukU7XqLklCXjozQVQaYdSLZ4ZccjVazxgcffcbi8iIHO4eyAino+32VIhM7z734PN///t9JuOLVa5flAFqwAgLhMIeHh3zptde4e/8BFoMORdFgtJqoNirSYCZMLn1UpGNpCuUcL7zwPFabnqNYQvb9O80mRo8Brc6Ipq9i9/Y6mlaTmVCQfDQt1azxTJFgwEVOJBGCTrb2k4yEQmSKeYbtZjmceHaaJ+jSkC32yVZbDA/7SaSqTAa6vOjX8U8vCtBrn7QYUBRU0hoU9pjZjlUwqvtMTQ5xGs9i1PXRY6Kr1aAIcJ9GjT+k5cm9Jr6wWEwqKD0TPXUbi05FIqGwdM5MQpxDrBaWFoPsPEtwdlam3RRVzyYz026KlSomnVn+XPqDJowY2dlJYnSYZf1bfK3CnDEx5kERA+NcGbNBh1pn4+yswOWLYX76sxgvvORhNOLhe9/dZGxB6DQHjAz7eLoZx2qxEA4ZCIY93L91gM3hxeODQVcnQa2nmQY7Gwr/4k+muXv7FKfVIKsdZpuek3iVQd/A+Qtu+oM+T5+lsWoNTC+KZEaZkxOh+dMQCdl59CiDd8iE3aQifdZFr1awugxsbee5sOonly1idVtodGDY68Bs63L7hkhm2eTZtlTuMDauoZxRU6o1GBoTJjVRd3aQLacZtJ3Ua2VCQ3aZmk8lajK1LXhYn/wqysyiB4/XyK3PTlhaFqBZFbv7Bc6veHB5NbS6KgqJNqExMyN+F9VWkfUHVfl8c7oHdPtqlK5eJpdUn/9Pk8r+cRZ914AnIibbLfmL1IuCrOhkoOqy9yRPZNwjyYuP75cIBAwE/SbOEuLyPJC/qHBOJ5IVPB4r6NXo9AonuzW6gwHPXY+QzzZkD0bAWtSKRtIUrYae7GBUSz2RNCQ0JjrnCju7Z1y94mVnp4Na1cEf1lErG9Dru7S7X8B5xAbPoBuwf1xhOOKVijlxGDmJ9zDr1cwsOtBqe2TFcOCBmDx7sNoEOdIqoYH7B1/0mwQww2QxUCnUiSdrqAc6rr48TGyvRDJV4eqLQ9IR/uB2kkjEwPh0gHSyw0DbZHzcz9bTKgaNin6vhN9tQW20sLGRZnRMz8LCmFR1nUTPKJc0zE5byRd7aBUNvUGbjmJmZyPJy1/yUCzr2d1Ky6n+9KxQvvXoDdQIztrpSZ6hcTujwz4OdjOy9zY7H6Rca/DZx2l+/ZvzHBzmyabKhMM2Yok6k+NOYrGKjHmsXQrz7q/2CAScstaxsOiTGxeLtU/suEo+M8DpUVNrdGkLPVXYwWlMpEE0LJ8Ps7WeweuFhcVRYsd1Gc3LZeryAGJ19Om2FDkUsnnU1Es9+dAXAI+xYQeFXIvjaIW1a15cBhMHR3mCQaFba+J0ioSpjl5bJ5MKp7E+AZcOr1PP9LyV//L9OMlqm3/zrTnu3jvDF0Z2dQ5SHXIqI+/s9uXGYzLgJJHJ4LGY8flsfLRd5JzXQbJUwOl2sDTj5v7TDEe5OsVEm6mwhj/99hpf+4N/hHV8EdJRzu5u0un28IooW9tIKbeDEMoZbSGMzQ2KjSaWxT+mdPz3tKp59IVTzKF51FobBoeGZlfsUc0MlAI9lZ1q4j2Cq39OLXMLrckLai+N09uoWmVM3gm6FjPabg2V1kPu6A6uoVVUZgf1+DsY8NKxjuMWwMVWg3Yxg8FlR6VyoBvkaDbPcIy/hg4t6w9vU62kcRi76Mwj8sJSTO6itfv/gXYtPmhT9Gtw7c2rKM0qZ9Fjis0Og7Zakuw1BiOppp5eqcz+wUMmJqe5ePkF8o0yH//qV1y89gr1UpZqs8JwcFx25eqFKnsHMV55/RXe/eXfkU4UuXz9Ah9/8jkeq4FXXnxRJjZWX30JdW3Azu2/xBsZxhm+RDmXppc7wjnzPNmnv0Bj92GJLKAko3S1eqyReRr9Or1TQUMXU/gmKmuEXi2KUVVBCb8mTR294j4ai52eY4TW+tsYfRHMI1+ncfJdOuJWjhu1tYVr4XUMwUkaz97jX/yb/8QHPxcf0ApjCyFen9Dy0XqebL3H4oRDXnRdRh1mr45HMTWJgzL/y5smrq+a8aiM7BernOT1rI1reSoSJAUtV5/3y4Gm0Jx2OgP0Aw2TM1rqLRVmi5m9zTPm1wKUMx3u30uzsGjFaDNDs4s9aOLnf5tkbsHAxJSParXLSSLJW2+u8ZOfrTM77WFm2suNmwmpQoqIz+gszC5ZpYKrlFLoqluMho3ka7D3NM/wqF1CH1WDAZGw0LxpsHusHO/lJNRuZNIsH4Dj40H8PguPHse5dCXA0UEFnTLAaDMxOuugXWpRrrRk9z2bb9HKNvGG3Jy/pOflf5XD4uxxYcjA02ib6fEAp6k0O6dNri6NMjx3TtL+NSL2HHATO4njcbnlAy1xmkbptyUQz+F1ED08JBz6QkEnYtPiYi/UZZFQCLXGSK1ZkUo5ofHRaXSMjw9hNlnYP4zy+psv84Pv/BCdwSpVZaKuJjb4G082JENERI+FjlBs54rZAj2lhcEoepoNmq2O5BGIRIJeZ+A0GZOVKwEQqzVrLC4sk0omMWi0EqKzux8lGAhg1Gqo1Os4HG4KxYzUBTZqFaxWG26vh739IxlVFpUBoUIVPWiDXoPH45c1hOHhCTLZDOcWZuX3LJU6kwOJZCIuY6exWJTpuRnpvI/F/+H3H/SlV1xE50XE1etyUajlJbVZAHLF8FN0m41GLWaTi1DERS6d5/AwKt+DYju1vbPP5MSk/G/qtSrFUlX21sV2VWwrBbF+eGhE9sB1ahVT01PE4kIFnGNpcVnq2hqNCuFAWF6cq/W6hAO36g35mSB0h/FYkiuXl8nn86ysXuDmjVsMjYwwORYhmTojmytK97zRYmJiYhSN3sTH733CyNAQ4RE/nXabo5OEfH0ELT+bEyA5Da++/iqbG0/Rm2yS5bA4P4vD5+Tg2RHJ9Jn8b0WSYIBIAwoor0Ve1qu1mlQgCV/89ZdelNUJka4QADnRbRdx7f29Y+wus1TuCSClqPEMBm0yuSJmk9iIt2SKZ2F2Sg4DxJ9b0CPLxQb+gFfaFX7wwx+h9NUy/XASjXJ57RIH0WPRUJT9f3G5bLWbEj4phkuiGyvgbH6fj8O9IyamxzEbdRwdnpAtFjCJupPSx/v/s/TeQZKf+X3e0/3rnHOcntCTZ2dnNgfsLrAA7gBcwAWG45E6kbTJskxLLpdsV/kPy3ZJZVW5bMlFhTJpkj6RdyeK5PF4dyIB3OGQsTlOzjl0zjm39b6rP1C1QKFmu3v61/17v9/P53mCIbnNTycTREfHJMTs4PCY2dlZiuUKpWIBs+hEZwsyNSgGI7l8nuHhAba2drh142Xee/c9uYHcWF+TCRQBc/SHw+SKBZSeGp9PwPaqWI02Upm0hGVu72zJ1Ig4NHVq4rXIMhSNSu+5y2GVlovDg1O++vYb/On/9wPefvtLrKyuyMNvODyAXcAX6ZNKZdgTlgORqgwPyN+vgAE+f7oszSViKLi+tMrsuTmpu5ybnWFjY535+XNS4bizvcubb36RxYVVXG6bjOzH4kk5wJicmmA4EiERO5WvhdAiLi4v4nI68QV8FAtiKeEgkUrJ1z+TzREKhZiYHOf+3YeyAiJI7WL4Zjc75GBX3PyLGtLQ6DCbq9vcunVNKko//uAThseiEvQp0jPivSvqCgc7u0xMjlIsFiT3YHp2jkw8Q6XxQg/nD3jRqkTisEqj12Lt+WMGAi82y0UJ2jTJ743VnSJ3/7cbjFzwcrCextKo47hwUW7cS9urkBd1Fxs1oVc9f5PM479Db/NiGZqXfB76OkzhYboiWr98F+PkeWqFEzTCBqBS0JaqdKwWtKFJ6JawGhzUm3mKn32E/eZbFGP7Qv5L22ig22mjHO+gvvQSijFAe/We1AmrezV6Dic0hX5QT23lEcZOD9XsefoH63QNDvSj52kljuk7DHSzFbSKBmVwmHbmFG2tSLWnYHX6KT3/DMulVzB0u+T2VrDbIyi6JvFMBf/5i1gG3Xz5N/81S4cVrkYstA1qWoI53FbTazck80R7aUJyRkTcXiuuFaebWkeQ0U+IDg3KmP727rYEAprNdll92N05ZHZ+ltjxsVSainTaq1+8zaOHj+VAS2g0C6WmTDutr61L3ovY8Iv7SPH9Jeoy3S5y0GexmCiLIVa6IO0PwsUuPnPF4u7arauyfhOw2mh1O1It6Q+EqAsg+PgYGouWzz6+RzTsJ3uUoyJYFXspBvVW6NYx2wzyc6eoUknbjNtulNW4Ur4puSDFeg2Py0ajKRhYPaYjVjbjHU6rKjSaNhFnj29MgaHQ47XrDuqqPu/fLzDisJOo1rCbO9TrTWpdI14BXlYrpNNNUtU2ty55eL6UJl3QMTSoRtPvUix1MIjfaa0ttbMiURxw2fAG1Xz2wTFXrg+ROKnQRUT+24QHAjS6dTnM7FR0XLoyRr2dQa01kY43ZMJDpRfx9wav3hrgL/58HU9IR2TQSTnfYHDYxu52mmK1xS9964ZUlq48SzMx5ZdLh8RJmVe+OMbT+zG05i7hsIetlSQvXRvhFx+IFLOGvk4tayWtThWLwYneqGJx6ZTBYa9cegSEvlLbw2wWXJ8qSk8r63DhYJ+WSIMuZTHo1dhcZtaWxKBPx9gZn9Sgri4VOT1u8q1fDWO06GWKod/XcLQnzHYmVCoBTxfnohoOt5md7SrTUyZGxgP89Ec7jEd1zF0J8+BeglDQjtGo5qMP4gwPWTFamgR9HlKZNo2aUOoKu1pFXtsmq5bRMSP5rIrnz5JcuOzEYTNL+J/ZaUTbbXEYq8oztslaJ5XpYtbomTjnpd/qUsgK7l0Ti1XYVEqo3vlHA/39vZIEK0zNeLl7Z5uD7RaXb3vJHLexO8WkAJSulvW1Y0LjXpxWHWaHwvqzrNSS1UsNghEzh7stdvaz3HjZj0allt00m13L4nIOt1NspZuMz1nZ2Uizs9Pk1m0Xy8/zGCwmnC4tpyd5Ll8JsrlWxu20kEyVCYRtFAt12SdRqYuoFTs7m0lCYQHRqTA4aKJeVjh/Ncjq0gmVlrgFEF2SHmatmMLU5UahIYizeiNWh4JB32Nr48XWa37OTypVkzdDcxcDrC7moduSdQGDRc/JbpqRKQ/JRAWdRcfEsIsH9045d8lFMdflNF5gdMxDrVTHbTOwtCE2Xj2GQxYZB336XEwnDTgDavoNK+VqQT5XtFqaxRaPV4rMRB289fYEjx/s0GoIPUOPTqNPPFHh3A0f8f0WKlUPp1NDpdyVncmjZFm6NhW9il63RXDMxt2fn/K1XzpDLpvib34Y580v+/DaLPz853uMTwRxujWcxLK47Sb0Ji33HyW4eDYgt4Xj0x40VNFpHcSFZtBsJFuq0xRKOL2ZYrHO2KRbgoCSMaRrfHDAyf07B8zMerA6xBajSVVsjATN8nyQaqFKsdyUnZinD1Ncu2DH7PQSHbPz+7+/yFBAw3d+9wKbKznWNo659fI4+USKDz5N4XLpeeutQU53MtS7XUY9Rr73eZn3jvosxFoSLnUxqGBTd+QXqFaj4LL25KY27DUSEa95p87Q5Dh/9NfrbMYaeJ0q/tU/epm3fvstVMJzX4X9B6JTbMQyOElGkIzLcWw+P/lKHr3KTrWhpdfLS0WTVivYFDb6ejt6bUfG3QyuINXYE7TWOZqFdXSOIIotSvvgY7AH6XZadJoFLL5pOsVd9I5R+noH+d276C2jqHtpmrkctnNfoX78GFW9iNEfIb2ziD0wRaeTwaAxg2VAduJVzUO6hUMUz2W6nSPc4QsI6WkxsymjQwKiaPb7aBq9dFNLtKsa7N4IPZOOXr1K/z9FwYTdwaxVU62V0YpDWamCptlHo3nRaVxcWpOUXHHNJ4olJqcFfdvM/vYBY7MTbKwt02rV8XnCbO9sc+XWS8SPTjg7d4mPPnqHcCgkY9sff/IpX3nzC0zMDctYZCmewjb0GrXYHRqiozlyjdbRJ9S6Iqo2RqdeAbOVfquKTjHRbSdo5eO0elpMzgnU/SKNrhpVR4vWZngxBGilaOnCOMw2mvUDWlUt5n6VikaLNTRDcXOdrqaIVWvAOH8DvWeSytJ/4H/4h3/Cu/cLKA549ZIPKwba7SrZpmimCVVYhUytR1eo/pp6lFiF3/8vRhhwVfj0eV5qPL/15QGeLadkn1/QbI02hUS8KaGHorvfUxr0GzosTq3U9V1/LUSrrSF3UiY0YmZ9JUmu0JHb1JlZq3wOn36+gc3kJi96b/Y+XrtF9o2z5Rq5WJNXXgtSb6r48KMUAbcKl09DItFmYNAm6eo6tYlqp4jLYEDAXJ4+yHFmxoTHZyWWqBL7T97pL31pmrufHeJwK1SqHZpNhVathdqkkfaT6ICHaqsjjSwDYRN2oZrLFjkTdeKymuk0CvzyH+Upqbv8/RsRjnIimneKL2Cm09dRKRS59ebb8gD++NF9rt+4TJcu1UJNOoz3Dg4YGYngdHo52tul0WnJmO/25o48TIsI7oGAHhVLhEMR6s06x8fHMq4vItmCfC5uwCKRAQl+S6WSBP0hDk9OZPfOYXUwPjbCwtKyTB+YDQbZ3d5c3ZJwyV/++tf57ve/h9niZGRIEMITL24em01ZBxO9dZ1BxcN7z6WrudNuSbaMgLNduXSeZCYpt45Pny7idNjw+QLYbRYKxYJUmQkOgEguXLgkFIBpDGadfLz3xb4ARQAAIABJREFU7zxhemqS5wtLDAwNyBi26EC7rDappxI/98L5C1RKVRLpBBpFS7PTwufzkM2kCAQHqZVqJDOn8kDVqAs4bAutRku18eIGQcRUNUIup9OhVxQOTuJyqCA2+wtLizhtDiKRQUmoF9vMG7eu85O/eY/XXn9FKhA/+vQTzp+bJzoyLOnVYiP6+mu32Ts4lBYBUfERMXaxPRDxe2FMEAA0cWgQ6qqnCyt8+1vf4MMPP5Pd20QyzsHOEcGwn4PDONMT4/Tpkslk5SY5Fo/J5yJ64MKWEQwG2VzfYXJyjGAoKBMN7Y44mAmlVxGN7j9baIYHWV1cwu3xyx644DI8ffJMdtUFEC0cCbK1vkU2U+LW7eusb2zRqNalb1vEzwVMUAx5dOLmRt3D7wlKen5wIMj6yhpnZqYxmAwS8CVeA2E5mDkzxerKikxsjI9NEo+fyL6+oJGLA6moHmj0ogebRm/QSzaAw2GXQwdxKBA38KKrr9HquffggfyMiQQGZGXFbDTLG0sRu5+ZmpCPUdxCCb/43s4ePpcXm90q3xfiQNfvqbALSKIY5lQFLyksnfY9FFTA+NgwmWyWWDxFKCi0xypGIhH2Dw6wWO2yBiIGhEazRao6BdBPbLNLtQaTY6OsrqwxMT1FrZzDahc2oqr8vhgI+uVm1Gq18cmnnzN/dlr2hMX1JWCVIhkjfmZJxqLNRMIR7n1+j4uXL3MaO5JwT6tFPFdhBPLIw/rTpwuyoiHSG5VqTar9xOEnOjYih9iio5dKZKS6sttVSy6CUUSyO3U2Nza5ev0aFrOdk+ND+dqKqP7MzLSEPPZVbUaiURYXlqUmU9guBB/AYXaTzKYIB/wkYilZKRkYFsupnjzIC5imxmCQCjBFI7Z2Ffn3Co6JGCIIv/vxcQyd0qVV72FxCqVxQyaUFK2KVCYjOQIuh4XHTxfwOT1ExkYopE65f+85Y6GQTAjaHDraxQY/X45x5/96g/HLUboLx+xvrOOfnKdt6GDUO2nmUvLQrSmnZY3PfP4L1NMpNI0juoUOhslL9I+WaaDQUrQ4B4eprK5gDg2jGR4j/+Rd+icJbFdep14sSOiv+szr9BY/lspm53iI2u4pKocPVbVEd3AKQ/KI0p0PsH3rN+mW6qhKeeqtKp1iDo1JhWX0AvWDTVA50RiqdNGjM5po95uYx+ZoHOzRWHpMb3wKTbsL2QTa0AiaRp3U2gre26/RrxRRq6p02240bjOdclkyL3783T/l1x6YeWtQz8vzQ/zRXz+UwNv56Dif319hfC6KdSLC2soqYxNTcqhXbTTl/UsoFCA6NiwHpiKmf25ujqPjI1KxnEzsioFOOByUg9FELC5VpM+ebfHWl27Kw6VWUcgVsy9AllYxSE0xPDpCMV9ga2dbqlrFUNrt9st05vLzRQIBN5NT0xwc7JNMJFEbhOqwI5OpA8ND1OoVRqIjvPPjn+KyhrD3VZSOTtEJO1CiiVkRAwwr4lZvL1dieiRCJlkgUyjjD7lfXMc+O6lMlZeuRXm0fCLvrWdGB1k/yJJrqanlG/zTtwVYr8KlCStvj/b50ZMi6VKDl65M8uDZPgM+hWK9TyzX52zUzmiow3FWy+pWkotnBijWM2TSJskHiobVpIs9zp5xsb6c4TTbY27SSnTSQj7VIB3vMTpq4jQlNJcqVpaTVKtqXA4t3/y1MxxtV1hdjDE86WB7LSeraCJBdu2lAXYPEvRbOjlUDg2aCLk9bO/FiO03GJmwkCu00QodYbUpAYbBsBG9YpRsmY8/PeXmtTCZYomxcRvbKxXJELCZxHdwGafPQLuuJplsSg36xKSbVK4i+ScBn4lw0MnqroDEC8Cel6XHcYIhLzpTlUqux9x8hIW1U5nGPDPvkmDIUNAgjUHJ4x5ml4bAoJZGXU38sEauWuGLXzjPs0c7+AMqbJ4g9z7Z5fIVL6VClcOTEs2GhnPnndLK0Ot1ZKX62791g5VnS6w9jxFLwY2bTk7jdfw+YWbS88n7+8zPh1Eb1GwIiL3fQzioZfu4RL+rpZLP0mqriAw6cHv1PHkSxyOMQmEBYLWQSJY5Oi3QqjW5cD5KsVYkddzm/CWX5FClsypUP/wtX198yJnMKlKJGnnhgvc7MVvb7B+KKEaJV18fYmEhicdlkm5N4ekcHhadtpr0BotN5dMnOfxhHRcueSgWenKzrNF06fc0xBN5zpwV/s8aeq1dQh6WHmdQNG3GJtzypkVEErMp0aXts7pW4q03vFI7t7kuKLJm+SYplMQUxc/zx3GE1WxixES7W8VgdtCsdXny6JRXXh/F5TTwH3+8yq98e4pmvcPP3jvkxm2fjDR+/OG6jL/o9G2uXbhEoZokEWtychLnV37tHJ98tCVhET63joExOxazhvWFAuVGE51Zx9iolUZDIyd9m6slJqIWSVvfXCzLm/FitsmVmxFODuqk4sLTqyU0bGf5eYZrL3lJHJSotfr0FRNGTRuDQSGWLDI3E2BzPcGZuSE21w8YGwsRy9VlPNloVvB5DGxvFVFpVIyO6Hi+UJYKqfk5ETOroFKLGz8NGr2GSlFhYAgZW9w/ENNJI/GjFFevhWQk6d69A2pVcUhRceWqH43OJLs34o0uOk4KHRwhK7Vcj1DYSC7XotXoUamVabU6zJ0LUyq0OI1npf4jOOBGZ9JRyuaoVlsCs0h4yMzBfhml22H7pMzUpJeXXxrk/Xc2Mfrs9BoFvP4BNlaOGBo0UKtoqPUbOB1O9P0KDrXCmevD/PW7cf7nd5K4vBpMbYWQHfwek7xx2zhNMeFXsZNroijCv22lUMhiN2vYSxlekKgrSKDib/9ykH/yL/6ZPOjWUtt0Yk0a+j6NivA8XxV4ZbSqDJVUHZ2mgD4wIvVu7fwO2n6HtsYoNX+9Xh+d2U/hdA9LcASDxUs1tozGPUw9toVOV0Htvk4vv43FLVzrWqoChKIy0K3s0rdEsIev0k2L99k2tsAUja7gj6lkTaNbzaLWOTGbzPTcY5RWf0Zf28Ux9CWa2QPa9VOM9iEUKrQLWVoGLWoh/FEb6Js8Mr6oKu/Qbgnw41Xq1S36fRHDTaE3u2ir7FA9kV2iTlvwFdSodDqMLg+1+DauwXP0bRF2P/m+qDviDYzyVEQIO23CE3O4vAH+7i++x+DoMMNjszy9+wBrOMSzO495+9e/Qa3U4sGd9/gH//3/JLVaP/rev2V3L8l/9bu/gzvgRkwT1e0KnXxWpnm6Zr/0AbcLD7F5Zmk3O9RbFWyC+JzfQR+cpiUUc6VD1GYfRr3ooZVQC/Bg/il63025IRMdSXo1mollrDPfeAEsqotue5Wexoeu1aTRiVHJxYi+9j+Ctc7hu3/ON/7hf6AltVYR9o7KnB9R2C6pKMWqzM/Y2Tju0elXWY7VpTrnn30zwldGa7TrGla3yjh8elL5GsKhpTf3cRg15OpadreTTE15JfFbbPvcQl26XUKv03Lz5QhPnsYp5ztcuBjAIMjIhjb1MuwcZDCbe1RzCsGQUfaPxR26zQxanYlYokAm0ybkF91Zm9R3Fso9IkNm9GqtdOsWBRgn5KBbb/D++wl+9dcn2Tg4wmd3cufzGCNDdvwRM/6AjfXVBKOjLuqZKg0V5Ap9DrZS/PrvzHPvw1NK1SbBsFlyBcSB9cHdXX7pi17++Y/SfP9Ax7fnPezERDdWwWlTSQduTABWx4cZHBlhe31L9oP9Xg/JdFLGk2sSKidMDQ6arYY8QIvupLACHByc0FeLWF9Ixr9FtF0kjda3dqk36szPz9Oo1ymU8hgNJnmdiIPjxtoGwXBEGgSGowOsrq5JYG0kEEYvdI6ZONHRqDyIHewfyKGAqDqNjE/w/PETGWfX6hR5aBOHmKGRCOVamefPVyXATfz/AohJv0MqU5T6QrNOodlV0WjWUKsVuR1cWtuQMaWLF+blhujO3UfceuUGG6ur5Io1Ws0qHrcLs92OqtPB5fZyeHwohwuhgDAZuFlceCJj2SfHcaZnRvEHgjx69AibzS4HG+IaSSQT8hDnD4bRiYON0yUPgB1VXyrjRE++XC7LQ4j4p1YvkctkaHW71OoNLp8/K+PRojYgamqivy02qEI1d3JyImGEszNnWFtZk9dXPJ2QN1Di8CYOacODg3JoIX6eMJKsrW7JDapGq5aHv5mZCWx2F8+fLKJW+vKQL1IDQv02NTUsmQ8nxynOzIzLTdvM9Byx+DETk9O0Wy35d25t7sjebK1Skyq99dV1Llw+J3kJH374IZcvX2d5eUmC9AaHRyjkc4hTs8EgIHAFPG43uUxWshiEBk5EptudphwyiEOZuLG/dOE81XpbmgCECrBWKbK5s4/X7WJ0dJq9g21Zr8plcnL7Fx0ekayLo1ickC/E5s4WF+bPYtAZOIrHmT4zycbSBhaL/sUGOBiUG8pPPrvDYDjM2bNTMgUh6Hs2q5Gj04SsZqTSLw6M4sAvhhNDkUFcLguFSlWqzET1wecVwMIqk9Nn+PD99zEaLQyPDJKIpV9sJB1WWbXUqvRyYHIkIIoX52VMPhFP4nRY5HBWZzRKGF++UKRULHLr5g2pGhQdcRFzFprFa5evcef+A9xOh7zeRHJzfW1DKgglMd1kkBwPoYQUv+98KUcoGJYDjHAgyNbWrhwWDQ0Oyeti72hf1nEC4QG8Il5vMRIMh3n/F58QHY7i8TpYeC4GOg4GQkM8fHBfXicCoKxWC2jjBCexhIRo2swGrt+4wbYgv5v1HJ0IZ3YEBY1Uq7kcNk4TMZwuUWcTVcMjORg4d26Ow+N9yWZYXVuTgE2xEe70eoxPjLKxti0tAGKwVSzkMNtsLC6sY7eZMZj1DArmSqEqyfKeQJB7d+4xOuiViSWnxUml1kKl18ne/fhwVALknj95ypXrV1GL+7KcgMht0q7W0ev7nOZrmB0mro0G+Hef7rL5z99i2FcgEzNhvDhBbWmbZn4Xg2sEdT2PZuwc7U4Jh0HUcjdQFdrYzp+ntvYM89Wv0DvelgyvTnxXKpZVgQhqq5fG4QkWcV09eZfiyQnOq2+gyuVoOU1YRuaoHW/R67fQGAfpZLfobC2hHZ2VabDS+iqmS69Lmnx58wlqkxdyJ5TjJfRBB9rbX0f/6B2qqSTml74m7+kTi0+xNvvoJ2cpbn2OPTBPK7dPDx16kxmty0lHa6FycETh+UMGX30DQS7bf//nnP2tt3nvbx/y6//7ElGPQt+swqhVMzk5SLpcolrqoa416QRt5FsNeQAXiqTo6ChH+3sMDkfR61Uy3aJRjJTyOfmZLyonJ0endHotmT5yuV0URGpGK4Y7BQaDIa5cu8gf/+mf8c2vf40H9+4yMDxG/CSGTqeQzeUZGIgwPTHMw2eLGFQi6m8lm0rLzxtRRRLQ0GwxK3kExVKViakhSmod+f1jGvks3XiZ8mEKm0mNxx/k9DRJeNBLPF9GoY3X5SRZKMqBrjAsbe8XuDoXplqoozUJDXkbv0uLQWNh9bTKcrxIstLjjUk1V7wazvg6fPVMgPc3izzdKvLmNSvxvIl8Nke+rJFKztGoht2jCgMBKyaNlnqrxPpRg3xGMNIMhP3gD1l49KDESFSPTmVicS2Fw67w8vVhnjzfY2rWy/FeHZtVTzJewmBTUStr0SpNvH4rjWaPmzcGuf80welBkcGAHr3ZhNGi5qMPT9HrFa7fcJNL/mfNeFvN7mEWs14AbHso3RaKxorB1qRWbpMvCkW8i9ERG48e7krYeWRIz4cfZnjpRlCmnwSgfPa8i+WFNNNTXlmFFGnO3Z0qV694MDlM3P1sD5/DinfASL1cIZ6B0WEXyVyJRq2FRukTGfKytBDHbNBw9cYIH32wxdkpH51+H6NZg7rbYWm1iN3epadYScZeDCEEcDITr1Fv9pie81MvdEFp4XRqJWRWr3GiN/SksnJ5OY/PpZcDZru5h8XuQGvosfD8CLPVIcGI6r6K6KRbKqk7dFl8WuDsvFmaHzwhuxyElvM1ydLJlKsy9VkrN/AF3RwcZTDrNPLxxvcrNLtNpqYD5As1lldzssYanbCwtV5Cdfd/He/n0jkyqTqNbg+DWoteryWWrDIyamR7tchLrw1QSLbJlwQQzkkuLrYwFQYGzKTSCjNzHY73NPiDWnSK6L80yBZrpE6bkio9HLFSLDcw6jU8enLKF14flnqlTLaBxaGSvb/jw7h0TVu94klWsLn17OyW0Wo6TI4Pcri3Tz5vYfqMgt1iY20tRXjQxeFhhdnzZvp1A/ceHUi64bkLbpbXEvTreuz+PjqtCZ1OQ/woTzre5ubrYRSdwupCiodPyvz6t/3EEx22tnOyw3J4XEBv1jIzbqXZUlh4dsr58z7i8Tp2YRkw9dnbSzM/55WR07ufp6kIp3S3g91vRqxYDWYLZluTvc0GbrsBnU0rb7ZUdLHZtJzGGsyfcXIQq9Dr6PD6dTx/EGP+8iDVconV5zmCozYK6QIGvZ0bt4LsbxWlQSA84JKRUqFjK5Qb5LItttYKvPXVEAcHKRS1kampAd7/6Q42rwpP0EOvWaXZVlNMVfGEDYxPO4kfiC9XHVqdilajw2GsgtOmw+czkEgXSBx2OHvez/FxWsJ5ROWiWu+g1Viol4v0UQgPGbl/N4XLrcdk1BGO2CmVqqRPG3SVDiNjLgwaA88e7hEYdMobo43FpBwgRYbF1q3N508TjHsNjI4GyNcrtCp5wqND/OP/N8aRIP0OBCm0C5i6NgnVCDqgo2phQqgMq6htavK5BvOXxqVS5F/96TL1rpr/8qrCt79xkxtffg3NxAw8/hn5ioIuNE0jcwomHY3dVVR+J0aNG5XegMrmI3v3T7APXaGWO8YQHkWrD9MR8SCB1k4JGr0RxWCEco5KJYWiD9E3uiSpmvwJHY2FvqqOGYWeOUTseAmlfIRt4luosiuUjhbQj8ziGLoILainNuh36+gdQVqFY9RGgSqFlsYt6aedZoZGNUst/ghn9GXU9lkapT3aHSNO0dMVuszGPt1mCYMpSLtvgv4JPUuUXjGOyT1G9eQ56vopfaNQ+IToUEKvMdHta1HVjumrW6DTolZZ0FitWHQOesKzW+ujLq6jcQZQG5y0q21U/Rh6QxCV3o5YN91797vo1XbGz05TrnX48z/7LqmkwltffZVGPUc+l8JocTIYMNMXdY9Ok/k3voTObKORaVA8/Vj2do2hOepHj1HMTnomDyabg07XTuv4Z+gckyg6vSSSd1V2DCYz9cISmr4NxWyV/3RF51RVp20dhmoOpV+lW8+gAGr3KOgdNE830NmtmPQVdNMv011+zB/84I/4wz8pyy7Y619wky3XaZVE/EpPmypB0fcvt0hX1NS6NcrVNn/49yKMD1j57OkpOpNVHhyeL+V547UAS4sZZmcGMJh71BsdipUuc/Me1ldLMhV07+4hUxM+ZucdLD09odnQ0+7XpPql0+7LhJD4wjsUWlCdiuODCrPTXlrNGjv7RRw2Fyhl3AEbRo2J06MsR4dFhkeshAaCbO+cMj3vIhQI8OzRmtyOGXQq1jcynL3g4FiAdCYsPH6SpFbucumSD0UvGBAlfB4tJyd1ubG/fSNEIl+jW9WzsRdDUekw6HXMRAzslbr8zl8WmXOD294nVTPgM2mkt1tswy3BYbkRapZz6EwG6uU6gaBfQuGEtiyZEIOHUXnDLjbcCwvLMm75+mtf4OjwQNYHhHddHEL0WhPD0UEZoe53e8STMakSSyXT0uEs4KVW0eWUW2g9yXRabu2Eo7yQzsg4skproFkvy8NfrVyT8WJRcRIdcQHlE5QCsXUWqtt6qylNNr1+m9HoNE8e3ZfDhaHhIK1ahyeLC8xMj8sIr1axyNSB2FiKg4BQFsZTCVnFicfFoVPDBQFRi6ckGFYMPDRq0UnMsLK+xle+/CXMJh2FXPkFST6fk9UCAarK5fIYRfyvWZFU+OFoRN4krm6sYzVb5XtFqBNXVzdkvF6r18ubR5fLRnAgwMLTJckZ0GmNHB4LQ8KwPEiK6tv+7hZvf/2rvPvO+/Lg+eZbb/CHf/BvuHr9BpXaiy6uzWZjaXlNAhcFvFEMHiwmrdSj1WodudUv54vydayUy5KIr9XqGAgPUiqJqGwPYRjyenxsrG8SjIRR9QTPosalGy/x4LP7RMeGZERc3MiIeLyIu374wYfyz6FISDrnBY09kUwzNTElgcAnpydyG57NiMFyVP57IlVgdHxYag1TmRTVWpPpqQk5YDk63CWfL8pNeLenkEidcvniOXlP0FeJ2P0uhWwRi90mSffBgTAP7j+Rju/HDx6RSKWZPzeP1+2TUcxipUiuUJJ9zqKACk9EZZ89lkgTHRkkHovTaYvt0iWSyRh2l4Bu5mT1ot15QfUXNiPxvF5/5XUePX0k4b7ivqbb7+Dx+9hZ32BgKEw6XaTfF0MaPWPRKR7deyA97WLQMjo1QTmfkxtcMRi7c+e+fP1FBD8WO0Wl6RH0elle3pTWi04PrBatTCg5XT7yxYIEU1pMFirlmoQgigSMxWogk8qxsy/i96+xubUrjQACoibAaPcePJMKvivnz/HRJ5/L4crrr96WceSPP73Hq6/dJnZ6wubWFkORYblFHx0b4UhUOzoq9HqNTGOInquwSjQaNVnB0QhWVLHA9NQ4pXKFVDbLuXPz7O7sS4aTUD6KfMPIWBStDt75uw955ZVbLC48kyR2wU/47PP7XDg/J4cCQZ9XKkiPj0+ZmpqRYEaxKZ6emuLhwwfMXbxIKpGQB0F/KCD5AU6rqC1mqbcEOPOs/LlPHz8mMhDG7rTJ10mvM0rO0urzZzLJIoZiWnWfcqXFy6/eZnllE42uJ40IyWyCseEoDx4/4uWbt1lfXZLXa9DtRGtWyCbrDDgVfryU5Y//wTl+9/deYf9HdzFFh9ENhFDVVLQEqHbrLubROUq5LKpOEdul2xRXFtC2urSzh+gtVtRqLdV8Uah8MI6O0okloNmg36+j5Kv0xRTZ4UMrzCmqHp3FRyiCyl9vodLoJKurWYpj9gzSyedQzFrU3hEqiWM0mRj9RhvTjS+Sj6dwjkaoHxygNVkkrTz7/r9HOzCNa2iI3Npd6vEMwXM3aerNqExutHYTpc8+Qj8coeXw4rIbqeQr6NDR9Giwba5heOUSjY00od/8G0xeNeeiZrp1FalcmfMXp1lb26VT0RK8MsrB0REjU6McHp9IbpaADQrFnxhIDUUj8j3+7PkSw4MRCWHN5FJEhkbwed0c7R3Iz7RHz5cYEcaMcomGgNuZTGzsCDPMDFah1Sxm6TZ6MhEgKgAag0iXiM/4cf7ye38lh9nOoI9Op4U3GJDgt62tQ+bOTWHRqDnZjpNb28Zrs1MXMNFWH1/EIofqydMmitdG2NSWSS6txk6pV8Zq7FFJKRhcGqy6jqwV7B1mmB4Mk8jXOU6VWSup6OnafHFczy1Lj2/OGyk0ujzY7jE+ZiGWLaHvaxkfMLIar1MqdNBr+/gEDd+sYne3Ikn84lpf3+4xf1HUnOpkT/tMjFvY30tR7ujwOS3YnA3qORXTs3Z5fd/9pIE3LExXIrVnw+HS8fBBhuN4jbe/MsTyYoqAV0U6J0xyQmNtk2BXsYw0GLsyeRY/7eJw9Gi0kXD38ahIOarJFBqUC2oCQTWBASf5VFUO2MulJpVCmzNzDtZX83KQmSsUqLXbWBQdAxELP/5Jil/+ziCFZJVSCQYHLMQzBXotFT6vEb/HyKPHCdKFNr/xnVnufnqMxdKXg9tyoUqj38GiNzI4ZubkpEgxCRZ7m07LiMrYwGN3SJva6IQg8GdpVMU5UEVgyEQ4ZGF5+YSx8TDPHh1KzsrlKwM8eRTHF3SQThWx22wMRzWSD3H/boKRISO72zWmpm188osEL78RQODDyoUWhUIDm1Ng9w00mmAyqSWEdX7eRzGvloBeUa0sFnuMzVqkuWZzs0q302R40I7ebGRrO0mt3ufK1TDlTJPd3bRMMTrcGmH/xOXVc3BURfXOfzPeX3y+Q2RIbOKaWPQqyvUW9SoMRp0YtYLW3pZu23pTTGJsLCy8iO2ZjFUJkzOZxLbKJ/tj5WyHdKXKmRkrKkWLqMtNjzq59/QQm0Hh3NVBDveFQ7XG5cthyqU6haJgALTwhkSHv83RfgObrc1L14fI5nq0VSUaBXH4VGOw96gXzdIBfPu1AY6PmqTjVfS2LlevDLL+LEl0OsDmTppcusrbX79MV13jb3+0woULARweA5lkjZXFFFargbEZP2Ztndipil67gsGmw6g1sraZluTrdK7Kzn6Vm9f9eNwGYifixYzz2hszJE/ykmK9u5dndDzAYMhAMlnmYL8tiZBiEuXytGk2DfLL/2Ang9Mr9HcVZs5GZd9wYyXPlWtOShUtafELMXSZmfHy/GEao12P3azi4DBHOGrBpBGT8w6rSwVMRg1uwWHIFDCpzPQ0DcwWI1vLHezOFk6bAb1Fg8WhUBDkS9MLum94RMPxTp2D/QbhiNBK9XHaNXjcdkqNAu2GinpJwWzvkk5VqFZVXLrkJZ9ts7yaJTpq5+HDPN/4tUGsaLm/eMLFOT8nsZzsnfRQ43EZMNsFaLBEQ2XkrWtu/uSv94l6dIRG7dxbiKHCTNiuZn7Wz+dPt9DrO1yfG+WzxTL//tMsfb0Wi0vDaaLFtVk7pUyJpOgGDXrxOu2sbB/KjX98PwchK55Om89X6zRVanxGDe9+/+8R+uJXoNal9WSJkrpFq1hHHx6lk9qnWDpmwH+BjtKhltpH1SrTUiu4Ry6SPD7A5rLRaRVQWjZapHGOXKdRLtLMrqNS29F6LtBtbNMrJ7ENXqRcOMGoMmIODSA+gardOr1GC7U4gDoc9Fo1zMHbnO79XDrvxUZf3WtQKh1i1xupiYhcX0Frs9Ct9FD3s3SKJ2i9Z7ANnKdyvEBLrUOjtdAS2NN8DMvoyzSyQsvfMqE9AAAgAElEQVSzJ2EoJvcZVC475dX3MZh9tMQBvxbH6RiiaxmlU0vQbRyjtU7LrUdfaWM0KvTaCqXEFibbOAZ1m2avKfuBitFHp7yL1RyUX/KptWfYw0MoNp00JRj9l+iXd9Ba7Og9Z2lWcpg9NprZU37w7/6Kw8MDrl2+gi8clIfCh3fvE52+iNNellPd6cmbtBqnBKbm6FbVFPaeYgk7KadiqDtG+XNbjT3UKi9dtQm1pkW9cIrFZKWnD6Cz+GlWjtAoatS6CB2tgX5xEbU5Qr9VQqVxoBjFpvWQdmybmjmKwepBXzqm2rZSO73L4Gu/gRIYoLLyl/zhv/5b/s8/E5aQLr/yyjyp2DGrJ6KG5JLXaq+tw6xtsVnUoK40+O+uq/A5DJzWNZwf8yIWxKsbJdrCke3UcHBQlVN2RelSKvfRKD1uvxbmnXf2GR4KEBlR8+EvTnGYTTLlcf1KlFQ2xdFGTR5UhH3C49EQjzWx2PR02nrMJsFEcfH47gmlYpOJGTM+n5/dvVNCQxb6TYUTQZJ1Wqnk6xLs1xCU6VIVvarPzdeH+cGf7GCwavjCbR9ai4Wnd3Y4jjV46cYgVnef9GmH3T2hR9Uwf85GKl4iMuDEYFbx8Z0Yr1wOMO7XMf8vk/h0XcZDGqp1Mxq16LxVOditcu31i/IAKcj14rDf6PRe0Gm1Ws6cmZGH9N3NLdw+H3R7uLweTg5OyAugXq9HMCyucw/HiZSMv6u1Kt58/U3ufH5XKtoEBd3r9rO4siRZAdl8QW68vT4/hWyO85fm+cUvPsDl8vDmF19lY2uH1dVVxscnUam68r+LCXz88IhKtSFGRHJL9OTxA/yhIEaD6PA72FjfQMRqbt++zcb2hsjayM3gsydPpE1AuNo/vXeH2ekZScsfmxCwy6aMM4uDgtVm46c/fYdI0M9QdJij42NpMBG9fTHkELR6sW0XW/eALyifp0hhiUGJSq2WELKR4VGSubTU3VarDVkpEKC0w6OYNAg4bA62treZPjMtQXjLy8sSPKbXWaSmT9QnZs9Oy7pB/OSI6Zkzsse+s70jO+jlQpno2CCtehdFr+C2u2j3Wjx++EwqDkXaQfjXvS4f29vbBAaCsj6g0+nlIF8MXy7Mz2GxWnn/g4/QasSBL0pM+tud0qkuCPzi9RDgRKEwtVrN8tDbbNW4fuMlSfqvlMry4CeAcELVWK3lMZtscjNtFBwDl5MPP/yAWzdvSd7BvbsP5JBLQMNESkA8508//YxXXn2ZZr3F88UF+V4T9yVCBXnp/CVZSRGP++2vvsXdBw/x+4Oy4rGwtEIw4EGvM6MRik1FLV3iWo2aK1cu89HHn9PpNLh2/SqVSoOTkyO8bi8WiwGt3oTX42ZzY10IrNEZFAw6vdxoRyIhMvkyXrfoeRplzSKZysh+shhs6fVqCZZcWVmTFQIBwBLgL9FhzyWz3Ln3iIsXzkvgqkH2s7sMhEIyySASMYKJIcyoolooUpCDwyHJrRB8i5HBQRwuJzvbe4yND9OoVSXoUkTXBYyrIRIoDjvtvjAoKVQrTQqlAjNnZthc35BpPKNRSyKekps5Ud8QPvs7nz+Wh2GDVpEshWBAHJ4buJwB8tkM2XyOb37z62xsbCDAHKdHCSanR2UnWmjThLoTrcLo4CDVZlNWHwSp/9mzJwwMjpBLJRkdG5dDBPF5Mj46Ij8Hbrx0jc8/vkc+l5HXqN0mDiViy+aUFcC97V3ypaLUP45NjlEqleTni9CJLS4uExkZxKAX9PFD2c0X16lIVIyPTfDw0UM55An5hQVig7WtNYbCETnkajbEY+zS6zbJFgpSbyc0gPVKlfXVVXl9CANEqdpgdGxMpg0Eg2F54Tnlap3br97mp//xb9FpdfzKt77GH/yb7zIZ8WLym2mUKphVCj94cMpvzDv5/v/zqxTXEvTE36fXovMFaVWrVB5+jvulW6SffoY1Oo/aY6fz/Dm6mYuoFBOtYgpdZJh+rYnK56a9sU772bs4fu1/oZrYpfqL72N689uoygVUhQQqS4DmwqcoE2fQ+CISIKgUE3Q7RgwXrlK78zGM+1EMNrQdhUatS3flPQzDlzBNnKW5+RAlPEPyh99FMzVB8JVvUE2fouytku6o8Q6dpdsoIIr7areTVnwfgztA8fSU2INFzn/xKrlmE5N7AOuIg9rSPj/aKPCP//gRNo2Kuakw1XKZKmoJFnUZ9BzFCyRiJWa+NIvaZCA8GOR4Pyn5K6GAH41FT7felyyJRCLNr3zrbZx2Bw/uPWD6zBS7+7tSzbi2sCYP7Jl4Vr6v/UGftK20mxXyuRImq4WN7V35/vcHXGxv7kmCvFlvkmYZMSAWgMFaoYIt7CYyMkI2lSHscrF57ynF4wy6ror0SRFXxCxZN2vrm9hdVjRdMURXyTS0sEkIGLlRqyWZblCmwc2JgEwqiTTR5PAAJ7kyD2N12s0u9WIPtPD1M0b+/lSLs2Er5a6WuwclBiNWTo4FD6BPq1pi/oyXXyzkcWm6XD7n4yRWZ2evjtOupqvSYjIrVPpaWqK+7eyh03eo1Y0YLD3aHR16dQOdVqFZb3Nmwo/KCO+/c8LMvIOAQ2F3r47FZENn6aBR9VDpu7Jm8Plnh5yeZqnVhDGqyfS0n7XVuExMOjw6hiZc5A6zJOM1dHYHq6spRiImZmdDbK2fEBl1ofQFNL5IsdDCH3aSy1a5+QU/7/3lKU2aRIZ1nJwI9WKYd9/bJeTx4B/skS/VsRlN1CtdknGh09MzI/TvOxmZIirmOni9oonSw2mx4Y6aWHwujAoWJmZdpA9rnCTS8ns4lSwyNCKsEzZOD0tSkbu9X8Ft1TM/60Jj0rC5nsPntbK5I9giWpw2G4EhLaf7HY628ojQcLkMBlOP198M8dGHMXZXW0yfszIQFon3mrSD9dAQCRlI5TvUik00ehgbc/HofoKAX0ejpafdqOH2i+o2HO5WiAxZJBNjfTXHV78xwL1HGTo1I9euiURUjWqlTyhi4XivgsWqx2JXsb6UZGwqgJq6tBmUC11UP/tvw/1mrYXBqKDSKLhtFtY2krTaPallE8qAVKJBu6HD6qwTDLrIpNroTF1Ghqwkch1RNWV3J49ZZ2T2opfN9SzteodLlwMcxorysK9oezSbbYpp0YXTMzxmRK/pcRCv4/NrKKZVeAJGggEjT57HiA4HpLbOalfYO07jNNmkQ/tgR1BCu3hcLhBKsXqFk+M6k1NecqkylUqPi9d8LG9kMOt10mnbrveIjnrpdXsS2iFAgCOjXlbW4qh7glXQpdnsMnVugJ/8+Spf+lqASqVDp6PIHt7+RpXJMzay6TIGs5bxaERSXBeeZimU28zOW7h0fkRulZ7czePwafB7jTg8FnKpBgG/nUq1QDLVRG/R4bBoabSr/PCHOaIDGsYmHVgNkgkm4RHNRhWDwUZ0zMqpcH/m2qh7BrwBNelMk3SqyfnzDhKnNQleGhrTExn089G7B6gNgl9gIZFoSG1HKSs2lk3CQQfPnp8QGnBzZs7LX/zFuozGiL6ogBSNTXl458e7TM075c1ls9mTaqxyqYHGaKTZrVHPwPQ5j3xMfr+Tw0SBu3dK/Pa3h8nmulgtCl2lzsNPily76aVSKpErdnm+VsXtVxgbtlHJwKVpNypNXRJGu4UqB+UO7y01KBksnBsJ8v2nuyiFOt+8PcoPfrHLtWnBIxAfmhr8foV6uUkDO/V+E7tBw70H4nfd58Yrg/zbf/odDMNzKNo2xx/8LXqtEfPYF6mdLtOpJdHbwphcL2L7lcwevpkv02iWZQdaYx1ErWpgNOgo1UqYHRO085so3TztrpWuQYdSq6I1WulbzbR3n2EZexVVp0Srl2V/cYP15aeMzkyj11hkdEfROjDoW9jtQYx60Oi66Ewi+dCj36hJr2f8eEnSmzVGBybHAPn0KTqjk16rgslupH60TdXgweH0o26WaJkstPc36GlVtLs5wsOvU2vsotL4aWpGMFQX0NrdNJpd1BqhhGrT7nbR9TR0xZ879Rd1EYOL4skCdneErlAA9esyAqp0NTLS3FXMqGqndFQaNEY97ew+hsDLtDo6upUVOT0VSiubd45qcZNmu4bHMyS3rWqLjXvv/pB8SlwjdXRmLSPRs1htJumn3n6+id7SJb2/zvU3f5VKo4jTaEKt9WDxB1E7tMSffIpFZ0PnGvjP1Qsv9cIh9fwuTbFJUpnQOP0Y1UVa2FG6auqpR5hH36SVX6Pb16FzT9FtNeglllB7p1H6dVrNLJbADPVKSrqhu80GwZEoRKJ89Ef/B9/6r9+j3ofv3DRj1thJdaoUagoaVQObXi2n8j97nqXZNfCH3/HwhbNmvvdOnHi2zhcueFncSuG2iS9HRR6eFaMGr0uHx6uQz2iplav4QiYJuzHbjFQqXaYmbTxdidOtKpydDVJq5NhcrTIwYKFYEFsnndTd1ZtVpmZ95DN1GvUGIyN+nj07IDTop1UXcdc4kUEz62tV6b+9cSPE6Nkg/+Kf3JepmW98bVIC/VqdCj6/j43FE2LpJuGACYOuTyoDOk0drdXAudkgTxdS9Csdeno1bquJhb0i89Ee4x4tl//vBjfnXRgqOdbSQp9qldG5vf0MIb8frStAo1Ui4PFLFZx4vGL7XK9VCAaCkjruFIcok0H2c49O4vLgKzaNqVRcJDvxOB04XGIAI5SsKfLFiuwG7+/s4fA4ee32y3z00WfysCy8zkJ/dHh4RHR4CIfTSr3WJJ9OS5q+zW6T8ChBeRdGAQHCq5SLTM9MyySUVFg26nS7bdkjlUpVnZZ8oSSHp+l0Vt50ZtNpKmWhSYzKA0+t1ZCucwFD/fSzT7h8+RLtliDeH1KsVggFBnA5HXQ7falqFB1lp9VDMOKVxGChzMzki3jdbux2M2sbm7RabXwuDwexY4YiAzIRYDU5efT0CcGAn5npWTlQ8wUDNJsNHC4HTruFjz77nFsv3ZIUdaHlE1vNM9NnXjAEfC6ZZPirH/6YmalJzp6dZvfgmFqlzv7+vkxDiOd0dHwgCf4TExOIO5R4PCYj5YKuLuCDAppmtpolLG5jfUtCX08OTxkcGpJkfRGhlwNJk1H2qnc2diTAUdxfBD0B9g725WZXgBBHhkfIZrI8ffyUN790m1KhzNbeIcWcUGm68Pg8Lyjf4TAGo5mV5UVGx8fld4twfuuNRtKppDwQOqwWCaHLiaHK8DCbW9s4XRYJ9xufHOfevYecmZpg73CfVrOPxWYkHkvT63ZkkknwJk7jR/S6YhM2xcbWJjdeusDIyCjv/t17mAT0q1yV75NgKCDrEmNjo/zkb35Kr9uWh20FPStry7zxxhvsbe/I96D4jBfdVZGcEJwEo1AjtjuUqyXMFjvFYlGq60SsXpDnBZBKHG6FJeHs7JSMLKdjosrXoVET8MqmvHYFDE/8zkT0WCQsDEYder2BXDYnO/oCaFerCrWeeFwqqbQSsMh2p4tKpSIcCUsbjdZolEmcSlFAadXksyW58DFbdZQKFc7Oz7G2siJZC4cncQw6AXxUyGWS3P7C6/Lws7K5TtAnvuNEujGBz/+iO5tOFmTaUryuIlovOCfi+aWyCW5ev8Ff/eQn8vAmrB5Pn63RrNWYnJ6WVYak+L2H/DTlkKAtYVcaAQWtluQ2tt/pyvs5k9FCvpCXcDW/x8Xjx0+JDEXlUOnoYF/qBBPxuHz9wwNDEnTscFgplnKUi3UmJ8elgUDcn05OTpLJZXj9tVfZ2tyQw8HYaUxqQaPDYTmkL5XykotUrhXZ3dxBoY/NYaFRa2O0WrE73fLvHhmKkMxkKeSKjI1GOTo5JBTy8ulHj2XFNJ9v4PCYGPf6+MX2EQO6Ho/+9PfIPFmiZmxicQ5SFKpA+rSDUfQiSdo30aiI+xG1/LzuBbz0k0dyQC4AtJrSCYpnGEVvpJ6KY5+/Tu79v0at02M/e57C2j6Wl29SW7+D0jKinppDSe1iDM9RSx6iUanktS821vbZS3Se/ZxmtUanr8J55jqltY/pWbwYtHpUXjfqUp2OUGiJek0igdVnoZVsYHjj65Q//nOsoVGOHi3it7XRfuv3yPz8xyiHB9inZmj1dHiiPmjFeON33+dZusetyz6pFG+re/TbCkaHlU41z9JGHrNLy+2vXifX65E+TqLRK7TF93e/RXRoiKODI8xmG2argWwhj8ftJB5P0ev+/yy9d4zn+X2f9/x6771O7zO7O9v39vYKr7NJLBLtxKYtS4ICK7EdII4tB0EcIHEcOwjyRwogyIIE2YJE2iR1Rx7J4/Lutt32ndmdnd5nfr33XoLP5/wHgQN4uzfzK9/v9/N+v17PA5cunuP2nXvYRc3JbCWZSKFSK+Rnqt5uSTilAMI2qlVOjmL8rb/323z66V3odnH4vYQifl5u7BCM+jGY9dj1JrZWtzD11XSrDfYeH+CxaCQbRmUayoOdqO8JFkCj2Sfs18oF2dOtHLPi79C02Y21aPS7XJhxMeI28WAjx6BVR2l3sl/sS/heqtbHoanxhlPPtWkj10f1aBVtik2xCe6yW2mTPO4xO6vDoFUST3Zk9bJRU+BxdIlOmymnh+TyPQJjBgr5AaPRIZ2hgs8+z3P9ooOT0woWswGfR1RFe5wciWqEhnBIUPjdHByI4aOabtvIwlmbpN8/fZLh/EUPsUxbQkJz2QHJRA2jucvCvI/EqUgaG4WEmkpNzfZGlqtXHTxbqXDhfIjxcSO37xzJQZyA8w7UaqJRHc3iUMKVp8eFLr1Psz2k1Wxz/kKQ27ePMRgVzE97OUmUyKdazJ+1yFR3ZNqCYqCjkqvJQZFgF02NRXnx8oT9nQregA6jXsXy+RCbOzm8QTWDrpXbN4/whrX4PFocLgv5WJXWYIjeItR7LclX0mjA7ddzdjnKzz/cR6tV8M77Izx/lpDGMrfPwr1PxTViwFtvzkl+1vZ2i2/8xjlOkydsrpe5di3A6sMsNseQTKHF3KJPsg2OD9O8/d6UZMk9uJfAZFASHTVLLtnOXoeAV4XHq2bnoIayJ57/ugwGSt5+28/WnrBGFQlEzNLiUsk1pF0uFsuiRoveJtKj9S9NNQsetJo+xaKa/d0MFgcY9WYUf/l3vEMRJRRRe9ElX5h3yKjYyIiRp4/TchqWSTYI+s1Ua3XCUQ/7uwlsInLbH7CzU+Ib3xsRZ3E+v5nB7hD9FhOlSg/tUBwtITRm4fGDGO9/dZ5yq058q8TEgl8S4z/+6T7hiJEb7/r59OM4VrOFV99ycv9uHDUaSR0WsCfhana73HS6bQklbDYVMkosDCgiCisiq3pVm1RWSTSilQf4va0KkREj3aaWar+M3+8gf9JDa6+hUehpVDuMjOlpNHUkjvO0Ol3MFicun4HUcQHvqI5uRXQu3LRbQzY38tx4M8TOeoFEqsDIhANFZ0DA7yCTLUvvNxoFb399lEdfnJCINfHYwBN10u8MSMbEhNhMsz5g7zjH8qKfQr3H3nqec5eEVkaQQt0U8mW0GqXcDlgFKn/QIZms43IZsDmNPHt2wuy8j0pRlMf7FPI1jo5qzEy7mZt2sXuQJRJysLufodnoY7E6GZtWUUkMqLSqaNVis15Hb1FJ328hWZRwnM2NEnNnXfgcA8oVhdxiPF1JEowaMBlUjAQ8PHmeZmraxN5mHXvASCouJmUGGjXhZRY6OjvKgRjIRGVc8kjQ0dtd3r8+zulJV0ZfLyw52d2vsJps88lmjv2GHvPQhNLY4LUxEwexLgqtoKi3aAxgyuPB7hA9ySw2oWos9Ul1m3z2rMuCo8Pf/f4Ev/fWG7je/m2GpRaFnY8pHhxh8vvQaF301AqoJDC5PNR6TuyOIIXDVfqDFGrzNGrNUBokRAy40SxhdI1SfvkIGtvox6+g6ikoFfdxmf2oRt6hlborCbutloauyorH5+ckXiB5cvRlTCxfRqnXYnM4ScW25RZLDDt29rO8/upladbwBj1ExucoJQ7wjcyBxsvxF3+Ka3wMjSnEYCgeBPcZdgY0ihnci1+hn8qSPvk54dkP6HV71JLP8YxfI586QdmrMzRr0BmEYtFALfESi3tRQgOHaitNjQL1oIZGM0G/ekyvuIN+8Vt0Uhv0c5vgvoCilUdtHkWtFKmiPP2egkErj9F3nk4zi1KnRKMw022mpae4bxCvmZ5Gu4AODcpeU0ISFTo1WvHA0umjc2s5WNnhw7/4Ey6/+03y2Rz7mw9QKzxcunGNdqcpaxy3PrvD9MIELtH5M5lZPH+ewNg8Cq2F3O5ddGoVKmOUoUoHjUOM/ivUc+vSdazUmOkL0EOrDBojCpUbVb9Nt55AY7GgVhlp5FfReC6i6pvp5p5JS4JSp6DdamG2jZPeW8Gs7+F6//t003l+9/f+kA8/zvDKrIURl46utotN6+bmizQWq4pXl6189qSOetjgX75jxqgbkK+oCE4F6KZL+CdM0gVsswtTyDEWtx27UcPj+yfYvUoW5sc43M2it2voVmDnKMto0Ee9WcBsMeF06anUerTqQs83RKUx06qXSeba+JxmUpkKz1abfPBBBKWY6TbEQdPMhz895r13o/TbUKnViRd6hF0q6Sk+dynEH//xM6m/8bjEIEMMI1SoTYJQD/V8G43FQTFX4snDHJcuulHo9Si1Tb64X+DipINyp4FOoeZrl0P8wQ9jPEuauRQooXeE+GLlhIBLL68vAjbpCZ/B4bRwfHwsr+HlUhmtVku/3WOgFJFiH8cnR0REDLNYIBVPMzU3icfrZeXxM7QGk2TCNIRPR2SGjFri8QQXr1zAqDPx6a9v8frr12RU/iQe4+zigny439o9kAMsET0O+AI0u3XZWxaHfrfXI+OGAnI2OhKVkXPRFU+mM1JZOBoJSU1aKp0hGonIB0VB/K7UqpITI2CB/qCbbndINpOV/z2byyxvss1GB7/PK73wLrdbbtIFnVypHhA7TUi97PLyBU5O9mRH9fzZZdnPEwOoVFIAfTq4XXYJk3r6bE32kR12J0XBNXE50KoVcquvUA/JpvOkU3nm5sdRDIWqrsb83AzZdIGnK8+lFks8uYiOeKtc51RAsmplLl95hYODfcl/ETwX5NGwx+jEuOQt7O0d0mg2pA2hUq5Ra5R597132FjfkqkFoQEWCloB2RPDlGazIXv9gvZcKhWYGhuX8LRcJi/fA5RDirk84ZEoVrORVCotN+Q6nfhn0Xv3sL6+KUGFgrNgtlqJJ+N0JZvAgNNhlRYKcRguFWtSa6kz6eSBWVCsJ2YmOD08xGJ3oGDI5UuX+dUnv5JkfAGE8vtc0u4ihhjimvm3//b3+PWnn4nUJFfPL3P34SPCYT9ur7D7JGSa4eToFKvZzEClpNdqyntwLp+RMfKXzzexiq59tcLIyAgb65vy+q/odbF7rKjVAibak0wLu8XEcSIuNZayJlGvEfYFqLcadDot3nvnHU5P09y8eRO7wy55B2IAG08kGXT7jI9H6fQFf6cnBwLi4O6wW3j69CVDRZ/f+u43WX2+jlGno95qSluFiDOb9QZ0Jr1MUxwdnsjkgVlsvByiitnAarXIoUe5WpTVE8ENGgmNcHR0RHQkhE4vEpYZnF4LtXyV0clZmXgQJG6LwSwTFg8ePpJVPzGkKRRLdHpdRsIjZAt5sdIiMhKRm9lUUij/wtgdBh7ef8pv/MYHcvhw/+EjopGoZAVMT01wEo/LQZeIbou0TjDg5+D4gN//nd/lZ7/6RF5zhPLyi/sPmZtb4OTkVC5uguEwt2/dY2p6VCaAxPel3xebPo+Mg4vawfT0lLzPZLJ5aYdIJVIYTRY8ficup0umRQQtfkokbfIFmUgYGx3l2dMnzMxN0W4OqDbFZ8mJzepife0l7V4bv8/P9saGZBKIIcyz5yt4PWHeeudtfvjDH+HxuBgbi7Kzdyw/M5VCCZvDxP7OIV6vVVokgh49+UKd3YQYyg5I/OW3UNqDJPcPEDSmtkmPfqCil03QDUTQqrW0YwdQK2M+d5XuyxX6Wi29kTEMnSoDg4dBJoZB1aQi3tuO4Kg00CxeRWvxgEDcnq6hqLRgfJbBwWNyDx/gXH6TQUBHefUJluAU2mGdYqqA1RdFHRihkzlEr7fT7dYYqh0MCjFp+1IYHWjdLhrJJMNyGeXsBayCR2XVUfj0NkOHE+/8JJVsB327Q6VdxDhxBp1L1GTV/L//+kP+7S+ydLRK5iftTPn1fPEySz3fYmkhRDqfJ35YZWrKT9uuIzwzwfFhHKPTQL/aJl0scfXKRR6trEpgqHgPBRhTLMY2XqwTHYvK/714tkat1eDa+WXi2axMo9UFFC7kJpcq/Of01jgOj9DQiQOfjxdPn+M2GOX1VjdUy6HI0YtDmpUaw46KgQAGStcFRCc9aM06qrUG1UoXhebL5aFVqPIqdab8brZ2ypj9RpzCftZtkW4oGDFrsYoqb6POdkVLoTtA2RrIuP6EVsXVUJ+rkxbU2jI1nIQYctgc8GyvCNo+focOv8Ei9dafPUxw/ayLXl/JZw/S/P73pqi1qjx4kMce0DAT0PLoRR+7W4Vy2MJichEO60ie5mj3tUQmdDy5lUBvNsu09NFRXqYAtncrBPwaHH7YW1fgd4uoeh9PVM/L5wUWph10hx2abS3ZVJN33vWgM1h4cP+IwIhV1r52tyosz7mIpcpSsSnguE6fizffGuPDH72U5xSROB/2h2zvpnnttRE5vBeQvVK1Iw/lbrsSm9UtjSjeoJVaqS+Xrz/78IRwxIbFYpbsulpNQaPcQaNTyu+2SDwIEPNI2MTOZoH+QPTvxYHaRU9VQ6dW0+s3pQ3HbLDSqis5jOUZG7VK44MYZPoiZrLxPML11W3XeePdGf7qL9Zl5P7665M8Wd/Hqbfw0d/sc/68sLgpaHR1LC1ZuPtZjMnFCI26GGwEuXc/Ie/t4YidnY0yoREjfipkyiwAACAASURBVL8Ytg6x23S0Ww3qDZX83rq8dpq1FolEC3/QKGP+x/ttQmNmySIRC/tKo0FHAIHpolLpUAoKmwEJ2W13epwkCjL+Pxa1s7sTQ6sT7BgrexsVFB//oW8oNhDVeo/d3TLjo1YyiSJvfzDDT364KRV846MBTHY4PWlwvJNCY9KwtDght++1cpdcpoHTr5bxb6vRQCpbQaNTkDptc+2ql+19QXN2sHeQYdjrcO7sKHu7STQGhezPWI1exsbt3L+3JX+phYUQOzs1RiYMkk0gDvff+tYUR/sN7t7akV3IRDzPmXM+cuka8URVqm3MItZS72Jx6NhcK/P6m2G8wkV/UsJs01DN1SiW6igUFm7eivFf/PY4p8d5+oqejC8K+r7YxIrEg0Ldk5t6o80ihmLc/uwQrWHAV96Z4+7tdSZHo3SpkkopEPIhl2/IcGAgkahh1usZm3Rx/4sDfBEjlYKKZLKIRqPinXciMrafzykIBHXo0dHpN1hbq3D91RAv1k7xBRwYNToZd/L4jHJrOxzoSMYz+DwWUrkauUSP7//+Ih//eJNCWSnJ+rVSTSpHFAMDw4FQiahwO8wcHRaxh0yY9AOGQw1mvZWNzRRj41bqtQoGvQWPV49K2+X0WESTbLSqNbLZLpFRC5l0k2p1wMik4OCp0Rp0HB2VcNsFVdfF4V4Ju1ONy6WWA5BmWtwAlFJlcbhbpz7MA3Z6rRZz3hZHDR3/4VmHz1abdNQ9/sEHERmbynQshOxqdpIVlsImttMFIk4X5XaBUnsAXQUHJ11iLfAD/+c/XeJ7/+KPUBoccPg5id0Ubfs8/vBFsi/+AqM3isIyRvXFT9ArLGhHLzAQhPfkpoyy9+oFwWLCYPHQLh/RHVgkpG3Q66MZXabw8P9BrXHRLWfxXf1D6sk7qPRukkcPKZ22uPa9P+CTH/0Zlbaaar2IQ6/n/KvXuf/gMaNeN2iNHO4ecuGVV9jbvs/+cRqLxighKRNjHnxuBw+ereIdPcPsREi+1lqdl9TOHkaHEY3GT7e1hXt0CQYGGbcVP4uiVccwNkuzmkDrnURVKtPX+aBbpB27i3b0DRrHKzTECrM5RG80MxgOaXWymN2LKBundFQO2vGXtLpxHOELYDvHMH2bdn+AzjJJp7SK1j4OXSON3Bat/Avc536PbifPsPSE1tCPwTPLoHAEnSrape+gbR3SSO2jsoTQ9MtUC3EsvilUtgiDSp6f/fgvKebqcgo/NjtNOplm2G3L6OeVywLI2ZagM4NaSTJZwOc18pXf+g7DQoZqZodOR023X8PoW5Q3X0Fq7/V1KAwmhuUYA7Udhd7JsPcCtfEcGLQMykV6Kju63gltpR6daQx1M0MxcQurJURXPBL55ugUFDTiP0NjmcFy/k2MAS8rf/L/8a3/9s8xaeHKkp2bm2WuzNppd6FcqGAWmrKWmu0Y/Fdv6flvrui4s11m/7jD2bM+1PQoxAuka0Nmxs0MlCYsWhXVVpdmq4rLLbaXbdwe4b1vQ1dYOqrSGLL1oi2n3ZGQlmJ9yN5hkd98d5Zna3HSsSbLyyGUug7VckNGwrc200xOBBjSZqjUSE1q/KRKNtMiGjLzcq/AtcteImEr6UyL06MU8wtRTuNF9naK6I1qtEMDdq+CV6+Ny8Fd/DjJ7IyftaMKlZzwrCsI2K2cZhpcmTfwv31c4i+2lPzhDRv9qpL7BynsZiNGjYHTTBKnX4AAR8jEk3T7Q6lM63fFTUolb1JKtbhJ6cjmM0yOT+Ly+Hj5YkMStsWhJSWi0nqjkMlIXZ1IQYg/73TZsFkFrE4c6jq4PS55YNeKganQPQ2RvACx2c7mUhIsp9WKwYTQyiU4PEzw9luvozOo2ds7oFIp47C55QFYq1biDYVYWxWaMr2k7AtYoV7/JaXdYBYPOQXKVfFnBJ05KR/qPU4XNz+9wze/+g4bOwdCRid/NxFlD49FUA2GbO1sSlc4CtWX1gMxqFBDNBrh4w8/kVFwnUUcsgd02n1CAT+VZoNSrsRwKCwdKknzFxFmrUZNwO8lWyjI30vo5sSQ/OL5S9TbDdl339jcYSQcolkXKkdBwuizvrHNpcvn5Gvzq1/f4fKFC2QLaXnfGyq1WAwaSRbuCp3Q8QmRoE/27cUmVERxT2NxbAJapFVRLlV4881XeP58g5NEnPPnzpKIp2m2GpKFIHzwIrZutdqpN6sYdAI2u004Gpad+fnZWbZ2DyWFXrjWlQox6NJwehpjZmpK0t+3t3cxGk3Mzk7LLYfg6Ij3XEBTRZxc0NtHo0Gy+byszXSbTRaXFoinUhIEOTE2Kl/fldU1OdgYGx2Rw6B2ry9p/eeXF2gPOqSSRRLxJO+99xYnpzGOjmNMjY1JM8PezoF00ovXeGp6mlK+KOPEQgk5UKhwWKwyHeLyOjkRJgqlWirils7OM+grKddKNBstLl9a5sV/Hnbs72yjUmmYmphg5cU6b7x5g1qtSjqRxOn2fGlAKOXJpUq8XF9DbzAQCHhpN9tcfeUKz54+k7361UfP5HZX/Lxf/eA9ioUsrW5f9vLfeO01CS8sVnIy4i/6t0IDur1zIKsNiwuTVBttGZUv5IoSwulye6Xp4JVrVwhHwlRKRe5/8Ugq8MTrI7zqqVSco8MEZ86cIZ2KsXzuHM/X12nVOjhcVrlVz+fT+EJeufUMeH1kc2lMZlFD7PBifZuxaFiyDnK5jOzu/6cffUQ4EiQYirD67ImsmwQnwvRqLY5PTrHaha+9jcVs5Th2xKXlyxyeHnDl4kWerLyQNo5quUYqkyYc9KPWqKSC0OlwotMZWN/ckNvZyEgYi0FQzlt0uqKCIgCVXvoimVSvsnd4zDd/42usvVhnd3ePM2eWqFaqqDRKWfdRapTcvn2br3/9NygXs3z6y1/L5zrxe6uGKroKpfy8lUoNGrU6RqsOjcbAQPBJzGbOLJ/j3//Zv0PZHxL0e+UgSasWarUAP7q/Tekv3qNZ6GD0+shsP8E3d4FBYIrsj/8U59w82PzoDFaKW08x2W30uwoG9SIKi4t+KYlu+Qao1DR++R/QTM0z9M2iq+ZQ9JX08zE6Yrs5d576znP6tTR69ygDjZ6+Vo0mm0E/vihtKCS30AanUfs8cvA8zKUpP3yE92vfZ5DbopOOYRhbZij698fPaffNqB06Ok/vMpiclp5xp9dGvlRDK+LrZh+mzh4usxvOX6b4yUf8T3+1x79/XpBg65mQ4A71JNtEqTawv59mYFDg93rZWTti+eIEbZ+b5w9XOL+8SHB6ggef3mVsaoRWpy31bVa7DZPNyNNHj5iYnZeQVd9UiOTBCflcSSZ2xKBzZ2uDkckxttf2pCI2dZKh1azJSldye59WrY3JqEHdG8pr4vbzHXRKJW+9eYXHtx/hsQm1X1cOOjPNDvVunYjLSTor0n5KDCqVHMKJOoF/xEGjUqdbV2Cxg7bbpdzXytp0sTag0OmSKrQptrR4zUNe89c57/cw6W3hMg/wmF1sFouMeA1sbnd5flRkbMZDxKai3+ySb7fYO2rwzlkPW5kGZ6aslPIdXu7XsZnV2E0DKgoTey/zXDrvYv+4Qo82CoXQPncxO5VcvRhmZz3GpWvjkos2Mupg9Wkcq1VNaNLC85UCVy+PEUulef6szPf+zjLtcpm19ZJklkyM22lKy8mAVr3P8WGLi5dE1SIpk+V9ZVtaZYymHoVcjfX1koSEG/V6nG4zj57sEgkLMn0PrUohl5y9dkeq42eXPNIOJ/7OSMCAxWWg1W9L9tH2eorFs0GOT2qYTQo2toq8uuyjVO/iC33JMnA6NGQzA6YX7CjpkjrtkcrWpG5QMChmlxwc7rdp93sMukqMwm4zZ+Kjj7L83d+Z4+QwxWc3k8yfsXOw3eTKqwFa1bZcoIoFdDhsp1xpyFj+8qUwmWSJ2cVJCtlTtrZajI5r5fLk/FkLUxNeXqynxcydiQk7L58VWFg2YzYIqO0WcwtOdvYK3Lg+R7mW4Wirgt1motvvER03kcs1ZZI9nayys1mSZ3KvxyrToEarBr1OL599Br0B9UZZsuDEe3goUgAqJa+9EuLBg4RMeZ05a5OARMWP/oFvqFC3CIcdnO7VKRTr+EZ08hfq9gdYjFbKolel0eOzGxCJ+YlpiwRupE/bOP067t9O8ur1oJyUpIodOX3QDBu88voi6y9T8sNksuklyMHjNckNu1Gj5tmzlNRXTS26uPmTPRptFW+/G5IX1G6nzuqLHPOLozy4c4zJpkLZNeD0CZJvl0KqwdJFJ9XSl51IcWhXKZXyAmwxfKnlqhfgi0fHTIwa8Ye9fPHJEV/9rckvoVnxNmNRA62OWR5C2gPhlBfxaKiXGzgjBs4vRvnk5i4WoxaNsofZagS1in5/yMyMh6OXZRqIh6s+g1YbjcaOL6zlcLtIMKqj2zWxs53B4Rowtxggflrmyf0qkagVt6eNXwBJjrOYzOLDWmRsyo1C2aMhIu7dPiMTAUq5nExZCDjG2KiNQEB0VV384K93uH7Dj9lp5OZHJ7zxlhdnwMDa05KMfPcYEnR7aNbLlCtK1Lo2GqWVnrIpYRfFcgWHVY0/7GRrLUet2WfpTIhf/XJTqoyWzlskUGrQ6uPym3nyMM1Y1E822aTRLfO13xzjP/3VEaNTRnKpGhNRN2JRJ8jb6XyHSrNCyKbnjfdG+OLTXUq5NvMXRvnXHxX5eK3Je4tK3jxnZe3QRNBSZT+Xo96x0BTKLZNWklftejNDrTjcFNg+FjHvId/6yij/9B//JkvnRhl4l2gep+kcPiBXPMI3e4FOqotOW5aADLPHxUBnYlAu0afDQKdAP+hTz57imbxIBUHjdtPNP6OWOETjPAP5ZwzMdsz+d+iqu6g7DbqVDTCMMKjn6bYzWO0R6qUWGquWUibP08/ukigXMDtdpBMH2DwexiKjREenqBSztNptNldWuXz1OrlSTn5PxMEjU6zJByERHxUqj2ZLg06hQm01UkoeEx2bZGR+juMn92jUFYycWeBoc52Ookd0bEYYVXhw53M6mSLWUBC30cbMtYsU60pGbR3sYR/VoYVabAW9Piz7raXSttyY64dQL55iGn1VwvWqm7ewjJ6jXa+iUZYY9I2gcqK1uahVN1DXMujdZ2XcuFuPSa1htbAO5QoqowmDfYqh2UkjuY/RqKFcSaCzBDH0oa+qYfDNcbJzQO5kl8DYFJ/c/BleexhvMMRx7ISFhWmO95MUUinOXD3P/Vu/AJWGxeWrLJ5foFc8wRNeYDC0kNp6zECRR9ER5FY9pukb9AqbdDIZFJ4oWoOAMtpRlA7o1o8xTH+TTmKDQXEfhecs6t6hyAsxtJ1DV1iXXI2GchZlK4bSYaH6cgWzbx7jORe1RIM/+kf/Ow8fJplZcmKx6iSZO5OpM+l3sJMq0RhoOUr2+N1zHf7F9xf46e0kuXiV2XEnQ0OP9e0SZ5c8JGU0zSYj//F0kYjbSzKXw2g14vGbKRQaZE763HjdRjLTZzhs4fHa5GH5px+e4PGIGpCBRr2F3dqm0lDjc9nYWkuL2S+RkInBUPTGc3ztG8v84uNdmSJauuDhyZMUrXKf0TGd7NaVqyqCUTWjo24a3Q7bL5L4gzY0Ci2ZfAGbW0QH6wyHcOGyD5PRwV//YJXL16LyoVmdT7LZUPO/fN7gTNiMut5hYBDwywEWnYFMMYcrOMH1V6+z+uw5rXYLl8MhNzNHwnM/NkksFUcxhJmpCUlBPzw6wGJzyehmu9HGIiLm25uMT07Q63TY2znB6bYi/pAA+elNIsVVl7Cuw/1DuUEVFHURXxTxSJEY8HoD/OqXN7l24xXS8QRKtUamEESvV+joTGa9jE2nEiJuHJRKKK1OIw9ygvI+NTPDyrNnxBNxFhcXMOrUlKp11FotzUqZkfExqUm8/2CF6elxmX4Q99DNnXWCvoAEtImqzNhkVEbHha1AdP773R65dE72hoPRAPPTM9Lf/ujxM0k87zTF9N9FMpZFK9IvqiF9hfgkIKPmIjkxMhbGZfPy4vkaJquJdqspNXAep5tKNY9Wa6TTbciDk4DDLS0u8unntwiFoiTiJ7IfKw6apwnB1TCztr7J7PSk1NWVK03GRyOSsr268pTTWFLaBt566022d/ekFk+oPYXn2GwySQq7+P32Dw6l83p2agaH00q51iCbTlIuVuVDs6DrKxVq0rkMLo+bo/1Dzi4vSRaCMEOMj41Ra1YpF0pS66XRaiRA0WC20KlXmZydlq+d+A6IIUSvP8BoMEpH/MHeIVqTnqAYJG1tYTaZpUZOKObEIODBo6fyZ5yZmZCpmXwpJ59vBAvi+PBEbo7FdiqfyRCMjFEuV/C6nHR6PfRGDbs7u5iMFgw6LTNz0yQSadbW15mcmqKYq5ItJIkEghiNZjwBL0eChN9tEQoHQVCbq3Wa7YasQyzOTbG6usnEhIiJC3tOXUbGhQFArTNgF/eASlUmAsQhSAylBIP24YMviIbF4C6Nw+OkWi0TCYttWVNykQKhgHx9VlfXGZ+IUiiUmJ+Zkd85sRE6jZ1y9uw5mZjxe9yEw2GePXnI/NKXVgix5X//gw+kXUEhvvx9KIkDyMSITLxUqw3594pajABcnh4l6A1avHLtGjs7B/L3FrFqQeK/e+cRNoeDuZlJ2Z8XkOkXzzdktHd0NCJZEZvb25xbmOf+kxfMTkdZWVnlm1/7Bjt7exQLZVxuB16fj+3dXWlMurh8gaePV6iKOoXFIIFsAvh3cpKQhgOX8LV7vDy8fx+tTovfH5R2CK1Bi0kvmAt6Yok4XqcTjU7N48erBMPi36lw7uwSiUSCcHSE56srslI0MzOLStlne/dA1l8mpmfY2tyQSrjXX3+NO5/dIl/KMDU1RblYod5ssnzpvLT+3Lr1OXNz0+QyWd586zXu33/I8rkL3PviHq1STfraS/UhkyEzjR78ciVN9c++jlbTJnPcxb9whlq3S6eWQdlt0qk1aW48xfvtv8/A7KJw54e4xucpbK2hd3hRqNQoe21qJgcej2B6NOnXC3ROd1CfOYuuXKXT06AVibZsBqXZjaJep99qSetRt9OgV82gj4zT2tqlb1NAWYBXlTivv0br3k+pWzwMKh1ss1EZSW6n4mjDAbIr67gXz1E5eIiyBO7X3qZ9uktX2DWmxtCKa3YqRa6j5P/404f88tE+xwWYcVi5dt7F+lGTZCklO9ziM6RXd4idVnA6TfhHR3nw7BFnv3JDpoFOD+Py8NuqV/nG7/wWDz67I+FqkYlx9rZ35Gcum0wwvTAnP9Ppkzg+j5dqviT1jkvnl+R7m88UUXd6OK02KqdpqZ09Pi7hs+okRHQs5KGnUMhqjs6oJFcW1YsBvb6wDNSIBDwS6q3qiYGkjpN4EZVgV5lVOI06NHo97UwBs1FNptGhq4Q2Vp7FheWkxoxNdO37LAYVXPFoBcqK1xZsPNwvU6xBoS3InUo2jivMTgVQD3OYLGaq5TZ2q1WqAxPFKq0WstOfyA0JWIbQVVFVdvHoNRykaxJsuTCuIZ2G04RY1qo4My9gdyLBXSYaUaOXi6keFruoLrcwaWyUSnUe3ivw2ut+3G4bd+6cojX3cVlMKAWt36Bi2FajM/XJZ3u0m01GJi28XK1j0PTkIbxRGWCy6aR1bfV5ntlZr6yRP3l6IA/bYijn9VnkMH6gVPKrj454520/NQFff5RjYt5MwKeTVc3RET0r9zr01SXMVi3Z9JDJWSP3byV596uTPL4fk2BWcf6r9ps4bXraNTXekInbt45YXHJKZXO+UmFx3seDL0557c1p7t8/olJqc+3aCC+3Tpmd87HzQqjRjaj0gtlgQTUos7VZxe034nJb5FC9WqzQ6urxBJQ8ul9Cp1fxlbdHWV2J4bLrRDhVRve/9u0QpUKT460G/qhJpua6HQWNWovAiJlWWS0ZO6ERF0d7SRxOF8N+GyVa0tmi1Kzn801ymT6ZRBlP1MDkhJNOa8jGyyTzi15Zh1BoBT8IXE4Dt+5mUdDltddFYj1PKtcl4NPg83o4OkozPeei2eyj+Ovvu4b5VA+HS0kwbKRe69HpCnGMgnavhXLQx+0TW5W+fBME4KSQK0kwoMtlpFJrolH0GZ3x0Sg1SBb6HG5nePftGXKVltQmmMw97nyR5b/+x5d4fCfO3kmWhVkHOq2Ohw9jBCN6ziyPkjlssXucpN7o4xadqu6A2Ukjx/E2Wo1CxjAFWPDGa1Hix3VWnqbkm6pSQy7TJhSxkIrVqbXr3HjjDE+e7FPMNTDpzMQSWUZHnbgCRn7xYZLvfjdCIl2R3e9gSBw47WysHbN4RkRfmuQLTYJ+o6xFBAJWGUHffVmRnbOxaR9mk45srirhRApabG5XhAWV8Xkd+exQbt1np/X4Q0H5sCoMB7lCk0arQzioI5ZpYNOZufc0xxtvRHj37Un+1b/8jDOXgzQrTdQCFNLqUyz1cPnVzMzaOd3vSNqx328hnihy/nxIEmyFOztfqtPripj3QKooTA6j7AK2GhrJElBrupjNYhJepJITWxIf+XKNfKIrhzZ224ArF0bYOSigVPWwGL+seIgLpUKrYu1xhgtXTfg9Vm5+nGP5ql3G9TKFAZGgVXY3U4WhnIC9fsnDaazJN35znP2TPH9+u4YSGz/bz9Ortvgv33FDU8dmqkKDGgaFBbNByeKIjbXDDOXCkHpXSbLSIJ/tY1DC33rfyz/757+D/eIb9ONrdHbXUDpmaWWe09CG6GZihM+8JqnrncP7tPVZtAMPCrsDo8lPq1JnaLJCrYBCY5QGgGa2wHDQweD0SM3doJNErQqgNGhlMiW99nMCZz9A2ehR7VewG0y0FBr0Rjt9hmi6ZbroSR9uoNLbSGXy0G5gcYf48Q9/zNtf/6qkSF88e5Geqs3ayxd89zvfY2t7n7GJsIRqfvaLT5ibmyLgGePByh1y8TS//f2/R+r0iBdr23jDIxwf7NDoDZidnaGYPWHp7DX+4w9+QshvZW7+PE++uMVr771OtdXhyd2HTI6No9F1sbsnuTDnx2gN0xz2yK39GL17HtvEq1RTqxhUJnpmL6pmnmYphmXkErQ7lJMiIi+ioCoG7SbCB6jSu+h2s3QKOYZ6t4z9qVotumoryuoe1ewBRvu0JE8Pmi3Uwl/svY62mSJVy2AzO7Haw2w+/zVqjLzc2MasGlLuqmm0S3i9QcTtMXZ6iNkkNoxm+dqensQZ8RjRqTREZqcIBtx4x8apHr2k02hCv4DG/Spql4t27hhlJ4nKNUe7HJf6R/RhVPEntI19hpooRtc4tZ0H6L0heioHA42O+ulDLOoWPU0AhTqEOaSgEM+h7puwv3GZQWKfK+f/kBszapReNyfbWVx+EwaVhrV4nQnngLbJyMd3q/zf3w/x1QtO7j8+pdL+EpzWajZwejW8XG+RTxZ55aKDfFOFxajh5Fh0eltEx81yW+b16TjYKOKLKDmJD1ldLXD9FRvjEw7u3Yvhc1mxmw2kKw1aNT0zsxpcDhMHR2mKhTYuvwGb2Sg7eKLTOj5joZQeMD5jpVrt8ORJQlaoFmf8bB0UMam1jE2auHMnyfJFP/trWYYoUOnUjM+b+fzXWUJjerwmHTuxCjPjglCe5u2rfkYWQkz9w2fYbUaWQwp20kMJkez2u4TsbgqtFmOzc+g0ermNMxr11OsN2dUWQDrRSV6YnpUxcXHwKVeqUhMlNt+iM7+xuSkYYoyMjdIR/ubBAJ1SJw9d4yMRLA4nsdgpVpNJxjnVajER97Oxsc783Jx8cOt0hG2mzOnxKWcWF4ilTmXsvd3uMDk6JlMDlXqTRqPN2osXXL1ymXDAz89vio38OLlsRnJkXnvtVRKxGNlClpDUnaVYXjzD87V1SZ/X6HXE43FKhaKkOgv6vojMe4Netl7uSU1lOOSRhyatTs29Ow+4sHyW41gClVJNOByUce1g2IfD5iCVSTI9PcvB3g4Ol0setAW1WRzuxUYgl8vKaoGgrO/vHjA2NSkPIKIOoVR9yZERPXjR7e53kR1oaVzweQkGAkQiER7cvy9aqrJu9pW33+L2Z7cZnRyhWC7y/MkmkVG/3IzazMK6IaKPbalGdFqFnk3014X+aCgj/OLnHvbFVVElI7SCgZBJp/jt735HkuJF8ioSjtKuC84IVOolCV4UBPVmS1TfwjRKZRK5NIGAn+j4BF0BAqwJiGECnVGPUa+jVClzcnwqyd9L587w8MEDufEMBf20ag1cHoesKorqxte+/j5rL7dIpzL0ui0Z9xY6u6ePHxIIhbFaLFLfKb5/ohaiVWskj8Fo0vLLTz4jGA3x+vVr3Lz5qeREFPJFWUtQ9HsMVUpcLiepVEYmutxuC2tr63zjq1/l+dpLwiE/9Wodp9chYYdPHz9Ho9fyza+/z8rqcxm/97sFR8BMIpbh/KULfP75LSwWC8sXLvLRj38s0xML8zNyq9NuNyiVylL36HH7ZGfd6rAQCYZZfbHB5PQ0x9JBnuCb3/y6pPbfe/QQp92FVq2jUReLATXNbovZ6Wmy2Sw7e/uyfiMAWQJmLN5P0V2PRCNsbm4RCgWlfeLs4iLbu1t4PAEymYy0ROlNRpqVElqdkUg0LCnqRpOZH/zgJ9y48Qo6nY6XL9elc7tcbjI2PiptD2LDKwY/4r8jaPtzi2dkHeXBo4dcf+VVKuU8laLQaQlulI5mW9DZLTTadYI+v+ziCyaE8IcLwKLYoBcK4pBlZNDvy4qDeEb7yhvCSlCTaYczS2c4PDmWr494v4UXXgwYRKLCHwxKjoVIm4hUjqioiUOj1WaW37eBosPSmSUSp0mScaEWFGBTJZu7B7zx6jU+/fTXOKyintWWKSXBj/CHg1htwryilxWoQlYcHLscHp3KLnmhWGHj+RbzE04G2iE2k5bjRIk7L2t8+s+u8+o/+R1qP/slTUOPfj6H4s7asAAAIABJREFUTgxPxObebKGfrtCig9nlhVYR5fg5BiIFJHSZ+TQm4a3p9DCPz9JM59FbXHRaCXrFEgaLqPe2GZjcEk5bU6jRrD2kEQyhF6lHf4Bm6oT87cdEv/lt6p0OvaeP0I6HUE+fo320T+dgFfP0Ao10UiZyGvE97EvXcV18hfovfkDbM47ZZ8To8JJJnBAMTlHQ6vn1n/w5f36/zK3TDrX2kKWIgQmflt10g3PTYZKHeYYaE3rLgOxJC9FWKBRbdLVKXv/uV+SGWQxh6Cm4duOKdJvf/uVNgvNz9GpV8uk8anHh6ffksKeSKTA1Nc3aw2eSCyGhqgYD8dNTyUI6Pa2wMOGh22/TGwjTQJnLryww6PbktVp8V8XA5fjoFI1Rh0KlpZivoTVqiASdFLNF3D438dMkbQE9dFqIeIwoFXCS75DMFfBZzWRqgnujkHyjjVSTqKXNBwsq3pjwoOlkCQRcDCt1ZketfHqc59GuCpOuw5TfTirXljwakd4UZqBaqcXcaJB4oUQ8LuqcBoJBnbx/rr0oMDJiR6sZYFIqyFZ6+MTBWrDXWi0mJz3sbpc4TpaYm3PjcmgYtFUMlV1u38vw6pUg6VxF2q7yyTL9gRKbW02tNWAsasZuUtEZqNnfipHNC31xgIePi+TKTWkz0+qE80eDw2UmGS/QQ8HcvODFVdjbr7Ow4JO17ivXIqBsko4pGSjEZhoJRBUJJbNZwe5mBW9QS70pqnNmnt7LMTtnFpxgGq0hoaiKkNvLykoKnanH1KSHnc08F6/4GXQHPH2RQa0cMDnnw2kxsvE8xdSiXare9/aLXH89wrOHMVkjc5qUFMpt3EJz3BUbdAUK7ZBPf55kbN7KqM/A9k5ThG5oVTo4rW7QtFhZzeB32bhwLcDWywyRsI3IhIXUcVlCA3/8g20m582E/VYJnLfavkzFd7pDLEIPqxySzLYJ+pSS1xA7qjE/G2b/5JR6WcnU7JfJGfE7q1UaJsYD7K2nqbY7GPVKaUvJpKpcuuakUVXKau7nvzrh6o2QrIu9eJ5kds6NXm8mkcoxPumTyYtGvcobb8xz6/NNDBoj9XYfxef/3fiw1uqQSZWx2Q2YDWZOThPyxT6zZGdjQ8T3TZgtatZetAj6O/iDfg4P0vhDZhw2E4f7eZotLQZrm1KpT6PR5503w3xxO4swmgkYleiveT0OGcs4sxRhcyvJEDUG25C1ZxXmluxkYzVGp8zU6kP2d6ucO+vAaFTz8kVOQihGR33yQK5XN2WfYWevjMWkkpHbM4sWeXP4/FZcuiFj+znm5gLYHGbu3T+kXe8ztSh0gAoOd4acveCDYZVbt3MY1CqCISOlRh+dRofZ1KFc7PFopcRX3xeeyRrNmngwgOiogdPjAQG3kicvswTdGjkRfOWNEal1eP4ihtUq/j0/hXSVoQCWpOsYjDoCATtDXYdyusbIqJt4sozJpOfouMzVC6M8fSFiNx0Wz4xy+9eH2K065uf9vNhI8fqrCxwljkjstjC7NXSbHZQqE1tbOS5ecrG7WcYTMeP1KTnaaqJR97EKa0GiQyCoweOx8vRxBo9Hi7hKiY2SUGaJbdqQgeQgGM19nDY1N2+JPmyb7313ieePjtE61Ci6CvxOM4uX/fzNx+scb9b4+9+f5eCoiDfg5aPbW7y76KHW6hNUdGgH7Xy6NuT/+vQEtdqA06ohahlKTWMx02F6QsuH91JcPx+Q09wZj5HPd4SOzspOrkw2oeDNi26W5/T883/ybcwLF2g+X0OhsdLOdck3D/GPXKaYWsVkcdMzzKBIP6PZPsDkuIAueJHcF/8rnqv/iEIqiU1dk4AorZiUd2t08zHMbi9NQZrtdLCNLsuDaTd+i0ZHgT16iX5xF4VaQ72bRON+BZXCQHfn3zE0X5Hk52YrjdW/APU03X6F7kD41Seoxp5T7wxxzdzg4OEPUandFPNxHj1fQaXykIplGBsxsnT2HC829jFanLQaLdlT1NPn/a99QK1d5dObD8kmT7l+41UyuRPmZpZYff6Mdz54n8Rpih/8x79heXGB4/gRb776HrlSTEa7l88LDVKGZ4/uYbOo+fZ3v8fI2TcovfyIvlJoxVryMKZ1TZLbuYslNIbOPsGwsivcgyjNQmmTwmIfoVFJohAdw1oSnX8JlXy6r1LJJSRMc6C3oBxAL7uC2n0GpcFC7fghKpUWrW8ZbbdAo6tEWT1E6wozVHsYtE9Rq42sP1+lUc8wHgiQaYLfHWZr9xkHB0X8kSi9SgGrP8L+9io2iweXxcCDp3eZnzvHN373D1D2VNRz+2i6bZrVIQq/F60A/g3ExkRNfaDEoBPVBz1mb4h+7oihfRR1s0qnmZTDLZVriuFQR+fkNmplA5XnAkpKaI0zlGIb9OsQePcGg26df/s//iv+zR9v8513vRjUJmLpLFG/GWu7zWqqQ7quYOO0zM1/6OPsOR93HtaIVcq8dy3MznGZJw/iOO06brwxwrP1JL2qAnEHLFdLjEyFOI0VMKrFhLrO+KgLj1OPetBn/aSCXamiI5JVvQFbB2UCQiFk1fF0V9w81Fw9e5a//ul9Am4LPYUOj7lHNtdkoBZ9awU7iRIBpZZrby3ybGUfn8NIPF8mftrgrdfClCoCVNbEZTRII8HmbplAwEC53JVJE40AyJQ7XL7oY++kjsOiYzFq4n/+SZ6f7VS54BEQPj2ojdS7LWlU6TeVzF19hZ3dY+nYFTos0cvP5vIS1ie6x9lEmnq7LrvtZ87McnISk5tw4V43GfXsHx4RcIsKmgGnXUzCi1LnJQB3c3NzEponDnnFYk2SuSOhIBs7mxzunTA2GpXR/2Q6jsPpYXIsQi5fkFH63f0DGZMX6j4lamwWK6gVeJxWmUbQaPS43B6OD/ekVk38zJVqGYPBhElnkhtUhWJIKDJKNh1jJBrCEwhx/95DXA6nZBYMlQrZg08ljgmNRgmLePPKitw+iurU0cGJPCjuHx1itVgxWqx06g2pihNsgaA/SKvXksOJfrvNhYvLfPThz5iYmqbf75PJprh04Ty7Bwe0Oh10ChGfdEh1nrjfdNodOQQSsDuxla4UK2i0apmAECR7MVCfmx1j/yBGqZjnwrlznCZikpI/Kzar8QR37z7i6199W25Ob92+LeFygjyvN+oYKpUyFr6wMCdfU7FBi8fEZ9xOKBqWxGzRwczmszgdwpMuFgpKyfERakZxWBcDhsP9E7m9mIhGJEh3aXGJn/7sYxLJDFeuXOb49IQbr1wnnkzJe5WyNySZTjI2OUYuncXp9DIY9qSyTVyehK/+zOIsp7GUVFfZxQBFxHBF8X8w5NqVy1LB2Ov38Ll8lGoVisW81GvqDFrGxie4+clnTM+Oo1Gq2Ds45tKFsxwdHbKze8Llq8scn8SIhoKSdaDSatjb3+PaxWt8fucOI6MRRkcDFAs1avWqhDCKLXC2mOHq1SvcvftQkvK/+51vyfRGsVCSUGCnwyOTAHaLDaVWRSoWZ25hUW6lJyfGpJ5RHGCEs1pUOKLjEUJhH5sbBzL9ce3aJTKZAi9fruDxBGX03Ww3kk9nOLe8TKlclnF+UZnxej1ym69RqqU2caAYcu7cGVq1uvzOCTVkrVoSY24JAxSuc7PByBd3H+INeCQ1XUA8RXpDELLv33/A9MSMBKSKmMrB3gFenx+z2Uwuk6Hd7eDz++m2u/L3ETo2Qb8WG1Qx2BgOetISIYYeYhCo1+sZF9/XbIGt/SM0GrWs5k2OR6k06lRKJfn9HHYHss4wtzhDtpDj4f0VCQCdnJjk7v07eNwefF6vZIdER6MyHSWqKb5AUF5fxsZGpeUglogxPjrG/vEhQV9QetjFLyI4Ru1uF4vJTG/Qx2V3yMqEqG3t7B7IqqTerCefScJAI/k3Z5bOyrpQvSkY9mKVpqJULTI6OkosniEa9nD/i4e4xIB9aMVsadFv9vn1ZoH/4StW/ujf/B6NuyuU1eKZ00q7nGXoFomJAcPUKcPuEKUryECN3ODrfEEa2QTqrppW65BeqYHtzFu0lB3skyNUPvs5pWSB0Pu/T3H/FoNckaHJib5VRqNV0lCBwxkhtR/DeWaezsoXdLt19G9+k/7tn6FbfEXCx2oPbhFYeoVh1ENp/RE2hQpz1EGv9SVTS2FtwvgIJJS08mX+7NPnPN3o86PHp6g1aiZC4sAq7ik9ssc5vv32Equnde4/2WV80i2rszazTnJTMqk8TrdLVlAcQY9UA4uBk9tul9fh9HEC/3iAYbVHJl4gX+7gsqqZXphkb28X9UCDWquSNgxfyP7lEs5opFIuS7p/Kl0g6HOTrZTl9UhwNMT1Nx7PEgyK2oiWXqeJQaunXm3KeqJRr8HpMqBVGzlNpKXiVNFX0Oz3GQ+Ka76OvdMsRs2QoU5LQCue0dsc9KxQ7fLfv2ZgxKWQS7nFaS1//klSsgJs2gE6tQm1GRp5BVOzao5zLXR9NaGIsIfV8PmMrK5XqBYGnLso6lJ6dvaEVliJz/klr2tiREcq28Sot7G6ccrSrAPlUM3jF3m+8kaI44MKGtNA1hE06g6tvpLxoImf3czI/z86ouPe3TgTo26qrTaVfJ/5JQedoY6NzVM8BlH/tVMTXBTHkK31IpcuROT70W3pQDugXK5RKQqFZoBcpkoy2abbrzM7HsD8/7P0nlGSnueZ3vVVzjlXd1XnOD3T05MHRMYAIEGJorTKa2sla62jlTfYu8c+3j177HP8x+F45axjHUtaK1CiRJEURYAckAABIs1gcvf0dM6Vc85Vn/d9YfzBH2BCdVV97/s8931dHjPJo6JUvAsgbrnQo9XpsLAc5vigzPZehWuXIyhakbgp88rzESq1EcGQgbt3z9BpLHjHjLRKKkurTjaflMlkGkzFrRJ4Wi0oXLsZlkPAnYMSLruGZLJHo9Xn1ZdnWX+YJBQRRiSdHOaIvr3DZ2Bvo8O5q27qhQ4apU+lBONzTrr1Ae12WwIo56ftMlHYbA4xWRR2N+ucuxCiUqjKgXGn1ySTH/DzX1vio08PKOf7/MovL7K7m+HJepbQuJv5hTB/8ofPOHfOxsy8h1yqxGmyLYe+ZhM47QpWh5NMqiwNdWKwPD7lZv1+gkDYwKirZ2zWweFOkWq+w/JFoW0VkEIL25s1xmb06FTxnjfQbpSptfqSeye+5+fnvJTrPXa3soR8XiJxM49F/eZH/zKuPntcIBozEIm6adY72Nwazo77nF/28GQ7yfZ6X15MX7gaJVUbcLpdYnzOg8mK9AKLy7JwPQqvYn9g4cmDvNxY+/1akrma7Pf5/DYyyRpWkxbVrLD1rM7F8z6ajTaJszo6xSR1CapiwqgbSm/jWa7GzIyTB3dKjE3p8Lt80s+aSFexG00S4uVy6kkcFmWv0uHWySm0eIh/+tMTomMmotEw7XZe0nmrFT2pXIHnv+Rja7tKr6Pnyo0ApVqLSlZQettSa7i87GHxXECmCh5+nqHTazAx4SYac1GrtumIvoui5zhRwWbS0O1rcdlM9Idt3G4HqdMqY5NOPG4t/ZGWg90iBi1MzFr58Y8qPHfNT73fZ/+ZcBfbmZpzyUrDaaKO0u/x6pfX+Ku/uCu1XgGfgZOjJv6QSR5K1x+nWb0apt/qYbXpyKY6DNQ+5YIqVRSCH/DpnVMurkbw+vTc+Sgpu5EX1vx88tkJEb9b/n7ZZIWB2mP9aZd/+nsX5SDh4DBLMOBGq1clK2Fhzs+Pf3DGS28Gqec7PNqs4rIYJUBCOLvFBfDDBxleuBjAY+1L60JxpOX9h1W+udGRsK/r824C9i5Pz+qSAN/t6rDZDUyGnWzsJKi1jLQUWItZ+NZHKXp9Lf9w1c4v/EcLXH/jTfTB8wx2jshnNjA7IjIWatZqUDRaNEYzvQZoAiG6x++gMUUx+q7Qzv0Uq3UMNFaqzS5U76B3z2Fy+zGjp2cQzuEuSl8cQBTqhQKGjqhBtDE6/eCeZNQ4pN8VBOUl+Xv0h2m0MpUhJpcqejXDwBBBZ/WhVBMCJMBoqKA3ie1mAYuqB7sWvX0SbeMpKA70xghP73yX7mCARjVzcHTI4/vPaPT6rF2/LkFYOztHnBwnuLA0jdU8ot0bEg5OojGbUHtdtnc3GRuLc3FthY/f/wCbzys3mQ8f38VrG2NxaZwPP/0MmyvM6dE2DqufSvWE3/6d38MaidCuVFHqGaq5I7QaI/b4KsOKaI6nxDGFgTKOJTRF6+xHkiTa046hHyZAF0ITeQ419UN0WqOsmDRLeVyRJYYibNQtM2y1sDqm6XZzmKxWhvUkQ8d5ho1nGLUOGZ9rtfM4HX4Z1RUDl3ajiNbpxGzzSdqv3uGkVxnwyU/fES+6tD14nBq6zR57mzuE52PUKy3mojGWn1ullk5icVmoJNcZ6kOEQhPkDh+gd4QxOV2MyqeoRjcDs4jQCmZJBocjyEA1wqCNagygG1UYdfKotgWUWpFG9gMcc6+jdCvSBW/QxtDbh+iXXuC//PpL/Nl367z1VoB+rcBeQcO1+QA/ulvh0oyN1n/Q7ry92eCz3wlg1Y34xu0koYBBKkVnY14anT7vPSoTtekwacEX1WAc6SQpWBxgmpU+LrdTupstHgulTIXZCTcnyRpanQurqcO9zZSMUq+tiB58h+1Mma8+N8f+4TF91cBp9gs4Ua2t4LIP8fh8bG9WqXfLONwS10gmL6LRbpwGLSeFChqrjsUxJ7uHORRFg0VnZyAipIpW9twMSo+w381JsUQhMcBm7RMJWNjNavhH38jx/JwRt9eFw+hhe2cPvUlLszngN/7J7/Ls2RZbz55Jhdjs3JS8HGgUPTeeu8rW5i7NVpPFuUX297YoNRrcuHJFEvQNJgObm0+ZiMflxV9QmoXKzGy1yviuMoRUJsmF1VXWHz+TffxXXn6BTz/9jGAogt1ilsR6sREWG6BMMoPL7+by2hrPNjYoVBq43XY2njzhS89/iVpNgMJyaBQNE1Nxdnd3ee2V59l6titBhmMTMXlxtuj1clBcbYvvONHLm+Tw8Ege+K9cvsL+gfhsKfT7XTrtHgvzs6xvPiUSHpcbF6GtDAbG5eUvl81x6fIFrGYzG1s7aHQ6ubEStTsRlbYaRe0jTOLsRG7GtRqVo9Ok/PuITvWzzadcvnqJaqkqXxsRZ97c2ifkDUiAkEgLiBh5LpuX6QPRQy6WSvLy6/UICwwy5v/o0SNeeeUFcukidz+/x7mVJVKpNGazTcY/xT+FQlkS0wVxvVypEp8Ykwm0YrEka3FCeWg2afFJx3xB8jxOT5Oyt314fMzK0jJ7O/sEoh4urlzkD//4T3jzjVcoZMtkcikZUT+3siL1bwLSJqj7gnovhhsnhyeoiip74ka9jn7/C3VkLpkikysxPh5l8+kWobFxzi3Pkkul0JtNdAT/wKBhZ2OHV269SDKZkZ7mcCTIvXv3ZbzeYDQjUeE6DdlUhumZaQnVy2fzzExPc3hwKKFwwgX+ztu35XslmTiVNH4B7BQJAq14JTWqTK4IirqwXYikg+A8BIJONKpJbg+Neo2sG0zEYlhcLtKJpFTHZVIJXMLc0m+zt7vL4sKyrFKJ168uLplGoZBRJKvB4w9IBV25XGZsPEYul8Jp93B8diQrHCNVkX57YbTo9obExqKS6SDghBazMGHoqZSrlGp1UPusnFvm0cMNHA4bDo+LxPEZ/lBIglfLtRYGI7isTllVOjw8I5POcvPmFTY31llYPM+Dx/cZCwZZXj4nEzEC3Ci88uLvJNIL59fOc7B9xJOnG7z84kuEgj4+uXtHxpjdTqdkLnzpS8/xox/8SOoXF8+t0Ou2JNSxVqvL94L4hQRYU3Ab2oM29XIdg9VCvVKRF2yDQSPf0zduvMAnn3xCJpvhlVdekTaRSqkiz6erq0vyMyZI9xMTMZqtFg1RYdOLg32b6cmY1GOKio2iavjsk49lCqjV7Uk2iPj8FEtlLDYTmUyaK5eukE4lJKOiXa3I96kYdATCY7JzK0CUFqtRKjPFxUh8N4jhiGAKHO1sEXBaGGiGVBs9Fqci/PufnPI/vWHkX/2v/4zTv34XtTvAaOyCaxyLQUctXUVXO0W/PI/WGmGQPEQRyZtcH307yWj2IvpBi2GhQt/nQdl+wMgxzyh9jCFsxvHV30T78BNqx09wvPyLqPtbKLNBqDbB5KXz2bu05tZgapnBX/8+No8dzr2GIfH0PxCXHOjGwgyUpgRIGkYCE/CImupBYzGwv1Mm13Pyl+/cpT/U8tP9MjNRC/nekLhbIWI30GsqMnHV0utk8nZAH4NilLUlkfASzxqhwNSqPfkMSufqqN0+ykiLKs76djODfhejwJaOVDqdAQanTTJETIoOm9chq13NVgVFEf9tXaYeRPJFvKcX5qYlV8Zo1JEtNTCZjThMBvnZ0Ix0aA0aCoUKWt0XWmwBbRUbfaFaLZZr9Lp9fF6PCETSKlZwuWxoTCbJDCjW+9jNUC1XCUbH0PXLLAfNvDoplOBtXpjz8PFWHkvAxOZBh1hEWChGxCKiutXB44ThUCtZWk8+r9Aa6ojHdTSrKgaHihErbhfce1qQ22u1B5dXrDx+Wmd20kax2OPotMrEtBmr3kqtXsfmdMhL8ptvhBnSZ9TV4HDrOdxvyYWquDyKSlyz1yEcMEp9r9flolLJs3BuXPJDDo5EcsRKuVxnPBrAadNSLYrl6iSVepfNJ2f44w7yyToXLoZl1P3xgxpfejnCoNPiJNOSd7/sWZHZ+RhHJyV0Bj3ZVI5gyCvTDRZ9n4DPjcY0olIUCmAt2QI8uZfhxVcjnCTLjJoa4rMenm0k6DRNvPlWnNvvruMNeknut4lP6iSwLxRyUWn35JDJbzPQ1fTQa01sP0vw2qtz8u+YTFTwBAyEgsJyoOe991LY9QoWn5Fo0Cr1gYV0k2e7TV5+MUA20+bS5Qj7ByW2tsrMzpnot4aMdEaebRQ5d06c1wzozFo++HGaWNzGK2+ESG53wNxla6vKbNxPcEzD1qOaZFaY7UbJAWi0GxjNJhKJsgTri3Pivc+TNFttVs/5SKdbGG0mqQXN5EaY9LB0wcaTh0UuX43x/ntJPH6Vq9fCHD4r0RaJPh143UaKuQ52n0gLjKShSyTd737a5vyyhbGYlYPDDspf/MOoajJ0ZIRtR/hHRyo9Rc/pcZNf+bUI/b6Nv/qbHX77N+ekd/D+o5zsoVtNGk4TQxlbVZUWuzstbt2KoWq67GxWmJ5zywfe6V4Dn89AIlmVbwS7zcLBUVFYd6QXM3da5uVbcXkIPDxo0egOmIpaCQa8fOtvNhmL2aR7vttXGagqydMCLqdD9uhzhRaVWpelJR/Hhw0M+h4Bn529gxJ7e13eeMVNtdXl5KTP8nkHp4ctcqkmFqeOiN9BTZDMW0MmFv3c/tEZb7wYYHzSRTLZ5MlWjslIiEyhjGag4cI1O6Ouje98Z5dXbvnot0XXto3RrGFi0s333z7k5s0Aa6tj/M1fP2Ni2sZkzMHeXgmdRYNFY8LtN7K3U8DhsnB6JAAaCteux2U3sFUXntkR9VZbTsZuvbXE3lYCs0WD1aZnc6dAwGGiPYDlRT8ff3iG3WXA63JQFT3SqJ7jIwENdGI3GuVWwmId8tnHKRbm/WgMeva2siyueEgm6qQyTVbmx9k9EcpFAbiokCkJUFEYu9PARx8n+MprYXb2WxLgVe/A0oyd3b0sIW+Y1rBFOlPguRU7ywtR/uonJ/zxxx3yDcj0B6yM+yXp1GE1cmVKS7Gs8sOnNSY8PbQ4uLTiJFdv8Gyvw9FZg0QLnp+w8vff/bc4xx0MqwMqh/sYozNUnn6GITKNxb5Mr3xfPrBFnEWn6CQQR3xYlG4Rg9fNSAnSqxWxuRXUQZBO5wx3yIM6CqA3Dshtb+CJrUlYyyff/mMmVy4RmlimdPIQo0nPqDWipwVb+CKd/B4aZxxl2KFbXker82AKrNHJPMBgszLSjsOoKkYIUns57KbQ66fo60HTy6DTOtDbBBuh/kV0R+uVF9x2+j6KU0Tzo6Q3PqPZH0mq9p33P+Pg6Aybz0XQH+HB3Y/kQ8EXjlJt9hh0RDTRgllcpukyvXCOxP4Jt15/nv/j//4TCX77ypuv8Oj+U4IuN021i0NQ0LN5BmK767OwcPEyoeW36BQ2GdVy1Dtt7I4ptEqHfOJY6r2a9S3snvMoZj/91hGjtgaz2U6lkMDjstJXjXRHI+mb1bYq9D02HO4rcmiisXlkfE7V+mhs/Q1az3lM3hiD6g4G6wyNZhXj6BRGXgbtU4ZKH5NxCp3dxP7DDwlNXcYWCdPMJnjw6ccMVTfNfko+bNz2EPlCkvMrq9TrOeq9AdMBAwuv/BZGi5Pq8TpGjRbV4WbY7KIzaRm2erQT78lKgTX2Op1G+osNisnIoHAHxbiC1S2IwFUUZwRNZY9+ZyR1gTrbNHpngEHlGLXbRh8Yxxxz86f/45/zR392m0tLXswWJ8l8idRwyDkGDMwG/uiTBv/gio3/7qsu9GYXT56eYbcO8FtdODywtVVibipEuzNkI1mTjuXxkJ5iFXK1PnPjDvl3+95HabIDDT6Lljmfi7baw6wdMezp8Ti01DpVHH4n+VyfkTIik2nz/LxDMiUsjg6VmsrV5SjlXAmDSSMJtE+3cpgMWkw6E+PLTk4SQx4+SqPRNblxfZ5vf38fh9nEwqyB+ekIm9sZKvUWpbz4vULkToXhwMhpdsiyTxzqhvz2+wOuTujIJavYAn6mQz7OMkfkk22uvviC7Plnc2l8vrDc5AkQl4D9nZyesLp2kaePNxkfC+CLhPn803tcv3aJk1Sa1155jXfffls6nAU48PD4RLrg87mCPGyLDrqQmB4dJbh162Uera/Li9Hs4jLtmhiYqFhM4jDUkCR4u9PN1rMNGc0XmySjRWiPhrIzbXXY5PdIqViUajURF280m3RcNp3VAAAgAElEQVTbTfQ6I/6In/WH68zOzMuIvD/glyraZCZLv9Pj8PSEt958g+OjA7Z2tpmamKJUrmIUUdJuF5OwgrhcHB6cyo2hONz7RIxXp0p7QKfTpFKvEItPEh8Ly1h4Mp1mampMWjKOj44Yi8RYXJ7j4cOHsu8sLsz1Rg2fz8fG401cwiAwP8P6k6dyk6rVKijKiEgoxsHBoTw8iwGBpAN3O4wUDZV8QZoQKtUyNpuo3phkxFDoiNxuP3uiguBx0262JTfGajESDAYZDFWebmzIpMFzN27y+NEWnW6Lr/3sW/z5X3xDvj5CySWAcWPhcUqVAr6gF6fDQ6WYoz9SUYcjCYWbmp6Wl+aNzW3JDxAMIMErMVkM9NodrlxeY3NrWyYOIoGAHGCIHr1e9D1tVkoVobGy0e61CPnDbGw+lcBIsf0VRP3p2UkKuYLssotahDISVoYE0fgYkVCY3b1defEU/Ix2q8Xs9Cx3794jLF4rjUq13qZRKzM1J9JCcHZ2yszUlAQQpjJ5OSBpNFvSeS9I+8L3fu/BOtOTk2TyOVbPr3B4ckrQ65bmBPFnF/30xGkCNOIyXiYUCchliNsjoFJ1Bt2+rJa4bDZuv/s+swsLwqQpeUHDYZdEMiO35sJEIFIXQrkYn4ix/WxHHoqFmUEo58R7SPR7s7kUGsRzJoZGqyF1muLGzavcvXOfy9cvkknn0ev1HOwfsDi/zP7Rnrzwzi3Mc7CzJaueS0vLMj0mOApiQyWWAJ/decDP/exXyRfyNBptjCYTu7t7hHwB5henxMeLJ+sbMqa/MH8Ou9PC8ckh5UqDl2/eoDMcSKPAwvwCpWKOeqMjDQBiYCWGISajRSZ7tnf3JGvDIvxcCrTa4jM9JBYdI5XJ0ut05HeBiN+LekDy5IvB4FlSfGd4cQpFZKMu7Qri8hiPj/P48Ybc1N+8ep3Do33avY5MzJhExLaQYe3yNcLBILd/cBun28X1q5d4vLGJUa9lYmKGbCbN9tYTGjXBanFJtoUYOI6NT8gh087uvoRVvvil58gV8hwenMj3rDBrFXOn2DQ6av027Sb4ww6eZHu8YCnyZ3/6L0h/uIkjqGVQgVbEQ/O97+Bdvox2aZXu3ind/DEmb0jWSxyTUxiePaC3eE1q86p3v4cusIK1UsRgsWFYhFFZpWewYhAQvpEiB6oHT9dJ1/SM++2cW4owTJ5gEKmXaBw+/xjGogwtY7RP1slmqkRCU1Qbad797iYaX5g//OEeR5UuTVVHrddBY9HgsZoJOIyYFYVmu8+FKS+VqqjO9nB6TKAaqLbq9JoDfL4QRkOHZKpKWahxAz7Z+RcpDZ3QCvb6+GNBqtm8PPOJamGjpzIe9tBstPDH/PTbferVujSC1NtdDBqhRxTVrz6Ndk+eiYSiUShE66Wm/Jk5/U68Lqf8GQ1FCE/VyMqUqBdrFRWnw0GpWCeXy3+hL54QMMw6uWKTgN9Ko9NkIjLO8WlGboiNVgvURf3Ohc2o0BSKWXXEcWEgv4P/hzc0cgnXVBycpXKMuwWLQseHGwVuLNp4fDzANNRI5sb4hI6YzyK/WzZ2S1isCpGgh+RRlcikBUU1ks9UqDZ1KMoQl0vFpLXiC2lpF3r0tUaCEUUS3j0ePR6fEX/AzKP7VbLFDm6HGa9fh9vv5Ol6gmEHvvb1aXb3Cmzu1Lm46OLB3RzL592y1uPzeTBYtKRyLboNoUOPMmj0SCZr5OtDQiETxUJdLr+uXIlyciSGLj16PQ3VfJel1SBGg5bNrTwBl5nP7if45a9f4M6dY6JRJ5vbOfxuO1e+FODeZ3k+/zTH+csOOUzuNyqMT/rpibtWtUCnItSHXdn7N5osHB11WDvv47PPj4lPuGTSWhg7zDqVhdUYH360h8dh48YLMR7dT3K812JuwYnOrNJv6/BETBzvF1mYFe8FhaFhwPq9ihz2jUWEDr2L0e7lg9vbuPxmphbtJPea0rIgNLfXr8c4y+dJHbWYmHEwFvdxvFdnc/2I1UsxHj5ISSZJZ9BDK2oJ8z6iERObT1NyULy7URawPJlaM+qMOBwjqXquV+rY7U7sLi35ckfWI0TN8+A4LysC87MuOrQpFVroFA2DgVC26nAYxQIni96iZ342JPXHGlGdb44oV0acW3Kx9aSIVjviyqU4mwc5lL/9zZjq8o7IZrqMBKLCpaeRH5KtNFlZ8NMfQalaRae1svOswEvPR1hZivEH/89Dvvr1MOkz4RTXcpRtYtf1GRsPcpooSRWMcDh6g0bsRg2lijhkIYnzoo9XK4kukGAPGNlbb3DzpQiZVJVkqoPHY2AibpX+3O1nafkBE0qroeh3D834/Tqsrg4HByo2vYF4zEyl1KBWV5ic9uP2qKTSNSIBB58+yKBFKzfy4z4NG3t1XCYTQQEArDUZiBFfX6HS1OFxmnm4maNRrvOr/2CR9c0UvSqkql2m5wz06yP5xmx2+hTTNQaKisUw4tZb57j30T5DrYZKpS8JzZ2eSjHflfCQYMCKRtWgMfXxOOyYLUPOjrqcW/Xy4Mkug6aPlVUb21spVs5Pc7CZJjrlZGe7SDjqQacdkE4KxVqX1OmIX/jVeX78o22mJ32khBkg7KU/6MDALjUrgy4Usx1mF+20uzp02o7U0JSzddxBFyeHRfw+B96Anq2nZdweE4uLIf7+7zdZOe/n4LhEoazy4stxKskaWIZoRCzebeHeVl3q3tbmjLx8bZHbd0/5b79f4yA9ktCPSY/Kshcen7SojYZMeQzy32+9vMS/+6MH3FgLy4PS3U+TdJrI7cx/+rVZfucfv4L98s/BoExr8zFas4W+eRxaZdqJe5g9k/TaFdRuFYNjFnGTEnqRdvkYTbeBxreEpi16YAVGniX5EB8Ut7GOL1NOZTnZPuPDT77D5aVVWorCRz/5lNdee14Srr2BALGbb9LOndI8fih9uuLSWs+f4AzO0WtmUbstQDzgTbQKD3FPv05P0dIv76PR2rGFbjCoH9IrHGIeX6PfT0mA0lAnUgYh+sU7DHoVDKYVRkqbSjWB22TDc+nLUs1T3/kId8CDqhMgyA6F5B5OZ5RS8oBa64updKuj0C5WwKJSSufQGswcFfOQFz0lPysr09IUEJ1c4CfvfBt7eI52r0HU6uPtD9/FqGrotPt87ZdeZX55DY3exKBeoZDYQqGIZ/nXGBRO6VS2MYVelO9ZtfQIrcVBV6On8PQTAudfx2i308kk0NtGknhbKLZwxq7TKdxFg/i5IMFZWk0Hg90JgyFdMSjp6Rm0i5jHrqIZthi0azSzezJxMKxXQddEMS/Qbp/iC8Q4O3zM0fYeqmJg8dw1Wv0+Tx4/oVwpSBp1t6+hmS+ydukqdo9QXwXoNI4YCT+4e4bhoIPqjKBqhhhqIslTxyDAkp0KGlOIvtpB06tJkGC/uonGNs/INYlmUGRQTKBzRxh2GyiNAlZ/jGpHj35QwLN8gcruKdd/5l/z1etR0mc5bLYgQtTjNPdwmR38+f0W4w4bf/SPTOydtsg3FPbLdbpNIUaFUmco4UoCcplrjtg5G2K2igdcj9ZIR7OpxWDq8ua8j2ShwoPTDhZFkOVVpudEEqnHYbZD1KwwPW7kSbqHZ2QhHBxxlFfodPv0tAoeA3QrXS7MmhgzGWn0OlyIW0TZhTGvnohHL0nSbrdZJpeKgw5Ol5HpsTHWNxJsppvyIdrrgcnQJeg0o3OoNIoqK3NO7u01+Zd/myLkcRHymUgclzDaBZxNpVvr4gyGmZmMYfW4JTjr+PiEUCggiePjkSiVSkNS+PVGoxwuOT1entx/LMGE42MRTs8yqMOOVP8JInqrXZfdca/XLTf1wk1/dCw0QGMydSKMAxdWzvHRnY+l77lSaxDweWUcfzTqY9RbCPr8ctN/eHLMBUn5rslOtODbBAJemk0BzVPlVlCoAy9dusyDhw+IxWJUyhUZJ6026zLNkDjJYLYaZcxY/PqiEy+2f2ablaiIUdcafHznjvx/BYU9ny/LQ+H05Dj7Bykm4iE59GM0YFpsqFJ5et02pVJVUv51Jj3FfJHZmRmanQbJRBq/74uL9LPtbQIBj4S1CmWSgIsuLS+ws7/NzvYe05NTTE5OysuHsJv0Om0Z6xeMgUIpL0n9Qldns1swG208Xl/HbDLL1MtAHbB2/gInon9vFL9+R2rP8vmsTGH53V6EWODw7FRC2qYnJvj83j3iE7Ocnh1ybnmJZ1v7iCLjhQsCBrwpBx/tRpfYeAS3L8D9Bw9kHUJsa0Mhv/weFh3shcUF7j14gFYFj6hpterykOPyCmf1KYqql5WSaCQsTQcixix63r1+R15oBTvBahaapK5UCvoDPgkNPDk5klvYTqvOnXuPWVn8goLv9wdkbePx+oa0AXk8TtKCxu/yyuGN1SnAW8Lio+fi6kU++fQONodV6uyajS7xeJTdnQOcTlHjMNGsteRFWDMasbiyIP9+n33yOSvnz0sImUglis/naeqMWCSG3SEYGSVa7Q4hn0fCGL/y1bcol3My9ZfPFiRcUgAVjw6PmZ6JSSuEGDQY9HrJ1RAVDK1BJ1V4ZqOV/aN95uZmWJyb48MPPubStcvytU2nM5JdcHxwwlj8i0314eG+jK0LsONp8gSbzU06cca1m9c4O0nKgVc0PE6zUZe2gVdevSlTPeISvbm5x5tfeZXdnX2OD4+49fottrZ2UFSFdDbF1ctXefT4kYz8CpODSAH02j2m52bksEFUUkRCVGxBBWB5deUcjUZVvj7iWSUSMaLnLz4vokrisrk4Ok1w+cqarPn4/EIpVuA0leDSpVU6AtBp1DMWCfPNv/4OwWBYWpb8PlEDyMgkhcvjoVGryeTOg4frjIWDuD0e6s0a3c6Aaq0s9X0LC4u8995PZFFBbC37A5V6rSoHYH6vn0/vfMry0iLJk2O6/bYcOpWqTQLhkLxE6g1mCoUCbpeVkeiZ5wuSDfIzX32TJ082+N63buP1WzGOBkQXAzzLjLAcJLn7nV+msJ+iPbLgmptgaLTRPj5jsP8My/QSav1Uxs91di/uiefpVrfIbD+mWh6ibY1YeWEF7eIS6nSI4VmH3/id/51v3MngU3sUReVTAx6NjmFXpaEdoh+B0QTKyIDVbyWiGSCwyaY2pHMtikIT2xpSM4AQslrMJjmYi0dcuLVdYnY79ZF4PvRxGRzSBDUc9qi0+3hERWs7LXvQy4vj7O2esDg9T6tf59PPdlm+MMn25qFkbBRLObLZAvFYnGq1Qr3TIOASjC8NhVoDl1WcWR1ya/zk8T7xWJiDvSRTMyH5LBU1IEWjQWeCoEcMH6toFXFuajJUNfJcPzMflzyNqrDnGEw06k35HtQoivwMiSFWNOQjWczhcrplB7/dqIBikGkVccn/8Y83mY27aXb7XDw/x972IdVGFZ9DQIINFDNlTD4D63kByWvyj2c0RAPiWdWn3lfRmRzEvVo67Y5cJB0f5PH6TPiDZg63BbtHDDYHcktrEYDaXJbomJ+d7QYaw5CIE7p6Pd9/p8IvvhUFXYdCdsDkhFUCeoUBzedRmFrysyk68cYhy4tjtBt1aQgq5mvSKibgnZMzQeqlOo8el7jxXIhqqcHxXp9LX3JzeigScgb8Y24+/NEZ8bCO/VSTZnOEVmNhbtLEcy/E+OA9wVrrUKoPWLlgx+l1sLtdRRn1KVWFJt1Iv93l8o0Yb38/yYVlreQbiARQU9TUGhqWljx8+skhN1+eJHtaxuPUg07P042cjN7PLruot4fUMwPOEjWWZh1oXVaePkjxtV+aYjTQcrAv2HRNWg0d8QkdczMeSrUu+9sFgmE7haIYQhll8mH/IMew7ZZ6w/CEmf2nWVYuRkkn6mj0XYrVDvF4iH6zL5O/n32W5ub1CDu7ZVYuusUPQOpPR1o9NrMYSgV5+52n0hJQTCNVuQJrZXPo2d8fMBm1c+dhlk51wPI5Ny99Ocb/+0eP5CLI5lDZfFYhMmaSSbF0osbamp+BXseTeym+/OVpmXJ5+EDwcSzUm13a7RE7W1VmZkSt3SHZP0IE6PN4MZsa3H63wvySA7/XQq9R4+RsQCAMaxfj8pn2+GEFvRWUT/5NXP38boaxCTMmg41Re4DZocoD9fa6mHZUePG5JfYTOU73S1jNeiZmvKjdHhvbdXSaHhMzfkaDL6KWFrMNr3/E2WkDjWJB0Q852a9hcxnotUZ0Bm2Wl/zy0DcYGFlddvGt750xPmYiNuFjKHo3FuFCHFJrdLBZBSjBwuKinc3HCXr9EVaPlUYZCbmzmHRU2noZaxM+cq3qlkqP6SnhrC8zP2WQ3fvNJwluvrLEe+/t4XYYiI2beOf9DLdeimIXISSnXnZmDdohZycDeWEOhRz4A01quRF/9/YZv/wbs+zvlzjc6zI5aSAUtnGwW/7Cl1uqobPa5XTO49Ng0BgkqXIw0LL7NEt81sXBYZ3UyZCLV1x4hNXAqOdgs4bTY8BkFV8QXdYuBdh8UKI17BEJu6gWqpjcFulFNRoUFi96KRcNbG4kmIzYSeUG6C1t3A4H6xsZlubDFKoNRL1/fMLN8UERb9AuIz+5VB2LXosn4KGQr6A3wP5RhVjEQ3zOy3u3d3n+hSD1Yodq28jqipd3friF3e4lcVIiGFT49a9PU8o1+N++n+FBfsTtHR1Wc5vfesVPNdPnpDvi9Uknxb4ew2iA2W3iz97e5eWrftlZ/INvPkTwn1694uCf/xe/wI3Xv46ONL2DQzA4yW2dMNJX0ZutBH1RspkkltAkg4YO1TZkmDlDZxIdLZVWo4zOosVkcDKyzKA3qbSyW9h8PkYWP8lHH3H7u99B7xyXm22rfZLpcQfre7sc7O3x6suvUapkufPhj7mwusLP/PyvYbBaUS12uuU0AzFBM+hIH69jC09g1jnR2m2y2iBAmQad6DoLBpVKr9dANZihlkdntNIq1zFH5hmJ2MygQq10infqJcqJLUJTl2jWTsjs38HnFpCnGha3X/aYNP2u3FAPzUZs/mnMYlPdN9DWmzDpFJqVFAaTHWO3RrfXwmASQ5RpWoMmmtYR9aaW4MJLlA4+5Rt//Cc4IjGunp/nyfZTLixeYmf/GM2wzsnxAfOTEV78uV/HYA9Ry+dRe/t00yfowufRqAOGtTQ6/zl05iiDyiOswYv0eiY62XewBRYop9Ko3TpGm5teo0yvfoYluoY6aNBr1bF7p2lWEqgWHwZDmOHph4x0ZQzTP4MiEg3VZygGNxanj2G9RqsvkhvT9EcN2SG3uHyYXDEO7n3EzpN7VMp9ful3/gn/83//L7i0/BXytTzj8UVMugyjXo35F/8Z/do21cMfYPFfwiSUgMMyQ1WHybNGr31EL3sPjWkco2ecodgY2Ex0K1nUWgG9K0q7V8LujKMa/fRr9wVFEMU6ha52gtYYo6XkUcpdXNeukT/YIHzl3/Lrz49x6zWRXknQ7ev40qqZ2+tt7h83OTeup9VQ5CZsIKi9ySFTc3YMvQFNdNiHDcmWSDTa3Jx2YdcMGPRGstcmLgTJjiLTDEargWJTg6HbYXzMxd/9JMGt5yJkKi0GgxE9tUXc5RCtEzbzA2JhGxb9gPceiI60hUZVT482HreVs0yHk0qPUVcyjIn5hrx60cac1cCo2cRvQqYbeuoAm9KnpxFTdSv7uTqtthltv0GpNZT2k6jdzr9/2ibV0mJUGzisLqJjPkr1plS0nmXr/Of/6j8jkyvzwx/c5sKFFanrSuXTvPT8C/zo3dtodWYCPh+Fouh/L7K9dygn5Ll8lsXFJfb3d7DZHZTyJSYnJvH73RK4V63UcXqcLC0u895778lLpdjOCUq72Kqurq6xf7BHIOjn888fMDc7Q6fT5/jsmMuXViVcTkQPRTVcbIyODo/kryd6/r3eQPJn7E7h6t2XF0MRPReGAMEgKJer+IJBGQkVl9tgwMdAAFOFgrA9otWpfzGMi4QIjo3JzbK4bDtdDva29phdmmHj8TYzM3FJDhcVl2DERzqT+f8Vh0kmJmPSASw272azXkLopoVia9hjd3uL6dn5L2KqWkVekhJnSebmp5mfW+Dps6dyACL62Tv7O4TD4zL2XhV1Dx2YRawalYBP6KtKDAeC5Jzj3LkV9g52JA1fpCASJ2mpA1xcWpBJAZFSu3b9Kh+89xOuXrvCgwfrHCdOeeuNW7x7+0ecu7BEOBTi4OCUYq5AJB6lWW+wvHSOfCEnSejx2BiVcpNWt0E0GJRb2+PDY1lVEN/T5XIJi9ku+Q4arUmmngToUKcXlT+fBEMKdeRkfIKDk1Pp5w6Fw1y4eJ7v/M3fMjExSa1ek2wacXH9/O5dOawZdIecpM4IBQPSRhHy+ymXCiRSBXl5EHDEZ1s7MiHz8iuv8ezpJrv7e3i8Hq5fWWNn74DTk1Ni8QnBbpIXbaEz1ApuR6ZMKBoiEgmQyqRpVBvyz5QV6auhOHg6yaXyEhQnfPc7W7v4wj5sZrsES4pkTDFf5fr1q9LQsLNzgMfnwusNyKj9Cy+9KC/gBQH9tZrlRSk2OSYhZeJnMhGfJFNIEwyEyGYy8iITDvhJZrNySFAtl1g4t0Q5m2eoEQfuORnDFa9xbyjgvWmsDjvNahOdSSc3nqJKqQy1zC7MUK6WON4/ZGlxhXQmydHhKS++/Dwqfdnhv3f3EcGQXw6nRlpFsNikz1q8n8TPX1y+hZqvVq3Ig714je1WB+1mi/GJMUkDz2XTONwezk6PUVQtWr2oRnUwGTTozTbZBzebxGJIDEgbeHxOJiemOEsdYbM7qRbr0q99eHzG7/3ub/KX3/gWoUhY1kLFhVlYL57t7KDXaWWlQMDiWs22TO/Fp8fl94lJMFBGA5aWFvjx7Z9gc9gkL6fbH8rXUQzDEmdnTExN4Pb4OD0+5smTR7IC4fR+AYcLT8RkBchmEWppE+VKnkqhRjgmLmE1yTd474OPGfMYiEfjpGs5qT+7+7DApUk7P/i73yJ9+x6jtg6NqQnFItrwLEafS0bju8WKHMILoJ/B4UbZuEP73FUM7Rba0hn2a5c4fLDNP/9393g/IeDQGl5djfAwUWXcCKoOFia82F2iI96hNRjy+HGCeDzIVjJF6rSL12tiPGyhVu4xUGF5yolFQMWSBQb6EY1mm6DDTLUxJOJx0xx2GTZV+spQMmO6ah+rQWEgqEb9IZqBgtagkM7lObcwRanWZOsoi8Okl4kYi8WAWW8gEo6QTSVktF6YX3KltjS1CNuL4AgI+LaoqoiBpFCKf/H90qRYqRKLjFFpNUmns1iFrQsNrc4QvU5ldmqcTL4ol4rVWk20dXB5XDTrNbwhvzRciPdjMBzg7r0tbBYNIZ+Neq2DyWLlLF1EK5gHDqNM7l69dJFqsyy//2+/dwezqsFvN8vXwWBoY8ZOZaDHOWrxH1/SoOp1fL5bJ+LWSoDccaaNzdzDqOoIuAzEpix88qTCpXkvvdFAQv7Oki3OrwjTwEhS8ovFJsV0i5WVCPVak0a/x8pcjA9/uovR7sTr7pPJtYhHAxhNPWldExF/ad45Kku7Vk8dSTWeovZZWBzn+DhPrS4GWy0cHgP9mopOo6fcajAVc5IrDyimypgCFvxOA3fvt3n1lhUzOk6zAzwGE7vpCi67SjgsttsNzEY9A2Ev8erJVlvoRlouXw5RabTZ2i7LFFQkaJFDa1UzQBl2OU4auHzJJkHp6ZRCKKTl+LDC4ryXoM8kE+ljMTv5fIazlI4Lq2L4c0avp6Ve7lDraIjHDahKj8dPVYJBHXMxE4f7dSYXwvKsnk21mJlz0O+YJMPB5dNj1hrpahSpTBYK3Ld+fpZnd0t88Nkhq6sxaqUia5eFxnTA8VGViSk7J/sViuU2Xq+VdrNHqdbnlZfH+NZ3j7m25sZotqA1jqjmRjj9GkZymNnDYjMSibt47/YR4YiLsbhbPl+nx8d5+CBJoVLj1lfmePCp0CkrFFstRj0d0agGdEZ6LYW9wyLLSyEMBvAFNTy5X2FswkG71sIXtaO2VAwWHTr9gFRCDMAbrFwKMqy1UYw2nj5MMrfkkXaLcrmJ8oPfm1QfbmSYivgxO+uyI7F4zkO5KOIzGpK5ESdHZZYXXXiCenInQ9LFBnMzRipFDf6ITX6odVgxaVXuPSlzZc3OTeFErKjs7qeoNTXEJqCU17KzX8GuN6Kz6YgGzfS6DdoDhVFXRy7TYGnNSeJ4xJO9MiGXjrGgQU6CW70BqxcCVHJ90hUBXFBYXYKxgIvjnCojKRfX7PQ6fR48rRN1aih3tdJNv/u0wcyEiOnVsLttctrcaCg47DpURYfTKuRK4hDYotcxYnPqcLmROj4xZRf2g0K9TbeukR0Xb1hPNOBh76SKqg5oN/vE4mbWN7rMTpnweI0kEm0mYkbK1ZEEvM1N+okviKRCi42HFa5cjfGX3zrixRtOqc4QlYDUaU8aDVwhLWFPgB/c3pX+SHVkpVhuYNErLF31sXGvIqEyX/v6It/+5jZLq34SezUC4xam4m4OnhXFOJbghJW7H5xh1QvNTA+LGerNIQ6nHs1Qi844IjwWZPPJIdnqiJvXpygXSiRzX8T+1+bs2Oxm6c8c1YeMz9h4stfkv/5+nZDLjtmlMOHQ43fA7nGVQhcCNjMur5btQwFu1GPXmyh34PBZjVJ3yFduGPjD/+W/wnLxOYZ7T1AqNRqVEyqFFobIJIaxCbStFt1Sj04jhcUtoro+6uVNDHo3WqHk0PdoN0Yo/TPMzhs06+u4PdPUK2VSp89YvvEmn3/4I26/+wC7acStn/tFtjc2pApyd+eZ9PW+/MLLHJ6cYbAYJKX49u3vszi9KIcl55enGLQNTF26zLBxgsW/TOrsFHNjA/Re+kbx59AzLCSlLk7V9qkcfYZ78hqDRo1m8wSHewpFdTNUUwxqNUn+7plnGNW26Xeb2P0LiJvHoJmhVTpBb9xbT24AACAASURBVLbT141jcxmplZPYNG5a/bKMc/c6WVSdC604SLqjaK0e8qeb8nDi8YekorCaO6F8/AnO2TXsNg+dUoVMrcTf/9nbjJ9flZPoSjXP+MIib73xBj/4ux9QKqcY9oq8+rO/IaFR/doJI8MYiuh+5nZx0cMUPEe3LfgHfcqpLvVKFp1WITS2hDk0QbWUwECJbreLvlNGN3aDfqdBN30PvfM8Jl+UzslndIrrOK78U3rlHBS35ENJE7iCXmlTzh7g8HsY9I30aieoOjdqXwx2umgdYRzhKR784A/44MP7TI6N4Y+OSYq8gKNNzExz8ORdzq9+hfnrtyjnDiRlddCq0qrlUYxadKMGOsMkDGqI4r1inUWj1VM/fBdL8DkUbRlF76XXa6J0khhss3S1CprCodw29tU+vfoxBtcUttk3GT57h45mD//N32Xzb/8v/sm/+SENg56X5qyUul0OjoZEJ7XkS1q0/T7RgJlKt4+mp0NnVqSyKx61oXS69LVWisU6LruBg2RbalYnvUbsVh33twpcXAiwflgi4vvC0Z6vqFKnJvrKX1nzspvokK2pHCZzUhszPuFl2GgSDehJnA6ZnzNRbw9oNJqIpnKtOcQ4GNDXG4iF3dw9rOHUaEhUu7QaLanyE/8orRbXJx38+vNhOYQMugc4LOK17ON1mmh3FQqZGlevOfn9nyj8/veyvHbBTl+jk7UBofGciTpIFbrc+vLrpPI5dp8d8aUXrnJ6ciJ95+Njk9RrZabnF9nceiojtB6XW3pqTSY9DqtwBD/m537mK2zt7Mn4pjgAi+h/Jpvm6s3nePvtH3Lz8ho2u5v1zXVpATg7O8LhcRCLjMttUV1EUJstGSUWUXqx7ROxOhEjFSpAm91GIimgllaWlpdkNFhcWmITArIW4f6dB9gcdvnreLxOxsajWMxOms0a+XKRoD8kI5uCsp9NpxmLjeP3e6WH3mP3ys3i8ckRr996lf2DAxwuj/QcV6tlHA4BpMoQDUewO6wcnZzhcbgxmI1sbe8xNRlFbzRwciI0Z19A1QSPQPBqxEW6lCvT7dSJxMZwOry8/5P3JCwwHAxwdCLI5yc8d+MFSYcvlQpyoCE6h4N2R17yRRrg3fff47WXX2dza0OaecQlPOwLcef+XbmBFuR7Ua3rqQqD7oC9vT0ZjQ5GArJbe+nSGkdiUHB0KGPnAuLldtqYmZ3n4PiEQb8nTQTidYhEgqxdvMQ3/vybTMSFacRKd9AS7gAq1S5mk4bzqxckfFBAcHcPM4yN+Rn1e4RCUXkpPTw4kLWBWrGAojdIHoxwHxdKWSanZygXatIvvzQnoG5JXE6nVAKWiyWsdierq8t8+3vfJh6ZIBoPs7N1QDqd5Oq167JScLB3IH/ep2fH8vUKhcKkkwn5uYhEI+h1BnLprGQCiHiz1Sq85af0+228LlGBMsqBVaEgknYhqa8b9AeUKmUMWgMPHz/iwuoF1i4ss727T7/XYXJymvv3HqNRVDlYKleKcotcb4hqgSqHFru7O7JaIjrtBouZo8MDvG4fkWgURUSOjxPo9Bpm5qdJJc7khr/TGckh8tlZgovLq2zt7rLxdJOLq+fI5zK4/V5ZgSlVxXOrwY1r16RZQ4AxRSe60+qiUUYYbMJWcMxz154jX81zuH9GKVdk5fw8vkCIZCKD2WwmnUjg8XtkxWRhaYG7n3xOsVaRQEsB3ZuKTZKvFCW00GoWAOkTeoMe8bgYCtVkfcztcKMzKfLPJYwkggPgdnlJZlLoFFXGuUXlQHwWzk4zkuMxHglwlkrJFIZJa6MzbBIMR7nzyacszM2TzmWYjMVodLqSLSMMD4mzUxwuYUdpcHZ0RiASlhdEBj1MdivZdErG+U+PT1kTNZTNdalgFHrSTDqD0WIWoQUef34Xh90lgZ2CZ3H15jVZC9DqodPtYbOYJRCzWKzIKofYBN+581PGPCYJtn30LMNsPERXVfl4t8jO//nzeObidPae0q7p8J+/SO3ed+VSQ2xVTR4/WruLbuEUvcNB8ayARzCwfvs3YO+YX/76f8N3Enr6xj5xnYlry06KQ6GuHTIXD3KUyDFutVHs9rmy4JYslEpVRTMSyj8D49MhWmWxiW4jABDtbo98vSM5NULbbcBAt96gXurS06jyO2Jm3Ee6UCRdrMq6k8FipNMa4LRYpOpWDFijQS/pXFnWaMIBG0Md5NI1nn/uOo83tmSa69q1JZnGOjnNsHL+grROiFpWKOSl2xKGqybFcoXVlSXpY8/KJY2CUQxaSmVi8Sgnp2m50RemJQF+tgpzh0blLJWXAM1wyCtBpwLQKYaJFsFFKdTI5at43WYK2SY3X1iVwErBe0qlU0xOzaPKQXGPicU4uURScjSerO8S91gxW/UYTHqqbS2tcl4Oj/caJv7180Z+9qKZv/6gQrvTIBayotUZ5KXR51A4TTeYGveQzVVIlcFjHmIwKkxN+SU74PC4zrAnlph9ej0jkZABi3nER582mZvSs3LBzMkBkhE2OWln/6DGSNDdxYRD0WJ1KlSLA6mjDXjNHJ5W+JVfvcD3v3WA128hk2hgcQ+pCdheRPBebGw8StEeqOi1RmITBqwGA093ymg0epKZBjfXnLJO0OgNmAxaOc2IIVGXCyvjPNvIyc9zxG8lVxpI4KzNpZVAwEZFIRyz0Gr1sZv0xKfcnJ2WCYYt7O9XGHQNpLJVLp9zsHtYxuUVZqSeCMgyFfOQPFWwWvusXfby5396jMM15Oe/vsg3/3aPTLbD5fNeFpfEc1PUSloMlQEvXJvkg/ePiI1p0ett0iKj0ZvJZJq89XqcYrlFMtHh3AUnZwcVjDabhNX26irP3wrzzvfEUm3AtRsenjysMzltkucso12Ek3tMTXnZ327Q6dcJjzk4O2thtmjRKyOpDRwP27CFjNz/LMtLr8Zx6A2kinXy5RaNXIP4QpD9rTTTcw5mJsbJZGpkczVufXWJ9354IJM5rdYIhxX0ZoVybogi6qmCf9YdoTOqWGxaSumh5IuYHQY0gwHNpmDyaDk8KDIe92K2qpwdlwmNuTCZBB+gSjjqRPnOfxJXW/0clexQ0todgR5Br5f3309w8WKQbncgoXDHxzXCXjue8FDCJN75+wq//psREsf/H03vHSR3et/pPd2/zjn3dM/05DzAzGCAXWCxADZwA3eXQaQoUXeSZbkUqs5S3ZWuyudQZZevyr47l6tUpysnWbbPOp7uKIoriiIpbcSSu4sMDIAZTM6dc87R9b6Q/9s4AGZ+3f2+3+/n8zwNDsMlggEzHreWQkmFTrApDeIQ3sfi0dMpQ7ne5srlIR4+iXMWqzI95SAdbeP2m4nGKrKv4/eZKBRE1NXM1WtmopkG9x/kWVgQsBc1z3ZrLM4YGR0zcBJpMDWuZ/2hmBB3GfJpZG/o0ZMKcws2JkdNnMbKlHJ9fD49Lbq0q02cXgflTFsCRq5c8RJP1mUESMT1RV+93GhJSJsONZVWT5Jgx0d0iHvW6X6Xixd8xDMlcpEWGmsfk8pIo9tm8byf3adZzjJVxkNOOt2OZBp861tBjnYb3H6U5eoVJ4Vkl64WVmctcoObykMh02T5UpBqocyduznZyRE+x60nWVYv+rh3N4U/oCdfassp1PnlAHOzTj7/eYKvvOFj/7jB4UaUqzdmOD7J02+L7oqJRq2K22emWe3I2MzSkodBX4NBAy6fjZ2NGG1FIzuRTo9CNtvCZrRTL5eJZ3o4bDouLVuJnBVZuxziD/6PY/ZS4HAb0Ne73Fgz8+C0Sj49wObTMOYz4bMq3BTgRIwM++38+HaC6yENX3tvnK+/fZ2Jl95g0GmTXH9AL/UMz7kLtJQgViVL5jSJ1jrynOqv7aOuRlFb3DSyRVTGLlqNjWY9i27QopbuobgGWCeu08tEOD15SqXSo9s1YnLaKOYSpLMx3PZhPD4n8XQct8dPPlNm88Etfv13fpvDvRNa9MjFY5LkunbhRX7yV/+Rtctr9Lvi0tTl6qVZhsaWsNjsDGqnDCwz5CNb6DQ2atU4/WIYw+TrqHQuGqmnqMun6MffROmEUXWbMrHSa3dQ2Z10yuJn08Tkn0GtMTGo5enWk+iEZwQzBWEjsLpRt+IMzMMo5TjiiuKwuOgUK6gcAopVRtMu0dH45IdYR4HcwZcEJ15mIIYStTYdqljsLhlDPt55IP2hqbMIW1ub2H0hllZmuXvnS95++x3CpxGcBgPPNj7njV/5LSaDE1L30lOX5DQ1e3bExsMNlq+8xWcfCTWVnqXla2TjUQJuWHz7P6OZPGOgc9DO5OnUj2j29ZKxYBTkerVQicUx6G20TVOokrcYCFSJZQyd2s5AVYVeg57Gjl5npXT2t/SsE3hc09TLO1IHY9KbcUxcRasy88EP/hVW0yQrl6/w8V//CVarl9DCMp7AHKlnf40teAVHYIp2/Zi+dhhVoyiVdo3KkVQ96g0hoAPtCmqDlQ4dFN0wqnYGtXGEfr9NL3kfg91LTWOj21Lh83todt1QPKJpNGAS8MDeKZ2aB+eLq1Ri+6yu/Q8Mewf86j+Y5+anSa6sWEl12+zt1BgWiSCtIutN7V6fdl+Pmi7jwyqKmToB7xBml4FbTyPMT7qwaLUcCruG3yNrEsIRLbYOHpNBpoVS2azsiImu2MZ+maVFN7NjFrafVemrFGKFMitTTu6fJpi02diLV5lf8IksA+mMIFiL98Aay7MuDmNxRtxmslnI1KrYhRqtU+Eg26Xa6suIW0elplrrMOlX41UMXBrvYdZZSOS7/OF7KrbjNr7zf6X56qoPVaPMYbIph7t6s4pEBknwp69Hb7BQqmSYHJ+WoLVPP/mMmelJqTEVPWy7VTwPaixmsUnYZHh0nEwixsjYGLVKC422j8UsNl9dpiYnefDoIfl8hRcurMq0gtiqig1rKZ/nyvUraHoqHjxcx+52S2ifonQR+dexsQniiRiJWELGv612K9F4HFW3z9j4mIQJFsVgstpgYXaKaPI5hV2r1UuCuYD4ia2rGEqfHh3ztW+8Izec5WqBTCrHi5cvSTr+wVGY9955Q9Lcz2JJlpZmSSazUn0kYFViCCa6y8lslldfuc79u3cw6I1SoWa0GOXQV6/REPT7ZU9QDMLXN9ZlrFscogV5fnpiCn9giC9v3ZbpgiGfX24wxUBioKiYn5mUm7ONx1tS1yYGHqJWYbOIjr2ebD5HKVeVALVz5+dkYiCdLUiGwsTUDBOTY3z55Zfy5yRYCoVSVWrlBFzNarMwHgpKIGAikcNqMvDClcsk4nH2dg5odluSHD85O8mj9cesnBdd84TcRl+9fkVuSTe3DvC5bTJiLT5rbRYbPXqcnR2zvLoqFW2iKiL4Dw6Hg1w2LesiAgQqtobCXCF6kB1UmIStRG56xQBFi8Nq5tmzQ4LDAXkxjoTj5HNZvIEhnA470UiScq2A3+Pn2stX+NkHH+F2e/B6XGxtb+Nxebl27TJxCRpMEAyOykt8qVQm4PHwcP0Jr7xynUhUJBhHCYeP0aj1TEyPc//+AwndEwfvgH9IVkNcbrccDgnDgOhhCtK+IMsX8mXm5idkbTKbTzM6NiUv+eIS3WzW5fv82VlE9nHdbj8bm5tcWD4nL8tiaLX7bEsCE4WtolAsS1iiAGCazEY2N/fkc9EUtHhhhuh1UPoq5udn2Njcwm53cHoW49q1NU5PIiwtLklg48HBEVevvkSr3eLevXt4PQF6/Y587icnRnA6XPJ7YtDZOD09xjvkZ2drmwurK6jVOra2n3DlpatS43hwcozTYkMlwpyKYPOIw6mdw8N9ObATP4snzzalLnR8LMTm1jZvv/UmkVgYnV5Pt90iGk4ytziP02Hl7OSMUrUotYQCIjo2EZJmg678fpXw+Uf58tZdRoaHabWb8vUjMrS5XFYCG2emJjk6PqJWa0pN86QYlDRq3H/4lJXz5yVc0WzRYzAaSSeyss7x6MkTZqamGAuFKFXLNJs9qVb0uL2cHe1L+Nv49LhUTloMNnzDAXlZHGjUFLI5LBarHJKLxMX42CSlepmbP/lAckF0Zh0um4azaJlHpxX6/+/XaZ5/kZ3/8JeMjXnpa9XoJ6ZpRxJUk8fYx5bpmnvEf/gJQ299Fe9ri3SfPOSf/fFP+NmuinymyfiwDatZL8HaqtaAvViB33rvCvVuh5v3dxjxmeT2Ph4tyLOi2WFi1K2hWmzL93t6WqLJFIpgifS6ciArtphmg5khp5V6r0qj1MXsVkhEG7jcDpn6CvotFItdtHRotnpkyxUsJh0Wl10+CyaTSaogxXDl4ouXcLqCpJKCqN+SbA0BnrU4bbL/32w1aAtAd7PDiN/L0Vka35BFQiaPzhLYjFoUrRjYDHC5bKTSGfnMCwORRrByun152RGprcPDpKT4GywarCabBHim00XZT/f63BIOKIY/KyuLpEUNYWyEQqUpAWyplFC9BZg9d45EOMoHP/0pTq0Gq9slTRkOo6gDlOTQUN2sU+/02GtqCZoU/revGfjeJwkWZmxoxDKi2eA01sbv1TM+6uYwnMfp6Euyvc5kxmjrU8616DX7XH55nKfbcVStLhNTol9eRWXoyWGS329B0XbInIHVacDsaLOzVZVp3tWLXn7xSRhF1cZgsrJ7kuLr3xBnKgc/++kufo+Hjd0I+QJcecHCRNDJ440CvW7n+ZI3Dt/6tRl+8eERhbqoQLRZmPZRFO9FA5FHMHD3QZIXX3RgFmDveoHNXRh0+1xY06HRuajl89gdJgqlLmdnVaYnTVKFfOdOnZkZDY1aj3C4gcmoyMqgUTuQr4Fooo9aW+fK6iQ/+ukpWoNw22splgV9vyOVm6pOhZm5IOl8lUJGxciYiuGAicfPaujVIn1QQyXSFw4Ddr+Bs90YoXG/vAyrtBrsDsHj0lGMl1BMRplGrfcEU6mJ3WLm5Ss+bt09JeCzUmmocVg6GA0WYomKZLxoTMgFaq0uFrZtmahrV9S4vIoE64kBxa0vYkwteBhyCltYGbXBTvwkJ5fcTqeC1SWsAlru34tz49q4ZAVFI2k5bDOadfhdDlnP+OTTXWYm3egNKuLxIiabWMKYJIdiMFAYG3KxsRHGF3KgFmkKrZqd9RLOISN5wedIdfn6r03TbTa4ezvB5JSNSLTF/o5ISPpQ/cVvBQcGQ5vRSSt/8scnrF104Rvq8/RphfkFP08fCa/sJI82s9QqbQJuAw63iV88SLO6YJZv6NVyF6NeIy/o777pplbvs3NYQKMoGHUqjDYNJ3ttxqd07B0IXZMLi72HRqXIpIEgUl9YdROPVynk21y6MkQmXWRvt83F8zY6/bbUBm0f5BmoFVQNFUtLFj77MovdKWJiQsunZ37WQvy0Q0/Q06s1UoUmXouBF9Z8lOuKBFSYrH26zQ5FEafVDDCb1JSaLVziDV8zkE5PQcpP5wvkm2q6NQEfs1CsCBiDivMrTm7/Io3Xp2EoYODZQZXZKT9PnpyyfN7DcaRFPFLl7bd86DVa+b36P//3PRbndVy+Nsq//94BX/+lUVLi4RsY2dxOSJr+0oqLbqNPJl+n3W8haH+hcRtBT5A79/ako3tjI4XHbZbbZLtTx+dfxriwZOfB0war541SdfX43hGLqy7SmR6JcIPQmJnZBQc7mwWCIR17hxWM6h5mt1nGVQdtFSqtCl9Qz9FmkVK5y/XLLkrZCmpjn0LPwp/crJAsQLaj8A9fNrPqM/PPf3qAw6FhLehi86DEyJiRervBqxcWaFVqPN5MsRGr8Naij9/5w5eZnbqCRsSuk+ts/PwhA6uOybkFGtWerI84p+YkqK6eOUbTbqF2T8pqQLPYwmh2U24KIMwyheIz+i09Nl8IrUpH4nCTO7duYfOaaGV7tLQD2Q1r1joSUjUyMUb47FS++Q6FRri8donbt+7y+We3uXbjEj7fEKquCovbSjIaJxY7xhtYgE6JYrVCcGiI23ef8mv/4Nv0qxlsLhfBc9fp5Z6hd5+j1kiiTifQ2dw08zt0dXa0rlVSTz/F7LCi0Znp6Q1ojR40jRyVfBhr8GXqFXGRyFJJn6C1j6JzXaKf/ABF50GxLdBpRNC0s/Sdi2h7OjIHH2H3LqMKhhiUU/I1ocKO222hFN+i3jfgGF+mfLKNUjvG4J2imj0gMH0dRZBwNXXCW1sy8iUMCGenZVr1Mldee4u7tz/AqbXyznf/ET/7yz9mbDrIxNwKZtw0Khm+eHCL/sBIu5KljY5MMs75i5c5PdrH79bwyq/8AYPGKZVoDNWgisbkRFF8qAZNGuFHqH2zmBbeo/bge+iVDCr366isBlpHH2CwTKDyL1DpNtE3Wmi6eTTegAD000jtYh+epdUXDnLherai1ZnpdMWbH9TyEYy+GRS1gVajSDu2gcbowDpzlfrJJohLhcGKVtWhXi2j0pjRqQRMtM5AZaPfyMiNimKZoN89RBEqyUGNduwIw9gKlWQYndMut96dTlsOcFS9NCq9i7bGTatQxjn+OrZgDp25zW//0n/BSVxBb9DILqLgIBisdorpHFOTQYxKg06vRzQjFHnwe9+9yOdfbBLPVgn67eTzdRamhih14M7jU15acfLBvQJXlyfw2RU+Wz9haXqIk0iRcrVDptXjzQsT7O2foNb3URstkhIv4M1K10Sr0cQn2B/lKtlmlzGX2Jb2qXaMtGtFagyYHfGQypU5jldYmR0mnatQb6lRND1CQXFBhHa/gV2tk6mig3gDl0nF1mmNslphVd9FZenRGjjRqcUHuhGzTSF8VsVhtcq02NqlcwQmJzAqGqKRuDx8CVBEryUi8U4aQjmlMdHp9yS7o1zKY7U6pWtdXFxyuRQqjUFuEB12h7y4TE+Oy0iuiN0+ebjOubVl5ianeP9HP5aRbafVQSqTlJtyr8uFR7jHK2XKf28vMZut0iBQyJWw2oXO1i6fraOjXYZHRuXGSXSvRVxR6McE96dSKqHW6KVuLhTyc+eLe5JEbhJdUhFnpMGr11+VF/NCsYLRbEGj6nF+ZUWaBsQlZnRslFwhJ2OxXr9XDppbvTZ6vUluocVFTnTqT46OZKxZbKhi4QRTc9Psbm9z+fILUnH2Nz/9idwurpwXvfIznG6P7AEuLi7I6Lrwjpssdui3MBnNUrckttdbm88k9V4Q1YX6T0TzBfk8m8vSa7akvm8gzAEqkdjLSX2gqD6IVeezjWecWz5P+OSI0PiEVLndu/eQJRHzrlcp5nMoaKnVK2h0OibHQiSSKamd9ft90sku+sMBrxu91cjZfpj7G9t8/Z1XOTw4ka8NwVLY2dmWX9PldLG7u83I6Bhn4VPWVs+RTOQlz0AcdDY3tiQEz+myS3CYOCP4PW6ZnAiOBqTyS/TjGSBj98VqFS0aaesRDu1MpojZopOd+GQ8LuPfYrsvQHCloohWjpGOR+U/F1s7EYsXl7rJ2TGyyZIEmortsQAtip+riJULXZ6IrodPo/h9fnQ6DdmCOHiqqZTEYMwje/ojY8O0a03uPHjEN997VzIpwuEwKxdWODuLyuGU2Wpkfn6OTrsrf10xrBKXbBS1/LP2en0alfpzroPTJiF9sXhUPu/H4QhNscxotmV9I5vLSHaFqGcIiKAA0Yl/b7GYePJ0kxvXb/DowROyheTfczEEa2NAIpmT9QlR2SwVqly6vEwsHJex7cWFOfYOj6VdQ8Cjz51bxGo18+D+PZZX1wgLU0KtgclipVqpEggEpOYwm0kxPjqJzqCRz4e4wNdrdYw6sSnvEYvHMAtQZbtHtVlGr+hR1IrcsuYLVXZ2D/nWN9+RgxfBAZmaGCGdzrG1vcsrr7/K3u6+rOlo9WYmRkcIR84olstoFR3Tc5N0Rb20UpYpnGK1Jo0MAuolajQCzigqWCJtI0C7O1u7LK+tkYgkMJkFnE0A0GJMTszQaFY4PDjCZbVKxojwiB+cRAn6A4yMjrO990xyNkTlYHJiiq3tZ5JlZTEYpc4yvLeL0W5nyGGiVStRrbb5Mtrk09+f5Oovv0Xp6Qlt3YBG5RSzfRnT3ByVB5/I9whDp0Dzxtcxd/L8yX/1p/yzL/WSa7A2pTA/MSQj32qTltVxK0enVdbDOX79ncus3zugQo/RURvdYoeKUHMaDUSiBSz6vqyOihiq0SBeKdBT61iYGiGVS8tYd63VJx5Jo9ObeGFlglqzy1E0Iy8n0/NObFoHp/Ew/Z4Wz1BAQmr9dhcGi1kmPMQgSFgqBJS10a3Trtdo9+Hc3AzhaJJ+t81pJMyli5fY2hKLFjVHJ2cSTCuAxU6rAZ3aQKVaRa0Go84kUwGVZhOdRos4GKjE+0NbcAiaqDSa5xpbYVPx2umJ2EG/R63VkGpHvdko7y+BYZ+8XAr46GkiSi6fYXf7mEtXXpCch5/86H3JnclmsnTLdYZ8HjZOksxPWNCo1aRzXRqDHkOWDh2Nle2zNv/rN+z0KznqRidb8QyvLXrkEOJ7H6V565KT43BGMhPmFj1Ek2GGPDYiYTH+7BAYtqJ0xXB4wNo5Czt7zwcpPfoS/p2JCn21gYU5A+XGgEa1y8FpBqeAPuoaWFwuZqZc5JI1Ds7ytMpd7HYjvhEDqViZSy8OU630yFeERrMEXQvhszxz0z7WNxNyUSFi+Aad+DxWyXvToKuIgwUGAX/RqinEyvIzpiIGNY0BC4teIrEyh0d1QiFRIXayuVUklW7gddvJ5MvUayqmZ9UMBcysP6ziGzbSq9fQqR3YXQJIbaXf7hCJ17HbFGqCT2RR0W508XhNxCJ9aXCwORUODupSnedzWnE69SRFaqXeZdhnkTrEnkrFlUtmfvK3z80JY8Mq2s0BxXyPkXE9ly+EuH/7DMVhYCLoIJMtYzVAOt1hOGCm1hhIkK8Y3k1MCGBynvhpjZklG9lMG4tZkWeGRCpD5KzOK6+Mi9AFxVKTRKSOy6MlEqtwdLhbGQAAIABJREFU+aJHJpdODhsoZjHw7bI446SnNnBymmNizMPTR6cSzBgI2TjbLzBQdVg6H5C1gY8/OECvUzO74CcZrlGqtHG4NdhsaoZDfk5302hNAyYnfByfpeXzfO6im5sfhvG4jCwuu/jZjzOcu2gin6vhNmmxe60Uik1UH//h2CCdrhIKWTFoVZycluSmRYeRkWkTTx4X0ekFBE4gAnvYzFqS2TYGA1jMOga0+cWtNudXzNRybbl9mJwR+hOzhC+4/SbS2RJjoWEeb6Zx+IRSxsDRYZnZKRvZZJO3Xpsmmcmwn+hTzRXlllHR6jkOV1k756JeqpIsVpke8WG2KvJBf3F1iM3tGnZbl9NwnWxRxVdfs6DWmIlEa/KQWan3n5PdxYVSp6dV7OEd0jA9a+Xmx0UK9TpBp4aXrwW4fS/LaazJ2qJVQkfcDi25WldqSEKTNn76szgj41pcJtg70/DqZRdPnyQpNXt43BYM2gHVUp+BtoOmB5MzFio1LZsbGZYXPehVCrMrRrlFuvVFVJIts9UWImB/6SUHyVidoZAg3KokeEJsNZ7upum1YXRCQ7epk5E3sxOONssMj6nR6Sw820szFrRg0Kvl5d1q02LR6wjHSkzNjxCOJfHZtHLjLPyY0UQHh1VDPFUm4Hfx7itjfHh3l6P9DtMTesbH4e62ws0nJYYnHPxit4HXqmPcZyYcSYNFxYjTJCdyghY9HjTR72eZnLzM9v4xH94SkKg2f/idEd582cPLv/sv6WVKHH34R4SWf50mefqdAnq1lwZamvUUTtsoudw+5l4Dk3uUUvYMnUVM789QWgYZa2+XErTFJrQvupc2NH0Ve+t/RjqrMDw1zsyFa2j1Pvnhniufkdi891wTY7bRxU4x84DF89fJ54vcvfUpYxOrOL0+bn5yE6NJy/TcotyQDDl8bD55QCaX4Du/9ftUykX+/f/9J6ysXGLv+EC6Qs8v+ulrLLx89SpGk5FKLobN7iJ44U1qkSfo/XY0vS6J/TBaVROjyU1Vq0NfrtKoRTCOXZKDl14zj8U/RbkYwWr1Uc+naOafonMsPZ96ntxHb7Gj1VvQBFZl1FfdaMJAodtIojEa5WF90KmiErUEnZdGNYqqIy67PXrNDlq7cOgOMWgUMJn0KLZJurkNdIFJtu7dl0oqvSK2AXmMRjcnkW10aitXX32RO599wtrcEuW+cLxrsDmdpFMRCULrtpHbXPH/3FibYGzxKi11C4N5lG6nR6+2Lj33nY4GrcWG1uyiUY3RbFaxuEZR9Tp0s0/RBS5JHV+/ksIQfIFm7pRm6hnuhbeoV2N0u1q0vTZtlWBduBlUE2iEAqmWk+pFMcRS12u0qkfonDP0jWIKP6CRuY/eMQaq5y50Y/Aig0qOZv4RGv0YOvc0vVZWcjAGfTWNXAyD2cSgp6KjKOhMVpH3o9nU0e6HsZon6WYzGMdHKWSPMTed2OYFs2SA2mul37fy43/zr/ne97+QdHWV08ewvU2u1OFsv8jqohV3SBz++xwdxSiVNZyb0nOaVdg9yFHogqEPkz41T7MDuTEMGKDYFMg7cKuh1JdvD0wNqdF6TOTDHWKNPs12R/AmMQLirtYVVFkdsn5jdqhQFxq0DeBzqBkfFuodE0ZNhaWpMe5sHhEatdKvdDgud5kMCEBehnq9i6qjZz8jtI0WlsbtJJPPu6cDdRO/Ts2P10vMj3noNltkinVCXgudnop8sSQtC0G3l2QmxeziitwOeYdGCe8d0KXJ2UlUcO9YXRUgOtF/HyIeyVKslFhZXsBiNHPr9iNWLyxJB/3ewR7DIyFpAJBaP4OWtRcvcHQcZndrh5npWYrlPEuLixLcl8llUWt12K1meu0uuUwevVHP4fEx7771Nr1Bh59/cR+Px4ZNQC07opPpkDFN8fXVfZXc+gtl12ksjMVkYnHxHJ999jkvXF6Vl918tsT1G9dkBU6UyA4ODun1eni9XnnZebrxDIPZiLrfJZrMMD87Kze74vfmctglm0C8pwv2h4i5ir6wiJN73B5u/vwLxidH8TmdZHIp6ZRfu3SJxw/WSeeSXLlyBUWrcHqWoF4qcvXGy6w/fCIp/cJbPb8wSyKZkNvLQqkoEwHi97W3vcnXvvZ11p9sSH3f5RfWpNNe/Pf3799nbnZW0t9FZFxUMbY2d/jau28zNTXL//Nv/wytTssrN17mYP9QXn7bHXHBXCSXzcjaWKNew2TQyQ1aPFmgWhLgxqYE3wk9on94SPZ5RdJBsAxERNcfCJBOpCXlX/zsn2xuyKj8uXOzRKOi7qCiXikxOhri7DRMJpNjbHJcwgsFCLYsUkIi5tsT8NGO1Pddvf4SxUxeetnF4D4RT8mqh3DFe1we4omUVGVOTI/J1//pyQEeXwCL2SRrI+Ln0B4MJK9BwLqGh4OEQgHu399gaNgj//5o/0xWtMSfrTfoce/uOt/+zjf4/PMvpBlibn6GtFBpHR0zOzcrobCJeIyLL7xANpuSrAmhzi3XqnKApO4PCA77WN/YlM+KuAznswWpw2uLIZHOwNTEGIVykWKujNVulJfygG+YeqdGT0APoymZYhE/28mJCZmKjMROJQRNbF9Pjva4uPaiHIiLeHxodFS+p4ifh9iWe31+4tEYNgHoqrdotrqYjXrMZgONjqhI9ilmc/QUYSVUmJyckHo0gebf3t1ianKKQj4nOQzxdFpq9gR4T7iyRYc8Gk/IBMzM9BSj46P8zY9+Jisre/t7hEbEMyPAhwpOt4uN9U15jpybm2Jj8xkvX3uJ7We7ZHJ5Xr9xjQ8+/gS3x/lcx5dMyNff9asvUW5UiBwlsNrN8nkVxim36HRqFQ73T8kXcpK5sHZhmXv31nn33bekgeL45ISZiVGpgLRZ7bJnLqL+51bOydRivdGSr28ROx+oFF68cIG9wy3q1Rr5Yp7x0Lh89tq9Fu9+49v85V/+leRKiMSLsHMIkO/u3i6r5y8QDh8RPwvjcfqpdQvYtHo5XL/1NMm/+20v3/zH36b4JIVt0KLuHkKgAJ5t3cJhMDHytTclPf/0/S+4+M8fU0OPx9xj1KtnNOiUOmNpyRjoKJTLNIF6qYNWVEmGDGg04nM8i91hxGLz4B6yUxcR/3oRvdZIp8tzSGTIQ1/pM+QdplbKye9JsVaVcXXR7xcPjmBdCEPE+PQM2UqJZqXCjVdeY+n8Ivfu3JHqVzHsFKkKYW0Q6alwJMLVl68hekG7uwd4vC5i8ZS0rwiux1ksQqvTJeDxki/mmJ2f5+z0RFZxdIqag90DnC63HFI2a0VpdRCb/2RMWJgEqFnBK2o02SLuoAe7zsKtu3eZnJ6WLJZmvYFvyE86mZLvKcfhU+YX5yRjpVISKjyPBNllRIXH5yebjnJ8ekz0tMDEkJVg0EGvVaPQ6MnBXrnYRSOIA8Y+9ZaJSKzJP33bzIqjQ6o2wOvq8vHdJq9fdlCtqWl0OpI90RhoSKVrTA+Z0KIQDOnJpKroDEbcdiN6g5p0sc7hdov5ZRONBiidAS6PQrGuJRotYRQQ4Gkn1VKdRKyC3vxckW0xmLl8fYidjTCFYou15SliyRzZbB2rSYfaoubc9AT/+o9uc/VFBy6fmXyhi8UCwVE3H/3dvhyG1Wpt5ma9eDwqclmReqvjdRqIRRooegPVpuj493EOOYjEshLUmM9WcQWNHOwXmZ/xEhpR064rPN0WHXqdTI2LqpV4fQ0H9egtOnYPyqSiHV58wSjrmdlsTS58FE0XjVnDgy/LvPKKV9qq6i0VhwclJqcslAsKmWoem8FGqVrFYTOj0agwGAfcu1vm+gt2aaMwWgx0u2LZ3KZS7WM16Fm7YJWsuUcbGb7y+ihPH6flvbPV7ON2i/p6g+Vlu1T9rV2ZRK9qsblVIODRoOjVko1hUiuMTbvYeppE0RuxO3RUyzUmJp386MdHzE16yBXyDInBq6qJ2dDnZL/F9KINkyD/u63kSxnS8a5UxQvQqFA1Cq5BItGR51udqY/TJbS/okpRY3jESavcwODQYzSIoUiRXqdBsdKg3tSxuuqhWiiA3i4ZNUaR2Mt1MNu62MX3RzFgMQnmTxvV+783MmgUCjzba/Df/vNXSKcb/Pj7j3B5zEzO2jg5rON0CQCKhd5AgNcEuV/LQD3AptextZtAhYFzyy4OT7K0O3oZfbYPGTnerGB1Csr0AIdPxel+i+ZAwWHqcfEFP598kmSg1uD1iYerjsUkNDpm8pUWCzMesskaxWobj1fH2UmH/qDF6KhT9qty2SpT0zZi8RbeYTP7e2XmRy3kSx0azS5dVVNSfIX78O7nWRwuFU6vVmpYBKU8U6igVnQEfRZi8QrDIRsmvYjpVjiONFheFD2XFo16h4VZC2aNGAhAvtDAoKjQWVSoUUgmahLC9MprkxQzotsGdpuIfbXpqfXUyn3UuibjEzY+/SjFwpIFtbpPpdhhfNooH4wHn5/i8prRWHQc7+bweg3yawrlVTabodRQSyevAAzOTFkJTXp5tpnD6RGe0DbZ3IAbV0PsHcQl3fHNXxph/cusBGg82U2yNOXGpFNzmqwx5DATmnLy+cMzZkaMmA129g6jvL1go63V8R8fG9iJpNgrNxl2GFEsGurpBtVOj5amh0NjZXbcSLLUxqlV6Og1HOwUODlt4PKY8Nm7/NG//BXmf+kfoqQqdPIF0tlDmjuf4b70q3RzMQbtEirhXnaNoqvVGVjcqOp5KqfrmEcW0VqCNJtpVNYVNPUI1cIx+m4OjW2cniVIr5BEGRQly8E+fwN1IS03C4XiAbRajJx7gb6iMGir5eFPbTGg7XVpD2xU83EcQ0F6pTzF/DG1jga7K8DWF3d4svWMbKEtD3XegBO7UN7V21RqA0rNDCuzIoLoZ2N3F5NOkdHOk/iJ1AcVwmne+OY3+fH3/4JXbqxx8dWvMjodoNW30E6dUMnlMZp0dKpptPYpuoMOg1ocvXmcSj1Op1zAOzRPXd1DUTtQBk363Qy1YhWNYsQ8PMGgb6NT3wVhJNC7qZ88xBqcQ7GM0OlV6VWO6Av8jP+aJOl3ClHMQ4s0ojvUq1GcgSnU7hVq6R3sRium0DTp7bto3QE6pTBPHh+yuHaNYjpBNrlPqdRDsVnIRjOo9Uam56bZ3NpiZm6S2FGUdPyUV994j0R4i6/91h+Q3rgH2jpqARPt6OlrGjhH1mikD6mWkuhtI+jbdZrdClrbBO1mgU6liM0dpJq4j9a6hN7poxL5O7Rqn7y8qywBCfFp5g/R6CfQ2h3UCjGMgWV0rQKNdg9lkKPT1aA3T9As7aE22hDO0louidEzjdHaR6W10K0qUocpaKlKMwFGoSfMIZjHBs84qqYYACQk46BaS2HSuWkZLTi0JsqZM1QiymidIht+SOC1d+m0rNz+0f/C7laGP/3TL5mY1bA2P8Wz/QLhSo3vfmeRX9w8IinItM0uqVSPZkfo9foMWUUPq8bvfXeatQuLVEs5DLYhrAYdmUSSwPg0Vrcf2/wsvVqYVruK2b7EoA79+iZqwWpwmWmHn6EzT9DQ10g83EUs6je+fEyuWqPUVLO+foxrbJxbmxEqVTV7qYFkeqhQMWFVYXEYcZrBpLXi93dwBUTqQ0M0HGZx1MOTgyRm8T7W73GWqnB9bYTt7RjDoxp0Rg+ZWg27Ri0/tDPFjlRMjQ07iCaK2B3P+7Rikl5swfy5ZVaurJHJdLFaVRxtb8n+tTi0jQ6NcXJyLDV0Kk1fximblQYag57AkLCdJLHYTLKb3GmKDaZRJpd2NvaZnplG0Slk42mcHgc2QbnP5WQcdywUJJlNyzj38EiAs5MYWzs7vPTCRVkDaLcHvPX2m9y6fUsq6EZDo1QrFdJ5UVUYl595qURaxtNFd/zL27fR6YxyKDIc8Et3+BdfPkKr17AwM8XuwR5Gq01OKpOZJLNTs5LiLy7TQv0Ui4mJf4jj42MmJsdlb9UpLidi25pOyQOMMNqI6Oq5lWX+6v0f8svf/gYbm9sy3i40QYLSf/7cqjyUZjMZ6dGenBjnqawHLGC3u3i2tYlOp5V8AhEJj0YSEgA5NByQgwJxcRdd+0alLGPiBqNJ8l4E8EzA4Eo5oQW0SohUPB4jk8zIYefqxWVp1Tk6OSEYHEat6rC5uSuBWtOTU1KLJdzoPq9fbk+MZhN+r4dGrUZNkN4RDuiIrIAIHaOwOviDw5iNRjaf7TAYqMhlkiyvrPH08cO/7/3rZRw4Fo9wfmEFr9dFNJ5ke3P/effWqJWRYQGc29p6JlWA4r8VBojpqSn8fg/rj7e4sLJIMZdDZDaFSWRoJESjXJVDntffeJ3HT9Y5O40xPjZKPJ5kamoCnVYteRK5dFFup/b39zHq9Xj8Xra3DhkecskLiBguJBIZLly8wPHhAWenpywtLbB6YZVPb34mXfX1apWxqQmi8YiEBgqt8eLCjEw0xCJJrCJeqlbLS6eoFpyFI5LYLLatwvAgtFzDIR9bz/bIZfO89vrL7B2cyC7z4tw8yWSS/qAvaf6CHD46PCrTC9FonF5PKANHKZaKcrAlVJIul1fGiUXXXtibstk8gaERwtEI5XIRp9Mj6yj7OztMTc3IelA0GcPt8srPW6Hbm5gUZPdDeVYR21c1arQGI6VyUYLKVpYXCUeicgC3evE8aWEtCvo42N+j1Wqj6CwMZEpF6P5CfPLxZ4xOj8kByL3791lZXJGMCPG1a5UKofFxdg9O5HlI2EREwqdaLUu44PL58zxaf0K5XJapDsGpEHR4wVkIBIdkrF+8xtVqRf4Zf+Vb3+JnP/0Qq8Mif32hNxSXUFEJFQO649MwOq2BRFJouwR4WNRzxOuvLwdXpVyJsYmg1DBmUs8TG4Ik3+6omFuYl+rcRDTO8LCfeqtJOBLH5XYS8nvkcEXwSMSWvdkq0G6qsWm6fBrv8j99e5g//O9+n6P/8OfUVTq82jZmmxGzy4R6bYF+NMONX32fW3ktLy4ZeWd1lI/ubGPSGVFEYVojBjo6Wp0K2VJHdto9DgOdnpqp2SFZh6hW6szNLkirQSye5vXXX6VSzlOtd9h48kDWTwQ3o1rp0OgIfZxJxupRaQkEvXKbLwaN4n1NcLJMNnH+P2J2dgaXwypTedliDpfdLpkgYvh4dHgsbSjivaTdbeH1u2QdQFyQWi0R19dQyldkVUkoRJ88fkSzLTSgFzncP+LSi5e4e+eurAW9+e5XcNl8HJ/scnJyIt+LRfVH8AME4d875JFV3uHQMPHIGdFYQl46RQUrNBLCZDNTKzUYGw/KM2KtUSebFrYzrWQrqXU6+k2xSCwQOTxDoY/P4aOr71DK9yi16kwG9PR6Bsq1DkGPnY1ohB4O/vMrOpzqMtW6hoDfytZWBt+oE6+9y/pemaUxGzsHBZaWhnFZBhSLTertNlZ9D7PZx85ujJEpK8V8G49bL3vf5y96uHUzis4ghm52EskK4xNuGZFf/0WEkWkHwZCTVLQgtX2lYp9kOicNOHq9Dpddx+lZkuExvzzfHjwtoJgaFKtqfv27s9x+kKKQqnPttUnZhQ9Ha/j84pKrIhgwUi4je/watQ6ztUc+38PnVeSFVVizxPJR8D3dngEjQzbOUg1mQjZOw1X2j2u8/rqLZl2h3xsQjjRpdrusnLdII04xM2CgbVAoCPCukVS6JVOM4vyQKXTRqoQKXaR2BmgUPfVyneC4SKbpOTnKSwWyx62Rr814os6I30lf6ZHI1vGZhXWtTTozAG2HualhwrEyiWiKclXDtWvDPHmawu0wyj9Ho1tjdtohKwQbTxP8zh+scuvzFKpuj9k5H7dv72OzGpmYGub+42Omx4NUG2UWFt2sP0iRiVdYvuhHNRCcgQpuj5r5WS9bz7I0ewOyIjVh1mFzaijmm2RzNVZeCNEsC81uUyaoBBC0XmvjcptkInPpnJetrRJ6TV8OT+02Izt7BRbmvDx+GsZs03FuzkMhLxIdLVKpPOfPBVhYHOFvf/yMwIiLeaF8PiiQSLTk6/mlS2M82Eyi+vD3/QNBmD46KZLP1jBahULFIQmbos+QzjT46ltTPDuIYjH0CLj9nCUKuFwO4tGyJB2//pqdJ087Ev6wdN7J+oMCZocGvVrFoyclXn89xJBfLUmLqUKXIY+aZLwvL8KhcT2tnpbD7QpLKxYur87xvR98TmjES8hj4eF2AqNixh9Uo5g0lGI1Vi4G2d0u4R3Ssb6eIjTtRN9TYVBrSeYrTMyYUVRaDs9qvHzZyYefJgg4TbIPlcto+ORmjH/0jydoNRQ5jSumGsTzJWLhPpOTYDLb8bk0HJ2Vefq0wRtvOZkKDXPnVpRLLzkxGxV+8H6Y6WkDKwsBInERPytLk4Hfb0Krt3O0l2V4zCBJi+q+IrfXlVyLyzd87O6XGR1ySvjX/JKTH/7FnuyNiHhKMt3mK2+Mc7iTJJ1tymHGcMiOoutSyaklqOTcORfZpMLjjTDvvjkrfeBHR6Iz7KBQET09lYQVvnHNR6etECtCNJ6S4KuX1tz84lEWbV/F1WUvG1sJ/AELWNT8iw87bOxWeOOqWXbV1h9k0Jo0WIx9eZAsd4toGn00vQ5ar49ULM9nz2pMOOGf/Cdr/Pbv/AbmYTuD1oBSNEVVxOT7BvRWLb1KlY7KgFpnQqux0qgW6FWiaIaG0ejGaOeeSBKwMvEt2md/i8nkoNUp06vX0U6/RyP+GG27htHmpN2oAhXUvjWMgw7FQvr5B57QBzUj2L1fRWOGRlIczH2ohKCtkMURWqZdy6PS6qnFT/EPn6NvscrtTTm+I/kH8VxMamlEoHd3c49ytcU7X3+buz+/LcFLq2vLxPM56YUfGR6T2xC71UBhoDBodkjHT+h0tezvRliYdzPpdnL1jRuYx+fo11okDh6gKCZsDg+i2FtvlXF5F6kVxYdMmabajE7rQa1XaJYyGK0WWvUiqnKGtmJHq67SzEaxn3uVengbnS2A2uyj3S6hdJo0i1FsY6/TqoapFw5xBlZptgSW9wBFCTIw9Om2+qj7LRStDbvHTafaQ+fyUSsnUJksWLQGwo9/gtkxSquvoFHBxvp9do6juEwupubmODjYJDA+hqql4zi2yxuvvYpe3eR45x4X3vkd9M4Z0g9/JNMJvUEfx8gqTZUBpRJHZ/fI7ZqmL87iGvqdEs1qAb1NwNH66E0hyvlH6AYKRu+CvNyrajuguCRBWqUx0W9mqMR3cU+/QjWzIzfeXRFZbHbQh75CL36TVj6KZeld+tUu7W4ZtbErI8qoHAwooK5lyNfLeAwGqupJFIuCplFiUG+htzuf9/WraXn47HfreCfnQfGhC1jY+ugT/pt/+m8ZmfJQbVeYWRznypXzfPzxI45PBWjOj6I4+PgXm7z2koVZv5/h8WG+8UtvYhkfY6Du02lq0GlEBEHc6oVgyc9A60Jly9HPl1E3ajR1PnSxp7Rz2/TG34X8DmrFht4bolvI0VfF0Awt0ysW0GhM9EIX0VWPGeidEhZDqwj2aWicStdt7vFNWmoRY23z/t/co1MrcHxY5tZ+F40G6moIWeBbr4zQGAjqtYZctc7kqJVPbidw2hV2D0ssBF2Syh6v1tD3VZQ6A9r1AcNDZqrFoiTx2zwiVlej2mphVHSkcyLl5GR+fJKKYuLK9VVUxQ4f3fyCTq/N/My4TEh98fltCYYy6BU++uw2y+fnZILraHuX669el3A2t9PP5tNtBqquJM+nknkMeg3zS0usP3pCOhGj31ezMC+gUkm6amhWy1x96SUebzyTNHG9GPieReWWvlIXGwezNBS89tp1js+O5VbF7hTAL3FJt0li/Oz8jNxSrq8/4eWXL0ufugCa+YNBtje3WH3hgjzkCEr/3PwC9XpVOu6NZrPUneUEiM8mnOH95xCpzR3e++qbROIRzCYTM7NzfHbzU3nx7bRbMhZv1OqxOB0kExFmZueJR6IS7icu6jeuX+fjjz/BZrUwPT1NtVZle2eHS2uXJHx2/+hAbhFuvH6N0PAw7//wp/QHPak7bEsQYUVG+Utl0Z0eIXp2Imt2dqvp+ZaePo1mnVdffYN2r0ksEuPWl3dxub0SFhgKeKjUGnID6nO6ZfVBdM6LlQpiTez2Wtja2JZmgv3DQxwOG1995w0eP35KqViSl4W7D56yunYeq8kkBz1iE12t1eVQQ2jc7ty+x7d/+RscHJyQy2YplkqExObu6FDq1eZmp5icGuf73/+BrEdcfuklCUMUW2ahrTMadNy+/Yj/9Dd/jZ/87Ke8uHaRYDDAD3/4YxbPL9LvdWWUVVgQRgWMrliWbITT0wjLS4tMTU9wcLAvkyitRlsOe0T/02ExMbc4x/f//Id8/Ztfo5hLU6rW8Hi8HB4eMTo+TrP1XN24OD8n1Y5qtUrygRRFy/Tff93/fxs5QIPX45Tx69NIhIAvIPVP4q9tFrv8OlNT43icbr64/SVXX7oibRTPtnYlnT4wFJCXl51nO4wKg0SzLcn5hXxRahbr9aa86CwuzskaSzFfkz1Zr9cvtYf5fE5uQEfGhe4yIy+J4sKm0Wqxms08evhQDiaebe1Qb7awm80y7RMaH2Nz8xmv3HgJh83Jk82nMhGQLxRYW12hWKjIXr9q0MXhdjM7OY4AAqTSSZkqC5+cMT4+hUoZUMmXpc5TPPtiSCWglNvP9rhw4Zz8vicSaUZCo2xsPGZkZJyTszBTk6O4PW5ufvIZeqORi+dX2DncJhgYpVItSricuGhqFRVun1e+zsLRGCa9XuoUOx0xrBOXADe+ISeZdJ5iMS8HU4IL4va5yeSKRMNnsg4jWAQCpf/0yRNmF2YIHx/REM+7WiXTbxa7mcnxKUbGxrl95640Cnzx8y/pqVX85m98l92NTZp9lfz/NL0aZpuZfLXOqN/BDx5F+N0FN//qf/wGnWgGs8sDJ4/Rvn0NsYH67//FR/zPH2aMxCIOAAAgAElEQVSkr3553oqmViVf6+NwOjg/M0y6XiZ3lsblcbO5fSaHEm++/QZDQT/7J2FKqay0UlRrbYL+Iexuu9QT2i0m7ty+hcVgwWjQ4BP6zW6X48NjaatyWS2y2ibSZmarjlQ8S7sFc+fnqBRqcgArqg8Gk4Wff/wpdo9DwkPFcE0MYsSzmMpkOb8ySy6VZ0gMY08jchAtEi6jIyNojXqZKEil4jg8XpkqcjvsmC12DCYTn3zyGd/+zrtSw/j5zdvSECV0s4GAW9L6Oy2hEHeSy+bk4Cw4MkK1UafdaXFyEufC8rz82X1683OmJkNcXLnAo41tctkk83NzJFMpnB6P1ICKlF4lJ9JaUfSS2dInOGyXG3qzXs9ZJs/ikIeRCRP/7maYEY+Va2NaZrVFfvf1AH/2OEMup8LnMTATMnDzVoqJIQFIbVBuiUuqjXJZLM20GDUKR5GOrO8tzjjwOFSE4xVqFbBawD/koFytU6t0cXpEokUsRPNMjthlfdrvt5Er1mX6T3zmCaBqq9cl4LVwEhZKQDXtprjXWEHTkmwnjdol0xSZXBWXW6HXVfHkcRqHU89Ao0iLwrWXRzGb+/ziToK9rRzf/OYSO9sxRifMcriRTwpdp+BWuWQiLjDpwCvI+M0GibMG8yt+9nfOeLjRw+9Ro6jULC3aOYk06VHBZ7OSyDaJHjW49hU/Jr1Gqs/FoM1h1zEY1GXFL3FWo9NrCps0zdaAeqUnl7niyDQ16+T4NEejMpC1vNNYlGDAgNthRulr2D1OcP21MX7y/ilut1Zu5gv5Jma7QjoldOk1Gp0GCzNuPG41DpebL++f8OqVWTY3I/TaagZqoQK0otflyYbhrV+eIJuq8+d/dkYgABqdgUqlyeSElYuX/Zwe1Pn4oyRfe89FpSmGcYKbZuODvzvm+rURgiEL5UpFwu7lACQvFKg9/H4tT5+JQaYPj0dP9LhCkzojPh+RWBWTuU+l1EKnscqBqkGrxmCx4fEq2G0acvkmHoeZWgdqpY4EaE7PuniyWZRnG699QGDKztaGWDIbSSYaqN7/3ZFB/CzL6KiHRKGMqt9D6fcITdix6C3s7MdRKRosNgEIUUkF3MiEiFbayJdKNGoq5pZ8rD9KUi20WbvoZ3MjwcSYC4t7QLMOtRaYhH9U2+fsuMErN0ZIpFoUcjnml0I8epBkbt6N1QXrd3J0Wn1s9q4cDGhQePEFL3/+gwPmZgO4bD3MDkEmbdFpqCVoZOcoy3uvBzk8a5DJ1Qm6dah0JnY2kpxfCTAxbSYSbqAMVCysWPnowzA+r0tGX7PxEnqLUW5IFhbGpdqjV+uSyg1Q1F0sdoV4vITT6uT4OEtP0+fbv7LG7uOIBAbOTwZJFJPou2amZjz89Y/2Wb7oZn7Rw/vf38TrsTA6bObuwxSvfCVE7DTPyUkHX9CE1aGQDDdptlqMjwyRyiYJjDhIxIRK0EWt2kan7WGz6tjbK0hQWF2s0lBJlZhBo5ZTJn/QSSRapVTvcOW8g3pTQ61ZkdFJ0UsUv89r54PsnIl6hRZ1t8qK18Lj0xaPqyr+7klFgtsEpMNlUDNo9hkLanmWbLPgcNDodzk+zWAbcuAPGPn4s1PiJTUTQYX/8puz/OZ//U/QhEbpZZrk1j+g1+yhcQ5LtkGv06ZWDqOzDdMtlzDaurSqffp6Jxqljqqro35wH5VJwbb8G3ST96jGN9AvvQapBGq1RoJ0tAYrPbWJYvgJ1uAU+kGLXPwYjWUIl99PT/HD/8fSe8BImub3eU99lXPO1V2dc09PT57ZnO5u75Y8HmUG0ZIl06AEWJYhArZhGIJgCSJs0JItQ4Zk2ZQEJlBMd+Qdb3mb08zu7OTUPZ1DdXVXzrm+qvqM910vcDhgcTdT3VX1fd/7//9+z9M5kTAwvdlGu9yQ/duRouLwLDHotVHbKQy2ADpziE7+AYOR8Ko7UHRN9K5VLA49OtEbE9R4a4JhvcjtT3/E+MoN6pU2h3vPUcxmeeE7y6YkuXvuwmWsRgWRB3l47z7zy7Oyz6pYdLgsEdJHj/C5x1hcnWXm3Ay0VUmi7XSKGI0+1O4JBsWLgA8Ph0aMSgd1MEAbNVHsM1g9MQaNCgxEPMmAqg+i6DXUdlMaDAZDBbVVRd8pobMFGKqiDxRloBOmB0FzP0PxTWE3+GhUnoHSR3GtoeunUQv71PsDPA4/o1ENe/yirGR0ax0CcxdEHolRLSXj3CI2OPJNknn0Q/rtAYrBzw9/9FM5MRVk/kZb6GHexO5ysbf3gKWVq1hHbflZ0xmC1ERhr16hnn1KYPJFOvW0jN87I2tUM/uYnCGpg+k39tE5VjEYm6jtNiZXQPYrdUI8M2rTVWsY2irDVgYttI5+lGOgGDE1VPSWEP3mU/T2SYx2G321hNKr0Gt1sLiWKKd+ht07j338ZdTaIZrcaNik8m20/xMssQvoA0l67S5WowWdxUynckbA42e4uEp3f5+Du5/zyZ1n/PVPnxCaD/Ldl1f4Tz98wJVL5xkJ/WHrlL1jHU92iqSLI37/nyzzzm/+MzA5oPgEzFaaORfN7AMik27K3QiasDEoClr1jMHIgdW3it45oH+yiS0+iTKoc3L3A7wz5+gpKmaDB6MjSbuUlmoXu91MJ7sn1T4DnQGTZ4DatGISHTXFxMg9jenwA5TEPBZfRFD5wG0FvYuRzo2S36GY2+Df/9sfk9o74aQ8YHu/S70P2e4Ar97A+ooVl9XKQDFg7giSsoXD07rc3Pi9RtLFHomghUp7yFm1j9OoyWva0WEG8eEWnTqh7yoUa+wfNxkZDHTUAS9dnuXNt9/i0y++pNXusn7xIgdb29Jdb1SsJBIRWu0WVoNBbiQFdV98l8NjY3zw3sd8+81vY7UZuP3lV1Jtd3J6KhNnl69ekJvfJ0+3JP9hYXZW+sFvfvE1oWhQHlR6aotkYkICwUSt5fLlS9L7LCLWw4GwHrg5zZxxlstKz7zDaZdMArvDKTf9PrdPEqSFvk5sAc0WYW9wsLw8L0FqRqNJOqLHkjEZDRZd6LOTE+wuB+dWlyUUbHfnAKvFSrlSIBAMoWiKhOOJ1+CP+DGMjJTrFQl8fPvbb3D33iMZp105t0S5XJYHNmHtsNktdFsdcbnHYrNQLTfkn+Py2KWSTXT8BeCuXChKTsPMzCzlRgVN9Mi7TZLjs3z6yUecv3iF48M9ma7y+3yMGBAIhanXywR8MfZ2dogmIozQSKfSRGIRqqUKi8uLUrF45/Zd5gShv1Wn02lz/do1Prt1i3g4RqVRxuPyyIOmxWKTOkfBJ3A4XOSKOW5+fpvXXnlZxrp/9rP3uHBxXR6WM6ciku6RW+mZuTn2dw8RfPjpyQkODw5k1z4SDkjmwtnJKflihlAgQaVeklsw8XqEgtHr97L5fJNEPCGNEGKjvrt3JAcAgjQvDEIvv/Ey7733IUsLc3j9Iba3nsutsCD1C7OD0WDF6/eQyWRkPF/E/09OTgj5A3T7A6m6Ozw6wWIySr1du9WTlYJoJCjd6EL16/X65EOyqBvcuXeXWCAk6x1/+ZOfym3q9RuXefevP2FublL6pCcm4qRSJ5KpJEwYL7zwsqz8ibrD17fvk5xMSjr9vQf3JLlbkPNDIZ/8DAvLkcfhIBj2y3SGUAQK3sDi8pJMKeQyBXlfERpBkYxqVmuy/iCo9pliXnI1BFfgMJViemJKVjsOj46+if0bRaJSRKDrMgEkhhu1all+T0WSREAoxfZOgDNFTaSQy0sQoADxmU1W+fkQr1VUHXSK6PJ6JXX96ZNnEhIoft9Wm4Virizp/pVaTaZDrly9Sq5UotNsomkKqtqVKlQx6Ll+/TJVoRk9PZNx3mIuLwctIn7/xedf4fe5OH/xEp988rEcQL308kuy8y8SIaJDLoYZIm4uPivHqTPikRjBgIdSuSRZCW++8bpkMfz0vZ8xlZyQ3I3Dg12Cfh8er1emfQQDY3FphbOzHLGxmARhNtuCDm4lEQ/x4fufo46gVhS6xj7nlpN06lV5Hfl4q8Fv/fwcv/lbP8Bs6cIgQnn/Af/6d57xv//omLq+zfrMGJNBvQTn5dI1sJuk1nluMkyj2ZPPD+PjQqFcxB+Ny0RCcizM/Uf3uHD+Mk6ng1avQcDj49nTZ1QKOfk563UHuAMO7CYLHQEk9nplDNzpEMaUIU+f7clDo7BDWO1WpianJJNE1HcEt6LZ6zA1McnHn3zM5UuXpH1CfP7FEOvR48e88soLpI5OyeeLLJ5b4mD/EEUbEh8b586de8QiUbqdtqwJCd3m5UvrHKay9PtdomG/vNb63S7effd9mfgQNhebyYg36JOKWFUkUDQNvV4vlYtH27scZcqsn5tHb7AhpLdieCCGaAI+eu/ObYLxENViheWVFckUEIg7oXbsNtpyQelzO3FY9HR6KnXxn9qQqbidsMPA0+KAr7ZyfGcywLXJNmsxI8Gogz/7okzQpnDjXIAPPsiQiAmbsBWP187xboEXXvSSrRt49LSG2yz0h2LMKmp84rzTw+OUtExMZo1eyyCNR4IlYrRqhLwuMic1RgadrCKcHNTQ9AOmpoOU6nU2ntSZm3Tj95mptdqYzHoSk35ufZSWNhGPzYw/okfFTKtaYnu/x6W1EMepthwKffftJK3ekMO9MopekWYgoY+tVNuUKg3sQhLU1RCrlLGxCLVGBaNZx7A/xO4WZHwTqk4jm2lLtWw85md5zoHZqfHp56eU8j2u3Yih0SV/puIPmsnm2rTqKuNRq1Q+7u41wDiQ4ORGDyJhC/lMQ3KSvBEjuVNR0XGwf5BnfslDPjeQS0mbS6FRH0imSD5blJDF9z7ZIuxx4/DaqdRrhP02CidlJpaSbD49Y+lcAItRnA8LDHoa8aSf/Z00s0shGvUelbM6S2tjvPfBKTZLj1/4pRUGLYX/9z8+YH7RKV+TXq/SHw7oVPVU6hVWL4zTqnTwRUx8dasiWTQvvTAtr9cz00H++I/vg97CwqxbVr+SCSuNhl6yA0olAaXXcX7Nz9ZmBQ29/LPDYTvZTJNQzEStpLKwEJeJFZtT4eioLZe7m89LXDkfwB8zy2egRn1IsdKkXhtx/lIQOhqFSksuaGcWxPI3h+6HvxHV1EETu92BfmjkNF8h4BNbOHGzLHDtcpTcWYnoWIDHDwS8qMt3v7/I6VGDTK5KOOFk426VQKJPcnxM3lRL5RZ6nUV2L86tuHjwdZ6RUWN1JcT+QR2fT/Qyh8LGgmLocHaiyge82fOCON+UvUyTvs/WszpWr17GQoQyrVQcMjnp4NnjHHPLEQq5GsaRxthcWMb9hLNUwBPEl90pCn7DBpmSWBqa5bTDZdVYuuij0xiQzXQx2EU8I8T7H+4zk/SyMC8IuyWicRvNShVX0Iwv4OTxvbJkHLRberY3a4xNmvE67TzfLMmOnPBBbu/nmBx3sbMlthN2ltfjHO5WUHs9FpfjFAsNudlIHYk+T4D0ieg8Wei3hnhDFpxOhedPxZvV5LU3ZhiqKrs7Naq1iuz+2QNGBh0DiYSTsYSTYrrKxmGH2QUHh9sNumqPRNhDq6cxGvYo1IY82a1gchi4GDFK0uury3Fyx1kmL/j4g4/y/N7XXZoDI/NJE8WGKunyzbYRp03h++fj/OhBgb5aZ2FxQhJ2bz4qUC1peNwjfviv/y6r/9nfg95zRk0r7WyF+t4WurAOqy5CR19GXx2gd+npFjKYAhMoAqZl7KN1dXRKJ7jiS/TaWWzuMH2zE601oHt8C2fiKqPoAqPsPWxWF+XdW9j9SXSOcXqlW5h8K7I/jCWCdVSl1zim0Vex2SKYPNPU9n6KzhnCP/stepUzepUd9PYk/eq27FObYzdQWntoPQG3UmkXdnBMvUynVWVYr2A2qBij05S3bzM2d1464Q02Pzq1SLvVZNDV+LPf+22CgXkMtiDb+7exGoJy83L5pUuMBM5Zr+H3RmUs7S///C8IxRNMjCeYHXeztPYymdQ9RkM9rrFzKN0i9cwzrJGrGD1j9MsH6LrCiDBNLXcbm3cKxRZBp9OhU7u0zu6hDc2YY5PoRgMUTaWn6jHbvgGZ9ZsZhlofBT/N8hPsVi+a1U+7tIEztIhi9jIUh0eZBqijD6/Q2nuIWaehhM7RL9zHnXyDWr+OvnaAqh9gt/jR6dxY3D0GPQVHaJKvP/gLmnUFbyxMOnVAPBjjOL1HMZXFbHfQVsVk903mzr+EMjjFJByXjgmG/SLV3Tu0CzW6tJi68AuUju6iGERQ1kRn2MNgCqNXVBSTUwJ81GaRTr2Ee+I67fRt0GoogYuSAKx1WzTTH+EQNoZSCs3qwBK8Tq93TK+whX3iBgxc6HtlhuYR3dwhevF7Ku8wNA5xj79Kt9dmWDrE44rQMtoY9Zo4/CZs41cZlU949/f/A5/c22Z5fp6TVBPFNeDd958QCjv4tV/6OX7y4y9kGuUHv/QC//0//wu+terhf/s3/zM6kwO1KaBiNcyjFu12DZMtSLe7j31gwBIap5nZwOycoqvXyV5w6zSNpq9jS76AmvocffAilvA0nZ0HKIFJzJ1NBjqN4cCMzq5nmKmgiCpIM8/J9sdE57+FTjPQq6Ux0EDvX6SWOsLhszIwRyge7xKbX6O5+yXB2VU0mw2rx0Tb4sTiG0PROeg9+CvuP9hAN2zzH37/a358q4zFJmePGK0wM2ZjcnqMmG1EX+fmk6+e4XWbCIfE4ahOsdTkO28s8tlXh1IJKJRKIp52bmWSZrWD3aLJG/9uoY7FaGAsGpaR4oVlQUBv4A/G5MF0YWaKbL5Ao1rnKHXM+XMXSJ0eSXp2KV+QpO5arUk8JuLMSGCCOAiLw1IsFiElfpfoJSxMXFuzxQJr5+eJhSJ89PEXssNcKlZkZFiMmXq9lgTc3fz0JksrC0SCEXndFgwCX8DL8VFaAvSmJybJ5YT67lRSpB1uJy6XW24zxcFeHQwxmvUEvAGMBgXxdCnusZVKUXqWe/2OhJTFwl666oDUwYn0P89MzcoOcb1cpz9SWVtd5tHjJ98A13YP5eFkfn5Rat8qtQqz07McHafk9ku8N9FoQkLQxPTv2rXLMtYslFgiBi3I8Il4lEy+JKn+X9+9SzgSQVNHcuAiIv/dtkoo7GNiZlIaDpKTCf7qLz/E6XASiYvod5uJ8SSZQoZqrownEsCs6CWQ8SSdIhSJ0mi0sdmNsoKRy5d449XXmJ5KcJLOcPv2PZwOCy++/CInp1kOD/aIBCLyQLe6tMhXt7+WB6mAOMD2B1LTJqoEIhFgNohtWIhkcoqzdJqzTJZINMb29jaZ9CnvvPM99g+OZM98dW1Rvq7jsxwmRQAXYzx59Iy18+dIn6Xk4GEsmeCDn33KubVlSef/4K/f58YL1+n0uhRyOdwuL+nTtNQ+CnaMAOGJPvPs7BztTluC72q1mgQXWu0Wjg4FE0DcmPTMzs3KaLKIWIvPdTQWo1wt4ra7ZTRZbH5OTzLSvCAO6jarQ/benwtPvUmRBzLxnh/sHMqY/kivY21lidTxmXygFFvcYCgkP7eHe3tMz85+UzNoN2TXeiRfhcK9h4+4ce0i+zu7BEMRXn3jFT54/z25QFlaXGNvb1NG+k1GM/uHezK10uuIyL0Y8SjsHR4xOTEh7Qt+n0dG4nMF0Qd3EI6IpENKDtpnFhakFrPTEUrBMt1mS/7eBItAmAMEgVwMp8rlOmarUbIwhDrxpZeuUywX5QBubCwhye3dbldCAcXwShy8xmLjPNl4xOrSKs1mg6fPnvHC9Wuy5iOGK6LnmkhOS5vEF1/elgMMh8PH7va2JPeLg494f8R2VCg052en5esS1aFCIc9Q3EN1YpmSJxgN06jUvhkQ9Xs829ySELk33niDu3ceUCgVJGdkZ2eX8+srshqwvbUh60oiAXuaPpMHp1/5W39LesodVjjNl+TBWVx/LDaTtBH5AiEeff0pJyc5ZicC3yi9GLDZ0stU1qf/+E2cfjv/+N9+zr/7tIxmGhILWLhxaYHhWYVSKUtfNWJwC76Bk546kkMbAVk1WWx4PG6igTgWt0WCIwX13BsOEvIFKRRzFIplHj3ekRyMickIzbaw7egZG5+UA7p+vyfTWOJA3O+ojBQDLrdLVqROM2mmpicRhrado11KYvgwP4s2GsmBiFhozcxM4HcHSKWPJK1cHfVkeuQ//eGP5AFt1B8Qivml9aNSKbO1s8uN6y9wfHIsv2fteheHx0U4FMBgMErA49rqIjtbu2w+22F+LiG/V+LwXytUcfs9HB8cExsTjnSTNJmoXZVwJMDq6jl29vbpdPoSlimSJeI7JwCBYV9QDnar5bqsij1/tsFooDI9OUav32LUVklXR1xZ9ZKVvXQFvabx8bMqVpeFf3DRzIWoBbO+x8PikJawiXlMOMwtUYbBYPGIzh6Lc36OT9rcvl9kdclMt2WlPexL3eLCpAu9TVSlu9KgYDJYmZ3yyWf/Z8+rqAM9166HKBR7Mnk0FnHS7vVAG9JqqNTqPRnzNuktbO2d4LNbcQYE0LaK224k6BdsgTahUAhHYEA52wSdlXa3jtVm5q135vh//tUjvvtOksnZMP/3/3VXLh4tTgsTUau0f8RnQuxtZol4glSaIlmUJzrhJOr30Gr2+PijIomkjfGok2qnSnRcAAibEkJ6mmrhSwaJBczYLCNO9tuyJvnWa2NsPs+ztBaV6cN+c8TjZ2XGJ42MRV189EEau9PM8qq47pjkQP3TTw/lpn5lJcxH753gcCiMz3lxmc2cnLboDTUGah1NABLPRf7/c2qWuQUfRrOLbqOPwaRnYzPDzIybmek4Nz/exhu044vYsDs0cvk+nepQ1hgjUTdTSRvZXBOzySQHYZVqi05rxK/8nWUe3cmTOSmyfD5Gs14jlxlgNiuSN1Qq9xmM+pJnVG+3UAaarDF6vSaK2T6ukJFuo/nNdbJcRRUQdGFeGpjE4RWT08RY3MLedhGjwUClOGD5fJhOu0c6W8bnEilMjXKxzo0XF7l58zG1oh5v2CptY/6Ql41nZZYXnYxPWbn5eYN2q8759SjVQldW4HWf/A9zWrHcZH+nxKULQRYXI/zu7z5iYcZJtSHiCx3sLtHfaDK74OHstM/2ZkN6rpuNEb2uxpvfHuPdHwlwm4Lf5WB2OUA6dUarJbyNNuLjVr784oSLa2Ps7Z2SywmVjAWbz8RIFf5JHz/6ox0uX0/ImJDdbmImGZYex+fPBEioz8IFF8XTIetXAjx8lKdfG4JFkyqQaNTNhx/us7wUIjHlYOd5lY2dMj/43jyNVo1nT8vMTXnJieGGN8RhvkoyYpN01CtXo+j1Q46fVzg4quHw2YiE9DRaQxktKuZqUk/j9o7ktOz8mptKoQE6J5qhSTrbJRq0o+iMBEMmHBYzt24d4w+KaK+JxVUHtz7NcmF9jGZPpZpv4nAJVYZRKmuO9rqsnPdJYM3GRp5SsU8o5CQ5JmjCOo4O2iTiLrJ5EUfVaLR68ovlclvRiw5lo4lJL7pnJqIxq3yI/fpBljdfnGJ/44iVpSB7mT7n16Kyp/ZP3y2QrbsoiC0qAy6PWXGbQD8aMR6N8tnmoewEhj0OWsYBmYKO0+MOtcGAczMKv/d//jrT1y8zrPalb7xxeCTTFoOeeMg/lAq/dvwaxk6dYfMZemWcwSCD2RbC5EzSPHuGxdBm2Cgy8iyByYLBakMtbmNWFbSxc6iFHRrpJzi9Uawzr9A5e4yBqPw8aPo2DHvQ62Nwh+jUTnF4xujVCwyHDayBZXqZx+hsViyeZbq9BqPsQxTvJIrey7CXR7FAp3CKK34BnTWMovWoHt9BL7RwWg+rdQKDxUij+BC3P4rJtUg7v0Xh4AEzN/4Gw67YXIykM71ycEwmtYXd7SQ2c4G7n3/KowcPmVtbITYWxqizsPHwc1585U1yp9uk01m+9yt/n0b2EL07Jg/F7WqJwaiBxdBhOAqht5gZtUVUTyzsRWXBhWINUK+KOoyg3o0Y6GxSg9XY/QDzzHcwYGPUF78DMBhCDPon8iJisEWgU2Fk/CYeZtUQEj50Bg1TaBWltM/I4qRZPcVhNqPEXmWQ/xRdR2XoGscyqEg1mC+8QC2Xoa2r47A5sApQp0njeOuE+/eeE5sYw2Yzsn9wQMjvkGaOQr5NPrPL+PQc1VKWWCiMzqixeO4yydkbGKw9Cgd30Ax2DI0+OquBUafFyDmGWYhWhw3atQI2p+jPajIiOBAGhN5Iet+HOhUluIKxn0Ft1NEcYyijMmgCmFPEKA6/+On366BroKoa1oGBtqLgm7mC0irSKZ/SqufwLr/JoFYDkaDwjWEPOOiWK/zkT97n//h376M3j1hZjmPSdzg9afHK1TUWL01QKhTZfFzkMJ3C4hrQPOqwcmmS/+l/+U1wj1P++s/l61HNSRSjRdZeXN4p2rknDNzjmDt6GrWHuOYuo+v3qJ6kCAladq+N0u2ic3oYFu+gOM9jUGoyTqsTG/HELGazl0bqLnqbgjP8Mr2OyqC7jdU3Q7+uouvlBP6JQd+Af2qeSqvLsNvFOjxCs9hodO0YhbLRZWVQOcVoFRhBM0ZHAGcwDL0BTE6h1XYYCql1DT7+k3/Plw/OeP/jLfINaA1NuB065qMu3FGFkN3DxnGKmCfKUFHlxF8cYBxORQIEDw+bckq+MO2WRP1ufUA6V5V9chHvrbY7rCzPo5PR7kmq3Q75dI5SoyoP2kG3Ryr3uqrGdDIu6zsGg4X+oIs/GJbbfpPRQD5bwWQRmxRxLNLTG/Rp1Jtcv3ZF3hNq5QonqbyEh33/B9+RjuOdbbH5VmXvudNvYTSYKRUKTE6O4/YE2N3bxu0OkD1NU2s1WFs7R+4sIx+8R8M+T7e3mZpMwkgvo8bdek0yDAT4SujLBHhvemoWo1En49wC4GN1Whn2+4yPJ3n85CkGo012ccWQQU+O/04AACAASURBVB7KbQ6K5YKkmYths/gnm8nJSHc46MfudHH/4VMGPbFZuchJ6pRSRQwGZuQmWri8xYZdRGjz6RMuXb7EUepUbqprFUE9N8vtU9AfwB8M8uzJE5m6EtwFAdsTm2x3wCcPaL32kGqtgc1l4OL6BYrZHJlyhUF3IAflIkU3MTkhI7LS312pSBq68NePxSIyUi/c9K+/+jKffPYJ7VaXQCAgo+SnhRwuu1NGuR89esp3vvc2X37xJbn8N3Fm4bW+dH6dw8NjHj54ID8vJqtF/nvBhbBZLBRFBL8mopJ2CX4T17NwIiGJ8GITmcmccOPGS3z66eeyhy4o+oLQLuwSxaIY/Brl4Vz0MMU2W+jDSkUBrkpKBWO3LbwZsLe3K+P0b7/9LR4/ekqhXObSpfMcHRzLw8Xy2ir9TocHdx/JfvnC/CKbm88Jhf3EInH+6qfv8gu/+A7Z04yEA372yS08XrfUOVaLZblhPs2eyo29eOgU6kuvz8lJ+gyPxyv/DnFgPzrcl7wCi9nCnfv3ZaRbHGq7vS73799ndfU8drtYXHRkzFkkHbee7RII+FmYm6XRbAjgOzqDkZEKh0f78vDkdHokD6JebZLJl/H7bPgDQXKZrKx6LMyvkM1ncVodpDOnzMx+A78TbIxWu8Pa8iKqJvRfKcbHEhKGKVIuYoBgsVuk7WB15RyNRk1u3a3CvS288o0W5VJVHga8voAcMnx1+y7n18/RFXo4u5XUcZrJqUkcVrOEuwpgn6gziIO8y26jrYqBuPj/+2T9ZmZmjnfffZfXXn+DXrvNwycPuXr5CjdvfcHi0iqH+4dSO/nCtSvsbO0xu7woTRntRodLVy9KpaVeb+Ase8by0rwcAIrtbKfVlptkwWkQS69Oo8ZApIbsbhTjCKdL/P0jEmNBdg4P8Ls9EnTttjvkRk/UDQTI9OG9R4TjIVL5HFNBL2Jsv5EpYBsobJdVnHojy9N65oLj7Bydolj18v7fFX920EerWsDu95LN10lMRohHp9g/SiMu5VaT/ZvX0RWASPUba8edu1RLVWlVmJxIyAPg3t4B4Yjo0Ls5OjjC6hQgzCGVUp1+b4jVasLq8Mh6jKjVfPLxF6yuLuDz+dl8viX5NgbdSFaCxPbdaDKTPjkhFg3Tqjeo1dvStCLgoCMU+Xdubu3gcjhwu900uk05LOj3OtTqDbmkEUM2wcYQzvhOuyxtI/2BTqrRDDoT+bOC5IvMTE9QqlYkHNbusMv3YtDXpNZ5OhmT1ZnesCc1miur67JWdnhySLc1YnJCMEDasu5TklwpPc12jWuXFjlOZ6kV2/R1Cnp1gMHSx2mykW+PeFrSSDgM3P8HSX7viz2aAwWjQ8U5MOAPOjnOt+irBs5P2+RW3WQzSyuW3aZjaSHB8UEJiyJMZCOunvPi8DrZ3SsxPe2Vyu6b9/JYrRoWnQmr1yiB0eh7mA0irdiTw21xKFc0IzaPsFaIjrxGIm6WKsDJSXGvSWO2OLFbRDzcKO+/9x+d4va4yZ00WVmd5CyVJzppl4aTo/2KHJSGYy7anb5U+GVzZS5fm+XWF0eMemJgo8NstkvDz5UbMRqVHvVqT4JBBVgtlS2jDAyoqp7khJ1BW8MdEYMNHffvZVhZi7J+Psr28yylcptA3ED2WGjchcHMKJMena6AS/Yx692otHDYFRpNHfVql7k5L9vPa1g9Ogm7DQQsGJQRBzuiomfm9s02N77jxmWwcOfeGfPLbsJBkTgTaQRh6TBx7+Ex61fi5FJV5hbCZApdHn6V5uVXkhwe5XF6XNQrHcIBK2e5Gh6fi3K+w/SMnYePS/J+sTTv5TgndNx6XH4Tp+kG3ZZGct4n68kCeirTVA3xbTZSr3W4/FKQZnnEo3s5rr06I5dZVpNgymSYXfIzVMXzco9SscXcomCHDKW9Rpw9J5essgYheCci1ecQ1o7TpnyfxHVVwCPjYRdn2T7dfhFtaCN1VJP3xOi4AbvZQKM1kIkqAQusNbqMj7t58qyI7mf/aFK7f+dQuusXFpyUqyO2npdZOBeU28pHBzluvScIugbGJ6xMJsRUryx1Fk6fiUKhJWmwJosOgxVy6SGlbJXFxRhmr4Gg28zOVg6dhP2ZCEVd3P7yWMbWi6UGwog9NRckncpjMTiwWB0UBIDIrmAww/Fxg3qtz/UbCc6O22TzLdxeIzPTPhkJs9ldpPczNDsjlhYnKFTzpI8GLCwHSKWyXLuUIJXpkDquMDPpY6Qbkss2mV4Mc++zY5KTPuZXwhzs5UhOuXn2rIXD2afXNskHJKdXzNGNuC1mueWfX/BRquroNjvy59EpTs7SBaYWnbKu8N7HGd759oTcwH1565hkMkA6f8pkMkowqpA56LK/K2IlLmIRP7t7RWkdUDsibDni1VfGafRGHB0XsGoGMOnweE289+4RyfEAg0GLVkeHz2OhUhY3oQBD3ZBivk9fRIUsQn8yYH3Zj82ux2NW+IuvK3yR0vGjxx26mo51z5BvXfHxyYMMi1MeNlM9Zsft+F1Odg8yKDYnSeeIe8+rHKZ1/PIP3PzWP/kN7FPX6OcOUPePaehVdF0jFm+MnsGEk6rs63eEwzowTb/RoCb66DY/Bq2N2i9gdE7Qrx6j2NwMrJMolR2wBRB4U0Mvg+aZRBG7i3aOEQ2s7jXqrQK63glGZ4jS1udY4tdwxtcYto4YioGBmE5rXVzRK/QLjxiOauC7iL5Zp9fdpddXCAQnadW2GY1MmDyT9GvHDIbiYjagI/7blaCx/TOcnhmGWhN7fJ1WU8WuCGt2l67WRj/Q0x+1GDbM9FqHWPwJfC4XijeIxeGhXy+CIlSSBj77yz/lvU++Ijk7g91k5fzlC6RS28xPr1GqNUkuTdM62CQ0c4V27jEDswdF00kYkmnUodOq0e/U8E69jDG2RnvrfTQ1jXv62/Jw4HAEqOWO0ZppCFzC647RaD5CrZ0wqlYxeBLobQ667TJ2pxu1Z0Q928R98VcYnjyk1Ehh8UzLVEWz9AiTzoE7nKS49QV9e4BQKEEze4LNolBrqjhCYemCdRj11Pt5DCMXersFS2AVvbrBRz/5hOPDJoqhSyg+IT3tJl0Lp3eM9Mk+K+fXefZ4Sz6IavSo5tJcufE6Q0q8+v3/BqWWonx2F8WRwGrxoR/1JPxHq6XRRc7Ta5cwjYbYvWEa5UNQXGi9PCbbODpVRJhPsUTO0y/toxfGALWJRRx8TfPY49PU97+W9QHCCTmoUwZtWp0O7tgFDPYR+Tt/iUltY5x4FffCOgazk3f/42/zW7/9Uy5cCMq0haC7an0TE/Mz/PjH73L9yiIBn5349AL3737OvS9FJ7LPv/gXv8rq9/9bOHxE/tk+DM7oDc4InPtFWoe3GVptWCyzVCuP8ToWKWQP8MfD6KNXUU/uoDTTmOe/R7d1RGfzpzjGfp529iamqWvoOw0GjRRG1zTNTgmvP4lqcdMr1NGRx2D0M1Kr2ANxai0Thv4BCGaHfw6l95h+04Eu6Kd/epfuIIYnMS9rFqPGHfSeCH1tDJvWRBmUGLni9LolyscnTK69QDe/jX1iBoOoEDhCDNNPuPnuH1E+LPHBZwfcfNwl1xYDYws1w4DLSQdrsy7Oqq1vKOrjM5TKOZ48y3J5bYLTsybtfg23XsB7zAz0BvwRI2fpIlZTiFylQrvZJZqcIzYWl/qy7YMDRv0mkVAMo9Cq1Zs8399lLBohfZrD5XRJovqrL16Xh89Hj57h9brpdXrMzM2w8eQpc0sLUi0lNlV6nRmdfkhyPMHG8z1hV6NYqmIy6PilX/4l/vD3/0hGm8eTUdTeQMLwAuGI7I+LGL44BIoN1fPn25xbXZQQtngsKmPJG5vPcbkdkhT87PEGL9y4TCASI3VwJGPQoost6gIiGiwVZxaThMwJ77rZaCefzchN/0n6CIvdQatVIxFNUK3V6asa+dwpLvEQFA3Lg7rb6SErfNpqj3d+7rvcvX+Pg/0007MTcvuXyRbQoTIWH5dJCqfdJu0Hvb6GxWbg7DSNzxuQEWwRoxDbPKdQPLVKXL18jb39HcrFhoSnXVw/x2A4InOa4yx3SjgYxum0YDTbZNVA9JE3njxncWkOryfAwcEuc/PzUtVWquTRBgOuX7kqVVJiYy463mK7oxdtYHH4c3vk5qRUrMv/TSadZSweY3Zmgs2dXfyekEwcZHNZHDYLmUyWG6++KA8bBwdHsnbw+MljTrN5+u0mF9cvU6zmJejNbrOTzRWlzk0MCQxGweHQS1CeSIw4nTapvhM//8LCkvy5hfZtfn6eg/0j3nj9ZertBvVyQ8aaFxYX5bCgKowI/S4ry4ty4ypUZ+LhbHFhmm5PlX1ncYAV8fV/+a/+Db/2q78oaej1ektC+8QzwGg0kHyDWDiI2+2RUXtf0M9YdIyNzSfyd7S2tsbhwTGlklA0OnF7nBwdpYgn4jI1KOL86dSJ/M4cHBxLAJjLaZdDjpnZBXL5nNx4q21VQjdfefVF9vb3ZZJAUNDF+zocjRhLRNjZ2pGavLmZeSKhILt7u8THx9ErCu+/9xHTMxMsLy7xxRc3ZbxdDDAO9velxaLd6bC0sihp861GjcWlRfnZEP16n1cwWBRC4RDPNzfxenx0+y0qFRGDF9AxobSsye+HGO5UmxXJjhA9W/F44HLb5RDh+gvXePpkUxLhxe/8tVdekGyCQkl8HxyUymUJVRS8iK3n4v4/kkMu8d6Kg2q+kJPpSofTKbfOgmFhF4OW1Jl8iK/XK6AZ5XAhmYjJBMVA66OqA3KZnLxuiLqBqFKg9Wg2W0zNzEoAqDccwOMK8Nlnn/Kdb71Fq9XhNHuG1WqV1xnh+2bQ5e6dZ8xNxySPJF/vcXqQ57/+mzf4/NETHqaarM+OEzD3Oc00icScKEYPxdI3ektDwIm+2aNU6zM7M47N6aIof2YLIb8Xj9/H4weCgyR64zoKmbz8rAYjPhTtG6WM+MzWRWLH7CQUckklqGACiATX7PQUy8urzC2M8fFHX8oNudvhppAvsbq2JAcbl9bOcXh0TKfdYXJmSiawjvdT8hng2pUrUuVXLha4cvkFjlIHLC0vyGTM/YcbvP76y6jdLjdv32N1eZlMNk0yGZe8FbUPezu78ncvEkr+oFeaWEZ6jY3NHRKhOKGYh+PDPL6Qm0KxiNbX2Doo8dorK3IAmkqnGel0+Px+TlNpOQQWALkrVy8SS4T5g9/9A04ybZJxBxGvIrkyx+kiep2KOtRzVu8xH7dwY8zDH2402DntcH3RwWvRARe9GmdtHbd2Wryy6GD/rM/qmAmDRS+1riPVgM0+JH3WRIed40ybiYQY9rbxBB20sk3mF6NYzRrpTIvMWYdwxEI07GBjM0sg6EaVVcuh/DkFW2LrSY6phQAm6witr6dQ7jA94ebxZo56Dq685Odgq8z62jiZvBiAW2RFbGLRw+2PM7g8OlbPJ8nmi1j0doajFmablb3HJdxRMx6/kwe3j3nnF5cpnFX56maGV96e5c6HR1QbPV58Q6gDB+xsV0hO2um1NAwW8ZXUEXLb0Qx9fD4jGw8qrF+OUal0ODhqMD/vpd8V4NicHH6jNzE362XjYY6JORdPH5VkqmJiIojRKuoHWQKBEOOTDu7eOmN5PSjp9+LzaveJ/Z9ZPiMLa0BsQiynB0xOW/B5rRymWmw8zmHQ21g77+T5ZpHUSZ/vfDcskxWPn56RjLrY3GmwMO+TFoakAKsnPXz24bFcLi2uivh9jqnZMLNjdj78+IhYIkQ2k+fc+SRnJyVWL0T52U92mJhwkcm2sJhEVN+I2aDDL/gEAzMW5wC/18DT52XcDgdOm4vtrWPGxlyYXUYiAQd37+bIl9t8+60EG08qON0BxuMjMsUquxtCd91ndikglwhi2dFtCJaDRq8/kmaXSrGFxWVENxCq1B7+gJONzTI3royjGHrcu3vKW2+f4+uvDuh2+jLls7vT5J2/McXhXhPd7/yyT/PazdhcJr768oTLl8No2oinG2U83gHzU2NUKx3MVgX6Ohr9OhfWp9h8lpUH/+5oyMlBm7WrbnqtEYVsC6/HTWTMxO2bp7z0Spw//+ER//nfFACJDJ22ID2aKVYbXLwwxs5ugW5dw+oWui0Bx/Bjtw6oNEDtthkO9d8oI7oahUKZQMxFPt0mGBZRd5OMtljsBuZmA/KCbzV7cdkNnGZz0qEZDdrwBSzc+bLI9KxNVC8onrXwe20YbQr1dp9BW09P7eJ2eKk2xfbFjstsoy6UUK0BRrMmb8r7z/P4wk65sdjeO8bldeF26KkWm6gjOyazjsPDAhcvT6BoVQ5SfdbX4hLCs7dTwqBzsLjuoVHtShfnufUYh2f1b5QqipHUXoeJWSO7z6sUMyrXXvHz+EmFV18eJ3tWRrEaMCoGSdoNBu3s7AjKp0uCWbY2skTDdt56JUQ2J2CCKl8fFvndW00qip7uUGEqZOZ63EzIb6XQVCTDIeCAOyctecO4Mu3ki0cZ3n/WIaGHX3nRz9//h28z+9bPo3ZaDA+3OXx2wOTCIha7l3TmEQ7hOW4Y8JpMmGZv0Kse0889Q28NoKvvopkdmH3r6PplOoMRo04Ho8vLqJGlX8+jeELoa2XMiTXavQwWSwid1cOwqaHqm5gEza+VZ9Qvy463w+uifLyHa3yJajYNzRRGZYQSHGM4DMgLmlrbRBu6sUYS9LKPGJmCGDUj7WYem1M8aBrR+S7RLW9j6BzTHY1jtGhY/BOozRzaoMawW0Tnmsbo8KBrndBqmnAEIyhqVSqAmsUUg2EPnydMrVNHjx1FBNrrLUILq4z6HZ58+SlHGXE4c7C1+ZCXrl9lbNxNYPw8WueQ3JmIHM4w7BQweKLou30JH1R0HfkwrDjnoJOjJyh8tRbm0Dx6fYl2rYheccCow6hbQtMHMCgiAhzA4g+iiY1XdQPXxM/RL96j26yh0+swW3wMLUZodzDYPAxbOdSRDr3ipK+3Ymuf0R8JHsIsg2Eb47BEI5vDOb3AaORBre+ByY/Z7qe2fxP39AsYekU5qEvnajy+d0dq7sZmEsRCkxIGJaKJPruFWqPBzNw0ofgYX332ObMLi5wd7zPuNbPw1t9G1zvFjJvW6SaNYR2rZ1Fu4AbagOGwCSMDimKXPlQxBVcaFQb+MfqFB1gsfhSH0PQ9ZqQ2McWu0D65L1MVjtk3UHqCQ2BhWMqQO3lAcukaZ9uPaGVP8MxewGuzMxg2MJgD1DQL/90//x16rQbT8QCLywlcJjP5SplHD3d486032d/bEzELnhyesvWwxK//7YtcPB/l3OoLWBIx1KP9bzgJDh/9/C4Ye2gWcV0VPIppWuU9tP4Qg+BPmBwMKodYojdolp/jdBjpDCP0OscYnUHsRoXm0R2sU6+iUxsYLDFaAhzYfIQ5c8Jw/AqGSorm6VNpMhCHiD5t7PFv0SptorWKWBLXae98iH3627Qrj9AX93De+HvUT06xUMUwKNNW7VjHF2jtPaDXPsYcuYTRLOCYe4RmX2Nw8pS+oUPf6MSn82JyDRjOvg5WCyYti5oRTu4y/+iX/kfupU08zvXx2XXUmmYCzgEz4y50ZhM3VqJYrUbuP0tzsJcnHHBjdZqplorMTyfY3CpiMAjLhZVSrol+aMDhs2MSW1mdjXMr65TKWb76+q7kBcxMJ9nd3pIHIaPeKg9DuWKRK1cuSJ+8oE8LfZUAuB0dH2JQzBjNJvKFb2K5gbCXo4MDmbb57ttvsfV8X+rqRMS/1W3jddvQDCby+QIT42Pk8xnisRhGRdTlMvKwJHqwD+4+lDU0sYUSvnm9NmQ8OUkxn+PypSt8+eWXtOrCjBCUW3VhGRCqwPFETB5YRCVMVXvEx6PMTc/wfGsbvV6RW0WR8hKJAuGeFlH+Vr3DlUvrpDNpqSYz2SzyHlkt1+TBRQD+fvyjn/HCSy/SalXlgEWQvpeWFtnf20FRTJw7vyIHIs1OT27h+mpX/r0PHj3GHwyQOT3D4XLLjm0ml5HbAxGJPz3NsDg/JxkIrUab+PgYly6uys2s6O2OTyRJp07J5s64dvUGe3t7MoYrYrXlelt26/d292Str9nqYhNbfIMAjSoSvvXJp7ekxWFqIsFgOJAPOp1WA70gjQvaf1fYdXQyfuzxu2VcWWzIRU99YWmOkTqQwKxGo4HPG5Q9aQGS2z3aY3Vhifv37jK3vEqr1aRRqcvDaDgexKjo0emM8j3I5vLyGahZ68jtXcDvl1tmEZMWrAeP18Ubr73Bu+++JzWOHregQs/z+ee3ZHz9B7/wDkeHKe7fu8/y6oI0JiTj45JloY6GMn4sOu0iGZPJCPJ+QA4LtKHG9v6BPIiJ4c/Gkw2ZRBMAOzGgEK9peXGR04zYOvcI+Hw4nAIQ1pA/Y7PelOkPwUMQW/I7d+/j9/mpN+uyoy4O/3rFhNfnlqkYwVHYfb6D2+eV21ixoRVR26++/pqXX3lR9shFosTl8fLZJ59LqJqoLYrKxbfeeh2ny8HuziHHKbFZdFIv11haWcLr9/Onf/xnTM1OMTM1zt6+AJAOZPQ+mynIlJjb6yIcCEqIXywaIxILyVSMcK6PGLK3f4DVbKPTakqqfyIRp1Kt0m6KepiOUqkmtVnhSFR+DsSgQbjhxfeAoSaTKjNzs3x96xZv/9zb7O7uSs/8/MwsWzvPsVls8rWKw+jk5BSPHz2WsL6TtIgduyTr48LFC/JeI+CTgnz/UCT7ZhfkoNdoMTA1OU651GZ7ewOH1SAVmPmSUOmZGJ9MohebagEOnZmQPXOR7GrU63SaXerDPvpBj7v3N5mMuJiaiZFK12Q339E30TZUWIqP8eREJJFG9Psqs8tJasW6TDuJCm2zO2JscppYIk7xtMBI3LONNiJRobnMkkodYlA1HF4zJ6msHBKKA6VNDv9cpI9PcDjdsppUa4lDaFamFmbmxlldX8Xv8bF/mKLZrOF2OJmbm5fP2B99/DHXrl2RCZ5cISvTS51Giy+/vsvlK+tMjsfZ3z+S75eocAqDh/iMri7OST2hIMsnYjH5PRODCDEEGymKtG40m01293bIpvKEgl7a3Q4Wm5mg1y2vwenTAr/wzrelju74rED64FBaUHQ6jbn5CeLJKU7TeYIBF/fvPCAxMUkhmyUUCshh7lAbyORCp1Xn4cOn+P1uIqI6W2zI9IpQa7a7giMWoFSt0uyN2CsPMTHgpaie769peMT1JN/hsD/k55YSPNjfp981sDwvmDdlyiWV8TEvB8dFCYRMiFqs00zlpIvJKgYEPYolnTSTxYM2jEajPGsURT/+4iTv/myLV19N4nQaufXRGe6oEW0A5y4kOd4vkNqvEB9zMjIqdJo99HqNeg1292q89e0pucwU5+yppSCP71e5etnJh++L66NQp2eYnfAytWTldK9JsdHD47BjMIu684CN5y2cZhMTs06ePCjIodvYuIfrV6d4eO+I5KyXs6MCVo9IixRJRKyUSkOOU3X+7n+1xmef70uT0bWXp/nhnwoYqVBThjhOV7l164wXXohIy1Ip36Xb77O4EJSmHZHW++pminjEgtPl5fHGGa+/OkGzodDp1iVkslUWUEAvNz874+XXotIuEQk7JY/kONXH5RSD8R6xuEv+Tho1wVdrMzaVlAYRqwXSxx1mFrwSwJs/60nLS2TMRua4Szjhx2BpUi7AcNChmBsRnzBSzKs4nQZmpmOcZE452Wlz4caEvIfodYLL0qbeGDIxbpGb9/iEg5GmJ51ro+tpDDU9o0GXcNwr70tBt5NitSOh+1PTTiolDX9ATyzu42fv70pF4Xe+v0LuSDyPG3i+VcQhgJrNnlzKhRIWHFYnT7bOmJ+3UzhTJCNA1LWrZR3lUovzV4TOtUb6sMWN18Rr7XDvVoH1yw4MVlHPaKA3ddD99B/GNaHbm5rxcZorY9YrHBy0hORVUMlYmAwwnrRykK1Lf+OsiHaoOj78LMf6RR8xv+hRmzhLtzlIVXjpNR87T1sMeyZmFyx0Ozr+9Ic5/s6vR+jUVNJZofITU30DKxd8lDIdhmIrWBGOQhPNRk9CC9xeBY/HRK7QkSoNQc/sdQbMzARodYY8eZxnZtFJuyygaZqMTYt/Ot0R66seHj8oY/db0dQBJ4dN1i/7JDFTp+oI+GyUq0MCER0Wk5goVllciHNwlKNVUYmNedg/LPNf/sZVPn1vm73dJm9+b5yjHRFnauD3O9gRvQyTmZdeDKIzmThJ1zjaavPy6z7u3S/jEyBCgVASPXPjQNjpcBo9RBNCGWTn/fc3Wb8YY9ju8efvl7hx3UNyzM+9xykSfit2k6A5tvjiQYtkVGzyrQwsA8oF0WuyMB8XMWwbz3eFAk1jpPSZ9zhoKgP+10/6MuIvABpXZyLYrXUKxS5jcSf10ohup8VZU8HrM/Dm6iSb+Rwff52Rqo+VmJ7/4q0Z3vn11wmNnZfb1sr2PXTuML2uCUM7j8HrQ6940Y26IjFMq7gvTQeKNYJavC+9yub4RQbF+1h84zRLeRT3HLpeh25tg/D0G/LwXc0fotlXsQyPMJis9Eo5miML4eQ0OjzoqdJta4yMZrRumvrpEwLTL6C2dHTVIwzOGC7/OH1NVB9GqOUUBosJZaQw6tfoN+soJhWdfRajyUm/uiGVQsN+F5t/kcbRQ9whHyPTJOZwhNbJbTzJi2gdE+3qFobEWxjKj6VH12K1MKhnUVUVtVLAM3meWvYZZs+M9NkOG1nZNZfwQVMBkzXMUES3hiU2Ht/G6hmXoC57vwn6Ic7ICu3SLkaLW4KhhGLHFlll2Dhm2CgxsCYw6HpSPaeWC4jz/VB8YS2i9yOgnGPk9r/GGZ2SB37FYmFYLaAEg1gsE9RT92RESNENcLhEx8xHNXUfo28SR3gJtX4I6jeAKqNFoV/KY/GE0Xum6ZZTDHslWc9xROYR43jVWpkRfQAAIABJREFUKoYMCgxFTL7DqN0EZ5RR7Qij2cnIEUUvDAs6ja2tp9y8dZ9uR+HixSWKnTZ6VSeHTKqi0Wv3qRRO8McSVAolrl99BXfAiEnR0esW0BkcEjIohhu60Rk94xQWVwit+BT6YngTx+AK0CkdoIgYr8MhO5QWw4Bu5Qxb8iUaZ9sSttU2OdEyz6kPhriDcRrbX+KdWqeaz2I1q/jWvweecc7u/IQf/8kf8NHdirxe/NqvrqC2R9x5tE806mTt/Ao2q45avc4nX+4yFopSrZ8Qsmn803/5zzDawnQrWfqaj07+FLOjjaGmopptmPzzZO//Ib6pC2i46ZfuYk++zbC6j94SZ2BsY9K8tI7+gl67iHvuO9TSjzEb/VgmzzOsdylv/yk6gwtXII7R4qfTrqANmugNHgbmLq7EG1Rrx1gGXfSawkDtYPKE0QYC2GOS9QE6fUY6o3zIb1d30XvXGeny6PPH6K1RNIuLdm1PVoJU34v8fyy9Z4ylZ3qeeX0n55xDncq5qqszu8lmGooTSEpjzWjG0kJrYaW11gbWsABjsRAgCIZ394cBe1e2bCx2Ia8sayxbo6HGnCGHQw5Dk93Nzl2hK+dw6uSc8/p9xz8Hg2pWfeec73zv89z3dSli2FXfQyP0g60K3X6ffiVOvxNHpxmmq1Xo1DYwuK9g9tnROqflYVnR62lv3uP5kyfcu7vBf/lsh8+Oe+JWwVAIvGYbbpOehtLixqyHx+sFau02YyEbj3YyciNTLDYYHnLJiJ66N8Bg0LK+I6LwDixmNzOLl3EFXPziZz9nbHJSdugE0T4QdNBpqTBZ9AxHh/j5zz9i6fJF2d3e3t6lWBT3lDrDw8NSYTU/O4EKPR/f/pSXblwlGU+RypUklfrg6JRrV+ZlLe149wSH2yk1aEOhqJz0nyRS0i8sDi2HhycIMInPF2bvcIelCxek2u7u3a+4JLgFiVMZ3xPUauFjFw/f4iApeu/HiaQ8nJkNRrqDPjazhbN4HK/LT6NTYWZKpEwecPnqdfb399nZ3ZfRahGXF/HJdqsuN8eiqiOi1buHBxLMduXKJZ4uP5GGji+//AqtwSS5ASq54Y3Kw/fewZHcthiNahSVCr3BLKtiwUCU9fUNRAYqGPTKBIGAOIrOtui1iy2o3Wbjy7v3sdrtkuMg/73DQ65euSS3wGvrm5hNOgaKwv7ePkuLF8lmUwTDYZ48XpH3HjEAaTcbaLUGQmGfrHeIAZvd4ZbwxPjZmeylP3n0hNmFeex2EyvLmwRDwlpSo1aroBebQWEUAax2E063h/hJXA5jcrkMTrsLo0XP6fExr3/tV9jfPZBk+GqlJg+TgtkgDo+CBC4hZD6fBG8dnZwyaPdlB1lsaH1BD/FETnIYRNLLYrfIDbLD5fzlgKNQkYf0YNDH+XmCUqnB+NSQBGlJvkKzJWF1DDoyai820qlEjqVL8xj0Jp49e0YwGsFuMnJyco7H48JgMvN4+YmEKCYTCWbmZyiUymgEZT9f5OaLVyQYUpgorl+7JjV4ItHg9XjlwUvUBAv5krzugVCEsD/I4eGOjLVb7TY5OCgUyuzuH3L18kXm5mf46KOP8Pq88n0okjRbW9uEwjFJgRdpk7HRmBwsLC+vYLGY5ebfahTpwX3KpQLX/xt7QtDWX37lRdE9k2qqXCHLjReuyz63OFCKayVYDrHhUVnTEMkEl9PNs7U1pifGqVTKcvAhhiUiEREdCssHd2FGEtt58bt3WnVC4Sg+n1eCKcXQLxSM0O7WZa9b+OTDoTCNahG700U6ncfjceB0Ojg4POLx01UmxkZodzpEI2EOD49klN1pdpAr5GSXXtQcvvudX5c8APHftVjsPF9dk3/L7v4R/UFDKvGqxbw0DHQ6PRwizt/syNRANleQNhGxPRfgw2qtRsgnFIZFcqkkfr9Pvm5mq0tqNbUarRw+xoaCsnOcTJ5jMekx2R2kkxn5mQ+EQ9ImIrR1Hq9DgilXnq5zfn6GUavmLJlGq1XLwV2jVZXDrAWRwsnlJC8qEAzTKBWoddoSFDs1O0ut1pRLodmZSTl0FOq8fCGHP+ilkCtyYX6RfLnI3v4ur956Tb7H4+dxeeBXBPB0d0dCMm++dJ13/+ZdCX4Uw0qz3UylXCAWiRFPJCiUcsxOz/HBzz7m1q1rUm0qACaFbJ615XUcbotknIhagjCuiMHY6HBULjEE1V8R7I1ikeOToty4T8yN8vILVzAZ7cxPj/C//vH/zsjwOKGAj3KtRr1cpDvoMXfxAsnTBLvPVjhNFqRGz2nSkcunUXDSV/XoN+o0tRoC+gEdjZFPthq8FlH4/lIXRVQYmgP24w1enHdRFc9BPQMnmQozMQMPnjRwutRcveRkc7eCw6rm8KTO9Yt2iuUum9s15maMWLQ6okMB6u0GKw/PCQxbefwoxTu/OsHaTp7lr3LceMXLyrMs1y76mJ0P88XtPTmcNGiNDI3Z5PlAo23zbDkvK2+zcyYqtb7kkmyslZiZt1MsdTk5LhOLGQmFrVQrPZ48THHjpYBMnK5v5Gi1exj18NIrkzzfOKfbUCSks99ty3PdizdHaDSLnB5VKedbxGZ9Am/FeaJM4rTC174xzvrzDOlMVXbL93aLKEpTcm4ED+hsJ4VGqIZtgjFSYmxE8CmMJM+qGJ12EqcpmYyaXrDwxWcZYhMGdD2d/I5UVH1WV5PcvBWlWO3y/FGSpStOyamp1xXMNi0HewWsDqM0A/jCVnaf53C5e0TCfvpKh2dPk0yMO8jlBixet/PF++dS6/2b/+MCp+tx7tzL8N3vX2Rt40QmVCcnxT2iJoHcy8+yXLrgJDamZ2OjRLkwYHreRCYjaild2h01kaAJva5PodDCYDNTSOWwWJyY7B2KOYX9g6IcVuQSNToNBY1JkQaC5FlDPqeEYuD0GDjarrAwO8xxMicXxA43bK61CQQ07G3XGJ22YbNq5TWPjdgkkLFU0HLpoot7D04kx2HzSZJUvMONGy4UHXz0wSlTF33kjss4PSbOEiXmFlySSZBI5LA5LCjv/f3wwGLVo1FVaNUVkvkOJrOG0WGzjGkmj7qcnJcIRa0MDVmk1qPfE/oBnaS8rzw6ZXLOj9etoVKHUqqEO+Dg6CjP6IRVTrf2d4o43CaRjJLTRJvDyvqTjIx/iD6PON1URN/JrmN41MrKgwJWj3gjqrEYFSxuDZm4iF5p8fm1WB0KqURNRqlQ66U24/i0yt52A7dHL/vzIt+3spxnccmB1mgh5LHwye1tZsfDmBwN+cG0G214IxYq2ZrsgUWH3LJHe3Zckt0Wq0NHqdbmzbdneHRnU9KTRf/KZDZyfi48qH0sRjUGo1oqOtr06HQVqcpSFBWlUocBA4xaDUfnJV6/5aPZ1XL/bpzosBmr0UVsRMfhaVYezLs9jQSbhAMW/EMGUsddkrUa0YCIVjaYmbSQTtRleqJfNVBTKVyLgivqYDen4S+/POHZgYF8s8V0oM/lUQOPdzvMxTTsF7qoqipcQT01jNj7dTaOOxzmqig9HbNOePmWmX/2f/1vKPYA9cw52qNj8sUTUHkwjV6mm3hE9ugprumXaIsx2UBsna1YQ3MogzaNTg19p0JHE5QgOl2nhToQpdvSYgpOoe01aJzfZWAep5HPYVbn6Gj1mPViM+2kWdxDpfWj1jVRq0V3qyzcXTTaAgBlpVXIoHeE0HinKO69j84upuw+VNoCZgSDQNBa0/S0BooH+zjCYiM+jEproV1J0WnkMXpG6Ne7cgpZT6xgCs9IPZrG4KKeuIvONoo2EKOR3qSZPEZVTeOaf512S0O3Ljrje1j9cyiei3SbZ3RTaxidUyg6LY1aAaM1iqaTI3+2iTkYwWIM0hkUUHRiINCnVtyBno1Br4i20ZJQRNvILcqlI5R2G50AOFlatA0BTAMzDIwY1AOa3RLNs4eYPLPUG1VaKjAbLJL4a3QvUc1scfCLf8Pwjd/G4vSTPL+HtW/FOv9NKqePsNhE/15DOXeK2W5n0DXSbyXoqDUY3S/QOPwArX8EReth0Mih0fbFNI2+Zx5NJUFbqdDMnqJzRmmWTlDXu+i9QwwGVdp1tXQUN7oDnI4InUqJelN8Qe9RqKg4Pz6glE9LZdU3v/3bbC4/plhvcuvVr3G2/ZSh0SgjIxHajQpaexSdPkw5/VAq6Or5AsbAhEyWGDRqBsFrGJQe6Uf/AVQ+XDNfpzMoojRaDBpFMGgwRm5SST5CKR4zsE1RXP2A6Mwt6v4XaJ38BFWrQejV3xEXkMrzT3jyYJl/+ScfMnM5RrVyjkkd4H/6x7/FX/7FXzM3M8n2apzTbJybNxZ598f3yGZq/P6vz/LNb38dz+Il2if75Pd36OtMWCdfRylu0CqJwWRFmgV0OgOd8jFKJcMvuddCu7gE3Ry187sYvDcx2YOktj4kMP6a3DQOSqvyvdpKZlB5ohS238c58gZ9lZ5O5xidySN5CQOjB1WviV5lp1M7RuOeotFIYRpAtQPqdg6NeE8qHRrNGjpbVIJjamLAYI/R1/boF1LoPZNUT59hDN+gm3nEwByk11XRPv8S1/x3qGe30Cp11MHXaJVP0WmalOMnOI1utHO3iK9+QvdsD/vl76BJPcDmNqMbfQUcZtDm6R+n+D//6b/hwYMUt7eqdLTwjYsBvC4VjzbKDAwK0347ba2OQbdGqtzFojZQbZYwKRpJzQ7YDaSyVQqNJu6Qn9HhaR48eYzBYGB0bJxeTyNBmRqdilq1QNDjpSyit+dJGvWmHCIIR7yiB5/dLbuun316m3AkKvvGgkAsAGDeQIBytcj7H3zK1NioJOJfuHiFJ8tPuXplQT4MC7CsMEWoDYpUoAl10fzMtHSelyolCS+LhMJYLCZ2d3blkPbixUUZl7548TL7e7vMzs5yenIkN12JRFZuxkZGIzx88JTpyVEJOt3a3ZW+c3GYiA0PMxj08PjckowvhgnChRQ/y/D2r75JsVRj+fGK5JGUSgUJnkvEk4xNjhEOePnJT35OLBZjbGJIAkuDwRBW4Ts/PJKbTrEF9gf9bKxvEAyEJIjN4/Wi1qjlQVDA1ZYfPsPmtPPiSzd4vrlNLp1ldGSMbrdNo9WgUCyxtDRPKp5id3+f8FAEp9NC+rwgBx7pVFoOABQF2W+v1Cp0ux2ymTxOh4j+dxgbG+Xo4FQS4MWgweFyyHRDIp6QPADBRYhGQzxffy4HOWdnp9TqdYI+n+x+nxyeSbPD17/5Tfk+yOdKvHDjCre/uCOBcDtbh1y7dk3641OZDBcvznF8HGducU4qC9PJJC+/+jL7+wcy2iwOhwI6t765IQcNtWqdifERWSMShXMBuRMqPfGaWh1uygVxTUbkFlZc75XVZcl0MOi1sh6xLQByFy7x4P5DCSU82NuVCmCjWY/RaKBYrlDM5ZianeQ8nkCn08ohyNrKGsVymX6nx+z8vOxMq9QK2UwJr8dDMnMuEwniOi4/WePqzWvy4JvNiGvvwGIzUMhV5WsgDA86s0GSusUQ43B3H7tLxOzrhCNBOl3xgNqhkC9w/foNeU8S3nun1yMPgOJCiIFPsVTHHxAR/E1GxyelMlJALxcvLPH40X2ZKjlLJGSSwOqwMjE8QbFawahXZOffoDfLvrkYyMzMTHJ0eCp98W9+/TWeb6zL7fy60BxqVVL/t7mxw7UbV9nf2cJitkuopyC/i79fpRlwcnhKTAA6cxlMegPegFceRrZ394WlTx6uxXtA1CIcdpc8MAsYZKPWlts5vVHH6y+/yr3793n/g4/57//eb5JOpWhURXe2KlMP4tlObBRtdjtOv5/T0yN219e5sDAvf/7u7a8IR0eYWpxnb2uDhYU5KrW6hNSJgc7Kygo3X7zO5MgI//4H/4mhkEXWQIrlHla9gtGsY+e4iN+llykgo9kuEy52m5dQNEoimebihYsMlBZqlZYf/OA9LizEKBdLMp0wNhaVVotCUSRihTGrz8z0FGajlruPn+I02+SwTwzy+oqayPAwTptNDiNmLs6j0+hljaTf7XMWP5e8EXHxxBBVXAO/14daJh7a8qBezGflvcRktkjWhQCLCsifySae7Sxs7+5JZlLQH8QfCshhQLcjNOAKCwsL/Phv36XaEqpGcR7o8/3vfY8f/vBvKBXy6I1WNBoVTrdVVpyW5pZ4svZMasv/4B/8Fo/WNjFotITCfv78L37Cqy9dkFyRQrWMS2DptYrUo4rh2tHuMcl0Qi4ag+GoVEl3K13q3QYGYdNRNGTqRTkwL1WEU73HGzM9/ugdG2sbTVpqDf22Xj67hIfNrC4n6aNnZthGV6hLewO8Di3JeJ1irceFBT+3H54RtFqJJ8r84R/eYncryelZXrJLRIJU8MuOj+u0Km3Mdg2jonb9vEQoYMTi6CJ4nJWqYOkMMFrUBINqavUWqbiKsSkd5XxbHiDLJQ3RkI7nGxlMJhVG3YBipY9OpcdiE9T/AV6XibZ4RnOJAdYhfaXPcNhOqaSl36sRDdvJV9qyBud2elB6Hba2kszPD3F+XqDT1kuo69wVt0zPnZ9XCHpMdAcDTo/auIMDUictRifc8ruoJawoYsh+IcLJYU4Cexu1mryfZTJ9ggEFtU7P8X6O6LCdXkdPq13FZhN/14BGp0Ao7GR1WWiF2wxUFrlcHIpq6fY18vDvD+vRoJGVq6U5M7lqi821Glpdj8iwVwL70sd5fuWdS6w8EYpbwWkw8Iufn/LKLR8Wh0lux8+PSxgsKvodPblSkdnxCHobNGo9Np6k8MfMlEstnB69hPzlkl3UBlF37zG74MTjtFKuiYpcGZ1Bi9Op5/lymcuLPtY20swtWun3jRKoX2t3CHhsBEIWnq+WCQ+ZKSTLHJ2WGZ5wYjWoaPZbHG31ePObEXZ3CpIDdOXSCI12j+MjodpVk0q18ftU0pDz6EmC8QkTwbCZrc06bpswd3Tk0Ejcs9w+I+lUgUqlR7+rwem1oHTbKJ/8k+jgyf0Mk1Mm6Ot5vplnYs6KTTcgmevKqVjQZafXrxM/aYOuL6Ew8ZM60GZ81E0qV8UfdXL1qo/7nwuHp4mdnQLj4za21xNMThp48qwju1evvxEjlWxI9UutVJGdu3y5ITtb2WwFu0UjvdsiRjY6aufTz/dRqdWYDBp0pgFH+xWGInYWlsJ8ceeIsZhNKktK5QH+gFBGuDg+FNCvLuWiONj1WFh08OjROdmUwljMJOPIqExEQgbOT5oSGHjjpleqKE5PRYzNTaUqenkNbGK7n2kQ8AhVQ1feTDPpBhcvO3E59PzsQ6G4sdLuGuh3K5wdtBiZNBCMmqmX9BhNXcqlrgQRhoaMZBJCAajDZTOwulbE5dQRDokqgkr6VSulEkOuALuJFFabcGfqMZs1ODx6qnkdnX4Fp1aHy9SjXGvyw60m7WaAv3i0j8VoZNjbZSbqpVXr0O806RuFFrBEravgtfXR1fq8v13DqVeRLfSJWVT8wT+Y4zf/4J/ICGRZTPGTacxql/Sit4UDs19CpQ/RTjyjXREAsosUz3dxREapxp9gDb+J3tqlVqvRq2bResbpJgWIz45OZ6dXr1CrCsBGALPDiWJ1o9U5JMikVUjQLZXR2Sx0VXrUnQZKP09LY+Rs95xeu8zYSAhzbImWZpzC0/+AWlvG4piWvSQBnEqdrtJuV4hd+w7dQoX03qeYfTHM7ijN5Clt/GgGp2g0bdTGUTTGHv1elX7XR9+goZd8iso1hsoUpLz/Jc6Rm2SOPsdm8UndiVD/6QxOTJYAzcwutWYak1ZoltKoLeO0qnmp6ROwwE41TrfVQBueEm9BeQNuCfq8otAqpwiPvkRbNaCd2WSg09Nq9GXXUe0YpRT/klKuQigyAWoBsuqS3H3KoFfBP/sWelURxTKHvnlMtZalpTVBLU5f62JQGnB6+DHjV1+lVbNgNNXpKhFM+gGFk89QLLOY9UZ56K0ltxlgkrHoZr2MKXpDQhg1nRotgxtNO4ViH6JXLdErHjBwRrC552ic3ZHReI1lGrVDDcU91MYxtL4Irdyx1Aaq1E26OgfuyBjtUgujRaFazdAvNNmNn9LIFzmJi9eij0Fl5dKtawxaddxOByVBHe21MIYm6QqFjdUqfcuqTk3yDPpGN0bnOJnlv5S1DM+F36bbrzLoiP5Tk+5A7MX0tIubNNPP0Hqu06y3cPoFdDNKNr3L6KUXEXf2jZ/9mB/+9Od89qTA/KQOu134riE25qdaqrCzu4PHGeDK5RkyZwf8l0+3ePnyNC6rgan5MFfe/H209W3570v9ly5A+ehjNCYTBuciitKhVjmXUD1R8TDr/NRq51ii19GqexS3P8Y0/gqaniJTSqXz+5jtw3Q0ESg/wBB5EVWnQ6O0KysZzbM7uMZepRDfxeiOSE5CZvs+Np8ddfR1molldI0U6sA8vWYfnbpLq19GpfcjzMBi+KXTe6gnnqGy2DF5l6jl99HU8gxsXgn+62S+Qu95k0ZmjUHnAL3nptz46wLjiPJZevNdrP5L6EKv0E2sonZ7pMapIvr0IqIyGOCILRFf/Ri33cvAEaaZSuKYnpGgRu3IHFjUnP3Nz/lkfZcPPnnGh3crDI+aeGVRpBX68kBoNVh4un4m45ji8N83GsgUyvgsQm+qotRoUhMPTGYrsSEnLuEKPktjsFo5T2TweYIkMnlMFoOMfkb9YakDHfQ0Uj3b7ApSr45cOU+/JRRTfnnIy2Xz0kuuVavJZHNcu3ZFxpePjvYkSC8QDMgIvKCzC9DUj3/yITeuLnJpaYHHT5cZHh7CHwryVz/4ofw+E1BCRavi5OCYl2/dJJFKyc2vfNgvlbl4YZ5PPv9U6q/qbaFWDJFKJKhVqjjdXkl5dnrdZDIpueXZ3zmSeli32002kyE2NEImn5IAw/3tPbkFFJud+YvzoPQ4P0titzu5/fnnvP7aa2Szop/vlN+tX97+QnbeA/4w6Uyc3kCROi9B83Y6nJzET6iK7Z3NgEYrVGBWKsWijNfPLyzws5/+lKvXLhEORFlbe0pf0WC1GAn4g9y//4SZmTFQCwBSUVoDRKJB2AreeP011jfWJQ1+ZnKc7YN9rl66wqHw3nu9Emr3+We/kNFu4bb/4qtHEs5169WbKIMB7//s50xMTuH3uNjd2SMcDRPy+3m+s0vQ45CDotVnK3z/e99lY1v0vjsIAqqg+YuIQMDjldvYgD9As1nH5fWy+myZZLbA7Mw0+/u7sjYSiw5JjoM4NGqEZtFoYP/gmKvXr/PowX25tRUVJXEgEkpJQcAXD6eK0pfDqHQqIdVzItFw+eIC4ViMD378Y7QGC71ej2yxgB414ZgYeOpk3356ZkpCRYXGUUBW52bmeb6+LllH4ntuamaG1dV1wtGQXMQc7B0SDPukilM85Ak1ocNuo9kQqmCVfJaYmZuSrAehlaxVa5QqZUr5Cm+9/Sb3v3ooBxyjY6NyYdLv98hmBeRvWuoVRex2YmSER0+XJVwtNjQkY9gev1duYZOpDH6/W440T09OefnVV1l7tkq5UpbLmdHxYRnzf/TkGcNjY9JC8Wx5VQ5RtGrR+Z1gZ3dTHkosZoNcsIiEhDj0CoCcOKwL0n+n3WZicpLna2sUizUMRr2sk2l1amw2K598/BkWs0XyEUStQugpzxPCsDAnUxKiNqDWDqRhRTASTHodm9tbdDswNzctk5Rik91utuUQUBxUBGtAVAGEi15s0nc2d7h47RqnR8dywCbqEVsb27JqeuvmS6TTcW5/8Viq+E5OU5K9MTo+JY0K4toJnkMkEiEYCZGKizrOuNz6/+LOFhenTGjVGnlfkJC18yRuhweTvs/z3RRuh45QbIwLc/OUayVpoBiODLG9uS3BlvV6C5NZJ5OBiXiGkeEYvoBb3qsE36DXarKze8Di4owc4qRyeWKjo5IKb7JZ2Frf5+rVJcmQOI4nqQoYLh1pQOmKb1SjVtYWhEpTDAtv3LzOzv4uDqudZDrNzOQ0ifgZo5Oj8v15Hk+xuDCNRq2XNPStzV3UOo38zIp+/FA4ItMwx7t7HJ+d4XBY0Rn1EgTpEqkGrU7aUoQ2tdkuStjc9PycTE2JtKTb40JvNvHKSzd58nQFIbnfODyUdobU6RmzC7PSzZ44OSedKaHViMpIXCYcPD4bqXybcNCPXVuTSxn0aoztHqm6OGSqqXUsVLtZfnfexm8sDbhz2OXhZpuFCQNeS0922H/6cYavv+qh1hlg1bdodVSUq0J/1yAUVGi2DewfV/j1t6OkEkLn2CYg1N8WB1/d36I/MGE1gM1hxGhToRNgZq2emUUXe3sFVh5mGB63orTVnJ6nGB8NcXiUYnrGTSre5fm2GAK5ZapFpSry9EmNhQVx3qozt/TLRFL8tI0/oqfXUvPk6RlLSy50ljaHO2r0GjXHp0Wsnj6v3Vzg6YMjfBFxszNwflDD5dbj9es4OaqQKcHCgkifpAkFfWRTVY4TNSIeM6NjQc4zKRKJBqMTFpqNPs1Si2jURypblqmsje0idouW0Qk7paLgDlg4OU5htdoZiRhJZaoYrQapaW/2hIGlTShok5UkAT8/2C3x7d8Ypa/u8PRBln67xZWbQ2xtJdBrBcRWwW7Wsbad4PKcn3xOTaPdlPBnUa0Rib9BX8fxaYWJMcFG68iE+NKVCFvPUzKhbRDdcLWGdrtKKOKQ94QvP9lFUevxhi1Ewmo0WiP37yQJ+I1SL38WT8vEi6jZFZJqXCENU1MBVh6nWN/O4XdbePFrdk4P+1QaNcq5CkNDQTrieVEPpXxbxvq/9dYY/+7PnjM76+HSUphPPlslHArQqDTxhox4/Do++3kGtdJi9oJHJhEEw2Zkys7ygyT+iIdWpy4+suzuVXE6BlJHebTbpNXpcOGSm0KqyORijHSmyJDfQrHU4+wkj/LD340O9p8neelXYjIy5fKaeHQvJadMUBDYAAAgAElEQVQ33/nODJlMk0ajwtFJE82giy/oxuLVsXzvALvXwOy0m73nefb2OywI12C/g96oIX2YY3ghSCkzwGRUk8xkpd5AZ2qTTVdZuhDhaL9KbNhIva3m3r0EEyM20ukCjqCVgYxFq6RLNhJ0sLmVYXrGSbPSkfADsW0/2M4RGnGQPOzi8faw2PUUiz1q5TYGg4aXX4/y3ntb6LAxNGbA4zBIHUM6pSaVyPPSG2EZpTvcKkhYiD/qoHDewOzSS6pkr9ei2Wrz+adlLlwx4vM6RDWVjacZfEEdysDAk6cpJiYtqHXCQWWUjmrhcxbXSjAPhkfsjE972FrPcXTSIBDVMjsrqMpt+q0ey5tZgj4nLrsGvah119ocp7p89TjPN14LS7iQx2wgVelTr1V4a8aDa0jPn95O89ePeuymmky5zYTcWvKNFupBm/GQVRIjy8UeVr8Zi7ZHqye6h35u3zugb4XvXzLzz//1H2EO9qAfovh4nYHFi9ZqoZrZp6u2YtepUJl1tEs1sHjpqizoig+li9029G0apTM6p19gdE/TbJZRmT0oqhb9ZlVqiwy+cRo1hd077+GOjVAq1Pny0w+YX7xMMX9IuaRndDqCgo62+OJXdXm+voffF6BQzTA9NE621mDt0QpvfOtFXnz1m3RrWQkYtAwt0sweyj6V0z9GvXAko3X2XouezYPFN0m72/plzNo7Syu7i6bbQmWIkDldwxMek1HYQnIZ1G50RhNdaxSboU/9bFNG49zDtxhojQyawhHapt4qY27m6VqHBO2MQTEuv2gGPWiXTrBNv0ExsY2x10BlctAQG3PfFKjqqFstavk89rEXqO5/TDl5iGfh2/TE4bZxgsE4w0DJoLOMQq3EzvNfEInNoTU5+fL9P0fjiUmye61cZXphXHY6rc4YFnWLtrqCdfgFBi0j/WaTvdX3MLUKaH2zVAtHuCNXye7/AqM3hsk/j6bbplXcYaB10KokMLimMBg1VPbvYYxcQNNWaKmrqLVuVK2u1AAaLDa6jQ5tapi6LZrY0QldXv2cWnuA1R5FsRrkF1kzfUYtt4ze6UfviKK1B+VrIQ4I9bM4Wp+bXqXE8fo6weEpCpVTbFovGoebTvYAnTNAWzFLRkGzXkTfjGOKvU7H5KV7dlemQsxDt+gZvHSzGygDHf3eIfX4NpbJt9FqevQaZVSdLl2thX75FJPVhHFmjOJukT/5wX/k43e3eOsbS6RbNeKH50yMz6DXN1ldEZv+GQZtMZG3cLp7QAUbx9tb/NEf/QaX3vw9KCUoH3xBqdLBHRyjGt9E4wxhUAw0qwmwhlBUNgwWhVrmAL16QLVQk1sTQdxWmWMghkbkUHxX6GVO6XcymEOXqZx8gtYcQB+6RePgY5rlDO6Zt6RDtpG9h0lUUEKvI1TB1ZQYwAzo5M5QuydliqBezUuQZr8mXv8puuVTNJaITAnU6kd04uv4Lv8e7XaN1vmXaHzzaLReusIU0S4yELT/egpFbUPrmaDfHtBr51CL3qlai5J7zkAMW6wLGOxB+uU9WoUklpGX6fTbNGsJLIYotfMP0VjHGeid8jtBySZpWrxYzU3ME0to9AbOv/yUZ1/d51/82VPZmdvPtVB0A2amhhh26XAYBKvCzi8eHmGSfV8nwaBL9mjXt1P4/VbSpwUEm93rtDE7LfrRWdB2MJgEXd7Fw6ePeeHmi2TO4yRzBW68cImT3RMKpTyxiVFUA9ExrEri8cRojGqzKj/r4kCr6iuY7GZ8LhfVSkkexNKZDFaTlUJFdH2NshvudTlknPnsNI6iMxARX94C7qdWZGxVOLoDAT+rqytYrDapyBLRy1qpRLnelDFqj9slN7GihxuNhaUOLuTx4vR45FBAbD//+ofv8hu/8XeolIsUyyIBp8JqFhFsL1/dfSQ35mLTLLSFKyvLzM/OSrjWnfsPZfrm7V97i/WVNak7ExpFhzC9NBvUS00ZpRcaOrHxNZks8tArIG/p8wTnyaSktbc7oovckDwCMVTK5jK88cZrrD1fk+A+k9VIPlOm3WjRaDeYX5whk8qSyxXJ5bOSRSAI86I3Kfr9IlIu4vjzC/Ps7u/REtvL0TFUGsEKV5PN5mStYXJynFKxjDiVhQTE8OhAWm9E7UHp9+VGS5DKo9ERWRkQLAaDURDEW7KTPzU5xubWoWRwfO1rr7C5scfx4SFDkQBGq4XV1S3pBxdWlXqjKTux6XxeDluEvk5sOgWkT8AUBetAp1fJA+2xADoC8/Nz8kBEXyGTy0rS//HxITqDjk6zz/WbF3m+uiVTZyPjkxRLafa2jvg773yLd3/6ARcvLMmfazfr8u+utYU2bIK9wz25IWegIlfMsbSwyOHxER6nk0y2gMFskjwBoaadmBzn9qd3uHh1SW5WxftRDLGE/UAoItUaLdNTkxyfnEgwpsvplHHwk71TmcgMBDyUylWiQ0Pc+eJzfuu3fpOV5VVOzhPSJBEJDBFPJvB4nUTDAba392SiY2hohPXn60xOj5LP5jk9STA9PcX+0YH0qKtUBjnYE6BiUUsQJoGhoagEX4prhBCVlotMTIxgNItY/oH8dzttUZfoUioU5XZZpzfI95XFamJ/75D5CzMcHwrFJ3KjKAZ0G5vPmZ6coVguSBinLxBid2uTRkOoobUM+l35bCqMF6LKKWxHp3GhzO3LgYtQ3IlnzodfPRZRAZYWZmUPXEDtfuu/+7vy960JM0u/J7vzor4moJnhoRBPHz6m0apL5Wm7NZDX7Oqla6j1ak5Ok7gEqT+ZZmpiWKYuUqkkihiQ5ZLsHeXwuPWMRgJs7pyg6NT4bSIF6uPgoMCb33iFeqMjh4ayfqLVsL61h9UsYGrT5PIJzs+zzE6OSgWmSWchlU3jD3roNAWcsC6vxc7ukUy7DI+OSHaIVquhWCiQTJzLv11ATUUKQvx+JsEVcTgw6PTyXra2vsLbb/2aTL189umn0iQxFB5ia2ebV159mVa9wfruJq16h1A4KNWRP3r3b5mfnWZ6boaTozPSKQG3c2O1Wymks9T/KzRXpHkajarc4MZPjwX5iHK5zquv3ZRckkq1SbGQpZgp01OD02Jh/tKSZIbcffCQsdFhLi0uSI2eMI89fbDGW9/+Oj/78FMO9/YZGwoTcNlYWV9HZ7Sit+jlFnSg6TLmdVKpFiW0ta3oWcs0KGRq/Pl3/IxGhBXjHNdIgI8+y2C3aZgfsZKtwP3lLF+77KTQ6LC3J1S1ZgJOHb94UOKVKyGa7QaDnjiD6Ln5kp/4sai/KNx/mOBXXveSTDfx+pxyAZo8reEP6zg9VzMS1fHocU4OvmcX9MRCQfmZbPcHsgqSy5Ulk0YtuAk1gQ1rkjiqML4Q4GC7xPVbQdJnZYaGvNz+/BC9AQmpq9b7ktcmPk8mnZFELstAMTI16WB3WyglC2jUBn71rRn2j+Ic7BTxDVvZXBZGIx35JETHTQSdLtZWsxICf/GiTW7Ck9m+PKgGh3wIh1Bn0GFvJ81rr89QrgoDW5F4vMD3vjfHxmaS5Ydl5i+apSbboLcjyh/xhPhj+hIuePGKg2jES17YI8TF7um4dCXKl7d38IWcmHUm7t7b58r1ILlUG5tdRbPTJDYaYnstQ08tlslGtBoDHp+e3GmDeD7P6VGHt38twLmAMvZNspZmMfa4+zDLa7eG8Qfh5LguYfK1fAObw8TWpuCIGBmLefnik308QwZpkai3BjhtZvnaiKHS1OgvwYpHh3VeeiWCWtvi8Lgsk33J8yxel51EqsHkhINMvoZO26LeNDIz4+HDDw+4dFkkERSpkNegYyhq5fAgz/SCm+RplVKhSqPRY2LWz8rTE2kWU+s1jE+YKWWbmB2CPwdf3T3F4vAzPCTMTG0abT2DgYLFoLCxlZbVi/3dFguXjdTrPRolFcp/+m3fYCgmIj/izd8gMm6nVe6ws1skOmxgZNRFKtnj/v0z/offW2R7O87xaVnqmAJBEw8eJhgZ0xCLRfjko10ZyRAT536nQzXdpdJtEB5yEAlZWboe5cs7+zz8MsnX34xwct4geZhjKOqmb9Ti80GtrqaaV9jfz3Hpio1ksovV0uVYHJ49NiymAdW2iv2tLO98d1xG5yr1Kif7Tc7OhMKtw81bY7JXuPpc9GPA5dDKfph4IVY2hId5gMcxoJRXo7briYR07G8JL64GtdbI840zvHYdqTgY7AN8AeFOLUnwitKHyy8EuXM3zZgYXjQH8uGo1ReeRwErFA5qGJmw8/RhgukRNzsnFcJDBhR9n3K2T7UAroAKl9NCoymiZy06/Q4+p5NsvkG+UOWFizZqDQOfriTwmtyMe8uMDHn5R39xxEdHBq6Pm8jXelgHDd55yc/ZeZNasYI7EOA0lWR0LEz8JIfeZSaRrfHJgwJG+vzai17+v/f+BLWuD+lziscnKLZZus19msU8NscwlUYe69Cb9E6/oJw/oNOt4hm6Ljf3neQhvUYRtW8WKkco9jG65TP6vSJG+wgM9HSru/QNdgw6P4pBzcrtD9A7AjJuKXrnE3MLlHNpPr3zhBG3k7ZOhbondJBDMjbabYHdbZbbiVAsxMHmBi6nD79tIH/WNzRFW+sgufYxuUKDG9/4LvXUNgOtk1blAK3RBe0BKtHNbHQ43VrBF3CidS5iH4mRePYjDEYPOktAkuX7nTz1+BE1lR1NV0U9/wCjZUz24TXqnoyYG+s1yuUcit6A2uRDhZVBXzywtVGZLLRzWXrarvTSG4IjtI/XqGfi6G1udGYrVa2Co92h2GhgG7lBM3GIUj+gp7PLLqNG5aCaW8Mce4Fe6Zx618Hu+keUW2pi0REaPRVqrY3s6TaPn64Qjri4ePF1vrj9I27e/CY+V5+zxDHXvvG79MoNqvl19Dov1cIOOntQWjjUBhtaQfjWC2fpAQaVWk58zc4Y9WqNXuY+alMY2km6XRVqnY2+IUi38ByVwcVA1Ufpd1F36wzMYTR2J0qpRCW/jNYQAdsovdIu/cw5A5sbb3SBcmEXrW2RQSNOr5lCEb+BosYcXqCvbVE4XsHkuISqX6dRP0arc2F0jFJLb6LWKLRLCbR6FV1TGKNipHr8BcaRy/Kh124TMJ8ORluA/P4vJCjQMvUa3cKJ1MhkczuEYyZ0oa+Bscn7//pP+eN/+RXBQIfL1+a4dnmW//yfP0FtNLM4GWV6zMeP3r/NxEyQz24fsb5e47e/G+N3fv9/ZmTMyqBW4XRrFVvoEp3cNlbnGFg8tEs7v1RZVrv0muLwoZM6J7HN6eYTdG12VGYf2lqVaupLnMPv0HV4aBzfh3oOjcaGSnBC+m6auSPsgWE5SKznD9EIAJneTS+VxRCcwOh2UU+e0q1vo8OOJjRNP3tCVfSfbUOyEqKzWOnlzmnrFVk70PpmaMWfyVSUYgpiMpipCiOGOPArOlSduhxO9HGgCFvCoEXHPoymnkF8GBUBX2tk0Jovo+5W6fQKkgOhdBpQb4FNQ6eQkxDKTvcc88iv0BvUoJmGjh6aHeyRCC2tk8zaTzDZI2gCMVxDwrBQRnHM0jh9xJ/9iz/n7CTLux/FSTZhcdbJhTmr1PzMjtlRa8w83TqXn71OvUwoaKLU6ZNN1tGaNKTSZUmP/vav3pKbymKhSl48QAm/bqWFxaaXhxChxHM43DSaLalFioSCUtHncvuk/1mQ5rPptEzIhIIBvrj9Jd9665ucnpwxMhaTvm9hurG5LBSyJRn9XrokVGVdlldWJUxM9KQfPHxCMBSWhwqhxRPbv5FYjLt37kh4k3gw7vQ6bKw9Z2hkWMa5c6k0wgju9ToJh6Ls727JGLzT6aVULcnDjiCki7h0KnFOo1JhZnqWVC5NKBzi2eNn+MNRWs2a3Pi63V4JWxIH1Z39bRZnF0hnRfLMLg/H4mFcbD+XFhflpvX46ET62gUwy2Y3EI1G5SaxVq+yOHeB9c1NyoUSNrtV9siNRg0F0bVuteXg4OB4n9jQsOTc7O/uyS1+NBxF3GoElO3ps1U6rTY+r0fW4/LFHKFgmN2tHUloF0kAQfwXtY5qWWyinDKGLPrg83Oz8n8/fPBE1hEuX1wily9x9949XnjhKmsrq+IMzre+/i0eP30i++rhaIRINMTnn30hNWex0YjcUGaSKa5cvSwrGwadifagJzdL4gB8sL8nVW/jY6OolIGEG4ro6FA0xMrKOgG/m0a7JanO8fOE3GCK6yWHsnYbR/unJBJxLl5ekteuUa+Sz1dl118AJ4XiTNRGxEFcXEcRjzeazXIDL4Y6i3PznKdSsgv/2ksv8vlnX3Lx2gWSZ2Kj60BRulK7d/PlF/jkky/xegSgUXCSagw6PTlQEsR9T8AjFVRWq418Ni2TI+GQn1VR/xAE/q0drl2/KistWp3C3XuPePPNr7G780t+inifiwRJPp/H63GRKxRl91/oEMV7TfT3t7YP5bUXA4cnz54yOz0lEwWJZEpuuoTKLXmeQqPXUS4XcdocRIdjkoexsrLK5OQMft8vX+OjvSPUBp28Jj6/h93tIwn5FAf1B4+eYrVacbntBMMRWa356Gc/5+LiEk6Pk26nze7OPqlsTg7YjHozp+dxWd+JRiNSOSgi6iLtc+/eA6lkFPHzZ8vLRMIRavUmnWZDHl5tNhtnZ3EyaWG/ckp6v0qtopjLy/9/eGhYKi1zuQSXL78gP5d373yF1+mUHItcNs3ExBgnxwkJt3M6nVKh9/DBY8kIWFhc4IOfvMc//Mf/iC8+/lQOhywuFc1qD71Gj9NvoFHsEptalM8tYtjTabU43jvA7rYzaLfY2DhhYjKIkJyms3mmJsbJpuIUK2VGJsdolutyIKPSa1Cr9cwvzskIvwCu1Up1CTB947XXODw55OQkQTgakAkAMcB5+dZL0uYgUhQBnxu724O4KYgNvaJVU0hlZApiLDZMtVljeXmZ4diI+MjIoZtUUvtdbGzt4feKgWRHpm3Uikaqp0WnXyQJxNDh+PhYVtJsJiOx4RjlalPCIB12K3anmUqpRb1R4+w8xz/7p/8LGoOGf/uv/h0TsxNSnZk4EcDONkbBXuircNnVFHNlCUv1OB3kS7n/9lxdx27SUWg1CQUs2BWoiO9jdKweF2hX1Lww6+T7Mx3mo/B0pYXLb+Knz3K8c8lPTdOS/fKg10qm3GJp2ke9WkRrtvL0WZKZMbdk5IjvxWDIw3lSVER+uVxcXIyhMXYZdNo8elJgYtIr/2bxmopufqGk4vA4iVWnITSkY2+7ij/kweEe0G72uPNFBq/XxOycjR/9TYJXXrfjdooBWg+zpU8g4OLunVMWLwTw+zWyerzyOMMLLwWlSi6VrkgoYLpQY2I8SH/Q5+HdJG++E2Nvu0ip2GF4xEglJ+DrbZk2Fp85p9XK/okANTrlwOr6lRBdbYPd9Q4Ll0JkE0nMdnGoLBGMmNhZy/PqmyOUcj1OEmVM2h4jI+I6VamI1F65ycRclF63zf1750xOelh/nuTFW0OSAfH0wRlvvDHJ/mmRlcdJeWaKDFvls2j6VNR2BZS1x9LFcXaOsqRPcjLxOTZtJpXu0ql1RQkbnc4q7/0BnwG/10a+3mTQ0CB093aXkdGYh4ePjoiMWShkBhSyLbxuNdVqn5PTFqPDFl56xYvGrGZ3PU8yVcZuMxAMW/n84zMmp8y4HKJn36PV6Mn63NiUh2ePEpJD57A4MFo79Lp6qrUq09Me7t1JUSo2iY0bmZyLsPr4BDVgshskNNImBpy9glw6tZptmSyZHvHy9HFCfndfvugnkavI4dXEuJc793aJRPxUK2WZHhJVp4BXw+FJiky8zI2bo7z3QZxrLzio5CGZzDK16KZVVchVSjjMDszmAcpf/V3PoNKo8I135vjw/S3qFfjW2yE2V/Mkcw1Gwhay5Q52s4hJVZme91Eut9nfyOAIqBgedpM4L6FTBhKKU6oo7G2mufRimGKyiMGqlT97+/Yxl5fclBpdSvkuo2M2DHqVnKScJ2tySzIy5WFnNUu93UFR9MzPWlnfFpEvFeGQWbpgQ2HxYN/i7t04S3NeTk7q+Pyih29joM5id3o43ijSHLRptQa88EKQdLpKo6nB5uhSyauotatcWQqh1ls4O05zcpzGaHaTywpQjJFAQBB5BWsfdg+KjI478bvV7B00GLS7xMbslMot6UmdnQlIUvHhcZ1StshAZcbm7NNrdhiojUyMiihSn/NsHvVAi9rcZ2kpyp2vjlB1xE2gx+i4g+T5gGy9yvy4Q0bbxO+xt5ZmxGfk9W9N8d4Xe/zhf8xT05upVov8818f5tOtJE/3G/z9dxZ48PQYvU2hp6iJJ1tMTLvYXEvw1aGKYWOf33k7wPf+3teZeO11eqdxmmUDid1NTJoEij4EhjZatRenTUN87wEt8zQWbR21yY/F7KReOaHd1qP1DGHotanWK2hr+2h8N1A0XbqlA/qGIVSdNM1mCdXAhX1ihubRNn/73l/JXqLJEZHxQFFVEA8nTx7c55XX3+ajjz/g4sVZxsYXeXzvnuyq6U1O1tbuoVZb+c73f53/5//997h9IUYCDj58732u37jCzHCIzx6v4gqOsbJ6B7d9SMIrm40qxq5CJBqkVCqTqVaYnYrgC8WolvLoVCYO9+McHTzn5dde5doLL2FzO+jWdsE4wUBvp3j6FBMtGQ1G45TDG5NjRELU+ukNWp003eYAU3gaRWOiW07T1QRRkvfQBUbpGYdRtbMoPYVeX4VBaMsqBTn9Uwx2tNZR6tVd9P0ebeH37jbQeqeh1SR1tExoeoxcvMrjj95l7tavsr7+EI3eL5MHubNjJsfGcIT8JA8ybG0+w2bR4/U6qOUTTE1PEp1ewqhVKNVzUFNhC12nnLoj+1IdRYXR7pGmgXa9zKCRoF4uoXTTmMe/A0aLZDkUjldR6bWoNDrUGpMEKfY6YuvhR1Hl6TVqGLxzVA+X6dLCEr1BI/cpev0w5vHXaex9Tj13iMpmw24TyroI3foJRrOHerNAV2zsw3NSXWbQNSk37JJo3irvo1Y5MAfmaeV2aXZOMZgjaDUmyqltDIGrqLpFmtktVBoNve4AozOEWqVnIEBLRycMlAqBl96C4i7/97/6a/70B+uM+gYMR+0SgHaaPpPqo2aljs6mYW5hCtd/hSn9yZ/+Leq6gdHJAf/sj/8h3oWX5aCrnihQLRbQqg3oPMLpWsZsDcnhl0or+nwqUFsZCA9yNUlXp5fbYWt4GEUx0MhuMlBFJKApff4E7aCB0eLDHJ6g1zVQSyyjDc7KzatSSVFN76MzDNPTQrdvQd1Nkqv30TZzeH1Byj0Huu4RA0tIhAfpYaZ3ep+eoNzbfKh0RlkBUqjSU/voleKYnS6aahvd9CbW8FV6nTb90hrV/DFq+yR6s7gP9KSNQtHa6FXOKBZPcA+/SlejonH8c4yBG+jUBtqlFIN2DbXFAcZhasVnUuOqVpvlpq3XKUO/jMESpNrq0e+0sQWi1ONP6VRLWMKv0zcptMXndsiFyq2n6X4Nkz9Adu1H/Mn/8Vd8eDfLcly0QPrMRsGrUyi324QDHhamA9y5vy23w91uiWq5RS4vDvQ2dg7PpTPZ7hJqU4V6uY8nYJXar0ZFbOd6aA1aMrk6Xp+NaqPD6HgErU7LyX6cq5cus76zRrvRp4MGh92Aw24nlckxPTmFx+Wjp2pTzlUJDQ9xeHDE+EiUL+/eY2h0TEazRQQzHIxwsH8gN6xel5dUOi4PtsIBLh5kxbZfPFTbnA4ZtbWaDZwex2XnX2wpH68s47Ba5EP0WTJByBeQW8B6u4lwwUSGYqh6HQ5OT+TWd3RY2Hk20JvM2B0WCY379tvv8IsvbuO0erC6TJKerhEaslqTerONz+PA7fexty388C6pcxMd7rMzoWJFavoEV0GouUTP+vDwlLGJEXLZFPVWTx6KTEYzzU6bSCBItSF60nbymTTNWofRsSiJtIiOhnm+vsqweMgv1xj0OoRCYUn5jg3F2Nnfw6DV4/OKCPUxKpWak3ic61cvk8vlpWJNxB5dLifrzzckeG44MkylWSabLVErl6TZIJsvMOj1ZExaONvFxlEk+UwGh4S1ag1qBn1F6uJEfFxsQYUqC82Afl9Fr92VW9vxkVH2trdkX356bo6z83N0WkXC/DwuocQ7RFEpskahqFVyACLgfqlkRqr0ZmampK9bwCEFq8HpssnPdiGbkxpHm80s/xYxXBAx7YX5eb66/+D/J+k9gyxL7/u85557zs059k2d8/TkmZ3ZGWwCsAEAiQUpEkyiS2JyUS7LsaxPFmm5bJeLsvRBUpVLsiTLFm3KAChhwQWxOczszuzk6enpHO/t7ptzjsd63/24VVu73X3vCe////s9j6RFf+OlVymXi+xs78tah67r2M0WSagXXf7U6SkXL5yXz6b0cV6q0erlAm9953WG3SGf3v4Cj8tPJB7kcD8pI9UiHi62u36vUGU2WV5clnC5hqhaqZpMj4jNusftldT15MGRZC/YHDbZLb9y5TKf37orqekiKSL86s/X1vAF3MzPz3P/3kNURWV6fopCtki9Ucdus0omgTjA2Wx2qfEyjIysra3KeL1gSPV7Leyio+rxS82cR6h1jZpMvXydZmnRa3WZnp2VfVah++sNdcJBPx6fD2GzOz45kr18UX1YOrMst8NffXWfxGScWqWO3WkjEU1wmj792mRgsfHRxx+QEN13p1v+rCJ1uLr6RDIsXnzhKp1BV26Uhb6wUinJJM6gI0CPZdlnN5nNRER1p9mQh2HRPfnFez+XA0NRpZmcnpD1tdnlWe7eeSAZN4HQGI8ePJRcA1Fn+P4vfY+/+NGP0Ad9rlxaJLl/TK05xOtxMBYLE4gmODw45eH9x9g1AcATkESLZHQF/V4MBitHx6fYNI1z5xbJF/NSK9qotyW/o9MbsXJuAYfTL9+JxJKp2+gykVm0qPkAACAASURBVJiQ7yKiuuZxeegKMr7LLQF9Yhs8NTUlr6FCMSs3iPlCib/5u7/JT378l1jtNr716iv87K/+WqaahD2lVC5J3sLKyhLP1lYl+0QABMWg6zidpNcZyPuTAHeWikUypxmZ9BXDqFqrQSQQIptLy6FMpdyS32tFVWR9SKRsb16/guYwUxH3rEqNcj7P+MwE5UKZRlOAjg2MJyIU81nWN7ak8nI87iefFcs4nXynisViZTHhZ3PziEvTYXL1LrcPO4zsCv7WkD9+0cC3F4M0OmUc8Qj/13uHeAxG6Zz3o2J2O9g8KbAgVIzqiP2jOm6fA9Owx3HGgN+v4XKNSB80mJ8T9S1hirBQrtRk0qleNmD3aNgtCrGEi2KmwfpWWQIj/SE7kxN2yvkWfaOFqB+yJzr5SpHllQi50w5HRxWuf0PAWEfMz4ZRRg0ePxMdeSuVYo9Gvc/4pE1S8A8Oi7zx5gLVXJtSoyGhl5vPsoTGRR1giMlsxOuzkU52MDuHuOweHj9K8eqrCR7cP2Kgi0GZqE+rFDMtLly2o9i9fPjOKd96bYyj06oIqcpkeLs1wuayMBayodktlE+rmJ2CD9CQVoQ+NfotjcO9Ji6fEY/bxtZmg8ULboJOlbzgpOk6C9Medo9KdJojSeb3+KyyVnCabHD1mhurSzzPulK/KpJYX9zNce2qW54TT5LiXKjj9opnwwkXr4RJp4dysXuSLmMy2lFMLfptE812F6/XhkE3YLOapW56bb3AwoKfqWkBG1W5cz9Jp6byjRdnef/9TUrVLgtTXvxjNmkr2NnJcm55kuebJ0QjFvYOBoz6bSangpjMA0rlNspIpzccEB/3Uc41yeQGLJ+3c7Tflc9FbwjSRwOWlx3YrCoPHhWJT7lI7beJBIwkFkJ89l6a6WUzvZZQ3Pu5dz9Ds9VnfsFJuTJidsLBo6cF+W5ynMywcMZLv6kwFDBfzSCrgZPTPj754DkXr4yTSfcptyv0mz0GIzOLc14Mf/1fJPSttRIzCwY6VTuVZoOLF7x8+GGal16ZkPT9zz5I8xu/O8PRUZn+YMRYyEXyoE0sZpcHqlLDQDhgI1sq0Cpbpd7g4k0vG6t1AgE7116McJqrUDxq0RZJ+dGQ+LSX4706td6AG9ciHO5n5aQy6Dcz6I348NYJr397QpJ+M/kmg55Cudzj6jUxgdZp9XU2npeYm/IxFCo/U1NOEI/3S2i2Pu2mxrVrIdbXsyT3urj8RqJRu1QGPrmXR7Ru3DEdl8lCwO/g6aNTErM+Vh+X8IWs2NSBVCusPS8Rj7sIBYSDFDptodTroA10nqznCfodvPHWBHfuHHDmbBSTYcQnnx/THxj57nf8cmjQb/claG7/oMb8rJuFpUluf7aDy2OiWB1ydt7MeNzF+x/s4wl5GAx7zPn9TPmH/PhJi7//cZFazYg9YOEPL7o5qhSxDFQUh4NMpYtVb1PsmfGazaj2Lh8/7VNvtDkfhP/1v7vBy7/1WwyCkxi2blEt6LRLDcamFsmc3sPhWaCw9R/wRS9j9czTGXToVTJYxxIYh8LFnZZ6tp4mDowdRt2MfLAJmJiud+VDXThK1d6AodqgmnyGGvoGdodNKvMcPh/P7j6iOazA0CdVcSZXGGjxYHWL5fkJ2f8SN32jrlIqlJk7M8+TB4+4cn6JqfOL1GpdmpUqO2vPWF6+jMWiS7CXxxPm8GQLzSg4CW750i36PuevXuL+Z18wfWaRbl/n4d1HXLtxU0YNy/kk49NnMBg7+DwBvvz0QyxuN1NTc5iaZWKTXpbf/AMKx4fQLTPqNlENTYbWEKahmaHSpD/Q0FQH/XoWFaG1EfTpMfq2BN3SbQx9hT4+EW7EJLa3Sl1ujG3hVxgYhgwyz7CNnaNjsNFrFLHbhV5wl1oxKx3rXu85arnbshPmCyUYDC08vfUzqs0WHkeCyqgup6nv/uwjXv/2DUa6Jnt6qVSeC2eWwN6X0diFxbO4HT76KLRrJXr1E9RhQ/YsPTOvU03ewuwaZ9g+xeRLoDShP6xjdAflBkzA3mjUsAXCDIcGVM8Y/Q5ophH9wsHX5H23naHBhcXYYTgU3wEPRnuMSn4XY2kV/9IPqJ1+jqI5UQ1OKsV9GII3Ni6vJ6MSgPY2o7ZCz2hhpFkZVg/ktt268B3M/Zq8HkYiWWPVUMS/L1Q69Tr91gmOQJxRMctwMKKvaTg8buzBOIhNwFGeP/2Tf8FHt7eYiVp59VoUXWglzS4ePVljZiJCOOKnUh/I+GinpFKslvmn/+y/YenMJCOXn+Kj+2jC5BGOSc6DipVmS8RJU1iGGm3dgMkfQM8UUOyKTJ90Rbd+THAMNBr5E+qdKrsbX+LyzGC0GmjX2lLlubu9z7XX36R09IR4PIQ7PEm33kLIFgLBMFo4Qv9kD8fMVQbtOn2hQt34EId7Ekt8BrW1QafYp91TUdw6xl4Lk9HNwGqlO9Dlpr/f1aCzg+qdRzHP0MvelmkQ1R1g1MyhN4uMbG4wRTHqbRTdQreXRXfEUNtVbN5x+iMHdJM0T+/Jwz1WH9bAFTBWaWV2cDmsGMLfoLH7KXbPAsNhmWarIOsreqeC6l5iVLmDceSRYDuD3kE3KxB5CUUoNK0jOpVjisf7RH0L2K5/H83egN3P2H28zb//8Bb/27/NypTC9UUVs4znjvHjd06ZiCtMTgc4SA9k6msq4iKVqWFRwGpT5DZBmCMsNgW7w0GuWmP/oMq5pTEcDivp4wLFWgNFUfH5naRPSrhFUiDooyEOLiYL5WpDQrC6nS4GVadb1xkaRvjcVjzhqGTbDHpdQpExpqenOT46kZ3rWHyM2ekF1p6toY/60iQiXOexxARWzczGzqZUCi7MzfHz996TfeWXX74pD+6pVFbqAl1eOxfOn5Pu+mqxKCncoUAYm90pnfc2zSQK1fJe3OkOuHnzBvfvP5T6u9mpWblVfvb0udyeTsxPcJJMy8OgePkRIMO9nS2C4TEJF9RUk+yWv/baK/Iweu/RKi/fvC43oaKTKEwA4oA9Oz1Do1aRcEChMixVaySPDrhw8YL8bPrDHoVMUcICK/mSTD6I/rxwkY+Fg3LAbzGbZKWiUi4xGZuk1RcHdhHLn+DFF6+yubbJxu4e8/Nzsp9eKoo0n+h8i46wynDY5/79x7InfvHyeXa3D+kPukxNT+ALeNjfOpBdepE6+OjDD/g7f/x3eO/992nV27K3vLA4JzeFBuMQt/DQdzqSft0RPXCrCbPFJjVouXIBfTjAahWMoiyL84tsbu+wtbnN3/jhr7KzuUUhVyQSjUiukbhXTU1Nkj1OkynnuHLhMoVCXqoe9ZFOJCIsEftysBOK+Fhb3ZFAQaHnu337Nm//4Hs8fvhEbqRNJhv+sJdhr0epUGDhzAKaUZMxfvEdyOZLuJ0WUqcFup0Gs1NxZhfmuPPFAyKRsDzgfvbJpwRCIclmEJ/15NQUB0cHdNsdzl24IKn0Iv21u3vIi9evSAaH+B5pihh2uNhPHrG0NCchjeV8mXBUHG4MtLtd+R2qVRqkUinC4QAGTcNkFIO1PDOTk1LpJqo9op9uNqkyuZI8EZvEi1RrTU6PU2hmMzaLhW53IOslgs8gNua5fEZyImZn5ul16qjiUOD2ymWL+P3j8Sirq8+IR2KyFz87u4jZDMlkSoIvJxKTTC/MkM8WSaaS0pIgfl6h8BWQPU2k0GwuOWRKpY65+sJ5ziyf5cGDh2Szefxer4Tf7e8foQpuhwqh8JjsG2+sPcNmc0ozQSFzTHAsSjw2xvOnT+Vh+dzZJdafP8PpC0kuwurqBiO9K40AYmssDr/T0zOy0pBK77O7mSbk1yS/weYUhql95hYWpBnEZXPI+4KoRbjsdvrKALOq0G8P6PRHcsg1MZ2g125SKFVldVcxmPH57PzG7/w2z588IV+pEvD6KZfLLJ1d5vjwCNWsyk18rV5n0B3SbLZYXJ4lnc3Je5O4vxlRsLrsPLjzgMmZKeKxCGtrG3JIJxIhg+6AAX1peDh/bpnt3S3OnzvPg8dP5D3xhRcu8+FHn+N1OdCM4v03JdVpsXiYTqOLZjYyGg4xqGaajRoecb1lMpK1Iq6XN1//DhOzMb764j75YolWqyrhfcepJAaDUdY9DLpIF/RY3VilWasTcNmIhqMMjDobW4dcmk9QqnWo1UqcXQjx7v0Uc+EYa6Umpx2dv3fVxu9dMeN3j3iwW+Or/QrKyMtb16yU6wOajR7re31qvQ7nJ6wEol72UzWebFeYCjjxeY2SS5DKdLlyIUyrVZOQRZ9fkzUKAYAzKeLZY2HQadPp6UzOWzhOCZ5ZhbPnQjBoUcx2mJiPSi3o5KxdJoV3t6oyGi/o72LAOjkf5PSoRLfRYWp6DItNLCWrTEybqRY7EuJqcekkt7ootq6EOe7t1Zlb8HPyH5XgU7M+TDaVg+0qY0Er5VqHYrbL0oqfQkWkGxI0BWC6L9SwdjZXc0zOBqmXWsQSPg6Tp7IWInzzIlI/OWPj+rVZvry3S73Uw+83YXdaGIj3326LnQNhbBhy/eVJjvcrWB0jynkoFsosnveTTvWZXRbstTpHO02arQEWm0o4asPjMpLLtNjdq/La63GereYwK6qsCgs49PR8gEd3U7S6HSYSQawuI0/upeVgdfmsnUHPjNml8uRBhkK2zetvzksjltR0qirXX57l/mc7nGTEYGWGQqqFrgw5SvUpVxr4xcIgnSMc9TOZsMoKjiimCebR3dsV3v6VeW5/uYlFtWG1aFKbPb84JpfbPUOVeCjC+mqKVKaHz4usAwiIY/Kwzcy8E4vdyFdfpDGMLMzOODCYugxHRqnMFsvYtWd1/B5RL4uyvV2lO+pKG5Lg66WP6swthkgfN8DUwOf14XCY+epuFqfHyKivkzsZ8MYvBciddOUAPxZ38sW9DMpQYeWSR4jIyOaGGN7946CezYsNu4gGCZlah7nFMKvPG5TLeTlpNQy62LwCgJAm4DWysOSXvunHT2sszAVod2vsHnY4JxQDNiOVQoPIZJjcSVX27gSQSNfFQ9XA8VGdoN+DxTHCrGr86KdpbrzgwuU10+uNODkoo2gm4uMauZzOC5esMtqdPCxJQuim8FR6dM6cCcoOZrtXY0NQM4MueuqA50+r/NoPF7j1WUp2mS5e8NAbCqdvn2p9INVD37g5werTJNWySnwGgoEYu5tJrt2Y5sc/2uTaC0G6gwGHRy1iMY2Q38/WRhaL2UC51pMEY1/ATjFfR9Oc6PRJJ+u8/tY461t5drbrTEw6iYYsPF4r4bdbuX4jyN0Hp1hNDqZmFE5SIrojJlKQOW2jWYcsTIcIjbmoV0qUyk3+wS/qfLzZ4caslddXXDT7dtLJPAObjeRpnTMJJ5q5x9DopNPX+emdlEjb8koY/sc/+wOu/vp3MNSgd/KEYrJIq9slPr5Cq1yWNwizbqZvtdM9PUZzhOlrBtQBdLpprNaEfFjZzEYG5iFGzxzDSprG/ifYZq8wrA0ZUcNoc2EUijqlR6+ZR1UdWMwBqSzsV4q4ElM4Qks0T3YxmIf0223ufvYVZrODSNTP6sOHTC8sUs6dcpg84ub1c+hqCLvVSDWfZfu0QdCl0RtqrO8d8vorok+5jdFioyl6vFPjEpCT3DlgY/MZl27cJOTzsvZsi/nFCfZ3DuQD9MyZM5RqNTafrXP5+iW6jQY+X4DHqxtUyhWsHp+MLKmDJi9/9zvEgm6pnewOVRqna7KHqWgGNHeIUUeR3V4GJXSTC5s1Tqt5wKjfxWSPoxv6qMM+va44FCak6q289xM8iZfkTWTYFC7fJnojhSMwQWvkgeo+it2GVRzGVCujgZFmUeiwQvQ1C47gLIreo9/LktzcQh1ZOM2nufvVV8QSsxiGLZxeP2aXjXa5w9Fpkm6lwx/9rf8Ezdmi3y3RZQJl0EHROwwtYqs8QrH50cvHjPxzEs7SSt4C3cbQbkEpn6JY4xj6BQbOScxmAyNB2zf2UM1j9IpPMDkmGWlGhtjQ63tSYah4p7EFptDTT1H8i+QPHhGYuU49/QCTwUhfAFp08I7fZNAq0y/tYo3PUjt6gCt0AfxTNHbflSyCkU9c52OYnU4a+SMMTidKeY16Nol76ftfd9QLDxkYFUIXf01yJO6++yMePN3lxz9+LEnj/+V//eskT7Y4PW4TGfOyd3QoH5Yx0av+6W02tlosTlv5X/70N5iKOvHOLFHdTKF0upTK29jDF+kLtU2ziGn6LbnZ1otJWrlH9FoNvJd+CxjQTq9idiTo9yrYg7M006s8uXsX1+RZNp9scvbKVe7e/gxVszOzPE458/Xm0uXxoToMHK5nsap1rO6QjJJfuXQG80j0okNEJs7RaGZwmTTs85dJ3v8ZmaN9li+/jXdymsbeE8r1Jv7xGdrVI3Tdhc0bQe/WGPRzjIwJNGFsaGfR/Ev0u01MVheKqOxYbJjFZzwQ938rzZ0fYUt8U9w4UHWNWvkYR3AOQ2Aei8FItbiHQbGhOvwgPr9WAaPJTae8jjFyAW3UxSDAjCYNnS6KY4Fe6xCT2qc7imIZpChnD3BPv4ixn6fV0nEEPYyaeXrlAl27l+7BHrGzSyjjkyilOrlHn/GPf/IL/p93apSbRqaDFq5dHaNUb9FpdciVmsTG7IyN2dlcL0o7jMdjRiD/3U47z7cPiUdCGJQB/e5IUqjr7TYem9CheWRnvVhqo+sD4rEou7sp2dn+7ndf59mzDZ5vbPHi1avkSscYRxqd7pCGAL/pBurNvoy/Kuhfb5btVjyBkKwwWc0KwVico4MUTodF6s9295Jye2zUjCydOYNRER3PlqSaJxIRSrWyVDkKhZmgo4v7k9liRjNoGIy67OEKsJXomG4/32ZmaZGVlUXu3XsgN7qXLp6TPAIxIHDYbcTHZyWwbm3tMdevXmZfQNKSWV557QZpweQwWahWBZNCo9luUS0VOXN+BcUoKPwtvE4Hz9Z3ObuySKmQ5+Q0z+R4nOebmwRDYRaXZqQ+LZfOcv7iOe4/eCr97fML0/jdXnnPy6XTvPiNV/jog1/I6oXo5QvY2sPHTyVRXvT3Z2cn+OiDDwmMxRkfj7L65AmqasXptsuI6Ej03bsdCTU7f/ECdlE17PVkD/yrB4/k8EAMK8SWV8DaxqfispcvovS/9L03+fTT21htDqkb9Yn3Gn0khx6p4xTx8Un293aYGI9jt9r55JPPiE8kMFu+jvb7A2Ee339CfEpwNrrSGiG29AODIjfUghEgYvMiOp4+zfKrP/g+t+58SSQkCOpIJo8+GDA9PStrEmIQIVIeYgiTyWUkCNDncUnAXaVcIxgMsbW5zgvXr8nuuIhnu31ueZhtVdoyUn3txRtfO+GHI5qNurQOiO716WkWIQ4X0WuRhPjma99ie29bxrpfe/k10vksg8FQ3ocjwRA7ewIqW+fFmy+QSYsEX1vW0txeF9VKQ7rahWVBfLfEtr9aq8pIsDjkzUzN0x225AFeaBVdDidbm1t8+43XpE1CDPYF2yIYCtCq1ynXa7LTLyoLx0fHMu0oTB3ZTJZLly9QyObZ2z9gZmaW6ZlxPv30c6JjUbw+D+nUKe6Aj3wuz9mVZU6zOexmE61Ok9HIQCjglxrKRDQmh0Eut1daFERP/DB1Krfa4xMJeRDudbvymvB5A9K04Qu68bndEoLodflkhSISDrJ3cCh/fpHiKJdzuDwuOk1B3w7JeL0wYPz0Z+9KT71I6Lz/6S1mJyP43F5SqSSXr13n4eoTouEEDHuyjpJOZ+UQ6uzKktStifRENOIjfVpiZi5O9uSUZmckDxZi+CDsEIaRKlWJtWqL5ZV5meARPAhxDUiAabaKJxjgzPIZDOoIs0GVPWdxHxD8hcnxcfn/NGsmFEXHaNQ4PEoRj8apVMvYHVYJRo2NxSiXBGOkLr8fwhIigJkZoT9NJKQmNXWaQTOJ93lNgglv3f4Cp0cc8hUJyRaVKnFN+X0eTtJZXHYzudOMvM5HqlHyKiQIs1iSdcD1rQN5r71+9YJM9/zmb/2mrPYI64og/De7LflzCmq9GGRoVhPNepeDg32xsaBRz8k6jkyY9EWaQQXLiGSmjt8KxoGVYmdAqmMkmW0R8Cj89qLGa44Kr745z1/cOiWVH5Jp9PitawF0p4W1zSLj3iF2T5iTXJndZI+4y0gPkaoXG14b01NOLJrGwWmOaNgpt+Bms4fPP3+GPrIyPmEj7LOSLTTlPW98Osze84IktT/dquMy6yzM+sgJ2HJP5dnTApcuejEYTZQzfV542cvuTolGU5WDkoBHI53p0B+1ScRC1FsdevUeY+M22l0T+5tFXvlWjDu3Umg2hXMrITbWclKXF474ELa3T/56D7tPwWkxsbgSJJttcXRQ4vqNKe7fEWpaG6Ou4NeYePGbk3x2a4vttRbTszaWzkT4+MOk1Op5PRpVYa2wGTk8qhKZcuMyGdjYKGKxg9Pm4clahldfFvfkstTqhcMauaKBc5fdPLyTpdHqYbbqEu46Gmj4PEY0m5m9zSwLixGOknXsZgEItfLoeZ5XX0pQrndplFrcfGmCnf0CJ8dtXnp5nPv3j+h2FMbGLHgcVnYF4NAi0rcaxUqf5QU72XRfLqnEhkUkRyRjemjE4dTY3KoQ9rgwWrtcuhCUyfPkUV0O2669GGRjLUOtqhEIG+h0xXLNT01U31oiKeFkbzeDza3IetijB+JvFMbmtJAv1EgkNMZCHlJHNXKlNsVMj0BI/P06vP6WqL81efA4L39GbyDIoDckdZxHU2ByOsr2xgkoKvFxL5MJBzv7OYoFHZ/PQPa0hdNpJhb38PFHR3zvBzN02kM51D067Mj7//KKV1oiTOY2J6kus5NhUIcynW945/fH9d6whd2pcHhQkQCJg4MKExNmuVmsFJrMLXhZ367ITU/6tIYnoGHESPZ0wPi0EVUxsLHe4sUXx9ncO+bMYkJ2HyqlHsVqlVLJgMtu5MbLYbbWCnKLHglZiI+72N8r8Wi9QtxvYkLQUA0e7j9IcuOVGNlMk8xRDb/fim420Kp2WVn08ny9TbnaYmraKqMshzuiV+OilBcP9j6xaR//5z/f5cbLIZbmPPzsr1OEgnZCQQOfflTh0gU3Dx4WuX5dxMJ1ssctnm81pEZhY7POKzfH2N1vUiiXmUzYOd4fMXPWSj4zknG51GmeK9fDDBriwd7n4LDM4mIcu61NpdTH5bTgDdr42TsHXDgXQrWbMAz6HBzVGZ+wEna7uHUnQ3zaQivdZeWMh0UPWMYDvPNlmn/5VZvVvHhRHfA3VjyE/A7ylSyNvoWH2w2iIZ2loIeTfg+rOcitZ4c4hkOmvXb+7H//IWeuX4DOJPr+uyT38/hiYyieK7QaWSisYrAFsSdeJnfv/6OWvkvi1b+LzT3H6cZPMfZ7OBOTtPI51NEAa/Q6A71BN7eLyeqjJ7r+vlk6lSS94gYWcxij3cVI9OJV8VI7gaH7XG6oRfdcdJyH5Q2qhRaW4Bix5bfkgbHX2Mao+uWmWtFK9NqK7MW7phZpt6rYHFPSQd0+eQreJf7qJz/n7t33uHD+mqxhnLl0idXNBygjoYoU/cev/d6Cery7uUWzNyIWFy8aJlaWr/Hv3/kJsZCXRnNAJB6jUiqzsXPCVMyOyeHBZNBQLAY2V3fIVsq8ceM13vrVVyQUrdWuU93dxCk2470GFrOTUqOLScQHK0f4/WHyO/fwT58H9xKNRhmfZqbTOKBrdGKkTa94iMnsoNEXqqEYVsr0rBPomadU+32i53/IqFWm2S5gocXAMonJ7KU/7DBKfYHJ78Fsn6KVPcJgs6HqeSy+i/S1Ebnnd7nz1RYt3YHN2cVt8uDy+6SjO2AY8uu//3t4zr1AI7UjQXeNfBtjq0lnVGXQqGH1L8mXOOOwi9k5RqddxOqcZKS3ZBddoYFumcCgFzD2qnRbOr1eFovqpqfaUHs5LIEVBtU0w1Yebfy6PNQPqlmMiRdQmhms/llGwxr9WhLFc45+/hFGzYtJsdLMfoJj/pfpFcUQRQObHbMjzqCySeHgK5zxl7DYHHSaOSzBRQyuOIbMOs3MU8xjk/jiMWkk6RQb/KN/8hN+8f4zfvdvX6HXMZMrF7GbPGwdHTIfDTAYCAVoCYNmZ/8oJdMXf/y3b/KdP/rPYRSm+cmf0VHBFrxEeu8LnN5ZjE4fervAqLSO0RZkaItANYMSnMGs2dH7wk3dRTOOUOwxRqMig64ZQ/EZyWKTxOQlPnv/X2GzBHB7J3h+sI6umxkNu5TEtNlt5bWXv8na+iq6apCQl8JpHk/EhToQLzMOWsUChdwWNm+cC0sT+KPTPHvyhM395/zuD38Hz5iXdFn0Ri9S37uH6jajD+zU9u7iX3iNdukRXd1GaPoGvUqWvmqAXpd+JcMwt44ampTRZaPiQleD1AtruISWrTPAMDaNzRqinjtF1QbYzHaqe7cYeaLoDZGK8DF0uLB6HXL71K2dYu5l6Q79GD0hVHeCQekAg3GE2XeNXu4roMKoPWSk2rC4Zul3imD1oHfFsELDYvQxqOzRcy9gooDJmEe78Dcp3fkR//B//tf85acFWh0wuRSunx/D7h+wGIzz/u09suWWYItht5m5MBXiICM2L0Jr1kRVnbjsyI7p5mGGXg8CPhuaYqTVH9JttllYStCotjg8ruCzK/hEBD+dkUAsu8tD8vCExcUpFOOAvYMCQY9dHo7sVhsur0uCTP0Bt9xYHsuOqxHNYsZit1DLV+kMhxLkVal2cHvsOJzi2VKS3uT+UJfqvdOTDMsry1itgoTdodvtyy5lIBig3WwTHY/Jl3pxmNt+vi4d9GOJMdZXn+IPhqSSTESY7Q43O7sbMnUjBnyxiSjJvQOCUQHqSpA7SaOoRrlNFpuCl1++wf/xL/4133jpBj0xWCkUuHzxMs/X1/AGfHKL2q0yYQAAIABJREFULw6558+dI1cqSOr7/My8BN6pqo5T1AF6Q9xuh+wmb21vYVJNuOw2VJOZSCJCty2YBOL3FNBYZO9ZKPrE4aw/GnKwc8D0zJSsx42UkQT0TsTE+0BaHnDFgVlsLDudvuy7l0tFeZi2OcVwZV92sR0eB+VSXdYG3E6XfJYLXeC58yt4nS729g/J5nLyby1AisVyGZfDJRkPYhAgNubFYlHWIZaWlnn2fI16syMd2OJg3O+PCPnc1NotCtmKTIu8+fq3uH33Po2KeFfyEJ8Mk88UGImDj8FArVxmfCLK5NSMBDX6XC7+wzvvMTUepT8cEI1OcJDcw241y9TH7s6hjFeLxUilUcXn8mM0GaQSUigMb964ya3bn7G8fEYIOKStIj45wcl+CkVTcLvchGNR2aku5nIkpiewaBY55BIMABGH/fLWHa5eu4qiId32JqNZJjYEc8Fitsq4dq3RkNtcsXkXcV2byy4rjkfJFHMzcxiNOrpioC46th6n7PD3B0M5kPB7fVLje3yYYml5EbtLDDGO5FCu2exh1oxEx+Nsb25JvsDhYZIzK2dotZrUq3U8PrcEIyoqPHz4VP5dUskjmchZObPCJ59+ys2bL3FwdEQ6dczs/Cz6SKRZNNw+D0fiHm+zMBzqsopTyZU4zeUIBgOyI2+2WaWGMBwISU6BgBMKqKEY7I1FhQrNINWSosYghj6i/pBKilrHiG63K6GSf/HnPyIxM8H5pSU+/fRjLEKjd3IqazhvfO9t3vvrD+W14xamo15XgiRFdeLs2Ut8+uH7Mt0hfh5FG8kKQT5fIC+I4YmYXF6I96DIWIxCJv118sjrk9pKAczTNRNum41zF8/itKuEQhE5DHnnZ79gqA+YnpiSTBrx/fZ7/XJQLRggkViY/EmeVqdFIh6TNoNwUCT/FDm4FHaHza0tzq6cZXt3W1pAxADLaDajD0dk81m8vqCstQidotVmwqQJSOYRmUxG2iymxsNyWNBoiNpsRH4mfVE7CodZfbomhzeC1j49PUVsfJK0MGcYTDRKVRw+u6TOJyamZTVL7/flQMtktWA1W8nlUzx/us6Yy8Zurc7KRACrUefgtMbKnJ+ttQqWmAtjq0e5q5FsNcjXm/zevJX/6g2NSstG8rhBS2mzuiOWb076XQEcN5HPNWkLWpGAnodVDvd1giELZlUYvVTJ7zo6qlEsDrl43kUk7GJ3u4w/YGUiIaok+zSrOrGIlWxFDJntKLYR6WPxnmBkfMqNqrRplEdMTTq4+zjD9euT5NNN7B4TqWSZgNspN/xmk4F0pirPWsvnfMxNeyRzQFD6C+kBTr+RXmtAfyS2ww52dgpEQw7cfiOpvSaVdl9qyROJMU6TVclYEMy3SrZPtdVnfMIlU32CpZY8qjG96MZuM1HKQbPbpFHu8P1fX6Te7NIq99jYyMnKY70KibhVgmGfrdb57g8i5E9aPF+t8P23pzk6LDIYaRjUPnsbdSxiwdvoEkwYWb+r851fjeEKaOytZumOdArpFr6wD8XUoZDVScQ1kgcNETbm6rWY3KyfpPKcvThGPt3j5z9L8cPfneDulydUygPefnuZQv7r9y6LdcjpaVHWsWem3URCYsiXptWvYRhqPHtSIxI1s7DiwWrUOE3VUV0GEcTAH7RTqdRo1HTsTuPXg/iuTrogrHYxGpUGp+k2TodBVrjOnPPy7js7LC65pZVN1L6sFtjdbXH1xSiZdJ1KviUXBJVqn8mEjVZPIxyCXLHH+YUI6VKDTLpJJObm/pcZXE544YUxjg76xBImDg8LhCIBtjZzRKI2WvUWrSZEEw5i4w7qFZXt3VNZQ5qcd+Mwmdk/KlNvjPA47YxNmLh765SXX5zmpJBhf6fNpfMB8oU+hp//Z379cLdPtdnhyhUfDquFL24ds7Dswuaysr9blaCt5eUxCdISII9qvi9Bd76Q8Mp2ePa0hN0JpayBazc8TM55+PlPjwnFxUuoAX9AwWp18/ROjmuvRuh069z6JIuu6vzyW9N8+ukJgZgNs0EhFrcSiLj4xY93SSSsaB43XneXZs3E6uMcb709wS/e3ee1V6ZJpSpUSoIA6WBrs4XTo2GxQnK/KzssbeGhNzgo1qp867VFnj0+IV+u8mu/usijRxkJfCiVu7z5ZoLVtRNSx12unI9hNQ8pV9sE/E5qlRHlWpVw0EGbDrPxEK1Bn88+ykhYxLkLfu7cOaLVMog8MxdX/JQLOvdXU1xcmSIa1fjks30uXYlQKQzJVUuszIyRypW5Mu0nERnRGjj4v2/n+NnTClstA5VSl7fP+5kOGzhu9igkh/gcVhIzNh7s1HhhNiajif/uoxxN3cqf/H6E//TXLhL61n9L/+Bjeo0mxUKfWiXLxMQFOo09eaN36Dr15gk254J82TMHEjINoPfL9OsHuP0z9JwhRn1F6sKcDhO26A3q+WN6nRyqw4M2MGD0eBl2RB8iL/V7itmLxT9BK73BoC0Ubw5sgXM0ykeoRisGYxPNOkevX6DbLaAORM+4SlN3SIdpJV3FPfMChuoe7Z6ICIvxkoE+A2xuHxba6J6AjKrd/+RDSqUsxVqNesOExWFjPDzF461HXHrxKgdPn8k+tstqx+J0SZp2yG9ibn4JRdO4+8UD4hNR7KpCvdXn0cYuU4koy9MxXMEwH/z8fVauXmYwaPLg1lN++Ou/wrkXX8AwLOAYW6J0eowrPEm/uIeqi0GUEZPTS+3oFo7QVeyxCdIbH+PwhbFaLLQq4sayjcUdQlXD9IXlUjFiHBrR21UGpV3U8BSaOy6j463sNk5fDF1zMRJd3dIpjuCKtAxYY/O0djfQQhYsapBG/oDA4svopRSpUoaf/Pmfg+YmMTGDSeuxODdHodBm7fkXTE5Pc/HcOcxWhVp2xMS1cwzqBaqZEgabhnFopVUThHMTPQEKqpzgjl1HXFD9ygHGYZ+hYsEo2srakGHPxHAk9HXbBGYvoxt8KMNDMLjo10/oGoZomgvNs4Ih+zH1Shvvwreo5HdwmRTZ39cNbsyRs0CJoR6lU9zELl5g+mIAYKFe2MAooIPOOXqDmrQXCFVUv1Kj47QQDNhRLG72tx7wJ3//p6hKh5WlCXLtEjbNi00TEConhZoAVKrUigPMRht3v1pHN3f5l//TnxK/MS3Vg+1CC0P9iPxRHs3pxeaLwKhOG6F/iTEorqNY+mhKAF3pMVStaKYA1DO0B00ZrTOOrAzFS1m7BqLSoumSCm8JJmiX0/QHBjSLh4P1p5j0HpVGjUypj66Zuff5LSyqnR/8zq/y9NFjCZlRnSZ8Pj+bj1Zx+YWKtY9iUHh47xmvvPoG4ZCRL+8/lxTak/1dqQtdufIt7KYugZmzcgvYqbbxTp9hVDslt/uMci6Hf24R2mn87gRD4ebNn0qS/8BowxlIYHRa6JZasu9WL6SweqdkHaKb3UGpbWAcew3N4aeeu4/ZEcGstDEYxkRBCK11jGJQ6QkoZE9E5lLy8GlwuOgXs5iNBkZmKyM1+jXI0DGPzgBcAYzdJq2d93BOXkNRzBTTzwmH5qhVjikfPSB67g8whFxYA15GrX3+zT/9J/yjf/6czZyRRNTIjEtlZFK5enGCzbUDGr0Rg/YQo0EnHvbK51l3oPFoYw+H5sLlM8lD0v5hklarJwnT/qgTj81JIVeRL9sGo1H+DcOxkNyijoWi5LMlSV+3u4V9wigJ9BazTerLBOX++fqm7DpGYoI/kwPdKGFMImIuXnhFTFqAywRRvVqoyY2giP+Kw66CSqNep1D8mmQvXrqFzlBsHAulojyYiBi8eNkWTmvRkxZxXofNKXv2YlNbr9bwBoOUCwXGIhEZHxUwL/G5CIjX7ta2hBWJ30MftqX6UGwEHz54zJUrF6TreX5uls2dPSZiIdK5gryXiQi72MRWylUJAGyIF8RKjRkBIMsVOXt2hc9vf87585dkRL/dqNFodmX1YizoI5cT/BCxlRnJbfTFC+d4+PARM/PzdFoNGW0VwxahMLtz+77kNExNTUgKeTpdkAc5j9tDppiT22aRghDd+bGxMe7dfyCBcwKWKJIZ4vcRW0VhhqlXhGpy8muN2d4Bv/xLb5E8SZM6ych4bqvboici8RfP0qg1qIsa2fmzfPbp5zIq73J6mZ2e4t6jR1y5tMJgZJB98e//8tvScd6q1RkZFMk98AYDJKIR7jy4h8PulDWOyclpDlNJOQAIh8eoVaty0CO23qJqInSKIkFRqwqC9yQHhwdy41kSgwS3XS4dPvn0Cxmd7w+HVKsV5hdnWFvdwu12YTULPtOxVAJOTkzy5PEq8URcdqjHpybY3z36uqvucqAaVJInh3LD3m0LHbMwF+S4cvmqBLJ5PC75+ebzOcYnJyS08qOPPmZuapp6vYkn4KVWr2I0aAR8Lh48XGVqZpJQIMjm1qbkOuwfHBCPROXzwe3zks8VJGhRxL+F/7xcqWCTB28jXrEsCfiplstS66lpGlu7uzJ+fu2Fc1JbVRe1KIMiBz/LK2dkbUQkY8TBVVxzd768w6XLL9BoNeThX/yuhXxZ1gZq9ZYEVItkgS8oqh59WdEQSsL7jx/LzzcxPkGn0aRSqcoO/UsvvSQP/CJlkTw5ltYFu9PN6fGp9JqPRcNkMzkGI52xcACnwy65H263Uw6PEuE46XxaQhmXz12k3+nQHfXx+73k0znOnDlLpVoklc5hNuhkMmnq1bJMRojEbLUqXOhOCTYUYFNBOBdJmmyxQKNaI+ALSJjfUB8SCgeJxSek7vLBwyf43T7a3bZkX9gtVkk1VwzCNz/Bzs62vI6FijRXLMjhgKhvCCBnpVaVfInT1KnkB8zNzaErfUyqFZNJZW93n5dfeVn+rGIAKL4LwqwjQKmDnvjdxMBgn2G3JrvPAiASDPvkIGnY1+WA0GYxkzrJYhUWlZLQQnuoFUvMLcwxNTNNrd6WIEaRQNA0M4nxmOyV72/tyPur02pm7flTsqUqiUiIbr/JbDjO871dJn0+eiMDxVZDwlg1K7xwboWffP6Ioerm9y6qvJ7oMB70gU3j3Yc5mpURYzETNpcLW69FtTFkqFrIHJcYqBrzExY29oSpoM94RHjVNVpD8NhVCVQU3KaJ6QBPHmYIe/0oNnF9GLFqUfLlnIT93f/iVC4pxaDTZjdzsJeXZP7uYMTWehlN0TnJGPjO97zMLgiSfY5iuUqvp9LvDEhMuGn1uhwdNfC7bJxma8zNhyjmW4SDGiaTWSbaBIxxfiFE+qQqo/2dUpdAxIbNZqZc7fLoYZnFSRuv/+CShJwmBfS93MdhV4VOgMsXhdkjzfZWhYU5J6rTzp1bp5xZcaDqJglxzZ/WuPSNGL1Wn9WnIikkDqo+THYHn398yuyclUDQwWcfZ+RB1e2HzQ3BW/MxGQ1R6VaoVXXZT++rI37yb4pEJ/u89eYcqZMy0ZAVRRVnrwFHu3ViCS/9dhm7y8agZ6LR6WI1ibi9wsOvsrz5/TjDtkKlW6OSadHuGYhNCLBfnXyxh66rzEwK1bVONCEgey6e3Dni/AteVIMw0ghDR4PjZIPLV/3yPPDBX+WYmLUzO2nH7dNQNCN2h+BRmHnw1T7zCy56gjFT6+N0WjGqJjY2soRiTuamw3SaNdaeVIhNWZmZS1AU9z6Roh6JrX+EnedJmWIQbAoxNMvk+sxOiiFnE0XUDWuCceTkiy+PmZryEQxrHO7UsNltMv0m7j+CCSCA3NMTfnb2Srzx7Tnu3UtJ0KxY4Js0oaDu0dFVmarw+yw0mwqZTJFebYg/4eLqzQQfvLuJ4S//KKAn9ztMzXhwOvrkc3V0g5lYzMPak2OGuomYOIgbh+xsd8mXBOVzyOycU2p9zl0Mcke4EYNmJGv4P26tn23mMSsK4wsBzLqoKA6l4z6XbmFzm+j0NLpNUTEYcvFqUP7wN0UE5eERye0+C3NBopM2SdGs13TZbRrqPQwdM53hgItX/Ozs1/H5zCR3SiyfG6OU7rKbLDMz46PeaBAMWIlHEpIMW60aaHbrjMfdnJx0ODcXo9ppUpJx/g4Wu5lWuUOt3icx6ZAgntThgEjCRSihoQyEU9fA9kaGYc+AN6qwuDJJq14jlaoSdFjkgWB3P0M84sSsaLgdJixuEydJ4QfuY3dqZEoGzAYTqrXOhMWMzW3j84M6//jDMqddlUm3hW/OW9grF5gOBNg5beOwaeSaBhl7nE/42SgUKKVaZJoaf+93JvjDP3wD/9XvMjrIUtp9Sv6kSiAewBQNo7ZGErIj3MTdrJiaN9Bi19GrZYbVJ6ihSzKurpndNHPrGJUgxsAE5b3PcDoC5NNZvF4FU+AKJkONRiWHUTPJDrHmiDFo7sst7kBwA3RwBWeku1zvVaXb12i2YxqK7VWJYXeAIRhDr1RI736CI7BIYGyZ45NHuCxRwhdforjxCQMRLTb2sTpj8mEoDlHd6gk21wS6PIyNsDgDtMtFytkiurFJdHqGB7dvs7x0nXanzmDUwhFw4xi7QHV3g3J1l3ZLxTCsoXbqRJevow+b2H1TfPzezzktFPEHx6lUs+yurfPq62/IPtvx7gnjU1FiYw5GioX07hEOL4xHhTbEjzsSx+mNM1Kc6OoQ02BIp7AtDw+aFsASdINuYjhsIsLQzaEN66CD3s8wNNoY1PdQ/TcxGo7p1Yo4HLOUctsYReTfH6CSfY6xa8azeJ2hasPQbVHZfpe+yUFg6W36olYxOGVosuJYvEkvc8K/+2f/CvdkiKEAZo4naNXLlBsDKuLle2Rg2GkzNh6U1NALizP4z75F+vmHBP0hKs0KjWoDX3CFdnUVo+rGIPwi3RqGUY/BsItumcHQz4B9EqfFTFN0ulsH9JtlTP5Z+uiolW2sgVcZKm2qxS+wKAvo/U0UU1Qe+PrtTfCdwThqMeq2ZeRMxKiMvQaF/Xu4xpckQ8M0qmL2XUE3qgy7ByidEdWDJ0SmVlAmndQLI/7i3/5UumXvr2/gCQS4dnmOYrrJs/V9qZNpdwdMzkb59LNnPNyocmXRxT/47/8Wk2cnsYdmaT14n7phDIsipuBZdM0vh1bd2jaq4wyqtYtSaaK7/eitOopznEbmISb3GE6LlVY5h+JZYNTYZNhXMKgdlKGGEpihcXwXu+Bd2OJowya9thGrT8EwHDFUo5hpQjtPo9tj/2APo9HIumATLF3k1pd38AXHSO9tEk0ksFsdKB4brWKdsbCb+Pi49MLrGkRjMxxvbMn+rsNvot1sUUvmSBUO8QUThAXgEpVIYo5nX32MMzrOzPQc+eQ2L7/+y0TOnKFdFduwAMORCaW7i0ExM9Qt9GX/VqVcyGAyGjG192nYr2EcGTEa0uiam/ban+Oa/i5D5wT9yh76QHxu8yg2L73MV5i9l9CdXtrrH8Egj2Xpt9F7FahuM1ItDDBjE8OKXo5+u4PmPkOv9BSTKSZk3KjNLCOHhqKPM2jvQ+0Q79mXUCZuSOjmO3/1Pn/3f7hFrtDH7NB5+1qImC/Mo40dVLsLdVglXx0R9pjpCje1wSB7o8fHTcqtNq/cnKZebZHONCUZ9+igiVewaAY6gZCPciEnD3XVVlNGaO12CwPdSCadxe1zyf+WAFrURXLJapWk+lqtJjffvW5fxmn9grrf7jG/OMfJSVIC0MShRpD6BVHeahZVBTfH2bSkp4vovstpk7rAnd0U0bBPxqVtdguFguh89wlFgpQKNYqVJvMz4xzsJnH5HdgsAsZblz17q8VEuVDBZFElwVxVzPLlPxqPSj3bW9//Dg/uPpDb+XwmLTvS33r1NR48eMDTtef80nfe4snqc+x2szykCWifoOefpJKYbTYalbb83sViMXngWltbJ+j3y0OC1WJn6cwM61u72MxmCa/c3BYE+giqSZHxfOFlF314XYGTlOATGJmIj9OoiwTGEd/+5iukM2kJqHvjrbf4+IOPZDJFuNnF4V5s7fMlAT9rsjA9h9lsZfXZM6KxMakRnJ6eoFIVacQKkaiIX59ynDrmGy99Q7q5vf4AxXJRxuhFt7hRazEzMyXNCEI9Z9AVkqcppqYn2Xq+w9u/8j1Zybh//z5j8TgHWwfMLc6wcuYMW9u7smcugHSqSZWDB5vDis1i5SSdkR56AT4W6+zjZErGu2ORiIQ1iR66x2UjHBXR/12CIT/7eyI1pmE1WbE4nDjsZsLBMMfpU2lWeL7xXDIexHeuVqszNztPNp+hWqryg197m/d+/h6hYIhqrUZ4zC/rFAI6KCBgAZ9fpkwEt8Ju1ygVqnR64v1PaPrG0URU3KiQEf9OOMhwZKDRquEwC0ViDh1F3pOG/Y7srbdbwijh4uBgTw4vo2MRtnZ2JEhQwB3T2RM5HJubnZUg4NUnq0zPz9GsiOGsQ9oLxL1abPodJvF9GJAvZAgFx+TGWTOZqdQEFE5ha3uHmzevyX/WFDOlYp5WbyR7sNFQRELaBLS2163RafdRVbEVNOPx+lhff07AH6Tb60lNoYjqC8Dj82fPeeOtNzk8OJKsiVwmy8zcDL3+gMPkIT5/EGWoowpAs89PpVKRPIujg6Tczru8wlrR4t7dOxL0+rU94IRr168zGEC3L/4+bjmAEvduAfEU9PwLVy7z83c+YGkxIBV6VouNcqmK3WWVNdtef0gwHJZ2CGHbqDYq0rLhcTqJRMfQrALAFuLP/98fEQqMcWZphq2tDV779rdYe7ohDSDVclEyZUQSRbyii2tTMINWls5ylDyUwzJxDdtEFcxsZWN9g/OXzksSvGB7iHvR9Owc/z9L7xkkWZae5z03M2/mTe9tZXlfbau9mZ7pMTuzu7N+EVwQBBkKQjCkRBEhEwoq9AeiIhQhRogkCAZFCkYARQCLBYH1s+O3e2a6p31Xl/c2vfc+U3HO8NdurOmuybyVec73ve/zHBwcyOGmqIEIWKhRZ+D45JBXXnuFpw+esL29RyToIlssS61prdHGoHQ5dfactKqkRKJG0XFynMLhsnH1yiVsDjN+b4TP7n2GplmoFEXC2CttJ9VqQ0J+TVYjjVKFQiohDQtOh1naW/aOMrImUWq2mRwyy2pur9ml2nHI1MpxucnihJn/9oyZVq9Ar2XD6jZxUq7Ra4vXQkfYJdIhPeLpNq16D6vZwOSwxvp+SRLm+/omQbeotZp4tiHOQU1uv+RFMbiJHZzgFN/v+jKBoINCtks5X2dpqUAwYCIY1uMM2GjUutSrA8IRBwebx7g9dgkIrrT0tFo1oqMemsUGSxt5zsz5GR9z8Lc/3OXGjTCarcfTRyUiw25eeSXM4WaR3VhOJrF/9Ttn+ezBHt2WAY9vQCY3IBCwS27AzFiIO3d3uX49gtVm4sM7u1ID57IJIK/K5/ezXLk1LJOwkqnS6stkgoDy6UTKxKGyt5cnOh5hdyONUcC1WwI06GFjNcm1l4Y4PhQJUoV0vcTi2VGpKUylyszNefnhf45z82aIZruGz2vBrBqpd/s8uJfl1S85sWtOPnp3m9e/fZqNZ0KnLcCfRayqhtWjR6cfyOSWU8AfRey/WaZW6crakbi4NyuKTBwKyOf0tIdypSdCQTJ5EAq4JcxYHRhYODvOnfeeyc88RRNAvSZvfWueh5+csLoS58r1KZKxNLWKnlu3R9g/ylDMtui3mvT1Qp3Ykz36yIiJQk3opQ1891fm+fP/9IypMTv+iIdyuUq13CQ6bCcRr1Ipd7Ba+zQaRoRVuVpT8DgVHB5V8kdSx03MNh0ej429/aJckmvWHkajmUGjic2r8mKlytmLVraWSnKpFh0Vhrw+c7N+hsJO/uRPH8qkx+FJiwuLXrpdATkU+k+RMrNRKjXp901cv+nhvZ8cyaXd2KgPzWJk5YVgr7gYFir7n/yjoYFZ61MqdGl2e1TE9NFjldHcwaCJ2aqnVlGwOsRkSyGdqknKoE7poeuaKFcbZIttFs94cHn1VPI9GcHM5lvUhRFgt8n1K3YcbjMel5HlVaH9sTA2bqVW11HKZilKQqaRSqnNhYsjPHhwhEEbUMgIUq9OfiAHA040rU+1NcBihO9/P8Ov/5qPbF50Ocxk8gMOd7P86vdmWd/K0W9DdNLMwW5HHkwEkGZuOkyukGd1pcDNWyHZF156USYUNstNkND1ZLNi4i8cjzUqjS71fE+qDY3i0Njtc/lahIf3M2zvZIj6bcwteNHZrGyunRC0m3AG7CQKaQwVA6W2wviQg91MnRGnikFrMBl0kolX+IOP8uz0DOTqdrzmBldHbDxP9ZiJmjg+7qAb1OkbDFj0NaoDP0ZDnUePymR78A9uOfnn/8c/wn9+EVoqG3/1+1gCk7J34xST/3SWdvEFbfMwFqufTuUIxTWEpWvgcO0DhhZex+Q9RfXwF3RKLSynblKNbdBObzN04cvUqxkKpRymbk80LzG5RtH1e3RVHSaRg6h0Ue06mrlDrKOvQnmbWvxIgu3atRjtTp5+14gjOkutXEQbCILtOs7QbVT9QL6OfUeQwclzutUm1qBX9t7LJ+vy4GEOTNCoFWmVs9g9C/R0LbqVE1SHk2biEPvEVXQDI6mNv8Y1fBlvaIZ8OoOutU61WcfjuU4rs0lDKWA0Wun1IDjzBp1qSmrSLKYByeME+8frXHvt2xxuxfmzP/wPoNdz5uoFGQn86L1POLUwhkPzUsxkePkbX+NP//2/xRMK8urtN3nw2cdsbB3z9q2zRKbHOTgscOH0GGZzm+Clr9BJFyjsfSa3b2roDLZek55BpZtKo7MpdAmgNHfwzr1FauV9+cGmeURPu0HH6KeXXsUy/VUGmonUJ/8KT/gCuCL0yylskctU6od0ihnKiSVs/gVULYLdXsNkC/Dizucsbx6ieTWiLj+tQVsCNoulEzZW9/jSN77Oi88fSBLx21+/zfjUaanAGhqeAL1CIZ9CExt/zUNT6eEQh5LYGibvHDaHm/LJEzRXGEVoKthSAAAgAElEQVTzotSzki5Mr4Fm9kiXsOo7g766TnOgotQrmIKj9PVWusUYxnaebOwRjtGvoWk6usWMHCp1JZSoRqfeQCke0jKo2CMX0FsD1JJZKrFPGDo7hCn4Fo38CT/4qx/y/o9+SVBsKvolCVyamhjhxz+7S63c43vfucnPf7nEXChKrlmgmi7zW//ga7z0vS9DLU/j8CmVuh9nwEIh1cYWmRUNbvomP9UHf0inl8N9/tdotWvoDh5hmv8uveae/GdQqkX0U1+il16mlD8kMP8W1fgqmmKibw3KQ4twnTcq+yg9DZ1Zz0BgcztikryKQe/BEZqg3q3KjZs4l6nOEEYtTO7gOarBwOb6C3QGK7VmHh19soU61Zzo/ynodSqbu+sEIgEsBo3J2RGpFBKRzsDYOBZXiOXP7jC2cA6fXyG+fUx7oMqtg0mvkU7sS582JhuF+AER/xChIR9j03MUcgncfhePP3tAdHSa2VPTWDxRDNYwhfUP6Laz9HviC2ycnmsEGl1J/R10NZqx99DbZun3GvSyD7Gd/nu0Gi36DQEz0qMbdFAdYWkB0JWXwDILg7IcTujNwlkteAhB2pgYlFboaSH0RiODw2W6lgEVYxiffZp07CkW2xBWU5ee34sjNIW+32L94U/47/7pn/PpWkP256bn7JyK+iglyzQGfWx+Cwe7WeZHHYxPB9ncz2IfGOmrdbo9E7tHdSZGPOQLXQJhl9xSF8othiJ+njyNMz3mwG43EE/mZV9W6at09D0JHBSH6Fang8Vowi7i76m07NYL37PoulerFXnB6dRbeFxOCVsVjnYBNbJbzRIgly2UGRuNUi7kKReqXL7yhUYukcnLTWco4JHbxmanRzqRYWx0SAJIc6UcjVpbRjlbwks8NcFJKo5qMjIyNs7h7gGNbk/Gj0VdT/R0BR+nVWsTGPFIs0WjWWNidIqaGKB2+xKEJkBfC/MzxMUBqdnA6RARTQW7w06jXOfm9Svs7O5Keri4KB0dHfHaq7cR0aU+PfYPDui0O0xOTLH04qkkts8uzPH86TNu3b5FIpaWvveR0RGePXuC3eZi4dQ89+9/LiP94mcUB/kz50+x9PiZ7PrPzc0TT5xw5coVDg/2ODxMMzklwGCJL7rgnS+88EZNlRdSm8POnY/vcPbUgvSuC9WhxaxJm4LRCAbVQi6bkf19X9BN7OiLrfzRcVyC/cSlXGwU4/EYeoMBu80iBzRuv5dnz54zMTYmqe4fffyxjF+LVML+/iFmq00CIYVuUUS8U+kMegma9FCvFPGHQ1LfdxJPsrG2jmbUcLsdmKwW7n/2kF/7+3+XnfUtSeEXl0efN8D+/g7pVFZGqAUFXgye2u0OZqtZVhrE+yUsGIIvUG1W5NCqWKxKk4CoM2iqmUQqi8vukM/WL957j0yqwIVL5ySYeX1zi1deeolmq8HDp0vyvRcgLLPNTLfdxu3ycRKLEY2G5AZY6KnCkagE59kdZlkLLdeq0hggbpoSHFjM0W626IiUVb3Dl778Fi9ePMHn9eF1u6jXmsSTcXz+gOyILy2tMzYWAdWAigGvx8HhkeBUGOWZMzw0QqGYp9vqUxIb+6Z4Di+zv3ck+/kivi6GC//4H/+mhD5qmpWI0Hw+fYrT5aJarlCp1WgIeFg0isfnk8aJYqaA2aGhGY1UBZipr0gw5ptffoPv/+UPZMVLvJ/CKuQLOlF0Gvu7u5QLRQLBwBeX+v6Ak9gJzZrYdDapVUtcuXlNjMTluaPdbsv3TAwjRLxd1CneeP01/uiP/piA345DvNetroT9Op1OKqUSY2PDEgjq9rkks0JA5GamZ2g1uzTaNQRVdWh0lM8/fUg47JOmjqPDYwLhAEeHByTiaU6dOUOzWUVMi2emxskXS4SDIZZXl4kEwwxErSd5QnRoSC53avUSJqOZerUueI+S1WWx2dja2mByclIOrcSAUfAobFYrJ/v78h5w4fw5coUMnUFXDlTFxejqxbPEM3l2t3dxOCzSeiKqLhcvXGR7f42rV6/xp//xL+Qg73u/8i22Dw548XSFudPTcnDWanR48ui+/OwaGvZCV2HnKIvHKRZ1DfwuM0fFKoOeQtAheAlW7mw1ZfXnm9Mm/vnbDo7ydTYPe2zla5JrMDdtkZdDoRafGbFS7elkGqaa6+ML6nCIWpamZ2+7isVmwBswchRro5l6zEx55AD5zidJzp/1UypnmJwYJ5Mv0GiIGkwNu9tOZNTI0VaTYrHNxWse7n0al/YIv9vGYbzJpYsuyWJqdVTJu9rfLdHtdWQv//ioJheGkaCNSqXD3Y+OCAzZOHfByb27GTweA4GwHYNenBOKXL4sPmM6xGJVaTkRKTuHS8XucVLKdWk0ixJyK3rj2UyZm7dD1BsKUyM2Hj5KEAo5KIslhw42VwsMjTixmVUq7Ro2/YCJhRBba0UymQZenwlVE69Xj/29Gm+9HmH3ICe79oIfUCs1mJjzy8/uRKxMPtNkeNwm4e9Huw08Hpie9bC2nMXtM0mqfSHZ4sz5INtbGWmzGhLV8M0M1RoEAk76SlsOsr8g+DuZmbdxfJCSFYxsrEGt0cXs0jM/PyprfslkgeiYj1KmhmoSdSCNja0vhrxnT0WJxWuMDhvIl3o062DRBhxlitgUO0ZHm0rJgD84oNMRQ/Ey4SEv4+Ni8JkhmxTPgI+NjQJWTUM1d6mVW4SGXDTqLQ4OG0xNmRn0NZlcik7Y5XubPqljtps4e26EbCzN8mqSL391Vm717/9SGDCcNJWytA9cuOBn76jK0ossV88HsTj7JON1aaFxWCwYjQpWt5v9/aTUaupEvU8xMDbrYHdHmOmi3P1kA82u4XGIwaRgv9nJZdtcvR7h4/ePCY1aqYjU63v/ZHxQqZXo9xQ5jdMbG2y+EM5OOH/eS1dRWVtJ4w2aZG+vW9czPu/l+dOEpEBW8g0CURdrSxkqNQPBgI6JSaHXK8upmtHU59vfXuThw0NWH5c4d1n0rGwsLSWxaOD22fG6jTSbA8r1NjZNR1XEyntCmSNiYBHWttN43WbiiSr5Yo9vfCNKNt2WLuVny1nGAlbsYRfBsI4Hn6VAMeJyNTnZ0xMeUuX02u3QEUvXmRhzs3eYQ99TaXcV+WX+8htDbK2lMGpmrGYd3Y6IlrdIpjo47UY5KVlaKaNTVEq1HKfmIjBoUMr3yFVqnD0bYnmlyGjIzVEqTT4nACwtziw40VRxYChxaSLA84MM77zQ826my0aiya+cDcmLfrfbZTpo5c7zLMMhG8VcQ8Z3Lk54WDpK8u5yBSUHv/6NCL/3f/2vmMNR4Qaj8OQOTbMPMwpmS5dqskRLEPmMLhl/VJp1TKqNemEd88y3aB8+oHLwY/xX/gfK6V1aqXXck6+Sz2zgdGromh267Rre89+jJ+L95SJGQ5d6OY41cpWuYqaVvCNVIqp1isTePQn4M1LC7rBSw0E7tkynXZEQNFXz0e7GwBiUF5VqJU+jnERnMOPwjTLILtOzTWHQ9NSPVjGNXaffKlBP76ETUTXFgN4pHLQCVib0V20asVVMnhD26DU6uWfQNdIQf557Aq2RoJDfQjGG0NOiKzb+eguF+A6uyGl6AzB6J+mk12mLP9swwKCaCY7NSZfsT/76Byw/eYFZdXPzS4tUyz0Zfy0Vy3j8Gg6zHYvdhVGD9Y1DvDYHrkCQxx+9T9eqMR4akyTrK1dHufjKVzHqdVTSafqNrIzl+UcuUCkmaZzcxSaGIR4vit6LTmzWhVO0WUJVbPSVLpXDB/jGFuUBQ/yczVIBo+jZGEzo+k2au7/Aev53cGgOapW4PEwUsruYQwt4LArvv/Mu8f1jeqoTj1+lUdfJ6HEg4GZg6NIod+gpIqKtUG9AMGzDbRlg9XjwWW1Uy8dY3afQO1w08sfoO3lU9yyG/xIZ16t9dDozjeMdVP8w1vEzNNMbdKob2Hzfprz8r9B7zqC3D9FrxTGFFlH0Blr5dbrVFJpVWAA8dDsVSX6tFgpoKqi+s3R7TQyDIvVkhV4zhuv0ZUyBSfSlLD/4d7/P8t6JjHJrTouEItXbCudPjRM7OKIy0NHuNHHagvzo58/40lkf//S//yZTX34DGirtnQSHj/4druhtGDmHRWlSzxzRU0NonS06ioLmuUCfOromUstILyH9wU7fq/RazyX53jn7Fp1yWh5a1UGbhoixi/6XwUO310ARMnXNxgAnveYuerFZtzjl5b2T3aFn1HC4pqjGn6KGpjA2CsTTMYYvfp1mcpVedReDYwqrb5RSMoFqrLO3tolnbJ5OtUY+cQRGq3w/dp69wOb2sbe7jmbQmD99iuPjZRZf+wZ7z19ImOvk6ctY1T7lXJHxudPc/fgX2Fw+EifHzI+PEEsnJdxNXJzD4QlJ8ReQqtUXu2STK7z1zV9h6upXaaa3aVf26HtPo8vnaBd20YfmZMy/U9nGYlTp2a/SbuShV6fXqqEvLaN4h9Eb/bR6PUy2EFQqDCjL3z9BDeqVc2AaYaCrozT26atzKHYjKjZZ0ej1GrTyOzgiM3SMVkqJXQxoWPp1evoeNqcDY3SMlmZg89kL/p9/8f/yo3eT1HQd3rwQ/KLLeVQlFBiSm96B3ojP46TdqZEvdCgVG7JyI7RdZs3O7OwE5XqBw50Yp89f5PBwn0K6zMbeJqcnZql0iqjKgL29BJPDw5ykBCSoJg8Zqs1MuViXDAKrSXxUDwh6A2SyaQnzE8kCUaET3z8Wi4iqCzVUhKODIxnR1ZuMUg/Va/dotpqYNI1SoSyd7EK3qesj+8fCLZ7LiINNl2AkLNkAInEgyO4C3Cb62KlckZoAzgW98sIWDIclYV2kRDxCvRZPSI5NJOKXnnfxPxKvxenTUzIyv7RyyMiQiCMPGJ0alpui5Y1N7GYzTrsXi0VPVGjD+l1pSxDAtPjxCTaHhfnT5zjY30dRBtL5LbbBjx8+IBIelh1p2b32B8nl88RSKV6+eQOvy87Pfva+/FmuX73M46ePOX1qjkuXL/GjH/2E6PCovISKDa449AuDTzAS4WD/mGBIbEeixGLHcgPZY8DO1r501FttX3AaJkYjcju7sbHJlYvn2dzckzFvofMTNYEP3v2AV2+/Ikn5ose/u7vNqVPCVR+SMe/9gz3OLp6XxPpCtkR0eFhG8kVE1ubwUm9X6TU6Mg5//eZVPrv7UEY9vT4vJpPY4gv4U4lqtU6hkGcoMsrZ03PkikWZTEhn0rx2+xaf3P1caricNoeEPYrUh8FkwutyydrH0rMnzM0vyLi4qH2IhIb4V5vDxbNHT1k4dZpqrUggECCZzjAyHCGbLZDLZvF4PAwNh8mmsiSSOVRVkRe7k+NjIuEwh8fHFPN5zp+/SDgaopDLsrOzx8VLF3jy+Ckms8bIcJT9vUNpAJqYHiN+kiQY8pFJ5iiWivKw7nDacDmtMgp/7dI1dnfXJQxRGHzEoGh3Z4dkMsXFq1epFQryPxfx+la9JV+P0ZFhmUjI5POYzRYWz5zlKH7Il7/0Jj/4/t8SjoZ5+uwFc3NT0j3fajXwuL3odQpLK88la0JANkU9RVgAhKd9ZnaGWqVKu9um0+rIxU+338Rp95BJpWT9ZnhsGJ1B5dHjx9y4eplyrU2/25IWj/X1dfq9gbxU5wpZGW8XAx6n28XE5Bi//PAOAZ+bmYlxVtfXJdvh7be/zUd3P5HDkGtXLsv3cnVlnfm5GQ6PTiQcVen00GtGCbNTdH1KVWFnaDE3NUal0WJrZ5/f/p3fZHd7Tw63CuUqiWScxEmC2ZkpjuJxXr31Mu1mk/WtTYKBIKFwUKY8BG/C7rSQTedlKujWy7d45+fv0x105LMkLvpiaCbOEJlsVoIAhbYvFPZ9UY+q1HE4bBKgLdgYxVxRgiy7rbYECAron2BUCHCcSDWpBmTqQqSlKvUi29s5fF4rV64uygu6eFaE7nd3a4fo6BB+t0fqle/cvcvXvvoGS89e4HK7KRdynJzEOTUS5iCRpTsYYDQbCflVTIqJXLOJrq8xbTOSqjX4PNUhU+7wZqjOv/zeDE+OYuSzCgaHHrfJiKrv8sGLMtcXHKwnGiwM2Yj64cMHFdwOlaGAHofHxX/+UYyrp40YHXppEMs3FH7lrSAmQdDfK7OzXccf7jE3E2T3MM/OepVTpyNSsRoIG/C4XQQiXvwuE3/8Jw+5uOjFFw6wuR7n/KUAOxs5Dnab9AcdrlyKchxL024aaHQaDIed7O8VWDgdkRyNXL7KxKRHvm87WzHiyS5vvDzB4xdHtIQZYNiNL2jhcKdJT21iNgq+mtCwNjg8LKEILV22z+K8H5N9wNpGim7DRqNd4dy5cVaeHBEZ99BsCNtan9dejRCPlzk8qHJxUXC9hHWjzuZmgb/z3TN8/NEqLgE7VHUYhA3MKdhxVZK7XW5+2UnyuCn7+oGgRjbfYGzCLlMaDz9NMjwqvssVAsN2mq0Bhp4Ri2vA8lKCQMgkK763Xj3LyUmeu3c2GZ/x06vrOBL1L1WH12/j5LjE8LAfu8tEs1EkFAmQEffCfI3IiJNGtS478Y16mZN4jfEZG8mjJgvnRuh0G7hdej58P4eq63Drdoi152J51GPhTIAPfhrj8u0Q7VqPw70i5y/65L9P5/KsrYs6Adz+0ix//mfPmDjlRS8G3Z02HXH2zlRYmJugOShTKXVotRRZryhmy/gifsnyyu4Wefkr03x6fw9D34nL30XTFD6/n2Nh3sGFS6NsrWco5Vqyfinef4/HLO/GT5bSMmU/OWFndbMoq70CVhgZ8vCznxzIqsCVGx6yx00GBr08OyTTFQxCX6LqiASN7G4W5XdJKlbl69+dZ3k1hfLX/1VwYDU3UAx2Ht1P8Mqro7iCFjZWjtjZaPH6a0McJ4rUimCw6HDYjbisKq1ehxNB2XQZ6bQ0mu0yr741zsaLGrvbeanV8QRshIJmVteyuDwq1WKN6zfGyeW6ZPJNbl4b4i//6gXjww75hWpxCp2Yjr39LuMjBuxiQlRQ6Onb9DtdOXUScZDJ2QDpfZEk8JCqlNnbLnD79SEKMfjo/jGXL3o5idXwe+047E1iGQHbcDIQztJMU25N2u2mOIMyt+BgdTVNIdPl5rUZDvYOWVgMyhdOkCI3VjLMzzmlfiafU2kpVS4uhMiIiRlG2rmGhLhNjamcxLuUqm1sDgMOixmNqox3Cv/1b/zRDg1Vw6kZWPTocOh76K0q27EOVpsqf6GqaAS1Li67yo8/iHFY1WOix40FHX/9o/8bywi0kxlquwdUumZ8BvE+CDDMOAap5RN/giI3RDqjjsrhCwZiGhieR2fWyU6RGOjoymkMhjZ92zzt4hJmpY1z6AK1XJ/Y8XPWVp9gsVgk0yBf7lBvVbh65YacSlsNVdzDl6jVmjRS9zGYHPRMUanLarcacnLZVkyYTXZSe5/QEQpHE9hDi5gMesrJ5/TqJfxztzg5SWLxjmNsH9MsCFqpD5M3Qjv2hKYhjN0Xohp7hs42hkqDRqmMRbPTVAaSJms022iVxbZlnrZSJ7d7j9D8t6js/gy9Zw5H5Cy91BY6rUKl0MSoNOgOGgz0gph/Tf6Z5eMN+p5hPIFzaA47R/uP2dncI58Szs0WBouDqxfO8PTZMr2u2J4JMF6TQDiKEIOcOzvNweYRzX5b+qOXHqxj6De4+dprXL3+CpXkDlhsdDtFupUSRs8plFZMbsOa9TJ9hHZynlxGELun6Osa9JpZLN4psnubUNvAs/Cr9Ov7EmrS1ocwtOLo+znaxil0ZgNqPU2jtITRtojqX6RZfIojukBy4y7Pn+1i0TwkskkOt19g0nmITAUJBaIYbAOOt2OYbSY63QErq1s4zTb+59/7P8nu3WVgHEdzQz2TkP1aUXPR6yw0s5volR4GawSj0UlDn0PJJ1C8i3QbOUyVDdJ1Pd7JizQS2+gNwiqoYA2cpyWGUjYzzXyWgeZA32tIp7xOZ8RECb11jGavRLMB4dEI2G0001mWnq7xi599xOr2EVgs3LpyDnWgsLJ9Qjhg4yh1zKn5U5TKDfY3D9g/rvAnf/DrTN58S06flXsfMHCMU7V7MVGlbwpR278vnx//5Ms0Sgk6Sgu7INB37OgtTYw6lW67jtpXKKSf4gjepC7ANr0e+tYenV4N59jXyD3+Q/r2EQIzL9Esx6XZQJS+9XoXiFhXu0C/nkMvoJjWUQb5J9L3a2jp0Jl6dB0XqO38CLPFgMk1xcAYxWgQ/Icj+TvQH4iodJdG/Dk91wwOu5nayR6aO4jmdFNK7LGxdUIyDlub9/EPuXGbA7R6Knc//ohrt1+iVkmRSRZ55dXb3Hv4gJFoUIIzBVHX7fVLp7HYUAqqtMfrkhuB548fMD4qaNxDPH70mdjLc+3mFYYXbgiPI4n7/wlP9CI9pSK1Wn37GZp7P8QUOU+/p2NQ3aens6FXdajid7SYQ6/mMQz68kuzNRAJ/1kGapF6bJt+JY1FdGzE0EjvxNCto+uUadlDKO0KvVpBgjgLhRhup59GXZVw1dTxx3gCY5icPgzueaxeD3gMxO//mN/4nZ/zyU6SbtfAS/MavqCZk3QGTbUzFNR49CKB02zkwnkBHVV58HSTdrNHxO8nOCKMDj1OYkkWL5/m9LlTfPqJiMurJA4TKJqB8wvzkratGHTsbewS8Hil5mpta5tMJoNNs5Ar5uSGKRz84kBtNGi4fA65IczlKjISWq80Meh08pIhLoyiXpdOpbA5nHJw1+q2pNlApwzk5V1s0ypiU2izcRxLMD48TDydIhoMEkukEdmtyZGofI8ddqfsVauqRWp1xd9ntlgkaTsYdEnCvE6vp9MSkXgvVqtVfpY/eSbAbE757ycmRymXS1JTFYl45WG81WzLy5AYRlTKbSwimqcq6AULwmCU4DBRP0vGc7j9HqnuyqTSEqomNheRSBSbzYjX45egpWQqLsFz4pAiuAciZm63W7Fa7NLVXq22pCnGIbhAoi5xfMyli+fkEP/F8jMuL17i8bNnsqZg1azytRSwx+BQSALrDvYO5JZTpPsSiZgk7Qv4Y0dUATwuqU1cWn4uVcd6owmTTo/P52Z7e1faEc6eP4de6WNQjfIS77Z5WFpZlpFZYRRZXlmRf9/U+DQOp5N0MkYoGpG++A8++hiL2So/R8XPL3r2VqHr7HdIi0vc/Jz8GcW56ZXbr8jLkbgMJxNJDo8OCQeH8IrnZ1uAXE1ER4Z5/vyZKMURHRmS0XGh08pVyvLs4nG45GsswG7LK+uSyC5qEkJdJ/g6gsMwkK8wLCzM8+LFC6m4M5tERbOLzWLGoDexsrIs32sBpAsHg2xsbeByeXF7HOxuHqAoPcZnJqlXauhUAzazjXWhG4wOyw59IpmVz7NIJgiNnuA8lKpVNM0o4/PXb1yVkMJUKi4hlc2GGN7a5Llla3uXoNfP8NgQmVRW1jpEas3r88vnN5VMEh0ekpR/ob7sNFoMj45K4KbQGAqihnj9xKV9YWFOeugLOTF47BMMBtje3EEx6iSrQejnxLMnQNeVuki7OOXCIJ1OSLZGpVKSKjyRDtjf3pVJDlHb8fr9X6QrjKqss2ysrskLs9Co9fttcsU6N67f5ETUfhxOyVbI5QpcvXpJxsBHhyP8/Ge/oFKsEojYyeeqUvsokh2RcJCTZJIbt16S2upsLie5HkKd6PY4CYci1Oo1+bsr3Om7B8founpOjg/50lfelJfzVDwluQuvvPIa737wrnzuRFJEPIdWmx2Xy0Wt3iCTzslqi9B9ir5xt9XB4rLTqFbksz85PiZNJeubG1Lj1u0LPoC47OslI8CiOTlKpLAY9YyMhsnnClJbKy61V27ckLDHrfUDRiZHaLWqrC2v8JWvf5Nev83h1iFGi8Lh7gmv336FB0+ecbS3T9jv5SSbwmY2oigWCUN1ucFptcrXS9ivAuYO768V6fYMXB+BxUCXN8c1QhEXzzczfLYrFgSwMOmlXWlITo7NoZeXqWS8zbOtvPwsvXHRyb1HBeqVHq/d8Eo+2e5OlaERPZVin1ymhcdh5dKVEEvPTli8Nsb77x6yeDHEgCrlYoleU2N4wiMHN4IxVqt2iA7bMJp0eLwGKgVQLQqDrkUqSMvVFpGIoO7ruHlzku29FI8eJNAN9Nx41c3eXp1qocq1m+N88okgy0dw+Qfsb6UxWW3UCnX0JjP1eoWZaR/lYlcuZl95bVY+KwcHJcl0E5fMqy+N8dMfbzEz75eJ5vsf79PvqQTCKjPTQ3gD8LO/3cPtM8taW/I4STE/wB9xkBU8IMOAyJBVLn3mZt08uB/H7TdIFfvIiLjnaezuFFAMVqanbKyvluRSKRBUOTosoIrhltlCoVCR9y6T2qRS6jI85pDnZpEw1ilmUoUCojNz8coszU6d50sJpif8pJNZ3B4fxUKNtfUME6MeDLoOiXST0REn9WaHqXE7TYxsrWQ4dc4rB9ji51WFKrLTppTu4wppvP/BAW+8NUa32ePwoCiXYxcvhsiViuxu1vAHHLi9AxRFgNgFQ6HIzFSQngEOlgtY3CLlp6PbhGSigD/kJhWrYbb3ZO1UvK+Cazc1YcPmsNKoCV6GiX6jz43XR3j84IBO2UIqL+6WATI5UUcXJqohMtkmhUqW0WEXN16e5y//4lO+/rXL8ju+WVNkeqfX1OFwqxLIazIM2N6uMjzupl1p0uj05KCzUusyPzlEvlaQFo5Go83qUg2zpU5gJEC72MIftqD8zW9EBvVKl2qjyPCwj5XlFNFxC/VqT4I8Fk6FODooUOt2qOWF9mFAIGjH7XJw994ukaibVLzG8JAdm11PMt2U1NKxCSuZozqKqtGjzeSUl72dnBwWtHplLGYdEZeN3Xgds9pDZ9IYHwqwfRyTFH0RF211BDhDozVokNxucunmkDQQ3L+bx+Prk4jX8TodMj4pYjqZvKArizRyC7fLjJAbtkoAACAASURBVCOscLzXkQOHYEjB5xbbeAOFSh5vQKNaHJArdjGpwtPoQKe1eXKvwunTVmLHBXIFQf23MDKsMncqyId3tuXGVRgOOj098+ec6BpdPvg8xzeFfuNpC7dH4TtXzDL28dOdJk/yPWajoxxmaox6VdodwVEoUmiZcAhtSq+LUXiOlRa5vIA+qSQTJS5M6fnffvciM9/9Law9I+Lpy+w+JbX5HKuIK4Yn2d7ZJ2xo0bUITVqYZnsNj3uGpnGcyslP8bgiFOIxNE8EQ6cvt10WW5hSaQOrLUxH1dOpFnEFF/nonb/icGuJN771D7nz2SdodhM2jPgDETSDkZ+/+xMiYzPUaxUcNiNvvfU6NlVHq6snkTkmcxJj+yCLyWBkeMLH1NR5wuMhTGYH/VYVo65LLXtMLpXAFjmHqlSwB2dlNE1pCJhUFqMrTDmWQ9Fl0ZwhOaxoF04we8YY1PMYRARVahcblOPLuH2naOgGGBst2bnul3eptbpovS59i4++5pbguEGzJIc+VmeYRqOK5oxSST2TPeR2OobF5cfsn2JQ36OJA//oEI/fecoHn/0tszPjdJt6FNUu++1i4i86qWdPjfKDH3/A9YU5joppVL2LM+fnGAvZ0Rks/MWf/RWL169w87wf/9zr1LNHdNLHdAMjWPo6FFsUxdCmndqSsdROuYDFH6JVq2NoHNB1nJERuJ7ZRbO4gS1wBr1iIXt0l1D0AsVyDLslSKWeoJ/JYtNUdJ4QuYogMXthYKXdyBKcOEP8aBm7UUNRjfzxv/l9bEPTWAwDTAJ2lowzOzHBYTLDrSvXWN99yOzsNewi+lqJSw6AzeOlW8uhuYYoZzcxWcSXXk/G8+xOtzyEqJYotaP3sYdnJHgTc0Ru0Wk3ZG+q31qiawxhtnjpN8Vmvwx0MDqGKWY38fmi5OMHcuvlCc6iDg/RqaT47N17PFpdYmPlgKcbLb772hlyzRalwgnnzs5zcJRk/vQMvVqbg80dHi6l+NprY/zmf/OrOE+9RnNrmXJyCaW4ycAxBJZpDL4rUEthdvSodwzo2026pU1Um4m+GpD6Sk1aC/rUy2sYOhp4gthNdqnG6yh+WtU8tUwCZ3iIdvmYemoZ+8hX6HfrmJwuWrltNM88XdWCvt+gVc8w6HTpWUdwqnUZlVM0jW4jg8VolV9cRqUtBwKVTA69vstAtVI92MAVjkq3rqY5MJhV6qUKDZ0Vq2+I9vEL9P5R1EEJ39g10pufs/LiEePzL1ErFRnoWjh9QRQs7K/dxxfw8fzFsoSR+cLj8hB95+49Xn/jJrGTE6YnBLQqCwK20x4w6BbIi6Rp2wTNFPlKnnyqzD/7l/+aVrdBv9KiVdunlYqh1wIopgCaJ0w7+T4d+yJ6pUOvA4Z+jl4tiTZyncbJBn1dB2f4Gn2Tm/L6X6A5JlBHz9CPbdHSGzAoTQaVPJ3yIf1yDiU4jcU3SjMTQ6f5MEdO0c7sYnRN0Dn6OYVaGd/VbzM43qCYSKBOXCZw+esYlCylRz/ln/zuv+aHD5uoqpnvvBlmUKmzGysyMhWmV69wECtz6+oEh4k8eiwcniQ5OGpw69oZSTEXwLJas8ni4nk6OoXd9U2cniDLz5fkZntyIkqlXJdx4lw+w+jwuIwrPn74XG7qa/UyZ86eZn19k5GhMBsbG7J/LTYWAgIoFF/iUrf8bJWm6DPbjQz5A2RLWUw6o+y8J9JFRod9MtY9Oi3ijm0JOev3myh9Pb1uX6r0xOAhnS9y7vwZsrG4vBCJq55qUqVfvlNt0u53ZWSxLTR/bgdGzSqH4mIbKCLfNotVdoA9Aa/8/8STaZqVDl63Q3bDRYS+3WpjdWjy7w0G/F/0/s2a7CifnBzK2LSg5ev/C1H95CiJL+SlVBZ6JyvlaolSpSN7t0KPJrRgwrQgLtjlYplsocRQ2CP1XulsmZmZSWbmZmQ1QzN/AccTJoYdYQ0Yn2RufooPP/xEbrjFBlEMasTl4b0PPubWyy/LA+Hnnz/g7OkzsocuSqORyDAD2jI2LpSyU9Ep7j16LNVTfn+Y+VPTbKytsba6yku3X+LB/c+lsrDRFLDFEg6nR26CFxfPEI0M8/TZU/l56Pf5icXiEtioN+jJJFOygy7SGiICnoyncLrtcqM7PT3JUHSIw6M4+dwXG/qW2K7mMvJCKwBSNrtL9s4LxYr8s65du0o8KQjrdcmXMAmQqyLArB3Zl9/Z3GZqapJ8Ic1wdEyCjIWT2+P1SYOCgDhubG1jNho5tTAvQXqi8iBo9b1OWyYIfvGL9/B53Qz6Onl53lhdJTo5xsTIJJ/c/SWj46Py9Xv25LmE0gV8Ppm6EAmbt9/+itzkCuK+GE6JDfPDx0/kdnRmfo5ffvgxb775JpVqiQ/evcPihVP4/X6pqhsWz8/xAaMTo/RaHWInacwWjXqtjD8o9GAHUnXpcDrkd+STp0uSgeBy2OWzvrW5y/zcJBaLTRL1Z6am2dndIhgckjDGrkg6DnoSSic21mIQoqoGMvkSV69clBrC48MjZmdnpD3AYjWzs70uE6IiaSBi891Ol6Tgopi+eFaFsWBiahKbzUK9WJRMF3F2FdT1qek5hiJhqagUnx3CiHDr5ktsbq3x9W9+g9/93d/j9tVpwkM+fvzT+zLC6/A4WH2+wcLiIpGwXw6R7n5y74vLttkiVY2zM7Mk0im2NjaYnp6T/53IcYuhWa1alsmLgTKgVKjIypeoHgmmiNgm+4N+1lbWJARSdOoFIFlcXN1OuwT3dXp9Cfw7tyjqIV0ePnwih0NiaLayss7oaJjoUEgqKw+OxFnEImtOE9MTpJMFWdOYnhnn9JnTknMibBJ1yXgwcP36BZaXVlheWmdiblIOBIWbPbF3xMrWBnph/Rh1Ua905GJwfnJYetA3NkWqrM/YUIB4uchKtU8z32TCbeNXTpu5Nd9mxqHyk80Ba6slbt904rVoFMtNVrczBIbc2OixedTi/KSZlaM2jbaBm4tWdnZzrB10uXbegd0pIM06Pruf5eUbAqrWw6izICRQQmMuhnz1epVys8+1CxNs7opBizCBOdg7KWLoGxn0BvK1bwl3u9OMwaRjYy2BTTNQLuuZmjXhcVpIFVo4tAGPHuZ546sjdFsNjo97UhFntxlkouvWS7NsbpxgsRp59iLD5athCYLLZzocxQuIjuvErJeOOI85zIjoYqnQJ51q8LXvTLK+ckSxMaCW+6Jasng2ytreET6HHZfdyy/vrDM+ZZdRfNeQgWyix/xpD9mYSHhUMJhU5heirD1dp9Y20zT0ibgEq6srjV5Wg9D71aGvyeXazKyP5w/TjI5rMtmxsSY+x+2ywi0qbyIholdVmvUe+VyNaNQiL7FBv1XWrA52M4xOuEilm9RKXS7fEvpEwShpMbfgRjUrlDJd/GGXhF8KFerSE6FQDBFP1KmWS3i9LhnXnzxlpdXoIy6zD+6l5d12ajzA4XGci1dnOdlOyeHB+JidYrVDq27A6ulxvFuS30XBoJXnLzIEQjquXTzHX/7Nfa5fHZIJCdXQxR/0sbaS4eXXRlldzlHMVvEGWxgtfsnBu3g1wpPP9+m0VQQqqFYuoFot0Oty6eYwmaOGHAAEg3aZajs4KdOrdaRC0OY0cLzfYGbSTrvfIp7oEvCb5IL99PkvVOk7m3kJwxY2gLXlonzOhsZtcoGUzrbpVCoUK4IdBOcvBqRNYmjcTTVXYG2lgfLL/3FmkExlMWoDGVcX2q+WALI0+2iCItpuU893eOOrw3x65xDN5MDh0FMpVLH6HMSOijidIu7Tp9TsMzfuYHU9w+h4gF6nJbvNwYCN7a0S8VQVl1NoPARwIsh77xzwyssh2r0ORotKIdemnGswdzpMKVeh1RbxZNFbKUqSsMctGATlL3Qiipg297A7zSSPGyhG8eIILYKFx59WmF4wo9nNvPOzXa5dHaLTq7P0rCYn33OzRqplI41mB69HJRwy8fn9PGfO2yiXdcSOS7z9jWkOtnJkCnWm5qykYgNOElVmJr8ALAjFz4e/2JYAima9zfyUA5O+zKVzI/yLPz/kl4kBj1IdfAYjt8842dnPU2428VnEBcfP2l6GbkvH7QtCk6OwtJdjJ9ZmIaDyD793kV//Z/8TLZ2C4f5P6Vq8HJdbuLzDOBxROv0E8Y1f4rEMYwyfpZ28S6M2wB2YoFaKoVhdKGKCGxTk/TK6whZ92whmi59WIUHfrMNsdMpuvIjUt20ePn//AybHpogVBDApzrVX3+L7/9+fMzE/g91qYX1thbnZs2gWE+998AGnL1zF5wjz2Z33GQ5HmJwbQjM7ONjdw6Q0qFS7BIeCsoNz/twVDvMFHJWUnMCOfuO3WPqj/4V2S+HMt/4eiY0sPnsTvclGudXDTJNSt43VPEk1/ilGk4Ldf4lytUAz+QSLbwzNdYpGPU1t7xPM0UW6dZGkGNAqF9E7QmhOL/1WjmL8BP/4JfLJFfSKIF5PUKm2GFTzWD1+BqJblCzTU004rEZ0fUHLXGLuK79Np9aEzAEr2we4PSoRv5e+auT53feYmbtE1+gmcbDP2s4WpWoDfbePw2KlMeji1BvRm1rMzw8zdfWbNOtZDHqVbtNEKf6p1B/aZ94m/+iHGIdn0cxh2uVlMPnRKUb6QlliUOgLMq0iyKc1lPo6Or2XwMJ3Sa79AH0PDN4J9O4viL3KyWPqOisO3widUppqISE7u+HheeoDE5nENtHhOQxOI3/zH/6EtZVNZs9fkYmP0FCExclxuqrouRoZHZ9H383TaFVRLCH6Rh8Wkw+ltkpr4EY1KvTb4oDRp5XcxDr9Vcr779CtNVAtE1g9CpVCGnvglDwcKqLfr3dgGXSo1Y+wuMfJHX2OyRSRNQPV5JWHOb3bQSV5Im0O7/zoHf76szxhn5W/851rJOIJ0tUyqkmHrqUwLqKBqRTpWFdaLv7um0N86bt/H/PYGP2jJxQSfaqlbYKTb9MXB7XkJqbKJl1rSFK4hfdFsw+jKBWMtjFajSr0chjdY5SKHaxaTYLcBh4fFluAhjgEui00W11MzRPUoXnapTI6z1fpnXyfXmCUQS6L6vRS3vmMQa+J4j2NQami6wj1ZRnsDkxGHY3sJlrwVRrpZQa9NgbXGDqxIWzUKGW3Efs5b+gUxUoFs1qm3uyh2ofpD/roK0e4w6NUmj0G1RIGS5BGZlkaHvThi5i7JSr1HKrTicUiDn1OTG4T1LsMukl09hla8TVWntwlkakyNj7Oi6c7rKw95ivf+CYPPrnPm195i0TmhFK+SiZ2LDVXocAo9+7dk9HhC4tjEu4U9XrReaO0C1n69QP6muAR1DAbzAycw+gaKbq6qiCJYFQc9NFoZX/BwDiF5p9G7dSo1SqY/eNy226oHIA7KrkAvXICs8FG3+KknsmjWosogv4eXqTdKtFKPcc+LGpDfXrlDOVUDn17B9/lGyR2d9D1OjLVYw5exXnmHId3/i1/+O8/5H//ixNeWfRy++IEz54dMjXt4717u3isBqIBjYHZIO0BHr+fX94RGjs9N2+eZX83JnVAi1cuE406mJs9xR/8m/8oO9TH+4fs7R3w5a+8yTvvvMOlCxfkxTVfKBGJDknXcez4ANVglWT79bUNxsYnaHXq8qDebYtNRpRsJkMoHJIRaDGQEZtb0f9eXn4hNYoWk5lctkS31cXtEtt/wRowYjar9AYdGaMU2696FQqlgrzk1JodLJqG2SyI3jpMYjtuQPbS/b4AhVpJshpCIQEKg3giLi8/TpuFpReruNwO2bH3e50ydmpSNeqthoSDlSstedlqtlqsre/i8zswqSb0qnAU5xkKhyiWC9hddiKhkFSgiXOF4IYUswUJHBYpIKNVY3c/w+mFEfnPly9VmZ8bpdUR3AKDTB6IS5eqU3E4TVJlFgpH5CZz9/CIoXBQSJ0ZGZ+g21HkRtnr9Ui+SCyWZGIyylBwmHQhI1WC+zu7cvOpqXp5QRCqVzEAEYMEMfjTNJWt7QPWt7aZn53C4/FJCOre9j7nL56Xl7J0SjBm9Cg6Iy9WntPvdvna21/nyZNH7O7u8fqX3uD501U6/RYXFxe599lDVKOOyckxqfg7fW6eTqdDuVCWHXER10+nMrLCEY1GqVaFNqxLryuyZshtvdAjCh6Bqhc5CwPKoIdiVOm3OlSqZcqVKkPRKHs7u/iDAZnEsFrMFIt5CeaNRsOUq0XMJhsm1YDFZufTT+9z6cJFuf1+9OSJ5E2IBODM7BSplNhGjbC09ILx6VGSsWMsViebmzuMjo7KuP3WzrYcLIjLuthG60w6vC4P29vbLC5elN13ccEWF+voUFhWMsTW3OUUvfIdfvO//m3Jnnn3nffJ53OcXzxDLBFnYmxCpseOD+NS4Tg/Pyed93arjbX1DYLBoKxfGE0mCoUily9eJJ4QlZYGvV6LmdFJUtkMe4dHTE1PygFTPpfDaXOTTMd56fp1OUQR1VYBOsxkMwKFgHA9zs3N8fjJUzx2J4VSmfGJUZmeEX//8PAQ6URevt7i905APk0mC1anlW6zxcHePiPRMJVylbXNXW698pI0BOzu7RAeFnYUPY2uUKa9IBodplrNY1b06M2KXDCIOq7ZbGLpxR6zC9P/BaDpk/YE1aSRSYpL4KJkEIi0p6iQikTFufNnufPRHanly+TycpMpfkcUxcCHH97lJal71JNIiMRFmre//CYff/KpNM0ISGTsMEa10ZBpGBHVFqyPXC4lB1Ni+++2aXgDPg4OTiTMLxDwEQh62NrZk3UG8eIdH8Xldnp8YpLD3SPSxYwcAJ1ePMvq6iqpdFZ2mF+7/Sp3PrnP6fnTrG4vk9g+lPwnl1VDbxRnPw/3nh1y7ZxfutgFKFd89mRbKo1Gh0yjg89s4PVTXn7vNQO1co57uyrr8ToXR/VkSy3ydR3hqBtbr0OmqUfXa6Ba9cRFn988kPcWC20OYl1mxtwEIl9Q+nstMyPjJnJlBaPSYWpmlCdPd3CZNE6KFTxuA6oiOCN69rdyBIaspOItpqftWG2CuC6A4gP5u+vz6Bn0VEJBB/6IxsFBga3VLJ6wiVpWj+YQaRShgRVR86L87Pzy1yb4+IM9OUDI5zqE/AJ6aEL07ESs3mXXKJe6eHyqVGKfvz7Mx7/YoT8wEBl3Ui505WeRSPyI4eDhfl1WlG5eH+L4JE0q0ZImqui4htVkYO8gi2oU73WJGzcm+fTjHUJhG1abHp1OI5OpUa23uXpNJHFEx77G5LST7d2cTEkKro1mNeB0GWT0/ei4xrUbUWlHiIxa6bcU8tUCo0IvWq6w/qLAqTNuPAErOtUiwdT7exkJIfT57awvpVAtfWYWRnh071B+v+VSNU6dCcnP0u0twRLQEwpaSeeacqFUrhqwWcWsSiMybKFc/f9Zeu9gydLzPu/pnHPuvjnfuWHCnbAzs7OzGbtYYBdgMgUYFGgz2LJccqiSXLJVKtpmybIpSFQWq0hCzCBBYom0ABbYODnfmZtz6Ns5p9N9Otnft679a2umpm44fc753vf3e54qmXSNobCToiIUgn0C/j7TM4KjI9IOB7jDLuZP+Wk1exzs52g1VMbHfJx7PsK/+n+WefHVGJ1Wixsfp/gf/vFzfPPf38Nk1jE9K1SECnv7ORbOhjg+yOMJ2eTyWcyVFxZCtJtdPv5wl/klF1azk+RJHau7Iwdsz5bTxAbchEJO9g6KeO0G6s2uTAoMjvh59rTAc1fE4r3Oxk6O+VMBzOY+Bzsl3nh7gly2w/rTOMVih2jMKBcNtXqTnY2K5CNEBwLED0vSMjI56uXO3TKn5gKcu+jnR99bw2FzMD7pYGOriOYHvz7Yz5VyTE6Lh3Meg84i+wR7mzl0FjEptNOo9lCqbRbOu7jxSRaHXUsupfLLX5vk44/2cbttsv9665Mcb7zpkyTf5ccV0tkWFy45UOpdNtabXL1uR9txUqk0SMarnOSrLJ2NyliwmNYKmW1fq1DN93H7jLQ7JvKFitwQOKwm1neyaLo6zl8cZO8oQyGn4PE4pOqgXFRRlBaZsiAqWxkesJD5/6EYI+MukokO+yc5xsatnD81TDJXI5Wo4nJ16bTtqKLLaxTFzDIOh5WhAS8//uk+paaKSden19Zz9eoo+/tpqgJcF3BI/ZOrUuL5F8dYv7/Hv3/Y516+L+NTqXKX60vD2DQqR7kcPpOZdk+h3oOJYBCj0LZsiemTkWROZcQJ3/hHz3H1v/wHdKwmNLUaR/dvY9O3sThj1Arb2ELCoWzAaFGhY6Nrs1J49D00di++iRcoHz/E6Y5SyQsl2CAGdwhFSdFXNRjNn+k6kus/wez1y5utGQfH+w/xjszhjlxEo8mBpsfKvR12D1bptnRMTE1TruRpVkW6wYQ7NkT28IS/+Zvv88Wf/zK55BFWm42g8Cm7vVKDI8ixg0MDslf3t997n1/45S+iaeu4c/cBV19eYm76DO/94F2p8xD/5TJlFk5FOHPxPHq9BpPWjtLXU89v4PTPUi/uYxUdzpoWjVGlU8jKNIAZC4VaHm9kAo1BoV+pgM5Mo1zEGYt+BjDqHGGJPo9BdkYP5Q21rybwL3yV0vEDrO0qbTWNbfyL0M3QUvLU40msg/OIzJZlYBStqlLP7GG0u+loupj6Knq/iC5No7eZ2b7zfd5/fxmjuJlu7jM2OSQ92EqrRdTrIBpzc+rCa2QPt9F7rTK5IG7mal1BSd4lVTXgDS/giYVI3v1LAuOXaOUzNDtVGQtutasY/LPQKqEtbGOd+2Ua5QzFB/8R7+I7tBJCY7aHe/rnhEMRNbuO3T9BNX+C0dija7RhsPjltV1NrGF1RvCEh0jt7NCplXh4sMPQ8DDnlj5P6ugJOrtwk0/QKm6i1ajU8gUMdhcWZ5hWryvBf51qBlvseZTsQ3o9BXP0Kt2+BXNPsCMOUUX0yuihZwmirZ7QbtcxOYXvuoHPKeA0CSqFAgY1h3v0EpaJObSlLVbur/ON//BtTpIKL7+5yGjEx6OnG3T6Nl57aZEPP75NwOfG2PHyO9/6CE3ZxAvndXzj//pN/Kcv0SvvUT2qU0o9xT35PDq9HU23Ra9vQG2laOzdxzH2ElqLiU61hNYTpLH7sTyMorehbaroHWFKifuYbUH8sy+Qe/YJuyd7FLM5Ksk8xUKR2PiUBIHptT380Ygkj3/5a1/j9g/eZ3J8AJ2rj90gFHdlVKMJg6rF5HHTqZ/Ih57aVOVGXIBsRHxTcCLs0TnKuzdwhC+i8fipHdzGFjpFVxVVEStGu1NCy6r7N8Hhxu6YoterUkvcwRR9CT19TPo69XIdXb8uQVz59LZYmuCdfQXyu7Qrx5gHnxeSX1rlR9ii17DGwlS3HmDxOVD1Q/z57/5Dpk5d5ehgE6fHhcHmodc3UUocUmw2GBkeo1apsLH+lH5Lx+yZcV778lcJzC9B5hkdxUS/maTTbJA52sbqHEHnHkTfiEu4Fl4zes0QxcwqOr0Wh38ctbhBq9bDEIxK97bdNUAuvoLebMbqG6Sn9GlWHuBwT9NuCKtIg16jSt/hQu8Yptcs0KpuysSP0f0y3c4erVYeh3uAk91t+QwJT0yjG3uev/4X/5j/7f++T5wuby14pUZpO1HgueeCiB9bo23h+DhBVBxmLUL5ZGB5O8Xc7CD7eye0uypeb5BLLzwvyfXtZk0+05odEYdXuXDurNRmCTVTOBSiUavjd3uoNOooTYWXr1/hk09uMjQiDquiL9jl8ZNH/PJ/8fM0GgpPllel0u3Z2hpnTs1Ln7o4dITD4jp7Kg9UYkAkNrVjY5OsbazgtDnl5vjerXucXjot9V5KvUWzUycWHSKXzdGo1WiJdFS78xl7QGuUwznR/XVYjAwMD3B4GJepLJvVTa1WZ2QkjMVsYnv7kInpCbnJC3gdZHM1vEE3qWQWkZV2e2yUa00MOiMmoQj2eOkg4HlJ7C63tM2ISLnQtOULVfR9CEUDHCdTBN0eylUFi1knYXCCVO/3uFFabfmiWsrnJRRORNebzZaMgpcLeUxmC2aLnYP9AwkC/gzy15LXvQC4KUpHAut0Wni6Hmd0OEAg4CORyDI5MYpOo6WtEbTmJpFIWH59Api3s7PDpfPPcffhPfQaLW6vk2Q8Symf4+/+6lf50z/7S5LpMhfPnebew7tEwzHZjxbb7FgsLF++BUFc6O0e3L1PKBLkwoUlnj19IusNAhy4tbeDwyZ84DrypTLttiI959Mz09KlLpgDYhjUUjtcu3aZZytr8oAaDITk57wqDmQutxzwihRAIVek0qgyNjIuD5tNpcZJIs3F587Lw7KoCiQSaSbGR9EKPWKtTiaTlf9/cHjMmbNzPH7yDI/TIzvmyWSK8dExEsk0rVaDZqvLcxfPsbq2QjAYkpu6uqC0G7SSt5BNZeTzTwy9NH0N2Zw44IutWkNC5Gx2KzZxz+0htYCnZmfkoTKeOJER/O2tbWwuu3yPEPF9RW0zPDxIPleiUMhKxsXyw2U59JqYnuHWvTuEAxE8HpustqyvP2N8dAJF1Bx8XhnJF3F38ZkQQ5BQKMDD5SdywO8XhoW9XVkJlYeLXIa33v48H7z/EXafm36zJWP3q08/e1kWn+PtnR1i0UFMRp3UGwo9qGAJ+AN+uTFvNFrYnXa8Die7+7sy2eN02CUUUYDuRDpG09PK2qB4PzYbzJSrRWLRGDsb69I6IGCObp+NRqWJR1ga4p+xSkSE/nDnSFZkXn/9cxLQLKwW+3sHzJ1elNWMe3fvy3Tj6PgUjVqRQCjM3t6+VCXabXa5wRdDlsuXL0q+w9rTVWYXzsikxblz56gpNfZ3xWd8SpoZhIJSWEHk/UltMyk++ydJydnI5/IypSMqKl21zf7hETlhGjEYZUVsdHiQTFbAgfvcvnUTu10AvK1y6ytMMrGBKMdHR2i6NZlmUopFDFYH/aZCABa9gAAAIABJREFUbMSHpqdhL1ljLGpiL9OTCaz5QT+Ffp/lvQr5vMpvvWrna8+5SXU7HO3UaNDlKFnFYrQzPNTh5EhDQ20yMuyUn/ODnRYDExrabZs0h8XGrJKTIuo+ibSWqeE2C+fC/P5/ijMwAtGARlYsdGJh0VTJ5Fv0O31KpRbDQx6GB62sb2foNA2yViaGH/vHdVpqQ0b1R8YNPHtYISBc9/EKIzE3xbJID1gol0RBS0NfI8Cpdbx+N+MTFjw2K/tHVXkYDgatkit27coAyWQZk0nL4IgFPXoaDcgXi3g9do6TCv2ujrMXnKw9zcrrPJ4qIHzaF54b5+HjY3RGuHxlhNuf7BEJW0ilekSHDOTTNTRiGCyGT/omAyEfG9s5rl4f5eGtOI2eqEBppNJ2dydPNOxCaYtFaF4OlO1mDZlUg0jUjzegR1U6rG6IwZMel81BvVVH01Fp9U3otF2cdjtPHuc4s+hiaNzL47txNneb/MZ/PcftuxlGJ1y0m20S2Rzbz2qcOxskNGhhe7ssFbTxeIOZuQgLi2a+/a1tWWXzOvT8+GcZXv/CCL1KmVRaYe78ME8fJ4kEzHJ5KMD1c4th1JaOk0NhjKkxNhUjeVwgOujiYK9EownhAQfHW1nCg050/S7b2xWWLoVYXS3KhPvEtJ/EcYnVlTSff3uBd7+9RiSqxeu2s3A+wOFOiXJJWITS+P1GnJ4QVoeRlWfH0kwQiZrZOyzh936W/lh+fILFZeHUgkPG+w/2Wiyec3Ln5omEYp7Ec1x+ZYRbHycYDZsYmwzJZM63/2abd94elpyHk2SdK8+F+PZf7uMfs8jEUjRoFE08auUuF64OkE3XePIww9CQh0jEKG0CB/sNmZDTfPiPxvtCpbC7W+Gtt4e4dzdFPqdFp2tw4XyYXKZGXdFJ0mFNvLS2Va69OMyJiECYTSSTdfwOHRu7RRYWg1SrLeolLd1ejeFZN09uN7A6e9RqTYbHXIRCVg52ykxPOTk6qMq4ofgC9bous9NBdg6F9sCA3aojflShXmvx2udnufHxDuef87O2nMfmFH5GE7m0itnQIxzx0NMo9Ns9ggMulp9WZTpA1CbNDp18YWsrYhpnxef18+TJAaGgWW4ZlI6V0REruwdFrl8c5v2be5jREoy52d3P8dqLIxQzquykbQuNSa1HoW1l3tVjYdrBCQb+4H2FHx+0cJgVRsUUmCKjTituh4V0pc9I1Mz91SJ6jxaf2kPRu3n/0xMcBhgds/HP/ukXuPTGNdp1LWo8STF1ImE+Bl+ITs9C9fiGjANb3Iu0c/fQaSy0NV0sFidKMY01OCMjxqIzbItcRBcconf8GLWwKeng9sgZ9PYwSmlbbjz62jC5wha6ZkEedD0GN/nCJoVclrB/CExGSeP+3ve/i94RoJavozRyzJ27yAcfvYfV5mRp8RSNhojH6dhY3+PcmXPcuX2DielJ0OglAXpmblHeJJKJQ4ZHZ0gcHtBpqhznEuRSaf7OL3+FP/72u1h7TS6cvyL7K+nkDm++9hYml0rrOIdt9CJqq0BPTVPKnRCJztOxeOmVczRyJziDAfIFBe/EAuTWSe+uEpi7RqvdR6/polOP6VsnQO9H3zuhr/fRFWrEvhaNmqJvm8WozVLe+QTD0Bvoq3FswRFKPQ314xu4Q/M0akkaqXU8oQU0Lh/dlh6H20lifwNPdBgHdQRI86/fu4nL4ueNN1/j43s32Xq0wflrZ1h5skmuUGFqIsjpU7PcuP2AQb+F61/+Co7hM1T2HtFKrFNV2riHF2X6pn1yG43JhXvmFVrJDUw2A/pGjXx2nWqlwsjL/yPN1AZ6Y4tmtYlOH0Rva5O88ftETn+ZeqssXbp65xhkc+jcdrS9Hs1+n2ahgEtERl0euv0GpuhVKG1LAnAxuSO3gwaXYEpUyO6uY3WZ6BvDmPQOdJoaqm1c3mDapYfUCx1cE9foFoXCS6FbE4fqUTmIaB4/RmML0neEselFVSCNoZvEoHVRbSdxuQYwaIxoomESDx/we9/8GzJCtYYLt0/P6flZHj3cQWNvY+yZOD4ooLdoufzCJb7/7nvMxib5lV97kcnPX6dXNVN9eodONoXGGcAYm6SVSdJvNWl2MtgsIQk26hmcaKw6NKU0GlOMbqeFSS/4Egn5soXVjcUWpV1Pk9h6yuHeLj+9dcT0whxvfOF5kgfiIJBhd/sugYE5pibHJYhyff0RLSXHxOQCIlHVVussvvIGH7/71yzOz9FsNahWu3SUfXSGKFffehW3OyYHNIWjQ/ptAe+0QieNXusin4njdPrpGezobFbMRifFvQdYLHb64RnM7QqKIhzLgrehxeCwySl9v56V4M92v4U9dJ5m8oe0BdPAM0l15zv4B+bpOGZQq3HazRaOyCRdcTCtbuEMjmH3zlNL3MLknUFREqze26GY28TqjciXd7XS48naE1584UWKhSxJARjzO/nkxm1eeuV1jP06S298CZNFvPAZ6apN2or6WXJB1VJrl+lUKxhdQxg7eRSRUDKFqGx+hHfxLTr1Ivlnf4R94RexWgfpVJ7SayqyptV1X6CZfwa5xxjDL2EInKabfAYW6Ce36I5dRVfbodMU9F8NevsUCCJ1cgVTcASjiMHr25jDdtB7+Hf//D/wW/96hQF/h4XZMWKDRkp1DSepKum4oCObsFl9HBx9RtUWJgZDx0Czr2AxOugbRJJtgXw6SzTmway38NGNu3z5577A6proQUc4iqfY3N5kcXGR4cEI3/3eD5iemOW1l6/xne/9QJKfF08vUhAd3HpVbuL39o+ZW5jGYbHLta/FZKZeqxFPCFjdgOx1iyGA2IiLLXw8nsTp9ciNpEkkfkIRGbf1ez2sb2xKYJtIvKTSwsFtYnZqhh/98McEAn7piX74+ImE2SVPknS7bYYHY6xubEkbwPTkGPlChmq9Ta/bwaDTyxineEGKRYU/vCG3wC6bRXq4O522BK5Z7FaZtkvFixgsBoYGggxEAxJEd5hIEYuGpNv8MJHFrBcxbFE57MoNpUjUOR1u9vfiRAZ98vsXal9hVRBwQLGJvfTcWQ4PTqSKMRoJY7bZ5UtiOpWQULK+Xk+llMPjdsu4p8subDA9CiIhJtw2PcEzMtNsdtCYdLQqCiarUerNhErquSuLcrsq0MdigDExPsijR8tcunpVDkze//FP+cIX3mD/+FCC22Tc3+WRffdKpcT6yrZUnclBu8XM0yerTM1O4Ha6aHdaslahKnX83iDJVIr5+TkJQ6yWBPTVSFcjfNk6Do9PuHLponTQa41GzAY9qWxGAuyEelH0dUU6Q4DlRK/dYXdy+/Ztfv4X3uHo6ISd7R2cbo8ER7p9LirlKtlsmsHhIanAE3yBXD4nOQCCFfHo0QN5CBcHNkHvLxRL0l8fGxzm05s3Cfq8zJ6a4Qc/+pH00c9OTyN4p0KlGAuF2NnZxulyy+6rze5kdXmd6HCURq0qt/OD0WGp79PpNfJ+MjUyTCwW5WcffoBPVOA6bfx2F9liXl77+VQWr99FLCZqUD3JtFCVtqwHiGFZKpVA09cR9Puw2y0cHCVlDebg6Ai71YnNY+XZo2dyGD82NCyHQ2JLG4nFeLr8VMbpxfBH0OvTqQKRSJSTpODKiGVLi/2TQ2YmJiTnQxDxxUtlsdRkbn6GXCYnv+9oNCQhmYVsDovbTrvVlAnZYjEnF2Oi7y+GKfsHCZ48ecjo+LgcyPk8HgnO291Z5/g4yZnFaVkVEtdkOBRl/2AbfzjG1NQkR/snMj6fyaTlIVwoRScmRzk+iMsDskFvIlcqMD02JWsP5VqFUNAvjS2XLl+V8f4Pf/ZTqSgdGR6RiZKmonD//iPJphiZGJJDM4PeIgGTgushkjdWh5XBaBizwUg2n5NgMgHzddpsNOsKza7K3Owpuv2O3HTuHe3Ka0eAt8XGVxxYjo72ODM3R1dvZGvjGU2lS7+jsLF1iF6jcub0KeLJHO266ChrUDpa1E6bqDtEvJiQ78LLaZVmpc2vntHwlTM6xqeG+OH726TrGhmfNvYV4oUmxq6RcEwv+9sWnUNGoQ+zXcx6DW5ni/WtOtFR0UcPsLWZkGrwjbUizZ6OkMPI2z8/zOpyinS6g9bYlJ+pcrlFrVhlfmGAbk8hXy7Lg38qITbhQbraGo2alpERm0wXfPyzFP/t35+RHDKR9hP3y1SiQKNqwOO1YLGrpDMKPo+dk5MKmXSLsUkr0zMent0vSCPa574wz/raMeWiqAv2cPusdHRdbn9cwWJqMjVppVHv4/VpODjsEQyaMLsgcyAi8X0Gxo00a30aDWFA66Dt97E6DRzu1rn2ipd2rU8ip6AVvzdPl2xKQyqhUGnq6akqIa+dyTnxzLZwtF9l/mKQfgs+/DjOtetBknGVQNhAS2ni8ztZ28yj1ejkz2Rizsf2SgmPy47HA4GQHrPBJv+sVKty5myQH3wvjt1j5syCANGWufOoRsin57lzbnJ10OtUDBYrc1Mebn4aJxgwyusTVUs4YuPu4wIjIyb5vfpcFtod8Q7swmRW8bnsMt0mKtzi78aPmgRcenYPq4SiNgm+LhaqaI161larnLsQ4txpL3/yR5sMj+p5461THO83uHv7iFDEIZkkazv7BF0hqZ4dGLRgc1t4eP+Y669PsXb/iOHhGOjrbK6WmFiMYtVrePI4jgYDZ0972dzNMzToJb5XYHwuIFPI4vwrGDp+t5dcoYi2D8MzNupFYftQMZmNDA155XM5MOxhfTnH8VGLuSkH04sBdrcK6DUWggEzNnefzWc1SrUeuUJZgj8vXopxvF/F7rJQqtQpFbtcvRCRv3Nf1MSzJ2U03/n1aD+frVCstOXL0uLZALlEnVyxzdypz7pOyUSJdK3O0uwA9YqCKiKrFgFOydNqd/A53ahtlYVFH/tbRTr0JbRofET0/msEIz38vhDbmwUOj2tMTJgZGPeyt1HDbOkwOupmbTVP6qTF+KSXrc2k1GNNTjlYWT+RoJJasSenak9X6/hdZlqqwuI5H1NTAf7VP19mdEovH0A18WDt1pgbG2ZlO00qU2d2KkA5qzC7YGd9vcHhYQGX3y5vEr2WnqlJPdtHXcxWDeemYyxvxBkOOmnpWpJQajDARx/vE3X5WZg14rVrOMjX+e13y9xIi74qLM0ambTq6ehUPl7uSohhOOjkeKsk3dQiytZtOrm7nqCnh9/8hTn+yf/xq2h1erQ6K9WTNYppsQmsY/MYsIYmKO5vYtLoMDg9mEOLVI5+jL66j27ma9SrVWz9Amoxj97hQSsop6Ljmati7VcpipcyU4BKKY5ZVTAEw9Rzh1iGL2FQ2mjNWtRyFoN/hEZunWqqTGzhHAeP3sPpixGZWOJw7UPqNRPFUpFmv4aqWCikcoSiLkw9Lblilp7wOwuFT99EYm+Xt7/+dZbvfsq//d2/5OzSGBeeW+KjTz5m6fRFlE6TTO4EpdahUM7zG7/5G4SDIb71zX+LMzgpp6v7j+/x3//Dv4/BouNg65j5pQUKpSwOtxuzxkVm/wFtg5nY8BlanRS6lhATZtGrFnlo1VoN9JQqhw8+IDK6SLWvx1Cro3OIm1WPrsmKmnqM3RWUtgdNr4z7zK9wcvtfEoxep5Bfpd/XEZt5heLWX9GoWgle+wo9saE8eYJqCGJyutA0GvRNFtrNEtntG8x/7r8jcbDLwxt30btNrD3Z4qUXr0j40Z/86bdkPcZh1rNwaobD7AnxlSMWz59ibNTF88+/TCKxgaOrQ3EG0NebGMPjZNbu4R05jUkoEjO3MRsG0Q+fp/rk91Ga+wRe/o8omz+k301gD5ymXYO2kgRtCb31MjpLg16zTr+dRKcRSZsM9oE5ugYHlf27mGhQKnQJjgXop45Rw8M4tG7K8XUUswu3oUrHNowttABdHc3KE5rbDzCPP4/BEKF19AMwh7CEzlJNPsHk8NEsHGANhujjRc1m0Nmq9LRODA4f/Z5T1hzqqRRjV38RggOkn/4Vf/57P+HpbpxG3c7MvF1St5vZMoFIkI8fbJCOp/i1r7/Nd39yn7/64Srh/09N9M/+zd/hhS99Vfqj2V7hcO0m5vEzWO1DIBSJJi/NxD10HWSE32UbopJ+hm3oddqlFXnoNYrqSHEFrXaYXi9LGxMWEZlv5aBaI334jKNsC/GGqzF5qZVz9Ix2DJo6s7PXiZ+sYLC6KNXS2I0hHn76Az7/5Z+TlZFOscLpa5f55Ec/YHB4nEK9QFdpEApOUmx2aNe3EdjDq8+/SGR4Ams0CG3xhmmlU0+g5rfo26ao7H2CI3qFWuah3FBqTQbyhQ0iA++gNjZpVOMYzeNYwxO0M8+oVlM4Jq9T3X+EydTF6j6FxhkBtU798BHG4GnQKnT0VqktbGSX0el0WKPPk3v65yBc5W4vdntAcAyxWNy0+wX0xggNpcMn7/4hK4cV3vrim2yvPGRkcpajnQMJ51t5dge1bRbcQ87PzsiDcmwwiNcTxRwYlV5uhztKNxen1SzRrudQ2k3sA0voLS6Uapb2wT0cwWmaRo8EHPVqGTQ2H1adYMJo0ek7MiYrutRiEyrSEUp5A2tgAEv0y9SP38fULNH3TFEv1KCxjWforIRVCT5IPRXHOxxF06vQi17GSIJf/NJv8Z3bx4RNBk5NWgiF7YQsJjYTJUZifmmVUbpN7t49YHDIKbuBuUyVvr4l/cHjU+PSvJDJ5+UhMnOSpdfuSyCqUDq2ez2O9g/o9bX4nB4JVxWbxLNLZ/nwo0/pdHucmT/F06crLC2dkX33gcEQG6tbNBQB7QpKV/lAJCaJ9UunT7O+s4VWo6HV6MjI9uziHB998JnuLl/IkcmX6bRb0lXucLhkf7qhtKnU6jLSXsiXpZLM4TIzPCKi9m1u3bzF5PAoIyPDHCVPpPv8eP+AUrFIOCLqCWKLECOdTmO2GORhXmg/vQIkVq/J7YM4qJuMRtl/Pj7MMjYaIpsXwN6QjO2XcnUCUYfkF4i0gKgKiJ70YCxEIZeXW9B2V4Mv4KTfbnMcT0sopTixlCs13D6n7K/Xa1UcVoeEsonNs9gu7R0eMhAOyUj41pbwbdswGkwy4pwU7BmHg3Ihy+TklPw55DM52u0OwqNk1GjRGEyUG02ZkLBZzfJrKRRrMp3gc34GJayVari9FhyeAOlcDocAwXn8FKqCdB7EbrdLBaLd6qAncxp6ZqaG2Nk9wGQVbvcuhWyZsfEx9Do5iuDGJ7dkBF1UP5KpNKlUlsXFOQx6LY8er0noZ6VcIhiJMjUxzt7uAdvbokIyImF1YuAg6gx+v5+BWFR2tEXSIZvN01AacptUqJaIBAWpPIvT6ZS969WVNXxSx+eSukVhAKhVS9idTvkCKZIVArDo9QZwOa3YnA6Oj+IsXTjHvZt3sTod8hrc3hKOcReBYFDC6QQz4doL19nc3pJVN4PFhNVslxvZVr2O3eaSRox2RzAlXBwdxXG7XFy9cpX3P/hA6s0cDrO8Rs0mM+cvnGZ/Py6HYL6AV9YHxO9PfO+i1iIqJYIxIPorT5afyGqCSACsrW2ysLgohzO+gI++ViNTZ8KIodcZJXRRHMLPnF7kpx9+JO+D42NjEqJlMhhYeboqe/+vvXSNG3fvEvD65KBBAD5z+SKTY6OEwiH29g85PNzj+avXQNtmdW2bk0PBqJlne2+fbkdlZnqG+w8e8+Ybr3AcT8jhzOj4KKGQV3ao/+Cb73L+/LhMEwiQba2m4LLrcbrdxMbHGB+ekEPkJ4+eMjA4QKvZlDWB43gKfyjAxfNL3L1zj93dLa5evUo0GuWjDz6g1+kzPDqKzWKWVYZOR8Ode7dYnJvDFwwwPjXC2rNt6bl/+mSZVrNKNBqUmj/xsxd1GDk8TKUxG3VMTk2g1+i5+/iZXCjMzE7LWqioIcSiA2zt7MjNudCgiutSpFTEBl6m32oVumqVg+M0Ya+NfLmJz2alqDaIOKwo3b5URXptWrJKi4mwm9uJEpWGkaF+jd/+oh+bo8/uUYlczYrSM+G2KChVlWDYJtkpOkMXvyPIzsGx7EiLe6vYZHfqKh6XCa3OKA+hIAaEKm+8OMpuPEHE70Lb1VLpNFFVE1GvmUPB6XCZ5YDh9u0EelHRqLWZnR+SQNRCrosroEUndegdcsk6b/3SqGQgCOCfILWL4agAHKaTKmZrl5FRr+RpHO+lebSc4vOvDVKqdrh5M8Pb7wwRP1BkmiIYdsnBWkcRW94G7pADp9OCw6lF0+ug12h47ycF5k/rsVrdfPJpki99cZCPf5Jg9rSd1Z0a6bRKJCJqbW58dh0GQ5d4roPBXqeaM7C51cZt6XPxQoRGW9D7Yea0kY31PD63FZvJTCJT5XBfZXjETLXZlImbVrPL0ydlXn4hzFG8it2uQ6M30G91SJe7VIoNZqYc2Jwadrf66IwtIn4DSrMvB/CjI0G5TG62DDSqRUqlDmcuuNlcb8ikt17f5eRIxRfW4fGYaPW1xPdrjE74JL1/ZTmL323j6vUY66sZCVY/SBZJZmBq2snOZo25GRNGo5VAWCx622yt5zi75JPLSbPGytpWHLWlZe60l62tDLm0sNVNcvfWHvF4h3PPheXvamvtgGJFz8xEkFt3V6XiNxlvMDzlJWw3ki/3cdlNbO1nSCVrnF3ysPy4QSzYZ2DYTb7UlCwLvd6OkHiJmP7AgIZqs8fYWAiDWah79ajdFod7Zfw+K2q9J6shm+tVAgErL78wyg/f3yESc+CxGCW/7s69Q/muNTfn5OHdAhev+dB0FbR6EysPWwxPm6iXm/IJZLOLNHwZZ8BMvdohGe+wuGgmm+ui+cNf9PTHJ6wyHpGK1xkZd1JtqOyv1mQPRii5hsaC3PwkSXhQR8DlllOXRDKHz+eT/TRxM1LUvgRQbK00+Np/NUoiXeWPvxnn9c+HUBWVqNfCzfsnjAwGMFo7rK+WpCPZ79LQ6qjky10CXjPdRo+eSag0TAwPOTk6SrO5UcflMTB9Smw0agTcIrLSIyku8LCBG582GBjucWo6RD4nkgo1LFodgahbTkDKIiqqWvB5DNi9RpwuDUpZh9prcuXKII9Xkhxtig+zBk1XSyZfBUOP2UkX5ZSFUrfG0pSFTqPOQdXC4/0if3S/STjkYCpiwt1TESf8rXSbUrvJ5dkA69tZwIjeqWc3XqaUbWM06Pnyy+P86lfeYPaLF9EeVlh593eJnfs6lfIy/kgAbAuUUlv4zFaaeiu9xg6VkwMC8+/QMjg5+fh3cEfmcQkIVlvF6vXTOFpGa46ARUNp9yGOyBg6rRsQk00nZk2XXiOL0X8WrUNL5en36OhtuM9+lfbBLTqVfTyTb5Pe+hDv4JwcSuRSTzDrTHinLqLXm6HVoJx4IGPe7uAMtz75C6ZOXabTKuINRDGaXNQqR+j0MbRqV2qykvFDnt29R11jwmkWJMo24fCApP2urzykVK9Lhc/o0DDFung5TWPsGaiUa7z5zqus3V1m/3CHwfEReh2rhA5FhgbIJ1dxhYapF1UZseu1BLSmROKkiEa4bhcmcdu9OD0R2mY/9ZMb1HIZ3CMv0qqcoOSWscWuSJpuffNn9C1OnKPXpfqysPE92aU1C/jd6bcprfxQ7KboUMNotaFXjfRElzs6i0GjQdfM09CaaTT0BD06uSn4w9//lpziv/jam2QyJxiFBcEV4+mjm9IZa7b62dhaxtY300LHtfPTTH3x11h9919i17fwDAlrg5+jx58SGvCg6h20C/toTcOYRy7idHopbX+fXrODKXQRk6ZBrZZD4wyjMXTprb2HfWSBaq2HWk1jtLkxWH10a3m6CAWmkb7oGnpPYdVnKO5tY/UP0bdY0NhGMbQq9LWianGA1miRqYdm8gC7R+jhEjS7LaIzb5Lfv4nBHkUjaO1GI7qejV4zAyY3bVXopRxorB5MlhCFZ3+JzhsmOLyAdmAQckn+93/wP/Pe3RZXlwaZnomgalvsbIphhYFEPMNLLy9h0bv4m/c+kEo9NZni67/6Gl/+9V9BZIiLd95DP/w6lnqKSuopRqfYvmigWUM7cAlNRYyS25i0TTrGGKpOg1Wjp3DwY5yeKD1DCLWcxBCYomcwYaon6ZgdEqSkNkoYvWFMJj29/DrYZ/jwW9/EPzrFwfYT3J5JtEKd1C6yu7nDC699kXQlR0ts8IxOnm08wICFkekhhnwR1tZWMQv+icONWsygM9lQlCq7m4fMnpqnUNqm3bFybukS+fg+sZFB5s48R98WoXCyitvvAvMQGoONTuEhfaWNxRWSpO96NkW/XiGTP8I3eAaT2Ue7XaSWyuCLhaTzut2oYnJ6JeBPUIfNVjdacY8pHtNuHWCIvIOumaKv7GJynaHTq1I5XsE7OIJS6eIcHJGDnPzuJzRVPd/99g+xxYKEXRYy8TTPv/oKx0e7jEyM88FPP5Cx7dnJCxg6RdZ2D3CZ9Jy+eI6B+cv08kn80xOoOhuG/C41oVELPweVPTT1Xbq+y+g7ItqYRNPRovMModRS9POHGH1jUkGq1u6jq9cwOUdRjTra639NP3Idk2ceZf/76EZekr7i6tMfoPMP44jNUzl6htkmIu1mmvUMWm0H1+wFsNv50R/9Ef/nb73L/kmb2LgHu6HE8OS47JYeHzToG0yEw3ZOj4ZY3jkmU2oT8Qi7R5262qGuaDEabehQ0Rj6nJqZ4zhVkNP9cxdOk05mZe/cYBUH3DaHB3EWz8xRyFQI+l3UFFW6wRfmT7F7sCd1XE6rCZ8/ysbOBteuXCOROmFnc5cLl87Lg6LX5eBw/xCzRYCftJSFYzsUlOCt9370Pna7jfn5Ge7dvkMkMiAadgTCQZafCDuM+BqnWN/YY2pqTB6SxIH8/NIZdrYP2dheZ2Z6Sg7jxPBBxNq1fS07e3tcunhOpiJEjFVn1Euauej3lysVSRIXnIJEOs38/BQTIqxxAAAgAElEQVSP7j7FYDBIL70YBHhdbpqNmkyHVGt1eh3Bau9+tvEwmlDqQquENOMEnE7qqkCvIr9HvaYnt5B+TwCdAexWK2pXgHoNlEpFuU3NZPMMDY1QKOUx6vrUylUCUbHVzRB0OYRGXPbuo+GAVKYZhMtZSGPFcDolYswmLDaD3FCL7bf498XBL+B3yyi9VmdBS0/Gv8MRH6WKSq1cwWmzUm+2ZEdbuOjFgWBmdpBqqUxWpL+mR2XMemJ8TGoZXU4He/v7XFg6T1NtS/2ciObrDSb29/e4cPGS7LGmTtI02y0GB4dIJk5krN3j8VKsFGSiQVD1h0cGsJhtcgu2tbnNm5/7HDfu3aFUKPLWF96StgCfL0C/KwjRqmTRiKqHx+2S3X1R2RNQRdFBHRoZlgOdRrMueQ0C9pxOpNAYBRvGSlfoKQVSq9XFH/bSaLUIBwbY3dnC63EyNDLC8uNnWJx2qbMT2+HbN26j0WkZiEbl81poEsVwV0D84ocnBKNh6pUK6+tbjE+My+Sk0WKh12nL9Ibwk4t3p0AgLAcH5WIBnztAqV6h1VDkIa9er9NQVOZOzcjBl2AR2AUMr9qkkE8zMzOL0mySzxcYGR+RWzWNRktPbbJ3dER0cEhu4ESCRdRITp87y8baurzG33n7HX7nG9+Q8WoxMBG2FFGbsJqNnKTSUmnYQ2VnfZuh4UGMZjG8yDMQjVEslykVRL9ZDN0KqC0BIjVKu0c6mWB7c5ez52bZPzyUAwxRrRDDjWggSDmfxe4PyQqXgMGJA390YBCXw8mq+Nq0gglilgOLo6NDFubnBNeSqqKwf3DE9cuXmJyd470f/phGrczMzBRtwVhyCEj1vjQZRAcGuHvjthxG2axGqSsWn0txLU+Nj9FUGjJhcurUtAR/lssF2u2+tAXMLcyzu3csay+iHiBqASaTToLjHC4nxVJFLseuXb3Ct//sP8sDrTAsCCUmagudUJ6C/PsTg36yWQGn7FFqaWia++wmerjUGn/vmoWvXnDwJ7dz2DQWBsbt1Ip1ErUSvYZgm+gwWU3YTS0JrlXVFmazV6ZotnaKvHgpxq3lJBNRJ9FBE3fuFVmcMVFt6bD29DJ2rXa02MxG7j+Mc3BY4u0353jwRJxxdDJtlUq1iQw5KWdKlGtt2eGu1BQunJtk71AstVrsbdaxmPV4InoKhT67exUuX/QxNRNgYy3F6IiPx4+PyWZ6XLk+ILfBoUEbhYyC1eqg3MpRTutwuLXs7FQYGrYyNujlYL/I7GKEp0/iBAIGjuKCXt/g7bdDHB4prG9XWJwVA7QY3/72JmOTPnroeLqSY3HGhtdpJVfqSlip0WRBaRoY8ZlIVXPYbGZSqT5Gg/gce2j3BA/FSCpV49VXR1hZOSRfVLl+fYLvfGuTwUkjxo6O0QVhOWlQLJgoSXZAgM2NKh1NC4/VREAoJHdPcDi0nCR7eP0m/G5xb+xy82aeC5etFAsaVve6/MoXwzL9dedZQVpjrpyP8eBBShq3KmUdUwt2jveKDA4EyRQbUpO+sCCWFFq2NioMjVlJHjeJRuzE01UMfR0DMRepfJl8qY7fZ6FV0xMbsLC2kicSMRCNBWSSdnLCz7f+YpvRMRfnl/w0O/D4oXjetbh8bYRmWcXk0VPJdKXaMJNtsH+cw+5wcWYuyLe/s4LPY2burJdKUYuu1yU0YGVjqyDVnmMTIhWVI+SzSZDf8pMar741SF+FP/vzLQbCZhbO+OSgRyStWnRYfpxhdtovh/gTkwHiuzkSCRVPwIzFoMp3weRRE5PBSlkt4rGLQXiNVtnM1Fkje/sJmXBxWU2sbZ5w6dIAG9sNomGhudSxvVVl/lSMp8/SaD79x6P9WrUrL+BypYHJqpN9BKFjuXI1zEcfxzGb9Gi0BtxuLUKWvJ+o0KlqMDvhlVdG2VxNkck1OHcmQr5cI5tTUdsdqcIT/RGhU0tmaphNGmanQxwf1dAa25h0RvmwtZv0HMarzM86aDT18uF+69Yh3Y6FoagWvz+I3lzn7oOMPLy8/sY4iUSeeKLGUMTOo8d1IiMmwj4tyw8LXHt1UE6hDvbaPH89SEHEzw5quJ1OVtbSTE8F0FlUkkmF1VWVKxddOH1Wuq0OB0dpXGYPhWaHTKbG+bMuXPouYWeQr/zeNis1K0NeExeCWnI9BU2hxknXyoUJD6l0iVyzw9VFHxaLi0frxzw5rpHLw6++dpr/9M3/hqbwmRcVGru3aCULdMPDOG0+lNQzNFodzY4qYX0i3tYtH2EbvIqhuk1ZreHyBalXNfTKxzK61jbrpC/aGlxALW0JsTS6vhFL9DQ6m43K3g1skQhKsQ3tFJqOhba2T7UoQC063NYgLa0Vfb9DbusBzvEz6HsNOcH0hYI0iwkcMTda1SOBYwaXG0crizY2gbYqXnwtOEwN6iUBPhugVcvKDqwzGPlMe9GzU82uYzBbUeo6zNYW9oFZqumCdL8/u/uA1P4aJtsQx4l1lHab3/hf/gk3332fn/zoPV556zqVUhGT3s6ndz5lYHBC9mdODvNorW5+9N4dBoNGJhfHqBZ7koSPkmHmzJzso3lcZsklGJ0fp5FWZBysYeig6zjQNI7RCO1g9BKVg3UKK3+MPXwe5+g1euVtmql1TKe+AM04+bU7ROZ/QQ4GWvlVlOwG3tnP029rqMYf4hh9BUP3hFIpS3DiOtmtmzQaae48fMTGcoqz5ybpodDDjTscYn11k06zyOUXXiZ+kOLTT37Gv/g335AgqPrBPh2nl65yJLkAGmuU+s6PsAxdo3p4l17tGJ1zREbyak2h4BE6x5BwxtHrG+k29nFGX6XdiqNVyujdIvLjoZC+h1VQ5oOXqMUfoNPWcA5fpKM0UXV27I5Bqlt/RbddweAcwRa9Tju3Tk0tS3hbbuu7BCZn0ZpGMRoDdE0WtPUGSjeFtifo9TH58oFaQeuYoF3e+IwNoLPSs9lwuGzorB6UWoYbH67yJ3/6XcqiEykYGi8vMT7s497NZwxPznN2Psx//oO/xeS088MbJ2gU+MrPhfmn//q30ZtjqCvfJH1SRGc7jSsQoJpdw+CcQG8P0W6UaZ/cxRQ+hSEwh3LysVQVigFW36CnVa9g9c3S6TfpKll0Jget3AmmwACavol2/QizVo9SKWEOjuCInSJ7dA99B5xDQ6D1sn//E9JHKxgdUbo6LVvrSZm0GRiZJTwQoFbtkDhekbqgC1fPkDg4wNDrc+GVV9hc36CSyzI4Mcnk6ACr65tMj07x3e//LW2NlrFYhO3tPa689LpU5aj1Ms1GmcHpWTYfPqBY67B07jytdoVyo8Wlc5cIhAbp6Ipkd/fwDQ5TOHwihF74znyJ2tGKfEls600o+QS6RhLT2Cu0d39GzaTHETyPVauVSQhFo5X1B9HTbmXW6DqHPjM+1E7QaAVHwYg1MElX16O4f4t63cXv/8E3OX/1stzAHhwf8PW/+/e4f/MWzzafMDe/REfpk86I+owPnSq8wSae3LqFvt3mpS++wsLnfolutUUxX8da3/uMFG1y0O6koKaiN5nR2QfRG7R0+jo09RR4I+hUA+Tu0xBq0Eu/hvbgMbXaU/SzX6X18A+kmtTjj6A1O+lXU5Kg3lEO8Z//JUpHa2g6QjsbpdNJY20bsZyfA6PCJ3/xfb7yP30XUTv/wnNRhmJiqGeg0deRO/mM3J5MlRmfGOTO7W0CQS8Wi166sSvlNgPjIXY380SGrHKgrtH18fg9TIxNorcJ9dmBHKCHgj6sJgP+QJRiKcfe3hGjoxNsb21Kndr5pXPE946wuhwk4nHWNre5eP4MBoNZwujU5mdgOMHfScczciP+zs99nrt3H9FUu0RCATq9jnwZFn71oZiAwFp5urpCwO3DH/LI6oDo6nfbCm6/F4/TRzx+xEkiKysBB4e7Ej0n9H56rYHTi3PcvHlXxqkvX71CPpthd/dAAtLUdpPD3UMWz56V9R8xDBBRS2FGmJwYwWgSKsMOuVQGm8tFqZBj6eIlbn96S8b0vQEvqZOEPGQenyRkR10oCYULPJUT2kYzPpeNilKnWhY0azulQlXSnoWOTVDdRaKhXKoyPD4g319q1TpDg2HZyTSbdYyOj7B/cEi5WJdE7Vg4TKEikhJNtHodWvRyW1IR/XqHC5PJLP3YlVpFaoB1oj7V6WGzWaWnORTwy4qiTquTKi7RDRcb5fhJWg4zHHYbuWJRqs66HS3+gI+OqtJUWhwk87idNvxeu6S0i4Gm2GbrtBZ5EBHULnFQfPHVl3j8aJlSuSQBeg/u3JegQ+Erb5RrWC1mmRxIZzNsrm3KAYNGr5NcAGGfECCwleVVTi+dIX5wwMWlJdBr+dM//wtef/U1Vp4+IxqN4fX7efDggSTIC7vD/KlT7B3ts3TurDzY3b13F6/bi9Xh4PGDR5w9PU/i+ISyUufMmSV+/OOfMn9qUnrbxRa9XK5SF4PYPpIjVBOb7VKZsbER+bvJlYqyxjA8HJUpjkq5gsvtZmJiVP7ednfjlEo5SsU8b37+TZInacqlPPlCCbPdQiQclFpI+sIi4ZA/69sPHnHx/Dk2NrY/U1V2ehLeKCCFYkk1MjEBXZW9vUPGBkclJNPpckg7g6g7CHhbtpAmIBR/Fitb2ztcuXpJDqPFMEZUCpxOG0MDMR4/XZaAa51JSzlf5+rzl/jJj3/C/Nw8iVRagjSF/1xswEulCi6Pk9mZU5L5IL4eYS3QagTlvYnJZuTk8IhWo8XE5LDkLoyPjlIopmh3NAyNTMvDf6VakrYOwagQm/dCtigVlVPT4wSDAYqFkqykiapPSmgN9Qbi6SRWix23zyuNP5PTU7KGIgCjwkPvsNi4deuhJJCfWpigUW/KXr+I+TtcVkmbF/VG8edeh5tULofWqOOFF16g2+uy+myVq1cvk8tkiMczEmC5uDhFPJFnc2ubWCyAkq/QRcHjstAs1tG7PNSaLQI2K+2eyupBisGgSx7oql07m7sF3FYjFwJ9/tcv+cilSvx0V4/L0cakdikoNc5O+2mrfTaOizisRpxC72ewUS23qHcbBEI2aXfIZVty4NrsaMnGVYaHhK6xS6OiJeAz0VZ7YNZxstdiZMyIxazl/nKJ15+PsrtTJjRkQm1rqRQVHG4jQZ9dJjk3tjNks22GRnVk0louX45isuho1BQODysyOp48UWTN4p2fP8+92/vycy9i7HqLeDdWKRcUuj0ttYoY7hgl9f4L74yytZKh29YwMe9h9Wmezd0aS0sOCe9T63qq/ZbknV2/5OfO46xcbk6NG6g2egR9FpR6my5tSmWDNJiJLfp3v59gdNSEWWeQ8fOgz0amXMMfFkT4Gh6vnp4C954pnD2joaxoUVp9nCbLZ3BkowWP2SiHbAKQenhSoVzvMTduoK//bGDQx8aZeQ8f30xAu8vZiwEc1i4P7zXQ2Xvo+y2mJ8OcHNcZnTCzu6tgsHR54fwg/+6PNxkZ9uKxCEZME5vbwMiQi08/OOHN14Y5SpRI5GuEwjZKOQFO1PN0ucTQmJeRATu3P83KNESnr0fThWJBkYOhh88aXDxjxxeys/rkMx6N3aIhlW9h0Gmw2HWY9GYyxTxKyYA/opNd/LFJL5pOlXZHSzrbR9Nu4/bppIr+1deirDyry2fN7FkPjUKfXK7M3PwQ5UKSRL6P02InX6yh0WiYmPJIW4aoWExOuykU2oyNOrl1M8lzV0Yo5+r/L0vvGeRYlp7pPRcX3nsgE0iH9FmVWabLtXfTZizHiZwZzpDLYIghkdqVYpeKNRGiREZszDqudiMY0ip2SY3E1Q45Mxrvunt6qru6usv7yqrMSoPMRCLhvb3ABSCe0/rRfzraZCWAi3O+732fh1qjK59nY+N+7M4h6d0mJpdKZq/D8pqDQRcC4045ZPJHVZxmYbNrsrNZw2y38donJ7h/LUsm3efLX1/jW391Ha/bzNlTUxwVy+xlmkyF7ORzOt6okZDLwcZODuUHvxsb9Ux9UaMkMhlia2OP/NGIM08H2Nmv4rKacfoMeGx2sjmNzUc1ZmYtnDgzywfv7XKwW+fNz0QpZxVu3D7i93//BL98OymdtK++McPGPQEDUTAYRx+/CLcq2HwDYlEX2YzO3ILw0vZ5dK+MxWGl2hSHpgHPPD/Fr36yw/FTAnblBMXARx/kePZCiORunnypTzjoJh61o1h7NJoGmrUuJ06E2doqYxNEcaUnzQMC1BZxOun3+pisfaz2MNs7KXnp/+Baga++MSHp6dc/2CA87aN01GRlysOFpyO8fSnNv3q3S3YAr87bMKsD6gLMVmzRUs3MRAMSjJGIGnn0pCT90flqmTupOkdHBv7pp4L8/f/pK3gvPI2+m6T/6An1QoFKS8MV8aNoRwwtXpwnPotebNDcfQff7DM0xQG3fA2zM4rBKJR40Dm4iHPyAkZHAlo7tNtFXL5JqdYzdg6wBuIoqlCUtCX8z+cNomg9mtUMZm8Eqy9OV8DbnAk61ST1w02CJ7+B3k9RvPtfiD/1e/QzOwxdEieGgQ7W0BrF7du4PBaqtR5W5yStygfYjD4svgSDvvDE9ghOnaJ5+BijY4TR7ie3cR/f7FN4/GOY1C7deoHKwU1MnmkUq465P8Q9MSWj5AL0eOm97xByJLh6/QrxgAXVNUFM9Kt6VrYfPZBAmUh8isPHt0ksn+Kdt97hmWdPSdBUrwtzM1PU2202Hj/m5dc/xzs//zYmkxdjT2NuYZrXv/xFcsn7qH0nntXPUNn6DkMlQq+yizMQxDC00K48xjd+ioFziVE3Te1gA4cg6jePsHgnaOa38U+/xNBkJH3jWwTnLtAppvDMXiB7/ce4BaRRq0tq+cTYSUr5hyhO4VcPs/voJo9vvM/yhU9ymHrC7k6K6JiIgY6olAqsLM9y9sVPMKwVKGR3cYWXUAxt+fA1GTVskeepFh5h6DZwi5hsS2MUnKFf3vr4grJ3G9fC65jGTsKoTGP3I9w2Dxp2RrTQhZnAMia908NeBV0czpzjDLQaeiuPxWrCOvcatcMtzP00ZlucQX0b+/hZyRho5q8TPv5b1NPXsNrstDL3GeodnKGTaN06ttA8zVqWoV7DGViiUdrBbndj9LpwRuap7ae4/uv3+Nb33mV9u87ysoW1M+dQBQ35YYrnzx5nfXeTlYUV7A6di+9vSN/riy9G+ea//B/RndOM6gWq2SzdrTu4IgtYZy7QPngXva1jDwYYWIQPtomjkcVg86PZxhhkr6EKLV+th+qMYB8OaJs6WB3zjMob4J/FpGsoxgF6zygPow5LWwIAO5ouqc69bgFvv4M+FpW1Ebc7AIMGLV0HETc3GDhKF7nxq5+zsnaBcqtFt1olcfwU3VqO/fQjckd9CV577ZOfp6H3+c63/pp2t87C2jnOn1nlyod3+eJvfYFKLik3MA/uXqc/skFvhD8UZ2tzg8W5SYzGHqVGh9XFp1lfv0m+WWBpLEx0epzjJ5/H4p6g0yyQuvq3+I+fQ9dcGHobVIQ2J5zA6nSiO12yDmCyCniriNpbUYZNhgMDqnuedv4WhtoBrsU3aXYLKP0ualWANz3o9ikGgwZemx0sQYy2IdsP13n3pz9mPOqj0mxjGJpp9TrMzK3x0Qdvc/7CGZaPn+bi229L5oGIxE9E5xjoHdpHO8yeXWDl/BcYaF06rRrD8i5ap4bZP89AMWO1W9F1E6pTOI0nqCd/zAA7VvoYxo8xKB5ItqBqicheH3qaXnoPXTVis/rRFQv95j7DfhfP6m+i5/dp159g9ixj00s0hiYcljBGT0WqSA2Bcb77H/8v/sE/+R71vspyzMjpVTfzU3G+9d0NFmdd0oPdqelow6GsBJhUjXAshGo2k9xKsZ3s4PYYWDm+yP7WFio2Wh2N4ydWabWr5AsNqUe0OQdMT88yGIne3win1Sap5G6/i3QqzcT0DK16E9ShvLCrQ4McplmFtq/fl9Hdnq7hEJsnEU++95j91CGnTp5GaEIK+RqdnthM2aX/O5065Pjx4yiC3r65gdPtl5tJ0dsW3WcxWNAGMDsZZ3l1gWa1SqlUJ3WQIhoJYrLYpItY9JtFNc9ssRPye2R8+snODhOxGKmDDA6rhUBUdJAH0qNsVk1SdVcSNhi3B5NxJGPd9VaDtdUTHOztYXe5mZ6eZn9nW14GnXYnBiPsbG/Lnz8QDmAS2wEGckAuYsp3btyXhzixbT1MH+F3uVAtAvjZl4dkoWUTFQmjWUXTuhJA57A7yBYanFibJ5suSgvFhXMnpXbwILnPWHxM6uiEy71d7coDu9bRsdvMRMb87OykZEda/NktJoNUNolI+cZGinPnVqlVRXKgT7tel5eUhYUZCYETcXKv10VyN0lsIibrE4KpkNxLSZWkeH2S24KGrmK2mqlURN1RsBUG2KwuCcLr99pU6005rBhJe5JFbmRF1SOTLXLy5HHpuc8XS8zMzHJwkCS9d8j588+QLWTZkZtfDwGfH9Vowum0SuvT40ePGYuN4xDP9nYbq9EoawsCAucXmsu5eam2E9wIUCVPoHCUYWF+iXcvXWTYG/KFL3+emzdu8fJrL3PxV++Tz2Slbk7UF4RisCWgt92uBBgK6F18aoKFKXG4T8nL99h4RFLFr9y8idvl4uTJNUlFL5VE9/VAphXGJ8akBeG5C89w+co1aRcQoFwBsxyPRahXapJmLi5ajU5LJlPMqoVsPke5WpZQPNFVFkDH8YkYYJJ10of3H3J8VdRnKpxYPUW1VpHchfh0nBs3b/HJ11/j4iVRw1PkBt3t9FKuCKDZGu9dvMzy0rJ8zXaSu5LZUCyW2Nrapl1v4vK4SCwkuHX9tuz6isGTYIp02yIJ4kMf9Hh0/56EXs4kxvB5Qzxefyx+NE4eX+NJ8oj4xBiJ6SlKxaLUMhbKJaJR8VoYcDotHOwd0ajXSGcyLC4tS05It9WmKZJfDru8FAlgo2Br3Lh6hXS6RHxynFDQzWgoSrtQzJdlakJ8vmqNNrF4lFwqS6cnIuCTOFwuybMQSSMxLtO6I1B0OTQq5POMxyflpchoHLK6tsxPf/o21pFCq1tioFjFI4wXnl7k8s1dabdZnvJKI8R8OMTj/Tz394Yc9EaErBp/+4cRLJU8myUTh5UR/iCciHt5kmoTC1r48Hobu0/BbR/JvriqWvDaDdKcZLZZuH6zxHjAJGtYB2mFxAwEg0INV2Y8LgwVNTxuBdWg02gNKJS7rK6ESO10pPlo+ViYcqNNpzGUffG5mZCsgvV08ZqJ4Z6FD68dsTgVodatoGuCpl/h9JkxiuU+en/A+QsRNh+XOEjWGIuYyWU14tNedKGmHhg4TNUlGPHESTdmh4lblwsEozZOnkrwZOsQw0gjHo9Ib3xidZxipsLqUljW+Q4rBvJHTbLVDmvLEcqlOpmcjtXYJz7jYaDr9LtmhopOodxia79PLDDi2fNxUmmhhuvQbCkUagaOzegE/CHiU0au3shRLvY5eSzErQdlLNY+s4kId25lOXlCsEGGVJsKNx4UOH8qQrkgFpYDmS4Ty9i+0iO9L6p+Fo4OBjLJHZt2UyyUaXdVmXZYWLBweGBAUbvMxFzovSHNoYGepkkrW71hZTdZYHEpgMXQo1Kv8+jxiOefj1MslinnG/iDITq9GguzXt67VGB5UZxjBpRKHTp1FbfXyMKcl0ymJNXHzXaJbAZWlq0Uswb20lXmEgGZzllam2RzvSZ1gDarIpMogYCVwUDcd0y0SgqTcza219v4A1DvjVC7PSZnXezvtml1hkxP29jbbXPu2Sj5TIej/RIXXozwo7dq+E26/Oycu+Dnw2tpNh5pXDgvzlxW3C5RAVepVxqcOhXhZ79IsZCwU6hoxKc8DHsdzGYryd02Y1EXV25mJWR3fNIik8WJRIhWWyGdLGFyDDAOVVbXpsmVi7SqffqjnmRh4BpRzwkrSRe/38zCtJNyVUf52R9Nj3aTGTltefiwxMrJEDNTHt59ZweH2YY2Ugh7DcTnfXQaIy6/v8dXvr4qFWTr6/u4BNEZA/fWWxJGYDaPCPpNNNsK928VuPBSlEf3jmTc2mo20unD2jG77N/sbGvEZmw0230aZfEmHGG1uvAGA+jdkoy5iH++lB8QjanMz3k5OuzKL3ahlzu2Msn2owL1bpud3S4hv53pOSsWs5FSXtA6LTzaamA2WWlW23j9Fl55fYJrl4/YS/dIRCxohj47uxozIQtD64CIwykP2QJM9N27Ld6r2KgVNc5MGpmKhaReBZOZfqlHSqvJWKGYMAY9FrqtETuZOnv7Iz7znMqf/8lvYz59AUPfTfvGz0n36iSW36SVbZFtHWFqp9GbNSZOfRVDb4/CwS5Wt+j8z2FyT9DPPWDYqmOJuORBvXD313iXXqDV6eJ1W+lWa7TzDzH7pgiFJqkbXWjlAhjK2IUowOan387gCk3SbnkwqUKlJaIvh1hsfvR2W1LBRVTbPblCpZBGqwry/jHZta2lH+McT6DY1xg1dmlmLuM/8Qf0Cg9IP/oBU8d/h66xg9Jqy4dubkv0jv34An66vSbWwCSFoyTh4ILkMojeLkZBMh3RFj8nGo6oH6PJh9M/gd5q0Di6zfd/foWt7Q1WV49LyKToBPl8EbrDLnaTVSrrbt+5xKfe/BSFVId2v8He3ibFWpt0qozTY+azn3mJTtvE1uZDjjIFzp+c4aVXnsUwapHbTeMLxHAtniV3+2c4xo/hDi2gj5xo2Xelds9hdtMcaHJa2K63GPY0RnYvWquEI5Bg0MyimsdpiPfAxBkauVsMCluYLQFGnjg2t412LYvD7MM2cxK9kUVtFzCNzVLZy2Bx2fib//3fs3LqaVx+M/VSk9LRHq98/qtYLB1U6ziVnau0DR5opLAaXAzNCo7oGt1Kho7BjtXSwzC00++XMGhN2TfrjjwYtJSMwlnHV+iWnmaMM3MAACAASURBVGC3x4TInS4jnBYfI5Mm+7ri7yn1DJprHERawBxC1XU0U1+SnAfdBsIgrltVXJFV2rltej0VXyhKvdOBYQ2jUAGGT2Fq5qik7+B3+Cn12niMfVlDMLnGKSX3+LM//TdsHvZ4/sIYfb3DwtJ5vv/9H/FH/93v83hrm50nSaamIuiKwr/48+t85c043/xP/wy7a5LunW8zsgZo5ocYnQ40dwSllUFppDD6FjBa/WhVMTXXUDtZdMwoFpP4mGILP0W7uo+h18focKDqApq4j2X8k3S6KahuYwyuotcrGG0juRnGFKMt0gtaFkPwPChV+uU0I9MchtJVetoA53hU+n4No7LkIIh6w6jXoVvJ0Shu4fHN4AhNYrAOweBGN1gY5u6jDw3YQou0K1ku/fyn3Lp5G4xWyhWhmoqxsCzAdXYKRymmFuYwYWBydoZ33v4Jq8vH5LDt1s07+IN27BZBMlYYG5vi7t0bjEYtVldXeP4zv0mjdIje6aMbFKn66ZazaBhQGiVMwSUMjohMoQybBXR1iMsTplWuSOBaz+lC6XYxWt00mxkJRTWGXkAr38Vo0FB1leGwjsETwtDOY/Ofkpf5/OENUrtJnNYgqcwW64+PmD02y6jaoqKBxdolm1cIBl1y+KrXNHSzlbvXr/P13/8dllaOMXJHsNiNDOsaRmw0Mu9Syx3hcQUZGvr0nfOMdAWle4TVKrqqLUyjAhZXRKZQBqUPUcMXaBa2cI7F6B5lZDXKHDmDsd2geXgVu1s8c4QqqIzL7mdQz6KrLoz+Bbp77+CbmcN85gLa/j4//qsf8Xt/doUWHV5YUolFjJw6foa/+PYVFiaER9khAWD5aleycoIhBy+cm+XuuqhDDTErLjp6VT7zylUBoesQizl46uQq71+5g21koK0Nafd0Fudj1MQFptaScfyR0cBAUXj6KcEwMHLn/mNZEej3uuTyOV578w2O9vfZTqZpN0Tfry8Bc7H4FAd7+7IzLC7dIt5rczoJ+APSIW9SDfSGfYwDhZ5hIPVHA2VIMVciNhnFotqoNMqYFVXqvK5e/VBWEWbnpmhUm9SaDaYm4mSyYuPXIRIOSeJ76jDDXjIpY+BLi3N88OF11o4vUKzWyWXSKALCaDbzeOOJ3DDX6lUJo2s0GnSaHVqNGi1NkxH9F55/joPUHsuLx+Q2UxySBMDtYC+JzeaQWrux8RjHVhalalEo3hZn5ygLmFtGeJtD7KXSsiYndKGily0AeyKuLJRYmaMCimFApdImEvChmgxUKjWiYxHS2YL4pKAMRhJm12h1sNvE+UVFNStykz05HmMvIwYdLgZ6V14qhapYHLyFDk/0ooUr3O4T0Nghu8k0icQ4RqNBdt5FNP7Og0fMzowjglOlktDZmeRlqtloyx5+Np3FajNLrkCtXJGffUHTdztF57jD5ESMo3RGxvCFHtEo6koDnWZDdEFNrKysyFSa6PFrgyEz0wmZTKhUaxIGLDg8Pn9I0qBFVUEMocTF1u/3yVi52Irnyhm5WPF5PKgWlcTENKl0mqNMWm7dzSZxyXJJAOLuzg6joRh0OiWzoVQusbJynGw2jcPlx2k3gtGIxWjm4CAlXfFiCy4MP2JzbLM4JPhQXFqikTAer4fkfgpFUbGbrYRDAUmnF8BDMTARvXQxEBKpw8XledbvPSQ+McX4eJQnW0+YnErITnwkGJUkf4fFJrvbYtAhLmFHuYJMmoghWmJ6EgE9efzkiQTcuVwihSQuh5qsFIjN7tzcLCaLkUePH0sbxWc+/QZXr9ygWW8SGx9jL51i9diKjMoP+n2Go4H0wYvzkMfl4SCVwmwxMz09QSFXlHyGWGxCJi+SyT3Wjs2SPjhiamZSDofuP9hndjJIYu2EBAX6PSEerK/zxhuvSO3mQB9SKRaZTiQkzO+NN1/j6pUPObF2knDIxwdXrmEx22QtqCyqM6Ewv3r7HUxmoxz4hUS9o1jAINIqNgfp7CFBf0BWRbraUBqhDjN5piZjfOW3v8TVD28xk5jDZlfZfbLDrdsPMJrNUgEoMJ6CSfH+pQ+oFPI0G01cDhtOhyIHO9lMjWy2zlQ8gNGss5uqEZkSKdMa7U6H7ZKd0xN9/uGLFl6eCXI1WaCveLi2n2bR5WNoNXzMKTOPCNjt7OdqzCU8tKt1Om0LXU346q20uiPGQ1b2tyuceTrBxsMMX/zCLD/78TbPvRRlb6spKfoLJ9zoLZXdnSwD3ct0QmdkMdDIK8QmbVSKbcrCba+YZFVsfMbL4W6FtqbSatY5f36BB3d26fTNHFu2ymRGqdDn/r2M3L77nSrTc37y1QF7m2IAZmNqxks218RsHFGviMTSgDe+MM1Hv8rRqPY4dd6HzW3kxuUcjXqPZ1+alRwFodSulUfMLzm5f7fK668t8O779ynkBqwdD3CYFQA5A5PTIQ4Pi5Tz4idQmZ1W8XoEnf9jqKjQ7AreSUbUGeJWBq0Rj5MNbDYD0YALs0MltdMgNiku6HU+98UFPry6Q17ozF12vD4rrZpOVaRpEl764jvHqFOtmolF7PL9nDzQcBpHPHXOzd11oSxUmZy0ktoTqQMrigXyBQ271Ugh12Yv2yHqt0v1pnh+KSNxt1PZTmpMBAfY3BbaTZGMGhCPOGWX/+TT4xwK/bzXRPqwKZ+Hbrd4fwxotIYow4GwLdNqC72nhexhg2bTRDRmplToERmzfrxRD0G9rFPM9whGPQxMIilu4NiqlYDXwnvv17DYh0yOOSgUKgTHhDpdWCPEkaJPYj7MTjLNidVJrt7eYW4uwt6Wxr2NCgsJG0vzAkrax2QWiVCdT7zqZWS2cPliEacdomEndtuIelsjl9dYTIS5dyfHsy+G2TsQWtOYTEm9fzHH4rKbvXSLlSWv5Bndv1WWCw6rUeczX5rjl9/Zwmi3c/a5GJsPczKV1OsPMFiNVPM680t2abup1ERqxYOu9aiXFZR3/nhqNNIh6HOyvVPB4TbSEtCfST8+/4iLvyritBm496jJy8/FWDvh4+Cwz6XLW7jsdhKzKrrmlJP1UNSMcWQjW64zNia29qJXZKNU1THoDaq1Pr2BjsPmoD8QXy49Th73c+9mjRNnvJRyUKoWmZjwcrSj87X/do6f/3hbkqcnEg56XZVCsUZ0ysf6nSyxuB+7dUSm2GAsamdzo8axhTj+iMJbP9vn61+Zp9zscutGntlFP4eZJiGnhUKhSU/1cuqYwuLxGHdvpHmyWeXpZ4P49BF/+v0Sdyo63gkHkxYrFn1ET6twd6/LWCyAyzWiX2nw7Ol53EEv/+r/uMJebUQP+O0LYf7yu/8LyvgMhvVbNPMZWlUdUyjAABeq3qBe3MOfWMQ+VBg5Y2iNLKk7FxlfWGWgKzQErM9hwqCXMXpXaZYzuOKn6fVrWGslsBvpNKsoTh9mwRnwT1A7uC8PFy5XiN5ogNYzYjJpGAUMrfoExeaVX7YoXjqldcwuK87gObq5e5htAYY2H+XD+7idIfReBW/sHMX0Ogcf/meWvvwnEpBSe/AdXIufpV/L0G/s45x6nm4zi0ET8JU2g25XeptVS5juUJBpzVidbrqlbSy+U1h9JtrJOzhCc2hmI8X923hVAVc7JDJ/ho7exGf3Y56Y5dHFi7z31lu0Bn3Onn2J++uCfl8mn28xvxgmkVhgc2cbq8XEyWOr/PD7v+Cf/NkfU83t8Tff/j6f/dxn2U9mOao3sSAAXut85Wtf4/nPv0YhuUUr+Yh+/iHxl/+A2uE6vX4GR+hFhvU9hgYDlpEdHCrDWoVGbhvBGLIHF2gVdmDYRI2sMapsonrnMAcmqO1tYYrM4fJMUt/5CYrZjTWwzKhfpdXIYu51ZF/Y4Q3QwczY8Qu8/7d/zVBcgG4/xufwMJ2IcHgoIEUezHQYn0kQm5xBtcUoPfqpPBj5p1+gvH8TTyRBoZzEYfPi8M/KTZ3F0qKwc4fIzIs0qwX5u7FPnqeTvY9qsEvfvepJ0CykpFPcbNSlhtA68w3sXj/d1GW6nSxW/zF5OTSPRmIBLaN+ijbEYO3LjnW7X8bcaaKGzqCXHtKt7GHxRxl2m3jiM1h8s5InsHP5Cv/8X/5vjPpNPvW5l9EGKqmtLRxBH8efWuLt7/2aRqtFODIueRBbjw8IOy38z//4N5l67TN0tjbQ8ynpcfVGplGCbkrrd/HNLGMob1PM7BMVwxd0TPQw2730RXXGFsCsOunX7qEYnfQFjcPkwByYo5Y7xGEWoNIIRu2InrjYuywo5klsHpf8UtS1fUlvNalees0NqUVyRudQIudpbv0Ia+g4Du8yub2fEPL6abeHWMLHMA+hm13H4ApgnD6J9viXVMpFwvHzVIcNbIO2NKeYOwPUiVnMHifUSuQLZfqlI37+k5+jOGK4nAPKmRz5Zoeg2y83dCfOnUdrdykJ84XHS6mUwWr1SC93YnaBfDmP3S7ikrvEvT6mjy9z4sVXaZermG2TKNau1AXRLFLL7Epmg7ic9Eq7Us1nCD+FVj9gkL+FxT0p/4ztyoY0EjSrG3iiZ6gkhRatgm32BfqlLjaz6MeF6NeP5EXQEVqCwCJ2AZ8cmBg1jlAdAdJP7uAUEWuXnV+9dZN87pBQMMDdew/5+u/+Pa5ffYvNh7ucPLNGLZvk+OqzzD19HIczzEC1YWpV0YZmtt/+CyILn8A7maBV2cdocaEMNfpikj5zmsr6Lxj2DNgm5ujVi1iGCn2zIl+XXqOCKTiD3kqiWsPoug3qKQy+EEbjSGqAtEaekKGM6djnqN69iyeeQ137IurfGRn+7Te/xb/4i4/kc/DUU3ZmJse5e2ef6SkLpYZRppCmo142UnkOj7osLnqYjUd58niHlm4m7HcwGXNxsF+hUGlgNA9YWUygdfocHB3Ji3GjJS5BNnlBEtqDUCDCndv3CfjcNBotHC4bJsUowXXCBy22k+JQF0+M0agI168gT2eIxmJSGyXqYYV8GcNQlQpCh1XQ9Ft4vC554dIEAd8gBvZBQoIYPuxTKpTkAF78f+7cuSmBeb2+xv7+AarZJDfHDx/c56tf/Rq/vnhRdvP1Xh99MCKfz5NIJNhKPmFteU3GtH/wg5/y0qsvk8kdMuwjCeaPNzelGzwUDlEuVTAYRrIXfJg6olirszCTkBe0crmK3W7jyeYuVpcVs2pkfGJcMjp2draZnZlmMhaRwLSf//J9XE6rjGIL8niz2SAcDEstrWq0sp/ax+128uy5C4gDz731TewWMzWROByOpF3kMHnE0sKMrKINNI1qVWwJnTx8tIPbaUbrDTAYjBhVWFpcpK315DDkIJmRl3vhntc6LTnoEJWBmdkJCUcT/16l2mBpYZZbt+4wk5jAYrGROcrKYb64SIvtl1A9CmXhUTpPdzDA7RDx3SA7O/sSzOh2Ck3YIS67VTIL6tWOVPaJAczDx5vEIn483gDp7JGEqZlVg6xKjBRVnnnK1QbxqItSuSXVYEsLy/ICKFJOx9dW2dzYRFEVAkGv/DMIFtCbn/4sG4/WyeazJKbn2d5+QqfT4rlnnyafK8m0gPhLwKL1vmgXDLA5HZSqZVRFZXl+luu3bsu0RKGQkWYaYbIQg4xOrUF4LCIHLyLl8fqbr8rNebvRkr9b8ZqJ5ZJBtUiYbr6Ql7BBo8mE1m1JBaTdaqHVactoskvYUqxWctlDVpaWJA1bXERFNcNqd4lmCrpQ+Coi6VVnairB5uNNjq2uEosF+d7/+wNe+8RrEqB469YthiMVu9FIdCKK2Wzhw8sfEY5GefbZ87z33mX5uRE95Wa9jUsMaZp1fH6vPFyL946o6HQaLRnPF0mWTluT9qrxcIgbt27w8suvyGGBsFrkM0lpzdA1nYNMkbGIj+mZGFevbfLKq89JyPPmxhPCQb8EboqhUC5flp+T1WPLJOYSXPz1ewT8YQlNXlxYkEyFSMAvVYjrjx9JvkWjVsHnc8vfS13U4ewutHabsXiE/eQhE5OT8rXudQbY3XaOHTsuE64W84BSriq/i4Ri0uNx09d0JqdiUk0pmCTvvfdrmVCKj3ske8EsFKqqUUbHRdTf4XVz+/YhM3EP9b4Y9I3YKxrwWUf8/jMOnpkfMeU3cDVlI7N3KFMcE5FJbNY+d7fyVGoGLJYRb5wL0mr0MVsVkumWHGDV6gO297tMjMHkuI2FxTjXru7IZ+n58wHuXCmjDdvMzE6xs5/GNLJisusUUi1iM26yqQ5jcTfNbpfdZJuJmIPpMQ+1epfopJG9XZ39vQJLy1FKwpYVDcttcb3VkUOWVLLKK6KaLIY8Vg8Ot42L7+wzOWlj5XiM3FGaSkWozQcsr4oL9oAnj8qcPD0hqy2qSaVS7uELejl4UsIXNRH2ubl+I8fZ5yNcefuQhZMBZhMefv2rbak/n0q4cVrNKCaVYrYpdaKn1ibkoPD6zTxej4XxmJUbtwucPx3EbFR4vN3G6xwxN+vD53GwtV9mMupj+yjHw3sNPvnqJFNzXt75aVI+c2enXfzwR3ssLrkxGPsoGAl4rXjcKtdu5Fg55qJWM+PxKpSKgjQPuUILf8hELOaU6YdyZcCxY0EUNB7d67G0amAs5GInWSEYCmG0CAVeUTDoGakWtFaT6RkPFrebne08jaqO0aJz8niER1slbCYj5WqXcMgi4YpunwWXwyiHJtmSwtKKCb1twmgdyq79ex+VOXHCTjRo4t2LZaZnbCyvBHl4N0OjM+Tlp6fIFSr0B6rs+E+GFBx+N62WTrmkYXbp9DoWMlkBkhwQ9tvY3q3yyktRfvZOmZV5kVQTFP4uT522Yg6MuHyxTzjSJxqyEY8HePAwTbtoYPG4S9bNauUBDq9GJjuiWe1x7tkxtjeKFEotZuJh+b46SrWYnDJjtjulJlZ874llTjBkJ3PUYmDo8fBBkzdej8lFiEV1cHBQo1rtkFj0Ui12WTke4OrVLLOTHjm4a2sjFmaDFEpVqaBU/p/fDY7yh2Wef2lBbrc7TZXxqIt6rc3GRomO8CNOOhj1NRYWgmysp+m1FcYnAgRCqnwR9/Y0XnphjOR+hclJJ8ndFn6/E4t7xOa1IiOzmQvP+WlU++SLTZkEEN21SrXNS68k+N7fbGB3OwiPGdhd1/jE58L8zd8kCTidxCdddFplXv3UEun9Cu+8fUQi7mB2xcOtmynZ1ZuIm+kOjbz/6xTPXhgnGrNzYz3PsGnm2HEnN68UeeaZKOtbFZqjDmuJKB/dSzHptaGHgpywtXGHLFx62OD7Owpuk4HtQ42I30g8YKQtOqo66N2B/DI5Nhlg97DExmGXoybYDfC1l6P8yZ/9Y2zTIYy1DNsP7pK6+iEuT4TJ2Xl8516heP8Gxt4+A8VJ3+CnrypEvCZGtSPpCl15/Us095IYuyUa7RHmWJz+7lU8/mk6Fif1vBgMiI1TD5vTRKdtx+Yw0DNY6VVEF6QNXQOG4BTmfp6hPYxqnUNP/wLdNoVudWPpNVBVD63qPVTvMp1akZDXIpUiop/tFTTxfheteoDVNYPN7SD35DImj4d+uUtg/gJG85Dq4W36ww4O3zRGSwTFFqW1fwmnecQofBpVF6DFPaz+aalO6VdKDPQyNqcHpa+iK3Vs/hUa2pD+9gf45k7RGnQxDVQGoxLWkYpuHaOwe4d6G9p6n7n5s2zev4w3Pk58KsGDD37A+PgKu+lDNtefUBAmgxmhU8pw6ukTOFUzHr+La7fu4vX7uH91B6e9w9//h3/IyGZEy9QwKA0cVpWm5sZq1xkZOlKf0msb8CYWKW59RGDhJbT8lnzQGgc6jXYXb+JZ9OwdOu0cw4EVvbpH3+LE4Re6QRuqd0yQkmgm30Ntd/GtfYVGIcVQbaEVUvinV+l0B3zzn/9rEmuneOHCCYyKhXsPbuEVDvhqC3coQGpvmy/9V6/jdMRkhz776CIWbwCLZQajRWzvqjQK67icJ1BddTqlFo6JNbq1Ip36DmbVjtGg4BRWiZ37KOYhJotDQiPFVF0chga9FgNlgGJPYCg9QjUJ8qrKUKvgmjhPo1XBIC7KRhPWfklqZTpDhdipE7SS25h9XkwOBevAxcA/oLBd4N//r9/h2uMDPv/60zgtHS7dOJDbz5molUA4wurqMpcufki+XqHftpMsdPgPf/Y7PPWVz0C5wzC/Szl/ILV4nWIF/8xZDLYYrX4fBJfA7cfQERGnOlq3iEM42K1xRgMjXW0f79gKnfohtEuYLB9fEuz+EHq9QLtyG6vrDM7wBLpWxdApofkmMIobisGI1qxgU3syASO4BhanH2v4LPXCNsP8bUJPfYNGpYxB28GoOGiPzHijM/Rrh/RNfllv6elpCXXql7OYLC50kwVndIH0/V8SjM/gdC1QzD3AGz1Lv3eEY2YVU6tCu1ZAVLL0/QZX1y+xcu5TZHez3Ln6E6yWAOHZWQwCSNCxspPZY6R1eP6Tn2H/ySaHO9vMLy1wuLOFOxgjHLRw89KH2N1mJiaXiM2Mc/rN36WZukjmforw8hR6pUZHd4Gtj9vhw6g66NZ3UCwhrE4vna6XQXedzvZlHIufwWSJogy26JRSmNVx+modm+8MrcIV+VwRlonO0RMGWDF6jGCw4AgsUUpelB344Mynae68y1GmxvXLv6DesDFyqfRabU6snuDu7TvUSmWmZqbJF3N4HSaZ9Dr/xlcwTyWoPLxDN5vCMkijRM+iF7MQSGDu1xka7RhcAtbaQFH8tJ78Z+yhBEPbDMPGIepAw+SdYmCLYFRtDPp5jBYnWn4djCYMrtNomUvScNNP32Rkj4BzjsDSNNaxObZ/9n/yj775a355s8R83ETEM2RmJsHebpqm1ic+4SW7W2DpWIL3b+1LD/jarOiUi21jDbvJRKmvE/PYaHcG8v95fnGMm+tHRPwWrEaVfKXJUXnE6oIPh93InYeHLC9E5N8Xw7hhs43LF6DVbVCqCHCq2P4OPwb8OY1kajqWEbjcJtqdISPDiGjAiT7qS31dp9VlpNrlpUUZwszKPPVaTWJOF+fnpSZv/eEu4aCPM2dPkiu3iY9FOMrkiYb8sp7w87cvcu780/TabZk6sNgd2M0Wcvm0TAIcHORZXJ5hNITb9zd48xPP8YMf/hKXx8NnP/kJvvu9HzAzMyU5A5vb+zRqJeYSU4xQcLsECPMU//Ev/2/Sh3k++amXMIwEFd4heQPCsb66skyhXKNSbzMmL6sj4vEYT7Z25IV77cQqe7s7DBWD3OB7bF4UZURyd4vweIxqo0qr2uIP/uvf4Yc/fRvxg4paxM72rvwzvPjKq5JN4PZ4pL4ufZhhYnIKRRlI6GJ0fIx2s8t+ao+p6WkePNzEYTURE7ydv4OW5bNlTp86zpPtJNVqA6vdJGtbgrEkahvjYQ/lShuHwyYVcr1eV26LRbRebGla3Q5ep5OxsTF5sfcHXBTyVewOuyS07+0eSSVdYnKCo0KWkN8ndVKqqpDNl3E4nHR7LbqaLkGxYoO7d5gmEAxybH5WwgzdYgjU1TCqVjrdDgGvk3wxj8lmZXFxiUd378kD9cjQl0OFSqVKYm6S9btPCEX8hMcj3Lj2gGefOUGh0JBKOsGYqFRb7B0kCQRDvPzyC9y9fReLxcJAH8jhz+bmFjarWTIKImMRqSkejRQUg0EOATLifRbxSfDdxMQUsck4F3/9Lq994lXJHgiEwxxl89KyILaINoddDpKuX7tJNBphYlxUCmu898ElWRt97oULlPJlWe04e+6s7KQ/frRBJpcjHhcDuDZPdnZ56tQq+VyR8VgUfTCQkDyzzY7FYpZnPoNikJ/fRlckEi3yM3Hv3iOeee4cFpuVS5euYDaI95uLxcUFdrZ25L83EZ8mmUpKo8KXf/M3+OVP3mIoLlEhn4QwikHN7u62ZEMI1pZImojuugAmiipJMnXE17/xu/T6Hd7/4CNWV1bY209ybHFZbiUvXfuI1157GQMq24+2eO6Fp3nvg4+w22y4vC55WXrn7UsEAk4MykjyGPL5LDa7k1alLH92kUoQA4wbd9YJ+D3UKnWefek5eu0efr9HpiKErWl7O8n01Az9gc7Cyqz8/CeTRyi9Cutbe3hUCz6PkUJdkzwmh8cq3fDlHow7FTlU3M3WcYccPHgslItBXow3+PpLY8QdOn/1sxQGtwOz3kc1Gii2Rpg0sYG14/HqeDxekkdt2i1hHhOmjiC372aYnrVhM5s4vupnP9ng4qUc3/itxMeEeI+f9a0sL1yY4d6DQ1aXg/IMffHiJi98YoF2t01qpyChnJlcA4ddIRh2s7QU4cPLTyjle5x+ZoJmTWyWNaw2lXS2yfRkmDs3jnB6Bcm+jd/rIjph5tG9KuXqgMVjTs6cGmdrp8j2boPJcS+7uwVCISuhkFfy0ITuOTxm48GtnGRiVcpd8oU+L74s4MMW9nbLnH9mmquXtrF6zRj6NhYXnVy5mhZhKE6dnuT+nR08PjNPtvp4XZpMTPtcXsZidtIZMUA102j05KVRnI8xmHA45FZHaj9NJgNWZ5+tLVF11AkFnezvZ+XnQNQdBMRRbNpX16bYvFegPRDPtwHaqEcpPWIyYSEUtdMu6Syuifp1kWjMx+VLQl3tYCIshuNG1k4EuXw9zX6qy/lTQfl7sJjM7KRqlAo15heDEmopqlTDLvIuKcChoitvMAzZ3Wtw5qkwv3xrTw50/R4zuqbJs5CuW9hJ1xgLObCbFBmNF0NIq8kiIa26XpH1LY9I6yk6g654zop+vkvWg/aOUqyuxtjeqjJEx+lR0bsK9caAbqOPwQHz03729oqsLMZkPXonKeDNXi5dzEv17vh0AGXYJeIz4wn62UxW8NtGbCU1BoYhZsEbsJsZDYY0ml1sVgsuqzAjNKRZQcDDbQKoaxywsdEjMT+i2RLmGx2bZSCrVOViBbfPSjBoJX2os3/Q5YVzQd7/MMmzz0/Q6yjkDsQdyyqh9MvH09a5bwAAIABJREFUfDy4lSWx7GNrvSwT8Ea3AZtqplHrUKtrKBf/0cxIwEwanRIWo1DKDCSVeWevx4ULIVZPCGqwUIsNMJvcbNzL8MLrkxzut9lPivgoOC1u2R/JZWp0uioL8x6pCdrZLhKOOImGLFL/Vy3p+IMOyl0Nj6qwdDzAR1fSbG20efGFELNLPu7dy1A66souTDDoZGejRsug0e+qhNxWnF4RrXIRG1MplgY0mn3iQTvbyS6LqzY5cb11uy5/SU8eNfnSF5c5yhbJVRpMxYLkyw2Wply4/44f8J/+cputusY//71Jvn+nzL97v4lZt/G153ykm10uP+hwbtaGw2WkWClzfmWSJ5kKD/abbB6oWNwqv3fWxp/86W8SvPAGw6qBxtZb2BQRJ5pC75dxrHwezH3YvQ0+O5h8DHQryiiDQWzKRypWkx16KcSqUquXyWzvM3HhBVSrQ16EwIkSvICiHYKep1srYVKdtEuis9nFbXGier2UChVMlpbcmGV3U2AUn4QJvI462YqGVR1iNfSwRk+g6GUGpnGU3ohO/T0GNQisvkIzvykvTMZRRwItXNMvYmw/QTM6aBeSDHttrO5p1FEHRawRvPPY9Ay1WhOtsiHJl4HlN6mXkyCUUG4n9Ho0qoc4QjMfd5RzB1RKDwmv/AZOd5TCox/hjc4zMrtolvflJtnhduOOrtE6vIXBMoZlJkJrfxPrsIt1/BSto12y6S1s9hEWbxTfzIuUdq7Jbmi7VZOd1Ls3H3P69Fl+8st3Zb/22PFZ9G5PbnfCYR9nP/ECW+sZjq9OoLoT1MVFetCmo1hQ1TBHjz/E4rDgjM/J+kKvYcDodNHL38XuCqCrQbD6MJsVtMJDFIMNrVeXh2mve5aByUmnmcIsKObZG1i9cZSOFUXPYwnPk9q4wnvvfkB8+VUGvSNuXbvBmXPPMjIOyaUOufDcWXq6yp0b15keC/DMm8/Rq5nkZbIutHsju4TzBAIuGt00BtdJzL02zc4Boaln0Vo7dDMplMg8xr6Bdj2HcdCiP2pitkQYioeSd1a+h0ajAp7gOdrZqzTKBwTmXmDYr9BvgGJ1MTIbGVavYbGexOgPYR50qdbLtBp14ouLKPoBxaKNf/DP/h3rVyuMz4z49CtPk6vVKZaynHtGbHerfPcXd3jz5dPy4f7j79xkdTXAP/3vf4PFM0GwHKNdrtFriE5+GyOiMmTG7p2hW7yFwehEtTrpNrZk1BWjE6Mpjmo1Ub/3PcyzT+MMTtE7eI+BGiIQXqBcLjJUhRqyhs0oLoYjNMc0NrODbuUAxRpG1fJYoqv0OlnaezcxueZQHR6MRo2R1kW3T6IKRkB1E5tzgrbUQqQxDeIMtAz9vhigINVTaugko8wNap0yzukvYeym6Q5zOPAwUCwM+wXKR/fxzr+AbRgS9ky6uz+hO1Kw+4+h9DsM3VFUvYjdE8UYTKDnN+i0C2yvJ4kvnACtxJMH97EHEqRzOTK7mwysbpxGN8dX57h99y6VdguXCmOT04SDIW58+CH14gGf/PRnOf2Fv8fgcIvkg/eJz7+CIRykdnCNkWh1aGUMTj8jg1tCM/uqjsV3kk75LhaTB71RQDU5UT1hOeAYtXJ0huICMU/LMETPHdBXmtijZ1C1Cs3DK5jCp7E0ixgsgnJbRzGPsPsXsBh0/u2//iad/IjPf/XztIca+09StDtFAuG4/O+nUodYDHYePbrMN/6b/4HVF36DZq1A5+6PGbnGJIDNYBIDuwNMntNyS907fIgrPE3XHGDYeMJoaEb1xtDraQwDBVvQK00G5mEPbWRnpBUwu8bQmjkseg/dN0dn/yPc4efo92/RKm0SCh/Hsvo5FJeDw/e/wx/+8X/gJzd7HA+aeO1TYxSOhty4d8javJ+nz0/zwY199G6XeCTM7c0t/L6wPICbGTLutXInWSJkVmQtB6uNg2yZYzE//rEwVz7YZnHJz/29PCbFxHTMRauhEfW5uJvMc3oiisvvoFgrkC2PWIwH8bpNXL5dwO0YyQ1bb2hgdy9FbGyco5RQ4NkRgox+F3rdDi63it/tpthq0akjL4tGpY8/7JapgqOsqDNYCfgiUtdWzFUZGBXm5oSFwUGtUMBkNmFExWhzEJ+epNvoUKlXiYaj2Bxmth/vMj0bo9PukRVbbb3L5z/3Ob793e/SqLd4+uwaFz+4yqmTJ+QmXB30ZY9f6GyjoRjBsQAeh+g6mvk3f/5f+MM/+jI+GTU/IJs7YoDojYp8D0THowS8Hq5du0E4HOT06ZP88Ec/5amTJ7ly4zpLS4uyh36UzjE7l+BHP/qxvMyoqrg4i41yk+npOdKHRxiNRjrtrozfiiqD021nOBR+8h6TsbhUnD24f09qz8ampiWI7vHDx1x49hx7O/scHR3hdtvxekP0tDZHRzl6rQaReExebIViayd5wNF+AZvTjMNuoCH0WQ1RpVM/rgI4bagCHdsbyKSCoHeX6xWiwSib20nsJiPH15YllT2XKeELOMhmqrhcdsr1OheeeYr1hzs4TEb0gS6/v+q1zseJgJGKw2GUxPd6vc/C/BSlUuXjikgxLcFkjVqT+HiITKGCwazQ00Y47Wb5O9vc3oGBRjgSZTgakT3Kyw65uLQJd7Xo5ItNsQBkGnQL+VqF4aDPyvIxaXxaXpiTNYRury0j7yI6fHztuPy9ClXmWNSPpsHe3p40C4iY/kAOeSbZ3tqkUWkyPjnJxESY3d1d+p0BZ86e50c//iHTiUnOPvWUBF8uzie4du0mzU6HUydWZfJEQNlmpmZkTfTJTpL4xDip1NH/PwBb4ur1awRCUaxG8Pl9dNt9tJ5GW2j3rBYmJib46MoVTq+dkhWbdC5PYmqCQlHozGoEgh68bh+bW1tygKN1ehRLRWmpeOrMaVkv8Pp8vPfurylVqzz9zAUmJ8f56299m2jQT2AsJJMC6fQeSg+8oTB2nwu3wyWhkIILIngWwWBIGhkEoV6QFvd391lYXJT1FsEFENyUh48eotVbEqz58isvc+36dam27DY7dLW+jFoLVpbW1ahU6tTrLX7ji5+mUimxsnqC7c0Nmdj4xS/fJxjy4XFZCQVDsutfqtTZT25Rr+QwDMWATlxQh2hDg/xdWdwKfoeLdq1FlzZKq8fJ5TjfulqSivDPr5r5+oKZmKvPWw87lAduVsfM8pw9PRuhnGlT1buM+72StVPIV4gEvTg8CplMXwIPBdR7LAJBt4t6t0dqt87EnI/DnRqLS0GK2RbxeQcPblbxBlVpF6o3ukSjVpodoZyzs7+jEYlZ6fabeK0eAuN+cpkyI0WjXOwwPR3m5vWU3KQLsr7ZpHDi1LTcsj7ZzBOOuPB6bOwnK4xFLRSLdcLjQTKpCsVCh0DITuqoIZMA6CYMJivbD7PMr4kl6wCXzYTZYZEb5PGoVQ5k3nsrSTzh5XC7w/i0lalEQA5bdGXAtctpXnpukVyxSSadZzS0MbdkoVow0FcUTAMDrVGDWkHDH7IzN+OXiTOnw87Dezmi0zZiIR8bD0uodrh3t87cpJOFFQ/FQgll5GJm3sb9O3mcXgvJwz7lXIsX35zg1kc5FqYCbOxkOP/sNKsLAd5+O83sokqz0ZMDzVKxjdPhlamNDy8XGaJx9v9j6b2/JDvzOs3nxg3vvctIE+ldZVWWU0kqSS21HBLdLaahG2h6ZwcGDjScXZjhzAw/MOYXDrvLjoFlZs7CnMU0w9C70LRRS2qZkitVqYzKp/cRGSbDex93z/uKfyBTpbhx832/38/neZ6IYNAUPr2TJxQ0YzMq1Jtd7BYb6VyNkagDX0AvE0T9joGDVI7lhTAz8y6+990dZqZcHO7VKBY/h7dOTnnwB+wcHWVQxN2pN6DVEiyIPoGohXy2iknvlCyL7kAcanRompnIiIXDgyo6YdpyeTDaO1ROBnx2K8fP/eNFMiclbl6vYrXBaCQgh97+kJH4eIx3337E6tlxbj04YGk6LOGdgvOzsuil0x+yuZHnlZdnSB83uXn/CL/bQ3zcxnffSLIw52V22s5hQmhujSiaxuFuC4tDIRKyEvKrZLJtaZw6zvZg0GdxKcR+skpLDOCnXPz4TaHg1fPln5zmnbePODxuMj1pYCzuoN02UUg3Mah9RuM2+gMDa/eyTEy7yZdaTMftrF6Ic/vTA3otPTfvJHnh2TgHiRLKtX8zqwla9dnVMQrlFpsPMlhtNkIhAwZTn+OjKi6HB5/fwP1HZZ64FJBffrGIM5lsVGsdzp7zyKmb2aKnXWrS1gYsn/azfbuBateIj3lZ38nLPlAsZGVzv02/3aNa7TA77yDkd+AJu/n06i4Wo4jV6Lh4PsKP39vl9JKLvk5H4aTB2lqH3/xfV3nznR2OdluEvANCEy6GHYV+dyCVH+GgUNs45Ev3C8+MkD7RULpNuUW2e8UXpYDR4mbCreCwKeSbfX75b/PsH5v4N1+Lk2t0ufXwmFyzxZnpAG6Lh1o3T1cz0Bk6eOvtPVyeLjc/+QOC8y8AadlNHG5/ws7aJqPxC+zf+5hWz0RkKsS1a3c53jlgN5lBZ7Cj6+sIeFQJf0lIRUyPvuiY65tkEvDSC/NUKw1CkzaWxlc4PKry/Xff4lu/9lUqJ1m0nsr0+fPU9g/xjkaxW3uo3SH6gAdr+DRGt49BKUenKnzeNXSdAd1KSsYc6+nPgS6K2qB8nMM9cQG3W2HgDFI+TGIURypdl8FAlZHueu4ERZfGbg+j+abR5bfpV7N0XAsYtKEkxaKrMux20TtGqR/dxhGbpzPQ0d56WzrFncElmpkt1NAULoePer9P++ghmIY4wucpHLyPZ+RxyskdOQEb0kDv8OMMLpMvbmLoC+CM6L+7sHlD1BOf0DN7GFQaUokWXVikkNzFFZ1nUMnQa6Yk5Kmlhvnff/dfYLEHWDx/CZ1SwOfy8vFbNwmPRxiZGWXz3homQV9NlHn6C5dwh6Lsb9zh8SfP4g/HUPU9Oso4rdwjevmEVMEZXJC9c0VG3ZHPRB+zMy5fPkq1jGaw0x+K2sA+9sAs9vACvX6TxGd/yeTCi/QVlWZuF/v4k9K4cbRxlyuvv05oZAFsBmJBH5/eukOplObUzFm5qWj1h6yeWeDO9ff45q/8Jr6og+ONPbwWA6WOIKmGsXnF9rtL8se/j3VkAUvwlIxs6d0TDBspBs02angeU6dGxxiiX97C6I6iZR9QU41yI93c+HvU2BJmyymGzTUaJ2uoHvEdiNJrd2V0tmMZQascyZ8Z+eKXwTtGP/WQ3/vW/8F+u8WwN2QiFkJxm6mmy2i9rlSzTMd9ODxuNncO8Fv61Np6vvH1V7j09FlMonJQvkspU8U61Gj1BPFdULF1NI7vYhs/Rzu7R79VwDhxEaNwE/eHWOxeutUqQ8VAr7KJ2inQVp0Y3ZNgsmAzujHq8vQUA/2u6HRu0xKskcXn0FX26TSOULUxqoMk/VIVq3cEekIdqNDtKpLiPNCNYnSbaGz8CL09IKZkDNO3hIMMm/c0GlY6+c8Y2nzY+l3a1QRqYJV26RCr10EhdY/I4peppvfReilcI+eoJw/o5DYYmgZgP4svGpGaxbY9htpOy1qT5ligsfMG3a6Gb2oUvXWBbiOBQRWLLQe9nh6bS2PYVegWM3z46VXpDR8Pz/LOhx9J6vYzL38Jmw7eePt7zK8+jtVg49N33+S5F57j/E99XaYjCtvX2V7b5tzzv8Rw2KC2+yMM89+km9tC3z2R7z2z4qRrceHx2Gmm79A3eDGYJ2hmr2FSu+i8K3QGDYzDgRzaCF6DodtjqNYkbFIVm3nRiRbqSQE+E0kLy0CyKXS9Ng837vLu+5+yvXnIL/7izxOdGuH//qM/ZyRq5+LTL7H52WeoNjOHWw9YnV/l+V//Z7TbBmr3r5E+fJ1Q7Akc0Xka2XUGmoLZLSo5H+KKP86w2sDkt9Cqi0qSg341j9ar0crflaYLRQAy9WPSitHLXscSfQydGkTXO6CjiCC0XW6yhTKxlj/B526hN7hRz65y8y//lG/+zg9JHutYiBkJTE4wGhgwbFTI5Ycks20GxiEBu4FCtcaXv7jE7m6WO9tt9AIMZDejGzRwmW1ye1hvawx6RdlTp9FmuwzLUw52drIsjDox6S08OK5iNQ5o9y00i3ViMTtHpRo+j5tqoYLH7OUoV6Rv6uO16fGY7DTEJs/nkofkbKnC9GhIwuserO3jCTiwW80y1STsF3abTWrnggEv2VSZQqVEqdrB7bYi4PSVQlsOWcQmoznoE3C5SGVKOHxWXBbxu5qEgn5u3T/AZITHLizTaLVwul2MjUzx4NFdYqNjTMTjXLt+Q8IChWIvlSywOD/DXvKIaq3C0089KYGFydQRp5fPsLa2wbA/kF5jQSmfX5zj3XeuMDUzIyPpYiY3MzXJcepYAgPFRS9zkmdhcZ5UMiN/Znx8FE3R6Pb1bG2ts7pyStYChO/94sWz/Oitd6WJR6QfpuKTBMJ+9g8OJE8l8w/b4aEw5pyUsFsN0uO+vbHDhfOrrG/vSWWcUAAajKrU0vmDPlErx2q1YdDpuHr1GrHREckK2Ds8ZG56mm63j14nFgw5TDoVr8/Jo0fb/1AnEJc0I7l8WUZ9hTNNp0MSwwWNXygTzernAzAVhXqjh86ok+eH+dkZtre2MTvteFxO3G6P3CjHp+PcvX0HERkRQ1gRAxkbi5HJFCS5X3TBRbqg1qjKA31dpNccdpriZ6t9IrExaafwBv2Mx6Jcu3ZbOstrNVEFEKwAwUQQaRMdBr2J1MkJfp8YuPXI5+r4Ag75+YnetxhOTf7DZybSGqeXl+UFtytSHCuLMrHywzfe5LWvfIk79+4jQhIzs1Po9Sqb69vSyV0sNzjePyI+PYbX7yZ9nCSTEhfYJarlstzYT09Oyp9148ZtIsEQDodTUvU7vZ7kHMQnJ0ilknQETDEY5ihxiNtlZ2J6nIf3NtGrikwqmKxWHE47jXJTUsNtNpuM5LebHSqNOulkikA4JOrMtHstOQAQm3/xXVpYWOSzO/cY9IYsn5pnZ/+A+Pg4lWKZpTNLfPvP/hy/xyNBoeKyu7Q4xfr6HoFQiJXVJS5dusBfffs7DHQqK4vzbGw8kmkDARIVGs9IKMR771/F5rRTE0TzdhMGOmlPUUTtVgwuj06wOIQLvIHJbqJZadIbaNSqdZaWpgmPxshkT/A6nJKrYXPZGYrlYL3LhTOn0OsVNtY2yRwe0ug20CsafrdTVnzFBVnAnPOFDiuLMbLCRFAU7z8DAbuN/UoXGi1CVpV/+UU3jy1ZePvmIV3Nx0TMwO5xlfiYg82DMuXskKGisDhuRrWIyo2OWw9KcoPr9zTweZ3s7g2JhMHttVCuDuWgPnHUYGEhIs9VD26mWFpxUSyCJ6gK9ARhv9iEnlDvdZge91KraRSqJzx5+ZQc7rzx5meMj7hJZhoyIWXUO5mcsVKpCzaGnv31CtVGg8m4l6FuKGn7Qiuu9Pvs7vVRlSEup4HYhJ1qocet2wUuXvJjthlkNfr+wwOsdj0XLo9xuJWllB/KCkks6uM4W8NqNkuK/scfH9Ppt5hb8MkE9tF6heiUm0jUx4P7CcJBE5rSo920oNGm3Rvw3NPz2D19rn6QEsduydNIZ0ryu5LLtjhzJkaxUJcchjNnR2TVoVLqyqqS0KOL73erocNo19D3hxylBkSjRirlpmR0iLh5r92Xqr3MUYPwuBuf18Q7b+/Ld7jeqlDLNZidCWLzitm9jfCInSs/2mRqwc+tG0miI04iMSvpZA1PwEI1P8Du1KRdIbHTwOt2srOX5ks/tcTVT3ZpixqK1SaNCo16mYDfg9Gq8eBWAavdKD8TkaTTW2A85pQbcpcrwK1bx/KCHpvw4PYaKBegWi2ycmZcDqRKDbh364SVsw5cVjfbuwVio3aGnT6qXsMftuHwqJTSGtu7JZZXR6g1Cty/W+H0UkC+h4vFDvVKD4E7Ec+B+OyDUS/9VoO+aiR1VMbrM2N1CjuFnqFeT6XYQev1MNr0Uhl8nBC1gw4W3ee/z2wzc+PaMa99fZyDjTZrW3mefSaOyarRbWncvXvI45fj1Ao1SmUjnlAbi8PB1lqFfnPA+JzQqxfJJTssXfDQKvfYSjQI2vSS7Xf1Soa5U3aKBY1KocPomAHljd+IaW6PgasfZSVZcF54B5MpHJ4wR1s5Wi0DX/xSjJtX9zjJDTi96uDjd/OUG31+6RdP8ehhjsGwzc5Wi9i4SjweJZEUEIIuZquRlTNhEodlhjqNTq9FNS/6dXpeeW2EvYMmd29mePaZSdKZBjr9kOmlMFqzRben8Kff3uSl58bY2ygQn/KQrZRxqCYsTvFHUyF90mFlJSrBHjMLdj74JI3Pq2dyzM3+bgWD0U4xm8EbdRN0WDkoNdnebPDsigW7y8CnB23+4taArYKZ55d02A1Vbu9Cra0xEoBL82MMlRof3m+SzLQQw6Q/+t2n+bnf+XUOvvvXvPHOx/zgvTxrBz1GgsiDzF6pTkQoLPwOHuxWmR7R6A17jM6MMOxbSCfyuJ0a7ZaO+lDPY+fCkmpZK7bJ1Go8dekcb717lxFfH7vFTqpQo6eaULsdTooNCdWo1gdcPhNlO9eSsKz6oM14yES3oYHOAsYKP/vaq5jMfdzTTxJ1eXGrJyg+P62+FWNTz9A9IHP3CqS3Mc68Knvy7bpwO/s43t0ivhika5pmUDyglE4RmIxj0LnoNit0NBEz9KEaHXQqafSeCdone6g0sIUeQ42MMyiVGOoatAoHqP0uOvcUWqOIzmJC32/QyO1hDJ6SCg6xXSmX91GaGRS9BYvvNJpeo1s/wWcPUavukTq4g3f8WeyhSfqlAxRdH5NJRB1NGIbHNFtmeoWbdI0hwuMXUQxtTBYHH115i7/97ru8/PxzRMbHee/1HxAe9ePzxEik9rhw7gLvX/mEubkRHE4v3/3eGzz15AVSqbJYlfGtf/Ytqt0mxvoh7WaDZrOP0eqlqzhkf85s7NJqCU3MDiptnN5pal2hAbFJDV4ttUk/l8Y86megj+OwR+gNkgxNHryeOE1lQOXwFp+88Ram4AKHh3sEJ8alJm1M+LmP8mQOEniCejyOSdYffMLMXJxXv/ktDm6/w+jSJU4238fumEJv16gn1jDHv0KtvIW1XUBxz6Grp2gW9rHFF4QFSUYT6TcwWEbo1A9kf9caPEu/dYA4UWiaEWVQp9fUMMVW6dcTDPNH6EbP0ErfZ2x1CcUVpJOt8Oe//x+4tZHlpNnh8uNnMegr1CqwviW6tyo6TcVgNREKRLm7tkGr0OZf/6uf45lf+W0G+T2Uwib5bAsaXfQeN0qjSL2TxuOdk1FtMa0dajYGgx69xNsYfBdRFDNDLYdin4TSA9r5R9jGXkRvDdDvNOT0Xjdo0Rn0cLqjbN28SrVV4/Enf5r08SMagwax8ARaX8MWcKANLGQefAeT0YMq/j80snQaJQa1Qxyx8wwHeqrVfQLeMRrtChanm25NozUoYhH9YatIkEToJd+VWyGDaxltcITRPkPj6D62yBxDtY3gKg2bTdzx05/rF0v78kJfT25h8JmxhJ+iXUyhtYtYbC5q+RR6h49GqyG1VCaDA80eZ1Bawx2M0sol6HZLKPYw3sXnJYBs/cd/Qr5SY+PBI2ILT2Cky9HmGvHZ04SnAiS3dtjb3MTlG2F57hTRcQdDsw2zPYgqIuPDEnpXWNLGDQYF9G5qa9+Vl3r96Kv0Dt/HaNWj2Ebp11MYzHZ0Jj/9Rop+q4be5kOnGcnufB+Hexx75DKV9PvoXZOYQqcgv4dOp9DTWmj1Is7pU/KAd3Q3wffe/j5OpU5oepVypoI/6uQkVUPt5njpF/4JV17/e3Kid1wu8OxLj3P+S19Fqxmo5LbpFDOY/afoZj9F75qQdZFueZ1uK4XeFJbvlE7xA/SqD5N/hfru2+iNQXQ2A8pApaO1MHvPystUJXEFqylMS/jnDQ0M7iUauQR2pUKrXpMVhcmzL6KbGodmiv/z3/4hv/df1umi8tgkLK64OEgGqDSOGbQ6PHFJQMmq6BQ760fHPLHqw6hY2Tvp0Ow1qTUVmpUKhY6BlXErh+kWLQ0MQ/A7bPKQZjPqaA8aeF0OqWGqdvLohKZJdHj7LXkYjIYM6FVxmawQ9Fgp1bqyz64YxQW/hXEoLjhubq5liEWElrFBS1MxaQoz82EOjrPUSj3pCldtKoaBgsNpw+myc5jMSivGE48v8eDeOvMzExSLFaqVNmG3TeoGhY2g1dfJKHpsYpRCvkIykWN8NMidtUM8bivqYCj7/r6AjaFqwqY3k6/XMOuN8rA6vzTHxsaGTGopRhvF4gmLCysySi/sCS+98Bw3btzCbBPKr5qkS4vfJ8CBKnoiYniiCLd4hXa7h9ksLsQV4pOzDISq8PCQaDSKzW6j3WxzdCzgfKPyUipAxWIDLSBzYmBRK5eYn1tgbesR7Y5Ct93A5XTLbZq46FvtFgm7E1R/g6qimowy0i8GFbsHR/hCASaiEzxau8fKyrLcpv7o9TdZWJqTysdPrl9lYmLsc5Xb7Cx2cdAetjnYTxEfmyQUC1LO5OlpfZLJpOyfm/Q6NtYfUK105Raz1e6zujIjoXEn2TLDQVPqBEU0XugIrTY7drOeo2SZkbALvdkoSfQ2qwmj3siwo2G16eUWenNzTyoCV1aW2N8TGr4SeoOKx+lkKIoW2oBsRjCaxHtZ0PM7Ehp65/YOTz11GpfLxYM7D6l3msTjY5zkyygMiEZGKFcrEownuALConDpqYs8+Oy+tBdkc0WpzAr73fKzyxbKRMNB+TwIL3wwECGXz0tbhUgdnLtwlmajJVlHK/NTcmucyeSZnJigUe1Tb9ZJHO3RGw4IRsIc7og4PhIefWp1WdZP79+5Lzf8RqNFAvlUo07yMfx+D1WhMKw1eemVl9lcf4RIjQ6mAAAgAElEQVSYiGRzWU6dOkUmdYxq1GM328gK7lXQSywW47PP7tHutDi9tMK9R48IeJ2EozGOD5O4PC6iET+bouKQzMuDfnxslBs3bxIKRyS9Xxn2JZxTZzDQ6vaZGo1w8/49XvriK1z95KqsQgjehNlgwet2I6chekWmHzq9BrOz85IVsbezjQGNQr1BfFw853YSB4foRD3B/rkh6vPPTpDqhZnLK/+bBc1fahBPCsRnxtnY2pLPq1AsoihYTZq8+ItkjN1iJJ2tYHNqFEttqawbDYXoKX0y1SZRtxGb7OcL97iVh6mOHBi+OKnjZ5fNuNx6PrpXoiZgfLNWacK4eq3EyqqDiMvMQaYkaxB2q5U33yvyM6+E8Xp0vPNehlDAicWuMDtjRutbeP2tPRxOE26HwvR8kGKmTrFUIhAIEAzq2XhUJhyx0myopHMVyYH46s8ss/4oTaPdI5dvUS7UePknF9jbOmHrUYFf/PUnuX9nG3/Yy95mVtodHFYDvYHC+KiPew/2JfywVh2wshBmZzvDzCknmYwYkApLgI5Gs0WtLDBoGhOTdiwWYRywUCu32DsQsFEnsbifR3eSmG16ObTLJBpYvXZOLwkAKLIe8Om1Q0qlAb/866e4d/2Ik0oTVW9hMmaUCYLDowYOhxnfCNSrKtlESTIYhB1LWNL29kvolSGLi0EKAki4U8Lu1gj4/fSHXXxeD+jqbG0UJLNreTXCrU8ShKMORkctPLhXxO41s7AQ4M6NPAvLDk5Omly/mSEYNGM1w2jcRaNqZHc7K5+ZiXEHR/tZFubD3FpL8uWXl3n99Q1ZDzc7DOytFZmcC5LP1HB4LJJWb7MZEFIirS+Gmxbq1Rp5oQa26BkRaYjdqlQ7ovYRVsKholHIlBmP+yXvoF7r8dLLszJSn0o0UfRDDEZFnq+Oj+ooQyNzSy5S6bpMgAiri6raGQ4a2KxGivU+h5s1zj8eYWM7x0myxfyyi5PjpkzTPfPsKPlsA7vDQOK4QkFs4Bf96A16XCJV0+/IYYnBJNI1bhy2z+G6pdqQyXE364+yrG/UPtfSlxvy7/TCXISbt1KsnrZhMLrZ3k4zMe7now/EgFVwFayMT7i5eyOBzSn+7ovkj5WtjUP5Hqw02qT2ikSm7FhMOuq5AY89PU212KHVrbG/U5TcILfHRDJZYdhzEZ1s4XM4KFW7pFItlDd+fULzhAy89/4eTz0xxtFBkRufVliZNxOJueXEWfxDf/idh1iFPzioY9hTmJr3svkgiTdsZ9jWqNS6snNVrdTlxLnV6UqCYa9rojtsceGxcR48yDA/45RAFZtd4fatPKlcl/GYgXq1RTTi5OH9Mla3hakpQeLU4fEo7B01cDoHnD0ToZBtsrtfw+8TaigNt0c8+AOGipGTkz4uZx+H04jF6GHr8JhOVyPkc6JoTVp1hc5Q4dUvmPmt/6fF322WUTQz/+5FPbeKoj8JMUePw8IQl8VJq9eg19SxedDif/rKGL/+zXPcunvAre02u/fX0LvMXL44Jyetr3+4yeJUHI+5wHhohEI3z48/3OV3f/sXGXbavHflfWLxUTa3EszOjNLpNqjky0THJiXIa2oyytrOMUNNHLq8OIxQ7fSlh7Pc1DjePWZ2YRTPiI8//qMf8tqXTmM12qX7WFQ4iqUCR4kcF1bneOv9h4zH7TRaPZJbNS6e9pDIV4hPxHnppUVcvSFLzzyPrtlEMZrQDAKwlKHT0KF3hsl+9h6NxiHe2Auy/+3xRSkffyZBjhpe7KEp9BaVYjmF2xqWqics8pVNOXEPo8OPzelj0KiBU1Cl9exd+ytGzryEqin0DcLhWsXQqWEJxCge35WHdAEtkicqk4n2yT5Wd5h2vQpGJ6ZeiXa/hN48i143RGdz0utV6TSyDCp1hgY7Nt8srmiI1NoVScgPzL2Awdjhxptv8uGH1/GFp1k6u0RgJMQPvv8m7UKV6HgYk9mJ02KlUMqycvYcB1v7UnslLl7VzDFNnYmf+9pTnP/Sr1F8eAujQ5XR9PZwiEu0YJsncvOoie2zL0wrvYnBOs6wl5SuUQ29hEOJC6o67NAsZLC77RRPEjLSLUBp5XySbqvK2p0bPFov0O6rjIxHZfQ+4gmztbXB4lJcbtPSDzZ48ulLBGbn0TtHGKbWOXj4HcLnfhqPPk6pnsI+dpr25htozjBWp4Psh3+F//LX0Vsm5WdkaOyjWWMMOzVEadgYnEffE1NsGwyrskvbaFVwj52VNopGdQP/ypcxT8ySu/kxf/+dN/nPf3mVJ1dnsLr01NsV4mE/7oCXv//ba8wuhDl77gxYyvy73/2AMytefvrpcf7Rb/wKescElSvfxxSwUKjoUDTRkwVL9DK14/uYjQ4wDNBpbvqaIqsInebnkDsBzVQ1I43sh2htPa7Fl1D6JbqNBs3CHjqziqHbx6K3cGfjfSotL3aLGY/fwknOwP7ODZ57/DkOMgne/tGP+OJzzxKdmmHuwiV05gD93BYdpYNBs8pNjsEnNr8VjP4xOvkcyuAEq3OZxqCDVnpEObOOM3qR6slVrI4ZTJFz9LNrMp5ssXppFo842niTucvfQKfzU939kGG/g2PmSfrFEyz+UZrlAzTVRTt1S0gtCUy/SLueRlVtEgTa0tw4wjMM1B69Yo3mwZvoXKMMjC6sfRXVYqF5sodz+gxGxyhGl4+tK9/j9q035MXQ6rIQDIxgttr43v/3XZYfW8Wgwd3r17gsQIGCHN4+xqbYJDTthZ94mdkLX+BHf/bf+Ee/8dt08jvyENEz2mWKSB2UMDnHJRCtZ5pi0HyIrnAI3giqcxxDp0SrVkEzmrGqouOrMlAFYFFsps3ysqilPsMx+TQGi5t2rYRRn5cwy2KlxcObH3H2/Dx3r9/gON/gmcvPcuWjq7RaXaJBHwc7CQn8CgTNXHrxG+hNgrWxjiEcRGtUBekL1RFGh42B1QXFPRSLkV5WMDB8EhYpLRi+BQYFQc91oqgWhr1jtLb4HovvaRZd6DFI/ph2N0tDxDWnX2ZY2MPkHUEzumiWHuI+dQGbf57WzT/lt/7Vt/nrDxuYjDoWZ11MR60MGg2Okh1GJx1kBHgnPeB03CFSujK5tZ0sc2nRhSZSXPYWU5EA/+P9Y1bCLtrdPvstlVy5I4cLZcVEp1onYNVR6BrotYdY9EPmZr1kDsu4vTacesjVagRcDpT+QDT3cNp1EvY3aPdoCViApspDjVAlOQxGar0OiXSNmNfOxFiEj26uY7PoJT1/OyEYG2V8Lr+8JHweOTZKynWpOZAbVouqp9nsygSgTmeQfcfYeIRup0E6UyTg8bK2lSESNNDsajL+KaL3FqF4qzTxez2y83p4kMEuwGFCQNvqMjoSID4/jt1kYXNHgCvNVKoVHrvwuPS6G0w6nBYxABFDQoVSoYLJaGBsMkby6JBQNCSHLsnEvhwQhAMhPrp2jX6/x8VzZ0gmBb9lKDvfLocTl9ct37OCaRD0+dnYWOfM6VNouj77W4eMjgl4n5GHa+u47R6qrSoBn0dekEZHRjk4Skgyu6ChC22n2WRGU4dyUHKwn+DlV16UaYT5uQl29pNoXRFdX+L+xjaZRIpuVyxYzlAURgCdwm7yAI/TBUONaCxCuVbHZNEzPT7LceKIg4NDRuOjFPN5ypUiTneYRqVOb1glEhYDbSsn6aK8YJqMqoTiNSst6Zrf3duXerp8rkI09DkIUwARxd/nbKmBwQCnF6bpDLpyS94U2zGQ3eBUOkO52pQ/U2yehc5OqCFF9N/qsGIUWlFtQCJxIusYgrzvFN1uo5VUMs307DjtdovBQEetUabX0VhYjPPw4YbcNgrjQCp5LBOGZpOFnLAzBHyyA57YT8oaQ6ku+to2Wh3x2Q8kT8djs8taiqhB6I16AqGgBKZWy1XJJxCf76OHD5idX2D9/iPZBbdaRL/cRblSxmAwcJzO4PH4KJVzlIolHGLwajUzPTXJQeKIRqWJplNkRcPtcKOqglw+JBCJ8Nnt21Kn++ILL/LDH/wQo9Eo0sn02i252X/x5afZWN+Wg4zTp1dYW9vh/IXTvPvOOzjNZo6SwqrRlp+bx2HhKF2QUEsBBxTVxumpGba2tsnncpI9kEpmJROh0+ty5cfvMDYWYdDWsLmsGHQq1VYdk15PLi9SRVHMZiOdTo+d3T38fi/nzp1n/+CQTPaY0VhcphfWNtYlIPCZp5+Xiud799fl87q3+UgywsRlaW+3xvy8H6tJ5Ux8gh/f3JCJlUYXOuqQi6NeUjUddzMNZqwKz40r/MQpUWdRUIc97qUNxGN6VK3Lt79f5eWnvLJKvL9Xllq08zNBsoU6j1Jd4lFFKkF75QY2j8LoWJgb13fQdVTGpqykSz1m4kFO0g1K1SK6npnHnozSFBHt9QoTcZ8Eobo8ViJRJ8mjIomEGPAMUEwqM5Ne6rUa9Wqfar2PURDxAx7SySKTk+KCdiTChFx+cYwrr+/xzBdm2dlISoaGILjnyz121pu89rMT3LiZJuA2EAwHaTcEoLPD+sMagZAJl9NJIlFn0K1SLCucOe+lXOng99rYWzvB5jbJf9unVw947Okx+Ux/fGWPQNiLjrY8E7cqTTwOj9RDZo5LjE5ZcFhENaFLo2DgINHE5hEpGRf7GzmWz4a4eiXJmQsiJVVj41Gey5en5H9/d6jKC3w+L5LYBRZOxTBoBpmecfltGExmWsU2IxMWFIORTrtJJtWkLj5kTDJlIBJsgs7fKA3lMHBhIUqx1eDwURa738bG/QbZYovLTwUYCdlY36yhCI2mOsAkKuJbOVZOxTjJ1zCKpW7fjN0OR4cN5udCZIoVAn4DtZpKKTtgbFrP+lqZakNjbvZzLt0H79b4qa9HKeTboqvK2XMurl7PUc41ZXry8pMTFMt1ksd1PH5VJqgFh2U07qZaanK83yMUVdAbhpJD16oIS0INt8sgkz3xmQhrayWZzDtzdpqtzSzdbo+FRR+5rBhsdbn9oMKpubB8T4mBqoBC/+TPfD5QEor7SllUWnWcOzcm7S03Pk4RDJtk8iuXGxIc0XNw0GRyyoHZBFvrdeKzFpr1obyP2z12RsMW3AELd2/lJeg4HDOQL9YYG/ERDDk5SpQ4yXYIB1Vppes1DFJPHY1Z2d4sEIgYic9FuPHpIWq/xauvnOPNt/dQvv31oDbsNak0dITCBqw2HSabm3qpTCBs58ZH+3gDIbRBB39EYdAVpMwyP/HiBH/xZ9ssnfbJl6LYjEZFrCbfotRoEvCayaXq2D1GxuJ+rlzZY3EhglkZsrlfJBAWlEWNuSkTB8kO+n5HTnhK5SHvXz/h+S8EpOe20xiiWvo0mwbEwF1RrXKD2ahoslMY8pjIl/oEwjqa3SGJ/QajY342HuZZXrVhNxp448MiT11ycX9N45svWLh92OXfvtNhIWpgoO+i6w3olcUmosX5swGK7R7Z/SbruTrffGGWob7M+flRjAY9V25k+PTeAc89N0c8Ms333rrK2WkHzlBQbvUFSMYkIoj1LolsgrPL0/LLOrUwSnw6yN/9j48Ij4dJJ9MEXBZiQTOjUyusb6yRb7QYcbg5PN5nZHKWva0tYhMjjE9MykjLpx99Ji+a0RHRhXJzuLbNz//SV/nB37+H+AxXLpzh5s37rK6ssHuUwmNz8MvffIzkQYb/+bf+luWlCM+difKXr9+T7kib0uOZV2ZYXZpB1yzx+LOvEFo+DfoGg6MEw1aHzN4j3EsXKG6t4zLaqOYeYHWdRnXHKBfv4wyNYfBM0U3cpi/+2NWL9DoVAtOPyyGQyWRlYNJT276OVk9THfQYn3+FXnUbxTVOq7hG/sENRp74Fma/m0b6EYbBkIGiYvaN0m10MDlD1PJ36ej8uJqHFAqbuOdepF4q4lf7pAs1grNz9JuajO3njtZw+ebpaD0JA/EE/SR3dvgPv/+Hsmu4+sQl3v7hj3BanSwszbJzsEdscpxs6oCjwzLTczMyAkirJifEFluQGzc/4p9886dYeu5n6JUeUs6mUPQqxa01HKE41tCI3Ew6nIuo6hGlYha1o2C1+cBpRe0HGXQTaP4RlIERtXEindv1chqzRYd74ikamQ2pnLN74iR31silT/jg0zX8PouEKJmUGk88/yLx6SV2PvkBvunHqBQK+Mdj9FIl6rU17NMvoJRuU9EcWDs1bN4ZujYPneLnesdK9h5WZ5x6Zh2LCIs4ZtAEpNHilEq/XiMvVTrB0VkahZz8DH1WE9bTp6Dd5z//3h/wx3/ykGhkwNMvn2c0LOAnHY4OU1RKgv68I4FoK4/N8/rf3EXrmLl00ccv/cIqK1/+p5STeeqffRtT8JS0PShtG8qwQOFoDY8jSFdvRLHFqBXW8NkHdCpF1F4ZffAiinOcbvkQpFfYhqFfo29zo+lD6HtFmrU0JtVAplSVfape28nHn7xFcCyOxxqm36vJ79nC0hQ7a3uMLJ1CP+iyfeem/Pemjw/xOZy89HNfo15Is75+m/FIiJnlM7LmUUw9klWaRn9IV0CklpdQHQsMeiWOr30Ha+yi1AzqHapU1WHoobeOQ6NGR+elkHobpdHA6wigBcZo716XEXnPxa9hMMY5ufufMPT1WMYX6OQPcPgXqTazWI0++gJyZxrBbLfTTXyKwRxGGT1Nr1tHKW7L50PVaei9UXJHWxKmZvTOomsPONz9VGrJ8mWRuLrFxPwKOnHNGgrsiJ5UMsHU3AzrdzcZmwkQHD9LYvch1eQWnvAc3cYJ50+fIrR0AZt3nF49ib6aodhIoRMKOb2Rfk+HMxKn3W6iNfsYfGEMOsidCFNFCEURMcic3MoavVF6hUN0Jhv1zB28ky8zaJ1Qzz4gsPwz6E1GeSnoDboUUru8/jd/xaDb5oVXv8HHt35Mq9XjtW98g7/+j/8Vm6fBr/4v/xJF9VGvJNCGYqtnp9U5QlFEGmFIt3yLXr2Jf+Qi3cAiw+MPGQbi6DWRYDrE2K/RNQRQenWUeholtEw/eYVBe4ghNoXFuSJtBHR2qG99jM23TMcZxlDepqwP4heGkNgyg/gI9fuv88JP/0e2jhq4bHBhISL7yBPREM1WjZbeTCFb5OK0i29+cZSj7Rwf7+X55dfm4OiEewdNIQDg1ZcWee+9R0yOuOXhX6gDf/xBkScvBbm3mUGxunCZvfzpx2mOcgNmoi0+3u7LCPdAgD21Lpm+uJD3sej0uM19GbG09rrMRNzsHOeld1w4rc02EztbdWyuIc9dGufq3ROsOgMOi558qymfGwH3s5mNpE7KOD1uhu0ORr0On8fB2v4xQYcHl9fE7lGWkXBIdu2HigCJCktBUCZjRBLt/s4+Ed/n4L7OsIfNbCOROSHi9WARGqpkTl64hNJUeJlLhYHsjZoNOnKlJibFKN/r4vIhdJxGpwGH2Sp74gLaJubH/aHCxFhMatxEVFvoz9wuj3zPLSyusr19QC6dZmxqinqlSLFUJD4W496DTVZXl2UEXPz+blNwRhT8AfH3OoHT7SEQcPBgbYuFuWV2Nrco16rMzU8R9HhIprLs7O1Jkv+Xv/Qq7135ALvNIfvYgWCQ5ME+A1SCXrFlrsh49/7RkYT01asNRmKjcoucShxJLaQAuVmsFmlhED+zVetK/arbZpNbyV63x8jYGFc+/IDnn36aTL4oBxpDpSvfg2IuXynk5eDmV7/1q7z+5rus3X0o+TfeYJBmuUkw5iedOmZzY09uBIXOTtF0bItO+Wyc7c09xkdCdETJotuhVe+gM5mpir57UEAhh1gtdpLpJCPhCKVKTUbmVQWZaAiGY9y794BYLILDJpIiXbzimdnYlbwA0XluNkR0eEZu9QWATnTazRYTtXINVa9IhkE2X8LmsKIbCJ1mBVU80x47jWqLvjaURPNWr09FbNd0ottuRtOplEsV7HYrorphslhx2J00mzUGQ03qMhcXZ6hUKlIVHBbqyMOkrASYdSqlakXq+WKhMBPxKW7d+QyL0cjk7CSfXrsuBxBiiFIqlHD5XKzd2+TpL1ym0+6yf7hPwOOXakXB3yhXa/h8XtLJY55+9mk2H61TLdVZOrPA+oN1jg53sdtdBGIB9nYOGA8F2TkUPAw9L7/8KjpV4/7aJmGfH5PJgNNj4/rHNyXPI5nKMzcXlzH3tbV9Fk5N4/cIw8YJ3d5QpnjEM364l2JleQa7y4HJYMYTFtrRgtT2La6s8v6HVxiNjUurxO0bN+l1OzQ6dayqSigQIpFOEY8E6LR7qBYjhVKNYr2OzWLny6tB9vIlNg47bGZbtLsqP3lKYzVsZiasoNPMrKfrnBp1kC13sZiHMrb8IFFhLmaR312rxcDBXg6jxSYva8e7ZcJRp+RJbK7XWVm24XXb0VsH7G2Ifr6eWHyc6x9uEIjY6bQHLC5FuHXzGKNej9ttQDWZODnOMRa3U68acLsdDLU2nW4Ll8WFK6BydFhjejIg/67cvptg2FGxORQJXRV60uXlCLs7ZRJHTc5c8JE6rOPymXF7jLK3/97bBU6d1nP/XpdAqE8s5uGzTyqYXG0mp93UyxprD0s8/mSIwWDAkahAD/sYzXo5vBXfU6PRwKMHh/JiPLcYkZWo6ck4/X6ZjbUSx4kqL31piY21bfIFAc3syufa47Jz/36Gl1+d4eSkgDbUSW2nTrNidQvjWRq3zcrZCxP8X398h4vnA0SiVlrdFg/vlvEFdXzhuVW+9ze3ZB1MXDKtJhP7RzlapT6zsz4+uZkkGgrLSsCgp9LWKvTaOg4PxFJRGCayzM16GGgitSGSyEO8o0asZiNut4mD9RMCoyE219NyKKKqTmqNAR6ryuikhc9uFOR3XAxJvD4TBpvGtavib7nC7FSI3qCB3WKQn/HaWp2gT4+iKMQnxTAyhTfo5minQKncJxKws3dUZmzCJ40iZ8+O8PoPtnnq6Yg0yuQybY4zLUn7f/6FONmjYyweDzc+yBAeNRCJOGQ13euzkEq1MSii+mOWnK333z/g3EqU0Ukzimpme02kz3o0uyZCQVXqQm12kSLrUihqlIpNrE4DWs+AyTLAoBOfm0Y2PeDMOb8cWhTzBSplA81mh8cue7l7q8z4tJ1+xyzNPp2+hsdrQDFCv2nCoIqKbJvlxQiZdE2ygN5/a4eVFS/J4w7RcROlfJt2U5HASk0ZMBnxUBWq9P0qjZZFntfDEQeKvoPyN/84pJ0+78NktPLj728xMuEgElRpd3Vc/yTF5KSLcRGpPyyRPGpw8ekRTlIpEntGssUq4ZDKzFyIh7fTsq8TClixO+00601sVgNmvUJ02spbbx6zuhIimylzUujLeI7TaWTYVyima3R1Rjw+o3zZCPtAbMKFpjNTzRaYXR7l44+SxKc/10+cHIv4d0++WKt1EV3XMTpt5O7tGnNTQcKxgZxslQsajUYNR8RFv9qX8cNTI0P+xbs9Cn2Y1HcZGffx4U6H1UmzJKbeWKvQ7Q95ajnITqoi4ytigr2/lmX10jg6i8bf/tktXvnKWc4/eZ7f+s3/wmuvLrEwNcnv/+E7ROJmnjg1jtEI9x8d4/DZONw94MUXnyN5kJY1iC8+fZG33vyEl37yMdZu3sQXnWRtYw+3mH6eWeXvvn+TM2cnWNs6IpcVHtAWZ86NyW6eAP589SvP8eaVaxztFZkejTIy6mRmfpGN7X0+uvKIF188g6a0+cEba/IBNJnN0vN+8eIsDqvGzm6dXLkhL+fikr+9V2YzU+fClIW1wxYvrAZ47Wsv8OQXT6MG3WiJHH2LC81zhs7DH9LVW6hk02iNFvbwOCoa5dQWvlCQrqagV530suvS8a3X9VBDy2iNHrWTPVwBMTkWvdGHOEcuSlCgMqxgdgfJ7L8v49IuxwStzAPamgP7yCz1h2/S1FQ8C6+gq2/LWHlPtaAbNqnkDjA7POitMQnZ6p7s0qZPePEpmsU0SiGFMTwlXfG5/Rv4g1OkS2muf3KVKeFFdgX4zl/8v3I78uXXXuLjDz4mHBkjcbjLE5fPkUoX8EVcFFJ1bt9fZ3LUx+/8b/8akzHGyeZV6NbpdRpYI4sYlAHZxDaeicfIPvrvlFINPJNxguF5OpUsJwefEH/sn6KaA+Tu/jn2qS/Q79TRV7M0tToWoXX0L2EyilpEnm69jckBQ3UUm93P7r23yG4f8OQL3+Bk63Uq/QGewDIafRxBLx0BxtI7Gba61Is3sQWWKGZu4pv/BYy6AfXUR/RaddzxL9LL3UW1u9FZp6GZZTAQPce6nEC2FD1OWwhNrWGLXYRgl3//q/+c7769D10Tz782wcFamhGfD2/Yy3G6Sa6QJB6PUMrVaPZN3Ll1wCuXLbz2tSc59cKvoetVqW6lsZhEBaiEJlRztSo1hxNdq0ztRGykYvT7eVTHIsNum3ppC0tknn4xidHgYejQoaXXUEJLWO2jtJI3MRodVFonWIdtrOMvUsnexSikgIqOWqksY/GHyUNSe8eML05T7+nZf7ghD3n9IXQ6Nem9jk1M8uZ3v8vEwjIPbn0qUwiBsNi6ZbEbxQHFQLHepVkvcUmoxPoa+WqJhakQZy9/EWxOqslDdANhChnS7eioFLclBE51munVNKq5I7AuyUNjrZ6QhgFVb0NrH8sBq9m/AI2MQCZJuJpuoEcJxFBVB93sNeqJAwILT9Oyj0L6I8lkUNqafHeaJ75Au7CN0ssxOHqIbXJVXiKE8s0o/r8aTNRTx5iVAZnjCh9+9D7PvfKSBJ3tbH7GoCmUQWHCIyHu3ntA4uCA8xcusbW3hc3sod+t0u02WFxaotmqysTS6OIlOs0arWqH/tCA3SQUptsoJh1GWxSkNaWIwRii0y5gsgi3ulN+F/omB3afj8rmB1h9MZTwGYxDlXrjGNpV2oMhdrMFo93KoKrH4LLzw//+B2Ccxez1MRpU2N9JYfYE6beyXH7iVewOZNd70KpgFrz/BHQAACAASURBVN8KmzBgROgaLZjUBvXUJqo1gMM7QzHxGUpzV6YETFPPYBVD78Pr9Icd7FMigSEuTm10OrdMy/S6GVTvCzLVY9Q1aNQ7DCsVDGE/tmqbmtGNxWHDbmrCdJC1a0WeffWfc1Kz8lNPOeXUPV8SoB4TisWOxdDmIFFndtRGV/VzbyfJq7Mq//43lvhPf7bOsNfj3BkvtnaPjw+6cksVjziZn7Dz1rWijMi/cMHBuZkge7ky1daAXK7P5QUvH22VKQw07uwK7a6eVNNMptZhu1inIQZTQwWv10xfXKaLdUTyOhYWncGafDZzqSIurx51aEInVXKa1BUep2r4RYd7OMRp0lNpdHDYjfRafcwYpGtabG3b3Q6Dnob4Va3257Fv4WoWB8tUrorfY8UoTAvNCiZVodbv0e9AIGAlk2/IPrtfRBmMdjr1miQ9W00CVtbHH/ZxeJSh1xjiCTrY2srICOxgKP6tGotzYzwQXVurRTrcRec6GDDj9XvZO0hTr2uyO7p4agqXx0viMEG3I6BycSKhMMVijdHYmHTO7+wesrm7zUh4lJn5Sa5dvYY/IEDJDYyoLJ2a46Nrt2UffWl5VsZpxSX15CSH2WjEbBUgqj6bmzsSJDU+Fufap59Sr1U4c24Vi94kFZDlSl3GSEVM+vgkzWMXH+fho0fE43Hu373LxNgY4zNxbl2/w8VLqxI4KEjsSk+j3mlLGNhXv/5lWUUQqj+RcBiLjZDPn8hI9+WnnpDb6Ug0xksvf5E/+a//TYRAuPT4Raq1OsVsWfIKkqkUQZeHWrvNSDQsFXUiuSZAcbu7ImptZWt7X16izq+u8PDRpkyK5HNlbDar3IYpehN6g0nWQWpCd2kS5wGh3WvI4VQwGuAkV5KXYbF1D/p9NOpNdjaPCYadlKoNCfaMBrxS7yeqGqKzL7bmNquAt9XxeH2yd93sdORAwWiwolOG5MoVDIqOSCQgz6YWgw5Vr5dMApfbKw/bInmSy1UwGgzyWc5mKzJlJhIXgXBQxuTTGeHpNrF8ZoVGoyM/082tHVmJmIyPyQ2gXpzIGZAvldGGQnO2xN7eLqrBwIO793n1J17kIJGSJgmzQaEmdIkVcbb8XCUZCIpq7AEmq4GTREZC9hrNKoqio15rMjkxKmGOfn+MUMQnqxbFYpGD4zRdwVExmfC4hYqvSSqTw+UTwMKmHESJ86L4rLKZNNVGVw5FRqJ+ufUfj03Q7nWpVGsSVCmSEwKU6w/4MBjMIphEq1aSi4VsJoPT5aNSKePx2jBaICmqJCMBLAYjieMiQ/2AqN+OTddnLdNhp9hl1O3gq3MtvjLl5rjV4iCvyIvIdMjIg4MKQbueRmeA0+dgPGiTl6ybOz1GnHr6WputZI3Tk6KiWaHe7PPzPz3NvQcn0BWVlyGjYwEe3k/jE6rEERvf/cEu07Mu2TEXNSFv0MP+RonLT42QSFbYfJTDoJhpdBRmF22ShbEwNyP5GttbR6w/KhLw61lejcoLuEFYrvJieWWQm/NmTSSc+ywsefn0agqdpkjOhz/kpJirYnEZ8HtElaRFKGqj1WySzqosL7j45Pox5x/3UM33QRUb6CGN/oAXnp/ho3dPqFYzGAx6bD4Tyv9P0nsH2ZWed3rPjefmnLr7ds7dyHkwADic4QyHpBiUSK60pCQXV1u05VqX7dKutGuX7V2VS+u15dKqXLW2ArWSSoGSmIYcYjgRMxjkRgPd6EbneLtvzvncc473+2b+x6AB3HvO973v7/c8ulmqIx/fyRDwmxibjZM6KjI2EpF6SHFGvXQpye6ujsfS4+NHKabnw5RyKtG4E69bYX+zzOy5KO1Wg6eP84xPx1GbDVl163Wtki8k6gaK4iefyTM0FuHOnX2CnjDBSJd8voPT5iIy5KBR6XL6zDD3PtziYK9CZNhMs2Ll3Lko2bRQoDa4cGGY3Y0snY5FfhfSmQ6zMwM0q03G5jxobRN37u7LgV0s7pC2G7vHTj5dIdrvl9aFSlmjWq4zOOah2zKzu9tA13sMT4RpVAVI182tW+I74pDKR5/PhM+nUG52Cbj8PF855uKNGNvPq9jMVmbmg/ztX60zOKQQT/pZflxhZs6O3vKwtXvAuStRnj0Vi76QTImcvZxA76lkjgQZXyVXaHH6ZESw+Einm8yfC/DoziETs30cbJboG47w4KN94gknJ84GSe110M09jHabvrE+Qm4Pz57uUyyrnDoX5fCgInW59+/kmJy1yVqN1qkxMS106R02n5dlksMXcEjlabul0mjWGBmLcud2ikDIzIlTCR59mKJ/3MXRnsbslB9vQCTo6ug9K16P4NoIfp+LgaEg6UwVo9elI+a2LYNeC0YFTPEgRywZYHdTxevRMf3sf4wbmUMzDp9B2Knx9HmDSq5NPGnjU69OcvejA7KpKqGkQuO4R2TQic2sUCw0ifXZ5Ma+2zTkhHJoSEAB21JDcLhXl2CEy5empQJpfy9NLd9h8kSCaET0rSwS2qBqIjJWY/9AJxpwcema2JhUKOXrRGJeKqU6raZJ9kaHhe6vZ6Zc7mK1dChVeljFAc6tyY2RrgmzgJ+Vp1UJB8mlSySiNtlzsqg9tKbGs+Njfv+WjZmhIG6tLrvVdbODzHaJimGRrsjUYYuBiI1YVCPmibLXaJBwe3n8bI/PXjjJ+Ik+vv+9j+XGPVc+5Malaf7q7x+idZtcv3IZm8PO7uZzCvUm5YYh42uBsI+P3nqE4Xbwb/7V11h++oQffO8ZVr8LxWInnSpy7kxYKjaWU2XMao9XrgxIb2hb7zGSiMpuysREBLtZZWc7R3w4ydb6DlevnubB4+dywj43HeLZdpGpwSCjown+4i/uMjPRj67oFApdgj4zJt2CqjYJx+MyWnJ4XKRZUvnUa1f43/7gb7gxN0Kp3uODx/v02vD1F8P83NevMpRIyEmwdXAC6nug2ankijT2n+GOJjEF5yUksJYTG5QGrrHrtFLr+AZmqezeRvH1Y9Ja2Pz9pJfewREbwqcE6QbG8AS8NA73cXmjlLNPUPNreCZfxYyfVnlJUoejgy9SaRWwqCW61TTu+CyN1AqaPSbptr3KDmb/KVxBH438oewTms1VrGqXmmkEtwUcYat8eRmin733ER1cRJIJ8nt72DwB2uUCj1cW+f53bzMyHCQQG2RoKMhxpoAhpKL1Ms/36/zbP/tLzHuPqRUP0StpbMkznzjXe8eSaWDxxjDpVnD50GsVevJnzmGzNTE7B2n2BKTuE+NAbGCaerkiI6PioqQ1c9JVrriEr7yARYyI3QY2SxTd4qe695RANIpm99IrrFNptfFHZ+n1OrjMWdqOeWymNlrmCRabn66nn25piV6xjmf4Ko7wBIWtH+OwBzArOmqjTke3yM+P1ijRa1eIXPgsltAcK+//Ib//v7/Ne4slvnI9wtT0KBanwu7KIVVN4/r1E1SKeZ4t7XPmdJw/+s4q8WEH/+F3fp3pV7+EXTyElu+imxR6pR2a/j4Mw0dX26azs4MrnsDin8fZLlLZ+wD39Jcx2a0YpSc4B16WXtjK6j9KcKfdE0Ovl+gZdmyJaYxuEd2s4dAdqOVtTOFp2pVDwv39cnuYWlti4uQFqvUK1UJOPo82N49YeXaPz7z8BXL5DA8Xt0ntrvMLX/0VVp8vMzQ4LLVdhm4lVzimUu7RalXldibsU7AKx4wituYF+mNBttfXaNeLfPM3/xneSIJOpYnNqKGMn6O1u0A9n0EJzhAYmpLT30alQHn3XYLBBM16B0ffZWrV5xjpx/hnvkq3Xae3fx8leZ6uYDi4InIzTb1J6fgunvAEtpFzWNpNmYYqPfsh3rFPoVld2EvPMZyCHe7BGjxFN78iALj0ysf4Y0NYPXGsLoVGeo3NlWVi8WF++tZNJkdP0bGq3PzhG5y+cJ6xiUnWV1aw6QYjE2OyG0pPxL8F+K1Io2elkarxxW+8RmzkVfTD9/EMxOkp/bTbbXr7TzC8A2DtoVVVtMojPAMvYHKM08q/h9HtSiNFIPkCbbWH09FDV230MNFOL+MJDuGMJSmXDol6/aj2Dsrol6gtfJdbHy3REeBLxY5VszJ2boalp3vYugU8pixXfu63aPU69CqbaPUynv45OsfPcEXnqR7dxuY7iTN2guM7f4izb55Q3wwdAS80urQLR+BOYnX2aB89xxw8hcvtlxqh5tGqPDBr/nPyoquo23RaCu1mVfqg3QMnZA/RzRFdkw3fiZMybvjb3/4Wf/K3ZfxeD9GkTTIOYv4Ai/sl2ec291TOTvrItq08Xs3x+pSPb70mXOZdVo4NFHOXbLHNYNDHyHiApYV94oNigCBUPk1SR21euhyT+r/7yzVeuxKiUW+gdBpMjSXwuposrJSYHhujWChQVnX2j82YFBN1zcL3NjQWN2r0JVxS3bV8WEagxE9NDHB8kKVY15kZCNATWRHFynBQALtyqGYbhs3OaFAh6HDgdlu4s3ggYYRiK1Kra3g8NsIek+zKi2HVcarGdqlNxK0w1O+VnuKWLjbdCrt7JeZmBjg8zuO0mzl/YoLb95ZlH3Qk2c/yphgCmuVl0Wy10xdzSwr81nZGavyEu15cRAXYTriSd1NZJsfHJSBQ9EuPdzPka6rcPqu9BnaHg3ajw/TUOAsLz4WohqHhkOQtWMxm2XXuH4xSF931nsbwyCA2mxtV1eXz6fDgkBMn5umPx6U6b3Njk2ymgM/nwy0Op6Wy3Iy6vB50VSOTzWC22Ej0CX+4wvrWFuFwgP29DLqucmp+nvRxWl5iPYqLw+NjbFaDG9ev8fjxEnVhxlFcRIKiGqJic4lYbo+gL4TicdIWKaNml0K1JPkzA8kBuf28fetDXB6XNB/k02k59BQRfbGhLxSLeP0+GYMXyQFhARAQx83NbeanJ9lLpQgFhdPcx3HqQCrtSqLY3DMkIHXh8QIXLl5i8fGyjIYPiAVAT2dra1OyGGpV0Vm3SMq/brZRq1TRezr+kE9ukcu1htw2h8PCS1+lJtIFhkluqMVNVLA2LBZotrqcOTUnBxICBFeqCGJ9XdZGxJZLwKjF1l8sUZKJBMGIj4VHy0TCQTw+Ue1Rcbq9ZHNp+ef2+gPyMh6JRjjOFugIM8DICM9WN/F7nXQ0jVqjRyzs/mQA4PMwPDRMsVLm1KmzvPXWz7h04Rz5Qo7J8Un8Pj/VWpXHjxcJBPxceuEyz9dW6TY7rKyu889+42t4ImE2Vtf56PYjOdQYHhwinT1kb2OLQMgrFz12q4Wu1mN4OCmft7liVVYLxL+f2tHJZo559fVX5f/nvQ8/Zqg/Kr8Tdqcdi9VOwOUlk83JwYQwZwga+aXTw+TzFS68cIlIKCqHQhtrO8zPTbG/k8KwGMT6EzQaLTl0F3aAzaUlAn4HHr8wWfjI50rSLR+NhljaKjIctxJyOeUAO+wz8e5ynq2ynZCh83//so/5mE41b+ZHOxVemPHQ51ZY2C1Rb2hoXQuJhOsTq1JHw2RRSYZ93F+uEo/q8vfIHTZRlDYVzYnTasauNwgEArTNHRJRH30BB5v7WZ6tV3jp8jROX4N80Uy9VMHpcH/yPPbayWXbtFoarU5NkvtFGuzhgz3MVifBoIV0tovPZZWKxWAwxO5+huGhMPu7dQk/HBx2cvrCGP/4d48J+p2MzfgopzsynVqplnDaAnR7TfrHQxys1djeanDmrAMNFweHVV57PcbCPUG5d0r148LDXSZmgzRKYvtv5+SpCN2enZ++8RzFZGJk0sfwZITUXp6uKlhzJnIFAczzEo17WLxzQKw/yHGqwvxcgJkTMQ52q/J7vLXekxfjyVNBHt/NkBwISgZGp6OQTJhZfHJEwBPCZFXlEMXpEVaNONVqlcFIiIy4q+QaDA+7iPUFeO+dbaanIrKaKWpd6+tNqTZcWjjCHzHjtIn6ALi9mlS1b60WOHt+hM2NPFaLisfvZvF+AZOi85nXxmTt7P7dXQmYnJp38/hJiUK2RlcTqXKhp4zKBdrRUZX5s3H2D0sMJqLs7R4yPByVFgCLQ+fkqRgrS0K1WKZU0jk5EyWSdFAtGuzvpIkNRTg6yEvI4LUrQ7z71jaDI0GqpTZmu0qlaDA/P8iD+88Jhn14vHYalQ7BPmG26dGfdEhYqXh2NHtdni8ec/psgkKhQTAYZPXZIcMzAcrFpoQmTk76OEo1sRoaDq+b9z88YGbSQ9+Aj/39MhMjfrbXC8ycGiDgg/fezRAIOJia9XH7gxQnTseYmonx3nvrUu136aIPq8XG0ZEAizaZmROGoQbxhEKno0uAoKgBNtsabpePvaM8nYaC4q1jUS1Ek0HqhSK1tp1usyUTEOmDEhafnUKqw9iYk/GpBO+/syVB2qY7/2bK2E+V2V+rc/WliCRD5tNdfAGNRL9fdhCE1zKRdBIMBdh8WuPURR8LDw6Zmo2Tz7d48jzHf/Wr89xb3GF/AwYGrYyORNjdz9FTrZiNDiMjcVwehaOUgCG1eLLUQLHZOHXJRyatkdor8+q1YVxRO3/0H58xkHDyT74xx613n3O4q/LC1X5pHxCEw8n5IDbbJ0kBf9DNxQtxOUVPH9cpFdoc50UNwI/d6PHjxSrXplx47V4Oym2+fNrFb3yvzFifnQG/lYWUyqTbyltbLSJ+My/fGMYotqh0a5wa9GGyBanWBBwmwr1HS/hcJvniEYqPiqCahkP4oz6Wl7ZJJqN43X6pG/rjP3ufaxcinD0zTmJkiFq+xINHS+SKDWJRj1TS7aytMzF3mUKuxl7mOYlgkKA/LKdomew+YyNhPIF+nj64T8/UlNC9dtfEbHKIv//gKW63n8mxBN978zmTg05OTnvx+yIs7x0yO9Qv45q/+OUrlMtZ3r//HLWqMTLux2zxsL2aotYDr4AXhdy4sJFIOLn9cJPf+tZn2Fg6YC91QHx4kIU7KxguHx6LQb1axeMKcOFkhM+//jKjL38aQ3Tc9nflBb9Xz1NYvo8eHSY4fRGjnEUtHZLPbRAJnKNmbuEzWmj+CEZL1DvcpBe/T3jmFZzOCNhctPfvY3EJAeko5l4bvd3G7lQolFJ4XQkUw0y1uolaO8AVmMYanMTsclBavAkOcefuw+x0o3aElWID/8QlbMoIrcJDWrkj3J4+zL0jSpoVZ0/FOXqe9sES8bGTGB4fvUoOzdTmT/70DdYfbfC1//prvPF37/CpV6aZmj3D//w7f8j4SIh/+6d/QWfzMfXcM7qaoDQH8A3M0MvcxxI5KT+TSjeFYfVjstswd4Xftk2jUyU88hlaQqO38TYObz+u0ZNUj7cRPQqbw0JHs+IZOEFl5fuYmhmC0z9Hs1zEERijsv8m1uAU1m4FI5LAKNcIDF3gaOX7WBsNgie+CKqJ8vEtAiM3qKdWsLg82KLTGLm7cjttpYuhhPH5HFQP1qj1nETmzqDVc/inP0fm7t/yrW//X3z+sxeolls0lS4j/QPcfbBKq9thZnSYcqlEzyS6fE1u3hNbE/hfv/1pXv0X/wt0y/QevUnDO4OWWsEIxNBqBakH1Ux9GA4nFq1Gr1SisHmTyOSLWDwhdFtIYLOhdEBPd2Cub6IrAgYlhh89zIZP8K4xjA4W11l0cwFzO0ujeownNE+nKSKEHmqpj7F65rC5neiNMr7ICCpdet0m9Mw4vX4MT4TG8SaH2SNymRI7GxsYAqTpEsyAOCMCZJYuUmwe0msKj6uDQEzESPtZeXyPl77wWQ5WttlJZwiHQjx7+BEnT19A8Xqkr7u6e8DC8j6+SJzD7RWpuvn1b/8LbH1zUDniaOVtCsdVZi7+Egerb6J4Irjjo2ze/nOmrv0qzcMNFKeCZnNiC4xgsjTpNHuS6txod+ibuUwrtYPV3CC9vUxg4BKt1NuYBPzG3w+2JM3jLVxuDZM7Qbuyi9MzgNXlwGZ2Yes7xdadf5TQM8E7ePxki/H5GZrdGq1alfjAFGqjQbdTkzF/o9PF7rMT849xkN6kki3TabeYOzmDS3iNK2Uuf+HL2Dz9VA8fY+Sy2PoG0XJHskff853ArWiYPWN0jtawBRRMLTGl1rDHxzCKeWxel9xwmbU2Fn8cs1BU7b2Jw9GPZ+LTaJ0MrugIS7d/xPtv/ZRIcJDkiZN4DAdHO8tcee0XcXt8QoNLrZBHs9igfoA7MUm5lMKuHmEihMkXB7OX6trbePomJOFbN1qozR4WxU1HreO0ic1VCN3uwqzXaWy9j2vsVRlN7O3+EMfgZ7H1n6GVWcUw2phaZsxKFZO6h9r14zr3T3ApB2y+d5Pf/XdvsHWk8PNfGGR9K0VVtVMoVLnywhBrz4pSSVjt6Lx/2Oafngrx314xsbBTxmOHelfYczwy+v50SURfHayuNwgGrDgt4qCuS85KtaqjW7vky2KgokuA21Cfk43tFpMjHvK1BpN9Lnl42S+pfP21JOVGk1v3Cpzod1HqGmTamiQp/2CpwUG5ywtJp3TK/2ClScfikgNkl73Hcbon2SbVrooDEy6/gtpuykOF32ORPVitpWJVG6RKLa5OxKTe7ihfpSuI3HYzlV4Dl13BJmql4jPZ0divtIQghtnxAbn9erpfZWbIg1UxiyiUVJiFE2EeLKdkNNKtKNIxrpntsgomUnxiA7K/nZfwXZEoPz07yEE6h6bpnJkaYmP3kEKty0DAg83npF1pUVMrsm+vuJwc7qdl1PLM3CgffLyF3e1AcRgcHHYIecHltqC3LZR1Ha/bymA0LBWlPbXN1Ws3pLklnTlkemaCZkvn1q17zMyPEw0nWFnfIBL24LI6SBdy+ANB+TN//NECfaMDfOvXf4W/+PO/ZCDRT65UECZMzl86w/37jyUs0+N0ye++1u0SDAfY2dnm8pXrPHr8SG7DL5w5IxkbYhgxPDIgExkbaxuypy+I0dtb68zOCNOLwvbmDmfPnyLoC/DTN9+WpHgBlJwYm2J97TnhSERu3UWsWET8hTe8f7BfquzypRKtaovLl86xc7gvmQw1YdqwWUlEYnx87w4zszOovQ4mbMTj4qyYI7V/QM9QsVgExdsnNX6ZXI3xsZi0KBweZuU7SZyxTLpJdv0FizTg90kKvWYyY7dZJNROfA/Flq7VaZBIhCgXa7JW0G53ZBWkI6oD6TKKzcLJk9Nsbx/IgYDYpgq3uEgB6AaSrRCNhClVKpIXIyoQ6VyBWEREtns0W3U6HeFSD0vWkrj8mMXF2yr0jFZ6ohM8P0+uVObgQKg3kwQiYfr7hLu7SKvVolat0mx3cdg/UUw6RC2yXKXWVCXETiQxhHUhFohQbTf5+N42/91//3WK+aqslc5MjXHzJz9jQAArm12Ojg9lUmJqYkr+WxynU9LelezvY2FxmUg0zqUrl8gcZUnIi15Zvq/L+Qq+UEBaJXLZtKyaipTaysY69z5+QMxlRreJS7QAGVtoiDRbo0sPjcmxAcmwUCxuHD4T2XKLw4KGyWrjF4dbfOWCk2bDTqXbIeR38s5Cg4TPkFwMX8QpDQFT426mJ/386AcHjE568Jhg/0gkHV2Y1SajgyHS9Sbp/TYn5pPycq7pXZo1FU9QYWxEXKxqKGYzjbaJg4MC07NB7IrC2mqGyakgJrOVSq7F2laZ0VE/h/sFpqYG0M0daQ87fUZYRzq4wia0hgWbOJPoKu/dPCI56aU/LphYJu4sZBkKuTh1Pi61lRIQWm6xs97iF74ywpYA7NlthP1uCvkqY1MJcqkq/oifn729gcnW4YUrfXTaVm6+ccBL1/uIj7oo5nWeP81z9YWoBHymDwVzSeg6OxQzKmevRnBaFLxhP7n0MYrLx0fvbJMYsEmg5tLSEfEBO+WyRjlflamk8ckwB1sFRmaDEr5ZKphkdapcqFKqdLnxqXHWl0rUtQL9fQkq5Sp2k4X11QpzZ8JEghHee3eDE2f9PHnS4uqLUcJxG3dviUpWh0jYJ3WS6VSDVkPHF7TIRF+hWMemuLl3J8u1a1GpbjeZWsT64xxvf6L1LFcb0ljx+OExExMBaSsSFTCb10y7bSYRclDIdVh4ciRVylOngrSKKgJEojZbWC0GfQMR7t5P8bkvjfL0wTH+oAevx8b+QYZwJI7FLJJAcHjcQNOtBDwmDE1wtPy01A7LCxnOXRzGF7Bx8wfrnD3fx+ZhinzKwsi4S7I7aoUe4bgJq9OKgtAMFqTGcW+vzpWrfbTbBuVCm/XNQ2nsEKkWMcRy2DUM3cHkiTCHuwWshpVMQSSxTLiFxtYGIxMhniwcc+nSoBzm7R5kZY3B53GQOq5IVkpyUKEk6huaRdY6Wi0Tc2e8dFoaU+M+jrM99vZL1MtmZk67OdxpMNBnJxoPkM7WJYvk2otJfvC9LRweF+1qnZ7JxPR0gt09oWrVSMb9MhUnhtH1jo7pR785YIiJ6qWLSanTsLo6PL4nNpXikOzgeL/Lp16KkUtV2Nqp8sKnwjxZbOFUTGTSdTm1vHBlCH9M4f03D7hyox+LYWFrp8DeRpZEX4RGuy7JuT6flWJBfKFtMlo9Mx+jXdVJ5yokhz143A4ZyXD4OsxMxEin2zI6IjrFIhJTqXbRu1Y8flDsJvkAFv7ljDg4iu6wosie4mi/Qtfc5G/+WnR/nLxyI8jScp1Gp8HNbYWS2UvQXMDtFSAfER2Ep8/LPPrebzI8Nywvx4o5iHciTmXjgTyoxfoH6T/5ArXt5/QEubkOtVqWdH6PazdeR/GF+PD7/8DchVOEx89RP9qSmxS3U6yd7TQzTVx+OyZ/ktLuM8xd0XPXCM3Mkl16ROzsRdT9PIaAQ1mP6JQt2OwKu5vrRPvHKVfzjJy4RHbtgQRayWl+vc3ucZWt4zRWm533332ObrKSO+pw7bVZ7t5bJ+RwsbpXZyxpYnJqCpfDJBUwo/0B+bIX1Y6V5WMUu8orr1xja3OP6fEhVrf32NrLkgjpdGpWwskk3WaRrqaQytblASNdNdL0jwAAIABJREFUMHFq0M23v3mOyRnhRJ7D6XfSElP5/2KJOPjoAZXuES5fEre5gXPkRRzeyCcH/Pou6dQifePn5WRfqWfoCFAVLtRaGtfAOWjkMMSmSVVRXEIFcog3PEnP7sduc9Lt1jAyT1DNdrA75CHaPnCR1u4jLF6hIRpBU8sSXGhWGmiqOASN0a3tU9i5T2Di81j1ElonJ6EtjvAYVq0JzgCuXhelP8l//rM/lXqy8xdeQjeEBuaTDU2rmiVVrPMv/90fUFt5n3bHwJxIomae0MmlcY3cwGX3kl76IZo7yOCJ69R21/HEBJSkhMtpRhddRMOK3eWnJ2BC3SNsnknUwzs0ammCcy+j180Y7iC93Ao2Xz9trYZW3MIdmaLZFTAiN51mG10t4w4nqWx+iDl4Eq2zjckVRFddeAMemoVdTLYwenMbsaf0mOxYEpO0ynuYa11MoVFiQ15MwUn+07//Pf7g/73L4JCb3/jV1/jHf/gJly+dZGtlj4ZNYywxwMbzdbwBN2qhx3amxm//N5/j87/5LXSLldb6x+zcuU1wcBJ3ZByjuExP8YMrhN4ro9VVlGgCNXuIw2eREC6L4ySYWqjlVQk3c4UH6CrCCpDD8CbQWgoOdQNr/DRGvUIl8ybe4CTNroqn/xqmVpbK5k2s3mE8sQtodDBbNZqtMoraQbcGsJmsmEQVolbGaJfpmUVnzYd7+AqK0WHlznfxhAfZPKhz6+0fSUhLs9NiZOgEif5+0rk94sGQJGvXWw0GR4a4+847zF66BnqPbqXJ6u5TbDYXVquDkb4Eg+MJ8gcpzIqXxeU9NpYf8rWvvsrE2QskTr9C6ekt3GIyb+5RO97E6JUlELPYMhEJBrAF4uSWb6L4/Njc57AGXHQK62QXf4IreQZfSHTvNPReCVfoPF2nB0slg6lXQbNH0WorKMo0LZcbU2UHW0tFT0zR2r8vX7CJC19CbfRQcw/o9VwEwqPkSs84Wtpm4uI5qqUcywt73Lv3EdGBQW5cv8i9Ow8YHhunUszicAU42F4jGOmn3RRRSzuf/rlXCIYVtE6Y3OFDHBYTrslX0FsqWv42lWKb8OyLqJUCRjcvvbg23wQ6bXTDKVDAWMwt1EIKw9+PDeFwttIWACItQ2j+JfRGQW6lGuk91HaWQGgKr0j+VLMY3TqG0kWzDOEymTBZ7bS0EtaOk465g63VxRwbQC2sYG6ZMJKz9AqHKIJJUj7EogugXYiWNCEIj3Uf7uBJurkPMDtFnWwPuyWA5g3QLZaw6RkETaFjH0KJjmBSzeildbrlA0yCbfOlr0q7xfOfvsmf/N0KK3s11tezCL7b1KTw/ebpD5jlRmNyMsLfPyrx9WkH/9MvBHiwVmN9v0XAYZPxYcHtiPoVCnWDc/MRdg8zPHpWw2y2Mzbi59SYh5/d2eH8qQGWV3JUW1bOzfmoNmu8e1tjctrCi7MhHj4v8WxHI+Ju8+kr/Zg7TRZ2O1yfEts5VWCneLbe5dJJNwGrzuK+gMv5KDU6XJr2yopf0q+wUavz0+c9cnUH0wkXHyxVaFjNWO0mHm/XSLgd2D1udnMNfAHRyQavoyedzwLqN9VnJmgXoEInhXRFdqmfrB3zKy/HyWZaLKa6DCXd1IotxpIhytU62bKg+ytE3FZ28mX8Djsmq5Wox8F+pkqjZ0NVO4wnhaKsKw/zQlUYitrIVXpcnR2iXOuyn6+i2HW8LgGfcpPZK8h3dc/oMtQ/IOtK+8cVCU8UClMRaxcXqWgkJjhc8tK7tV0QDECqHeiL2OXm7qjcJRaySaCeGAxaFDMjIwN0VBPPnj1nIBnl0zde5aOP7qCqXQYGhuhL+Ll7f1FePC9cOE1fXz9PnjyVlYxGtYEZi/TBGx0BvOvIC6QAxoWiYdZW12SPuG8oQbfRoiZi/YIxEAtyYnKK3d19do4yvHz9BQqicyqSR3KoqrO3lyGZ7Ofg4JDPvPppCStcfb7K1OQUQ4P9LC0vycqHAOPtH+xTyOV58caLIlwnkwkOh5WREbFdRcbF19bWSAgujMlCo9lhfHyIw8MUqYMDWVu4/qmXOD7OUMjnOHfmNJub64SEFSIQJpU6Zn1tVUIUFx8/wWK34xGbxkIBXTwj7FbJ3RFMi6og4iuiL/wJHK2j9uRwWdQVRILDZNLlFjc5NMLuzjpzc9Osru1L/Z9IYoUEHLDelNFfkVrpdrqy7pIvFInHo5SqIlHRliYZUUEQ8MdIKMTCgycMjfZJaLXgGmxv71Eoiw2dD4tJVA4UWbsQwzcBqa5XhXc+gNliweMVCq4CtXpbXgyGhgaplAsyzeB0ueUgSAAGy+U6isPDt3/rW3znT75D38CIhAk/fboo4YGlSp1iPi2hhuVsCbXXllruSDwiL1aqnGHbiYZjrD9fk8TwVqfOxUvnyeYrLC49w2NX+Kff+Do3f/omzUqNTOGAuNcrN7I2w0KpVZGfKZfdjsUODqeG1+qW/fODUoGOaiWlGvzOZQfXJ10cZiqyFtXseQj4u+AwmIiGsXhsPFzJyETd2rq44IMbt6TWi6Hz+lKXF1510ms5yWa7ON3CN/EJ9HBkUFRCkBeoDhZeOD3ID378nNWlCl//xgguh49bHx/Knv6FM32Uqi06TVXWYNSejYGkk8HBEKl0nlyqyyuvTvJsaZcOdh7eS/P66wPUqm3KIvSEzsyJhNTVCW/61k6FsydHOUwdyXi70OYNjvVh9Jo4LEg2WaHWxu+3SevGg3spzlyMc7RbYmjMwdjcMMuP8uzuZrGYbAyOhNDUplTgXf3UCB+8t4OiOIlHHXQ6NnyBT56JtaIqay7iXXD5eoCDDTtOd4NAMECt1MARsCDWN66AlR9/N8WnPjWAO2wmu1/lxZcHeXinKgc92A2pbp4cC0glbS5fwOgpuFx+llYPuXK5j2giSKeV4clClUvXhxmfCPH2zRWeLdR59UsD1EoGXaNFNatR73SZmg1gVS3s7pfRewZJCbPV2Xjekop3UbXKFTrYHRbJDwjFrIRCCo22jtbSafW6UhOaSlU4eTrOznqWrd0ac/NhMoU2yT4BLtd5cq/A618aoKN1qOTEnaDD7HyU7Y0SLpeoXeRQhcHJ7ZTAwP6EE83oMTkbk5+hcrFOMODB7taljtEXMpNMxHnr5jKJSAhPQiwzdJ48qnH5pQAuq1XqWLf3axLsaDE7aNSFQtGMYvXQP+pj4eM9hkcSKE7BmasyeTKO16XwxhtrXDg/QCLh4emTNH0DDtReF7VnkYYc8TM+e1bk8sV+stkysZiTw70qDp/C2FQMl93K2++u023bCfrFn9XM8ZHKq69EaDdEdckjh6E//OEG03N+wiFhximi2IIsPklz5kKCSq1CIdviOGVw9qJN2j8++nCXvkRAMn4EBNUXCUo2izDZaIaDw1SaZH8Q05/9QsgQm49IIsAH7+f47Otheh0Le/t1nHYTA6Me9tbEps9gcjSA4lB4tHjE1EQQu9NE7rhLOOxka1OoXHTGxxz0DXlkZ9Dh9JJJ5QhFQ9z5cJfhST/JfgErKDAx6mdzK49i93P+apzlxwek9sQDoMPnv3yRZysHrC4cMX02xuKjPCdnhzGsZerlDrWyTcLeRGdJdLdqQjszHWZ7rYLbqXHjxiDf+esD5gYDzJ5S+HCxwuvnvJQ1hV/494dcOqkTtXhYy6nEvXbupzL8h3/9NT779V9k9e/+FHcojMsa4LCURgyTzSY72+vLnDg5icMVxu1zsPl8k/GpeZ4/XWD05GnWHyxylMty7uJpFp/e5Utf/CKbzzew6C40QfYeHsVhtZFP7xPpG5N02Gg0weriB7SbRWyix+uNUCsWMfXq0rO7uy3iwxHGxsfJHuySnBjEpgRIb2/LKKFNAAOXFznx6hlSaxu4QyP4EwM8fOcjYn0erNj40TsfiKcnA74+3lxY4vbHeUk8FQyGVz49S71aRLfZUExdPG4flUpBQn7E1L9WVpmfHpRKnz/5zg/pmXUmEgqTJ0+ws7xB32ifpLc+vLPDs4M2Q0GDkzNhfumVM8ycnsN//hqmno/6o5u0KofYI6dp9zI06xlc9OEcCtPYzdIyOli1Ci5HiNLhLbxzX8eOiU5NKFLctDQrZl3HY4tROL6Hf3CWbr0sVjGYVReWbpOeo00ztY7/5C9jquWp7d7CsFrx9J2l2z2GRh6Hf1T26Qupj7C0dgnP/zy67qK190Pc/Z+mZWi0U4sY7jDBwRl6tWPCs6/w3p/9n6zvbTE6fIqnT5e48soNyVT4u+/e4fNfusLrP/958ptPye08wukbJTj3OXJPfwzmPKHAGVrdBu7+JJWDJcy6DffANI1yCq2UBoeVYN80pfQx9sYeds8EqsuO1WSmp6lY3D4J8tOKB4j8Yqucx+oSD4c9POFZqTFqtPYo7e+SOP8VMo++g8MxiDs0Rqe4iBIcRYnP0SluoeZzOCdPYXZOkN/+B2zNLu7BM1hiw7go8rO/+s+8cesJBl5GwyEY8lLY3qdaMhEbCjESj/DmzfcY7IticfTz0Z0H/Pa//Axf/Pw3wOekvPAEk0gE2Jrsb26RPPMqFrOd3PaP8EROYBWddU1MuML09AJaK4M1eEJS7LuZTWyuLibzEN1ORm4NnEJHVyli9/jp6U0srTrNyrY8kFr806Ilj6lTQInN09U7dAQPIjIgTPQYJhdmqyIp/PZOBVN8GE3t0CvuYQ8MyxqDpdWU1H2zLUTP5kVRj+j2zLjdcezJEcobt6nWrHRrWZ7sbOJTYiw9uMvQ5BDp/WMKxRaKC+IDo4Qicaq5DMnJEZx2J4sP7hPvD8o4mdlqMDk7ze7KBg4RPdab9FotXnrlC7gCFuqHmxJ0mbzyK1Sf/xTP6EUs+W2alee4Rj9L6WgHi9GQkDuLtU9uUtXSBkpwCs3soFvfx+8epGmzYFE1bIpQYRlyoFrJbOL0BbF6hqG2j64bmJyD6CYVW2NTIDgIJ/podFW84RjF4w2cDguW4Hla6aeSQOxOjFLbO+T27Y94traFye7kwgsncYnPXq5KrpYnGh5maDbByqMlniwuMDmV4Gv/6s/pVI4o3/sO7uEv0lAbOMvP6fTy2ELTYE2AmpUQ1nYjh9sfR7PZJUzIpHvpGU3ZETe8blpVTcJ4TNU9LIZVDnE8/cM4RO3o+F3aSlheylr5Q+xCAai1cVpq9HQ3RvhF2sv/B2ZnHGX0m1grH9Iqr4LvlGQ2mISa1BWjkdvHG/PRqRqgNTCa2zj7r9KrpegaBopFpat6MXmjWAWpodGhUtnA7hvDbarR1K04zRb04Ai13ceSQm6buIGlK4beR/zx7/8R3/3rRS5+fo5GpsPcnEiS2Xm2dki2pqG4uzi7Gvs9C4e7On/xa3YUq0o278ViU3mwXeWVywPsbBToT9golFWqbZ2+mHCr99g8aBCMmMinDC5dEVC6Fu1WT8L4JvqcmMwqubqJbKooqdJxt5WyYcOtG2RKKnWtxdxwiOWNKtGAmbDfzr2tFi6ziU+fCBELGDzdqVJXLfTF/KxtHnN5IsLFsxHefHeVo5bBF14cxmj3eP9OiW98cZAPdvI8Xq3jMDuIBBVubdco9Fwk404ebWUwqVYydZXdohVfUEBkDSwWs9wiuuwWTvcp1JsaPpMZFV3GXEWM0yc0OeY2AZeDVLGB0dMZ7g+yky0zGO1Ha9URBrNg1M/dxQIuh0fyPqaGfLQ1lcdLRcaHfVgF1FPvUCi0GYn55PdCaN46HYODbJWp/gh2h5lKpUVLU+iadAI2B9liWg4tzBZx4PukkiJivJlKF63dlL10l9cqCddioHliLkyjpkoA1chQmHy1gNXilhdVtaszNvFJDDtzVEFxONHQiUaijIwPsbWxh8ut4POGKJVyDCaTlOp1tDboWpdWt8upU7NcvXqeD28/4OPbt7l67Sqr61s0q3X6+hPkMhmmZmZkzeD23XtMDg/ymVde5uHDJzjdVllxmxwZQRPVgEJeKvOSQ0N0W4Jg3yQcDeIUFoZKDbfTwfrGFl1dY2J0WFYvd3a28Pr8n8AJOwLa3GJ0fJBMOker2cDnCXDxylkWn6ywtbVFLByS/fhsWnSgFTx+D/Vag0uXzstYcrlcZnp6isOdQ0q1KufOniaTzfKTN38idX8CGPZ8bU1CfsN+AVLTyGVz7B4USfYL05RVHrjDUQ+dWhvDLC4MHmk0MNls5AsVCVn0e5xygCP+s9g/0eolBmKUimV5cRPJk3y2JDeOIiGRSWXlJtThcpHLZ2UMV3TqDWE2MQxqdZVEf4h2p0Ov28PjcNAS1UENeqoOhoFb/HrHJ3+X8YEY9XKR/r5BHj58KlMLV65eoVFrkz465MLVS6w/W8Xr8XLt6lVWNla49d5HjI2PMtCXIF8ucXxwLIF9Kj1e+8zrlGtl+uMRjg6zcjmWCMXxBj3UWlXcHj8Ou4OnTxdolVusbR/jc5iJ+J0y5eXzGPKZ2OjZifkUtKZKRyx0TDp7Rz1y3RpBn4fTYYMZl5v5kZo8u767WGUw4WB0wMejzWNaZZ3JETOTY2G2d8SFSGcwZqXS0Xj0pMHkiJ240Ev2DO4/y/Hyyx7KZTsbS+LvxMWpsz4qxRaHe20m58Oy32wxAujUODkXxeuy84Ob2wz2eWk1OoyM+6iL7XyqyeWLwgBjkr/n/l6V+bkEq+s5ua1vtzqcO53k3Zsrn3xe3SpOp41qucvE5ADrGynCEZHOEt9Ag3BE1LxMaB0z67tZzp71MzEW5q030syd9eJRrDx7msft8RIfttJoaJhUjeXnVU7MecmXhK0iRLzfTKOmo9icxPrMVKomDvfLOJ0GuXSTi9eSLD8qEY7BlSuz/MP3F4j4PFJH2THg+vUkq8tNOvUSp88Pkq92eeuHm3zzmyfQzVb+9i+fceJMkMxxjTNn+jhONdjeqmJ2iORGTKrG58/H5bv15psbnJ8LE4o7qWo2jILGwtox0ycTDES93L21yZlLQ9x5b5PpMwOkj/NYenb8fvCFFHRN4eigQiBup1NXmZoXgL9dAuEghXxH1oaF+UdYtI52uwxPOKS1TagFhT5RDGFOnh5kb6tEwOeRRrhWx8HRUYaBYTfxaEAI5bhzK4+OqCVESR8VpTYymfTKi/3mswKf/ew8H97e5MSZKHsbNXQULNYWNotKtW5Qq6p4Q1Yqx2ZGRu3yLrG7U2T+RJBKqUdKVNsTXo7WS0zM+HEJnW2ry+ZanbHZoIQAZzIFTp/v5/mzjITUp9M1LDavTLHvbNYYGYkwMmFne69CK2ela6nLYWDY76XebEllr9DhhgNOuTxtNOvStlZpdJmZ9LO1VZBnXawKA0kXAYeJxytlFIuD8+cs/OTtvARFiupSoyXujAKFYZWMKLvXoNloY3d4qFUF12KE/cMC2bw4K8LUvIO11RJzszEyR3UOD1qcu+DHjCITSdmqCdMP/3nCGB0KsbqRko7ETsfJxISgFioEHBZyxSbthk5Th2ath9rtMjvnIRzp48Nb24xPBGUXzdRtM3cqwZ27WamlEFRWq9eMSaA0DQ2PVyEc9PBYwAKtCmPTbqplE++8vUey38bpUwN4A2ap/9hYLtI/EGRk1MnudltGvMIhO4rXz7PHaUZHnQwMB3j8OMvwoJtO28xxrig7uqGBhIQA1Yrw5deS/OBnO+ztWfgffm2Qt5Zy/D8PdL52zsleucuT3RbesI3CUZv/+Huf48LMOfZ3N8mkMiRG3HTrdkbPvoA7EuDj73+PO3cfMHVqlqVHS1isDr7xra+Q2s5y9oXX+b1//btMjPmJ9w2zul1ksD9Ms1GVNYFrn76AUzNx673bPFvb5qu//BX5ob/9YIFLl6+S6B8nm92RL2Xv4Cy17BaBQIhsNoPP56Waz7Hx/Dn+4ADRqOg6HkrFjD/ez/7yKq36Pu7QrKRHY2tjmBxUyrtMT1zD6bPhDnrJbx/SM3UlAGl7K8Ptx4d06nWOmjr/8MNVYgGX9CJfudDH0LCYeLt4590FvviFs3Q6Jt558z6/9hs/T+r4gCePd5g/OcLxUY2jbB6bvUf2yML1z0zRUjX+5m8fkXQbXL4+zPm5CW5cP0Hk0mfoHeY4+PDHWG1dXPEYlbqGq2vGe+4irZ0nNBtOQuPDFBbfRembxGNDfmHcA9fBaFAuLWGrpuj2FBn5VKtFwuMvUM8tQqeLb/pzNI7vUy+sMzj8MunsCm6LDVt0kHajTm1/hejgNHUx3TOZsAdGJKSpcrxMePAcZncfqlqgWy1g9wRpVXYx6SUSJ7/K4tt/z9s3P2buxddp11MsLzxhfHqa7Y0NTp2c58WrpwiPnKS5v0+bLl21iNsZxeIKotazNEp7+CJn0NppceXE4x1CNeo0i1t4gick6KrbLKOZLShWJ43MLk6h3nIP09m/ieGMYPUIsFoOq3dQwpa6hXUa+Sz+aB+KL0q3UcBsD9FubWKP3MDUPpJuXlFj0Vtl7CY7zolL7L39n/D6g4Sn57DE+zl++Jg//P/+mIXHTcSz4Gtff417t+/id4fYzqcIukMc5GoMCSZHtkTD4uCjOxv85K9+l8GXvkRl+W25DbMbBmabh26jgjc4RLvVorz/Dg7PAO7RGzRy6xiNEuKDamDHHTuBWtxFt2mYOg3EidbqEd3pMqpewef2Uaq3obqJLTRKt7aOJfIa9uY2rXYal+6mY3bSLq5hGGX8AzdwJU5S2XwTrDZ03yy2ThqtV8FqC2ByRDG1DtBUO5g0dH8/WuOI1tEzQn3nwahRb5ZwOBNYvX7MvQKevtNojUPKR1WCMQ+P7t0iNHQRl1nAhRbQiElFUigelX1Ki91HJpOnlm8zNT/C7toaJy5ep9eq0G5WiCTjvP3We1x54WWe3vspkWQSU1eR1NnowCkymVXUVpPzZy5TOi6h2fLMnLkuawc99ViaUapNHaOygzsxT9sAp0mjVjjCcIXR0g9oFKuEpq5gc1ipZEqER07TKq2id6rUM59ojfyDX6SYuSd7nNZ2E3d8DNXmorT9DH84hikwQiH1nMGJGZqlOk6/F2sgyfb9N+iqTp4+us9+NsvU+BiucJyd1UUmpuZIp6sUMhlZB/mlb34VBJHcN42aeoLN66BrHaHbKWG3h9AVE7QbmMxOrPYu5c0PcQemsUWStMt7GNU0vZaGLTKKzWhhmD6pxrh9fqmF1BtNrIFBXEpPRsPxhrC6E3S238Y2cEkmI6ytFLgidHP7ODz9NA4eYvbFsIZmsCghdKEsPF7E4nZjCwToFsTP5pJxatH51oOj6JnbKLEzmOtpmqUd7MPX6JX2cMXn0ct1st0q/uombZPorGooZPBc/+cY9hCbP/5z3vzxj3jjvRT1ppnPf3meSMTBrZ8JNZ2JpZ0MMxNRisd1eorGaMzP6H/ZnPzhu2l+86KbL8562C81GIp7+dM3j7lxVuhPVeLxsFRfvnWryMS4kxPTXorVDtVcl3bXytyYHQGxPzhqUW10JLE6m9FJRC2SHl0o1CSAcDdTpdLRcRhWomGhVVOlNnDzoM34sJO4w0S6p3Oc18hkdMaGHEwN2HjjXg4nXrzuDvmWzoVJF2rTgc9nUK7XUexODNXAahKDKBP5gy6z4x7647C1V2Ckz4k3GObhkc72Rh6/W2i4LLhtOqeu9PPXN6v8ZKVMwezkuNLE7/JImr2ua3gVB2ZFDC06XEiISpBBrVnD7HDRrLU5NeikrptptVsoHZ2hYa9U2BVrGk69R7rSoN61MJuMyGj3Tq6CiiCde+XFTXjNhdrWYRfKwh6aWcAQNelCFxc54X7utXUU4a52uGUKyedQOM6mpaNbDIEEyVqAVW1iI1ys43ILhVGXXF5FsXeoVwVrwIbXZcIwdAlUtJrtzMwMkU4fs7pTZ24ySKPRleooj90qlwZNtSsVnm63m2DQjaG4JYegWm3RUJsSenru5AW5qNnYWGLqxAnUel0aN/YPDkkd7OH3CuNCgGJJ1GEsMlLfP9BHOVfg6DjLhSvnJXQvnc1zlEkT9HiZnR2T8LBSqczY2KgcWoglxN7ePgsPF0kOJZifm+PJ06cMjQyRy+Qx2awUsyUSsRAWmx2nz8XOxo7c8MfiER48WJCXd3GxFvWqo3SakaFhHi8scvHiRfZ2d2jWa1y9cYWNtS3JLxCX12BQwBV1dveOGBgeQG+rpI+OOHteDBiWCYWDcqMvtuaFSo1atUjILzZmy8zMTkh7hdBKehSxSLLT0zVqtaaEMIpzr3hvmURCzqxLiLU3EJbcEY+I6MdFH7jAwVEan9chNcwCHunxiS5wSg5H/H4fmxs7JIeHJHSw8v+T9J7BkqX3fd5zTqfTOYebcw6TZzYvsFgAiwwSsEQaNFUiRVu2WVYpWKZl2S6XpG+WJVaxxGDRsEESLJIgAe4iLYDFYsPszuzkmTs359u3b9/OuU+Hc475vvt1Z2tr597Tfd73///9nqfYRO+3GB0dl3AvYULxezXWNnal4tLlETFhG+mjPJPz43z5q1/g9p37rD/dYmx4kHpNuN8tavXuxwsaMdCbGJNDItGRVv8ONPmrv/YNHDYb735wi1a9STwRJZvLsbiwRLEkOvyC1i8ub33sqoNSIcPR/inT08P0TZ29wzyRgF/S1svlDsWuyfyAKp8/1VTJGRqFtkHCbfAbixrPjDup9EocZsAW9Ml30HjMx3q6SLEMz15IcvNxFbfSwu524PX1CNq9fPiwxrPXPOi4ONou86UvzfLhhxlqrRbXr6cwGn36lrggNen3XHQaHfYPanzpa7MyLXN+1ibsU7hzr87wMMRiUe7ePeHCxQEUpUe9bpAY8PL08ZnUwk3NeHj6qEIs7sSt2fEG3ZSzwsc+yS8+PGQ0maSnttl+WpAbVwFRGxyzE/ZpPN0sy+HFlVUPmlflYLfNyqrwxBdpNNpcuZxi92meQrXH9GKQVkWkD9rMzgzIhFQk5eLmz3KkRmEAV5PVAAAgAElEQVR5ZoRbd0555tmkhAXu7tdYWA3i8Ti482EVm7Mv6yyCJi+217rh5GQ/y/Jqgo21EjNzETkwqjV1gj6PNKsJdefGg1PmL0XZfCKq1RpzF7wc7zVwu1VUYRZ4WOSVT07w+FGaqckQpqJSypk0exVGBxM8erRPt+9g9UKEne0uqZjB+GSYRsuO292lWbc4S1e5dH2Qux8WaBo1VhYHqNdN0kdVnDaLUNTBwuIMP/r+Az79hWlxFOf9t3eYmxsmOWzRrmuo9ga72302npa5fDlCqSyYH/DCS0OyKlsr9zg+KnHpyghOzeJ4r0S1pbK8HMXE5MObeQJ+i0kx6KkqOF2KhLNXKzbsdhtTs346nQZrayIRkOTkMMPf+8YC5UqbD2+esbo8KrWpoUiUdFpwChzMLcfptBo0qibNlonfb2PjUVkudT7/1XGqNYNatS3p+eMTCQIeG2fnArpn0BDPiiZAom7KpbZcOAwNxNjeauIOmFg9g0ZbAGctZudS3PvglEhKpVyyaOk6M/MRYn4fO9sFhC7J41LRew5sNoOhYR9rDwsSaqm4ehxsiySBTYIdL1wf5vxc5/y0SCToIzUQoNsTBig4OcszNjHI2X4Rb8ApqxqmZTI6FGT/MCsTYagaj+6d8sxzCU6zLZTv/cOo5Q9pmJadXCnP6b7Jb/3ji9z56ICjwwZDg34iYTEJdfDRnTTD4wk6RgOlZePhWpW5BeGi9ElnYjTlpCk2SlG/jFT/5M20hCSIqbKg4o9NRTk9OsNhc9OstSjpBteuDJM9K7M4l+ToMEO+5Mdu1ihVmyyvDHGer7CyNESjabG1ecbIUIxA0CanN+LFL+L7HeEA7zrwag4WV/y88VaWV68EqekW53md115d4HD7hLeenvPmlpNnLg2ydlwmWzew2jorkyn+5Af/nsL976I4Rgm5Ety7+xZDw6P4I1Ee3b3J1NgUwbELnIqLaqaMLxaia3ZlHUDEtX7x7k3Mrg1LbUnCeMgf5+jgmI3NJ1y++gKnZ+c02nU+98UvkEvvYjltZHczTI6F5NR6cGCQp1ubMt6ysDpH0OtncHRURmytfp9EPIbq1iidZGkKqJxqEgqF0cIh0ntPUJ0xxibmeevNv2JpZZmQN4nN1qfRbnPv5l2mZoboG+LwZ2Phpc+SffgO7lSccibNL362xvKVSxRLWf76+x9ynndJ+JE7EuDFG0m2Hp0xsTRGwGmwtr7Hiy8+x+lJjoN0jqWZcc5KVerNLraeIKJ6sQyLcCrGT954wpP9DpdGXHzlk0N85otTTCx9AYfXT7N6gn58TAsbjXJTTg8DgxMo/gmKd/8TebGt1oaIjUzTqJzii86jmgIk08BmeYjERtGdwiywQ3joOTrtKp3CQ2FfxxEYxZ+aoLz1Y3AP4PSO0tVz9CuHBMcvYQsu0q3uoee26QmYoTZNOGinrfgwFYPe6Q6q20NYeMkb54STK/Sqd/ij//d1KiV45XNXcBJgZ2+XQDJKbu+Adr3C1/6r32Z80MV5+hGNtpuBuUucPfk+kdFP0RUUcUEtVl3YPDacbQOsKkr4OobawupXUWpVeu0qdl+MytFtQuMruIJTtLKPZJzQMbiEy3RjdA/QsydygNFTTeyWg05tg8DoK/Q7XbqFbexaGMsFitlF1w08modet4re92CrbjL40ldoHmX50Rt/xrf+douXnpnhKFuXuqfLF+dJbx4ye2Ga+3d3uX5jkXsPjthd20Tzavy3//0v8eJL4zjD17n9rf+dped/BcvuoLr3Dp6hi7KzZzTKH/MWEim00Aq2YJB2/gjVqsvNiPClasEAPUPo6LrSSGDabJilTZzaCLoWxtUU/bUDCeDzj7xGaedPcEQvoDlHMdtPaXZd+H0xVLVArVrG6QpjOlWRxsbWqYI/iqpGMeobmIqJoggi/qCMeXdzx4Qnr9NpZrDhpdMoyQO7Oy4c8H35fdgzy3T1Pu7GOfaheRweH4ouopFd3KMrWK4YZkOnlb7D+v238IfnKbWqmOUOhNwS8DaYiHP7wR1ZCVi795R/8M/+KbmjE37wg+8xOLpKMuQgnBhiYnKC7/zp7xEZnibi9nOWPxRsM6yOUJoNUq+fMTs5zYXPfB1VDVDc+THOYIxyZh1feIXm0W0c4SBaYAFVcdChidOepNPYxu4awLLrGG0VLTKEmX8Xm2eRfqeClpjBqB7TcwyitNNowVGazSyq20+/cIDbG6GPm3I9Q2p4BqfSw6ynOc3pVAVsr2axvbNFvlZgafVFGds3XG569QoDqTg+Z5P5V/4Rha0fgOLHFZmgc/aIcGoG3fSgWiXZTRPqJbt41qsnmPUdPKEBVEcQ1XLSrOfA3sMTHMVwOrHKJyCMH42ChCQ6AlN0Ck9lrLbas/B123Rsbcy6G2cyCe4U6HWsdgHLqaI6EqjVQzzie8jUaJaeYnfH8YSmKZw8xB8dwOsw6HsCNNttHHoFe2ge1e6hX9qVvWqjVKDnsuMbvIhVOKZU3CEyskhgall+X99/72954y/fYXP7lOGxMTR3l8nhGD94a5tLlwT/xM57j7NEvCGGBtoc7VfINxWm5uLynfQo0+Xs7y7zv/MJldcuDfLBQQGzZXF5McjjpxW5QZgcCpDvGPicTs7PdM5ybZ5d8VO1DIr5LgGvUw6jFxYj1GtdTtPi/yFELGJKxsrWdlUqE/Vug9FBMfDsU282mJtJki9Vyec7dNoCBBmmUu+QdCucVdoiZ8FRyYWm2Yi4HHLTMj7pIOzU2D9oUTO6rCyG+MmdHAsjca6MO7l9UCR33mdy3CtVYH/14zPmxkPkW1WeW4zTbDZIRsJMp5x89xcHPL86gj9isXPS5TTb5EyvM52McndXl1tZQWl//cMGe3WdZMxNz7DQO3ZKPRH576MI6rdu0hYpqr6B3aeRcDklg2ck6QOR4FDtJCNig9gg4BR6bVEdUDDMOh27i2G/n81Mg1REod1z09R1AnYb4YCd43JdxtMts0+t2efqhXEe7x5jWA7MThOX6pFb+mgqRNzrISOGaPY+p0LdFAowP5Ygn83hCYak+k9xauTTJcmSCCaD2E0HYY/GTuaMfsdkbDRBT1ReBEfGUHBpcFpqsTg2wPHJmYRGDg65KdW71FuC4+CQRHqv04Vf9Ku9bhmzF4DIG8/d4OnTDVmvFHHieqtGOBSSG28BjytVS+zu7PDyiy9TLRVlx7xrmUyOjMot+k9+/qa8uI5NjLG9vsnFq5c5Pkrj9bmxKU4cmoPLF1d59/1bBP0BNJciAXt+nybrUc1WW0L/Pv/FT7P2ZIN8rkAwLD7rKl2hbsxlWVpeYmt9nQvXrlApioSkg+P0qTSVlM/PJcA4EAqSz+WoFErMzSzQ7rcoV2r4/X55qX54d52R4ThLK0tk0+dofjcCqtDt6Xh8AralUi3XOT/PcJJOM5gaICei9X7xXurJP5PvU0Mhe95ieiKGPyAgYecyVSH+W+2mSJHZOEqLnv4gkWCQk/QJTqeLQDBMs9Gg2zGx2VUioRA7e3uodhvRSJCRoSEeP35K3xIR5Ba/9JVflrW0nc11CeO7ePEi60+eUq3XmZub4eGDJ7zwwg3qQlt4mpGA6LmlBZr1thx2ZjIn+H1BWVHzuDSerD0mlUpx8eIq9UaVjfVttjZ35QAkFPDLbrSo+tpMi7DXITV87X4fnxhsOW2clVvsVPuUW7AYCPLiUJ+XpwQM1M333s/y4uUwUa+X/aOirLqKz1vLUFgYj1OslKg0FaIBB2E/fPRYJOEMjKaduQUXPatDt+nAYeujBTSONyp85euXabWavP3uLsGQE5/HIQ0Mj+/nufHMMM2eKRMthwcNQhEnzz8/woPbJ4SjbqKiDtGos/W0hs1pMDroo1zWiSa93Hz3nP/y1xa4feuYq88O8p2/2OHSapwPPsozNODg4mqccrVDUsS4H6RxON0cHzS4dGOAVjPP5csTPHlSlgvK9FGTtXVhw3FLRkz6oMVrX13mLJ1mZ7vB6LSPnq7IS2ynZmdq3s/Pf3pKaiDI8JCLerMlP2NbG1WSKZV8ocXIcITJyZjU6gXCTvLnNfmdGk06iQU9HO+0UDwmvV4bhyq0x10ahS6xhIejA53xOS9Op0rurIlN6xIV3ylNhWZXDEtMDtN94gkf3VqL+IgYUjupVmtU6uAN2rm0MsQH72YID9hARPW7dg7OilxdismlsEjo2MV9I6JwfCpyxR0Gx4Psbufpdi1GBjU0l4e9rTZTqwH67QaVSudj20XcyeZGBbvdy4VnAjy+c8LC/AgONzx8UMLjtjO/GOHooIQdJ0cnJcKRAJMTfh6tpxkZEvpWRX5PXXsmwqN7ZfYPq4wJ3V3F5FOfGuPHP9gmnvAjYgOddh+H2yLkdePw2vnR6wckxoJMjzsw23baIi0+NSrhz2JhNTkVJp8zOC/UZbw/4vdx7cUBDrd0Xn9jh6tXwqxcGuEXP91HVS3GJ100uyLtZfDwQV5WkqZnYximzuSkjzu3i9KsMDzg5N23jxgeTeD1WTx+WGJhyU2xBH6/Su5EZ+FiWKZQRK04fVDEpoq7toEopOg1G3aHSi7XZHo1ilt1EklafPP3d7h4fYjhEZPj/bqs/RRzBfqGSqkkqhpNvvjaOJbqYmszT7XQJTqiSsbJk7tnvPzJMW7dPGNwLECnYaD8+J8MWefZHg5bh4XlBOmjEuGwn1ymSjrTY3JO4523Cnz5a6Pksh259b14MSr1DaWywe5mi6ExjVJFwLUUIkmXPNCF/S7ee/+UT7w0isPn5Kd/e0izYfLJT4+gdwUVt47TaWP5YojKuSltA/MrMdY3iszORRlKBEln8qyvV4lGndidgl5vymiGZnNRabQ53KsxMRSk19WpNhVSo15OD84JR2IoNgfVWpFCvs+nn40zNGjyh2/C+xmTjcMCYafF+HCIdKHK430bv/e/foVnr6ksLc7B1CVaj27jGoxgM4fol0+wuqI73KbWrqC0DXzhKNihWatTPD1kdPoCN9/6Bb6wj0jEza2P7mBzepkdX2Tv6OMv3sXleXya2OBnWLhwAbvVot0xyOWrtOt1PEGPVIgICdjc/DL/6l9/ixuXPEwvLzM7PcaPf/ZDRlJDUqczMTnAwOAQwzNTFM7OcXoFfVmTUf7Dw3U83iR2+hIGZ7gMKvk0lXKD4YkFMkdZDnYf8NVf+YcY9TS1dpPR2VUEXOF08zZbj4/ZO93Drw3wn//sFgtTcY4KbQ6Oa3z5Mwu4PCYfPdjhK69d5+7tx6xeWJFsh7OzDN6wm6OTupyWCTXYr/3yRdJneV7//mOcHuGMr/K//IsvE3T7GJxaxZZchKff5rzSoVnUsXmF+iuAFh6jnjvE5w/TLOXQq3skFr9AvVRA66exEqv0TBPz8D38K38fQ+nQz63TKp1id/hw+mLUD+7hHFogNHCVswd/hM8ziXfiOeqVp9gbVUybB28wjl1wCcqn6L0mmpak1z1AsQekXSAYm6Dw4Nuooq+1+lXe+NafoDm72DQPD59uMCdc0u0uucIZkVCcV154AVdUkZEp07JRPFsjNfky3fN1DJ8gEznxBUYp5AUUbpr87jvYNTvB0ZfodXJ0az08sTE6YktqVWmXS0SmnqFrG8HI3qRdy+MeWKXfzkiXsd0dRmnWZLrDabPRbJRw2RV5gPGExnEoQQxbHYHqEkRlj9WU/ueK3ca/+9f/mbNGm/mLU8TDYYJBN/fu3CbmSuKLBKi2hYM2S7djZ9hX5+XPXebXf+t/kr2x5sbf4oh8lnr6plT4RS9/XaZPRI/Shp+GYcehZ3DaHFhuH/3qPooawObwYtNC1LM3cVk9HIOv0arsy8OBQ5tA6Z7TTD8hMrZILzKGcvqUjt0utVV23U+fPCgx+q0S4aVn6NREB1dBUUJSL6j0CtQyB5K14BmcpHG+i2EKnskK+tG3MewJnLFFqekSJUdx+LaMHAZBnP4g3UadfuWY4NAqPW2EXuE+HQGHmlmmldnH613EOPprCl07yWe+QXfvJpHlZ6nlznE5hDd+GvNsh3p2nej0Nal12rr7ERNXXmXnnb9k/ckmqbFLfP/73+bSs89QOqngj4EvNEA5V8eu2FhYGqLQFMqdDteuX+TkYJ033/wJi7MXabXPCaeSvPKZL+BPxtBPjtl79GMGxq7IDXe9f4bmncBjdClX1midpfFPPYPbP4XVPMHmiNA0Vfxal9r504+BkLa+pOQ3MzchuIyWmEMpbOIID6JnbmJ5BohFL5LJP0K1egQGruCy9eVWT0Aj7dMLPP6rP+PBndtER5Zw2U2Ojs/wh1UCvmEUM8drv/HPaTVUzNI2vcoB9fNznIkh7KqF6o9g6xo4/EksLYghemrlY7qGgcOXwCg/wK4NYHgmsYkgeO4Rztg0PXcUs1LCEfDTOttAC/owDAeu8CW69TX6ufs4Jn8Zl6XQr9zDoQ3TCozhaJ7Q73ZRelVMewDN6kp3vCISIbUzut1TzFof3HGCA2PYunUaegG/f5BGPk126ycMTD2HM5ikpLcYTIoL1gjqwDyHD3/Ot373j3j7nTOeu+ZlcGKWs8M8yxfnsKl1ovFhdjYPufPgCaVSm3s7DqannNyYinJzX0C6DK7Mxah0y/z0QZ0/+JUYS0EH372T49p8jLapohtdgjYHbQT5V0ULBTg/KzMQdskq35//4IRc2cEL1yxcpkduh30+gysXE9x+VOLJVpPhIR+TSQeVRktGLneOi9R0hYsTEZpdHZvNzv5Bg4Dotbe6uJ12RgZC3FoX8WI/Ia3LUNzNzmmNa7MJHu0XOEw3CUftjAX9HOcbJCI+2pi8+36Rz94Ikqs2OWy4iAfsuGwtQjZBNY7yeKciI8deb5eBsI1ixsI/Yieqmry4lCSXbrGbq/L552PsHbQo1NpcXQxT6vS5/7RBLCI0XHY0LcjOfpHbu0LrF0XIk3cKVc6KPfwOu7zE2nxe3n9aJy9YBrMB1vb7tCyDVDDIeS1POOSnUOkw6DfwRjzUSjpLCQ8IzaDDST7bZmLAh9nvo5smTaHa1GxoLicbR1XGkhouh4v9dIVnLy/x9PgUpdun0qoQE6qtoItcpYOu11men2T/6BSPw4Fds9GoizplmK2DMybG43hdgmNjp1ysy99Ho6FTbTclRFAMJgVASjUUzsplRkcSWJ0OHVORMWdVs3FyVCYeFd72CorqIH0u4Mg+7L2Pu6ZDQ8M8WNvgxvVLxMMh1jZ3iSYSkmfjcdvwB9zMTi/QM3Ru3rqL1+1kZGSEzafbjIyM0u7q7OzscuHiJQ62DyjXqlxYmuMX77/H1SuXSSQHWH+6TjweRrHsDA0luXvnAQMjSTptk0a7RqVUkRdW8fcWz5nX7yKRjLO2vonbrlFsNAgHA0xNjnPno/vMTQljUJCnG0/xuoVBSpMVBaH/K+TzXL52Fb3dotVu0uv2KZwVMW2WtBcNDg2yvbst31F9wyKVSJEr5hhKDpBMxdnY3iEaiNHQq0RCYdlFz56e01cMkvEwjx49QbEUEqkU9+8+JZkMsrq0yIOHjyXvSWyto343uogqAEMDUUrFmgQWOuyCiaDj9rhlGqVWrbOwPE++UJG1idnZee7dfUhcJHvafWmgWVpcxWZXePD4PguzS5TyRfnvOlSLbs/EH/UTCYTY3T2WEDNhwDjNnDM7N0siEubo5IyI3yHNAGuPN5mfGZDaQ7umSI6Iiof98zNWJuMcZ2141A5a2I0Pk3fW8kJEQCBp5xtzfj4xaWIz2zw+EQqyCNtH5ygdL6lxsfzrSgjb5n4HFYuxYVG3EZvOBsGQRl/AURUHg2OqZF/t7rWp630W5xJkM02GxuxcvD7Bn37zoUwpjk5oBPxiWZUgfXZE5lRn9cIoZ+cFvA6NcDTC++8/4aUXZuiabVq6ndyJ4C4ILocNy+oxOhnB7/FzuJfG7nMxv5jg+6/vsjCfpHBeZGI6Rnq3Sc/S8Yf8WN025ZqoS7mIhCwaTZNypYnRcRKK9BibTNGqd+kZJgGfg/WdLPFIBLe3T73UlzDcnuLC5xGGkAZDQ145wB8Y8XJ23KTZ0TnPiA27n9E5Mdj3yh778b6OZXaID/k4Pqly9foAh4cl2QNfXQ5wdFKm17MTjdlp1Gx0mi2uvxTnaLNFqdJl6YKPmx8WGEmFGB5x87Ofn7K6GJdn0rl5B6rl4sMHeRw2ER13srzqQW/0ZUpsbjbAvVtZPvlZQdavone6REMuTrN9jjJ1Li8l8fuF0lj0+v2IENZ776SlTm54UHT5exjoBDxOCQ3WQl5yaVNu408zRcoVYaMQlVAoZHWGU140rx1LcWPoZWLJCI/WsmiKhstjERvQaDcsOUD3BDXSuw38CZVOvSsXv2e5KvmCzsiwG83lYHZhhNvvb8sF88xUjM2dEs+9EOOj2+eMTYRpVhUMo8Hmhs7ohAvN7qXRb+FSDZo1lUhUWLd0CcpLJDzy2TENnf2tAsnBBJoX8pkqK1dDlPJCaWzgdHpZe5jh2eeGqJRMSo0GyWiAUqmKWKQbnS7JVJRWR6dVN+Rz4Q/YCPgT3Lt/zPXnBuj1e/zoB2k+9/lp0sd1jE5b1r6ypQozkzGqOR1PXIw8LM5LPZbmfZwe1+gbLkqFLsGwQjbbxa2ZLC0Psr1ZQHVa8me0tnbO4mxEpgFtqliuqbh8Bu++VeGFTwzS77fY2xFQyBgPn+RRvvsbCevwpEJMXNwtVRL3B6KG3P4eHrdZGPUSH/RxcFik39HxRuMyYlTM6qxcDFEo6rILOzIWQDEtMkd94mNudtZO+dVff557H21hmnYURZe+3nq9T7XQwRewEY75OdirMjKu8fRBndiwwcLiKJrD5PTEkBCW2bkw61tpXJqfRq3JxnqNyekQY+MBdnabCMHh/EKCTldESKpyi3JlSqNSaDE7p+FUTL5zp8ePnzbJd31E427sZpVIIIxPqEa6NmJeH9/56ZGcvHxy1c+bj6t85aVhXvv8Kr1ig7ExH1euLhJNxlGjSzT21iTcodeuc7BdoterM3b1IkebD4mHhujoJRyKA8MZgMYZ3vgM5yfr0G/wwYf36Pc6+EOpjzcAXgEImeX4ZJtmscl/9z//D/zuv/1dZpZWCPgdFCpiO/wxKVtV+jx74znu3r5D4bwkO3r9VpF8vccrn7rB/TtPWb12ieSggJUYMmbtcWuyB/3g4SNmxieJj8xw+4Mf4VbdgqQoyb0u1U5btQh4QswNR/GnhO9yjdTo1Mce9GCM17/3LifpFu/d28bhViUU6NGDExZmPCwvzrCfznJ5aYyuqfGjN97ntc8/Q66UplP1o4UMwrEwP/zuh1y5soppr/GTN0741V+d4+9/epnY6BiR6DREPOy98U1cnhD2gWfwWyV6lkPG2C1qMp3ROnwbu38C//Rlag9+Rt/RR/VGaGz8gNTqr9Mub2KPTGBTPOzf/Rvik0vElz5D+XBL0kp7jTR2/QQ1dAFHdIba7s9RhAYsFKSXvot7+pcx9TwOj0W3Y6Py5AdoQ3PEZl5FS4Q4+OhH/PTNW5QLbcankqTG5tlYW2d0dJL5+RSHx4fMTSwzOB6nWm+jqmKztobDBNfADZxWh8LRB2iJFWyBFJ2TX2CaTqID89Qqu3TLotZwg65ul7rD2tEHOIau4ooP09h8U/a5e44oNrtfgtC6HR3FaKKNXqOrV3AHxrFZLnq9M5SuSS3zkGDAT3DlMopjEP34Pr/zf/wBseQ4TiVHrR0gJNReO6eMTwzjo0mua8iXYuWswE9+csTzL8f5j7//H8E3RvXe9zg/3WJ45e9h9vJ0nSnqez/CaZqowUu0Dt8iEIughK/KC0+vmsEUOXNFwHJCtNpp3OEZTJECKpziFXaAfhajdEpfbITjy9hLO3SUBtHhq9gDSYxyVTro8UbonD1A9YcwdUE5d9DI3cMTvYrZ2Ef1x1F987T2fighOLbUq3jton+t0DUK9EuiN34R/fQ9DMvEEZqQQwkajzE9k9itKqZhEww6+moXb3CaXrmE3trB5kniHFiUXmxH9xy9msesd/AGhQ83IC811V4dR8+JPeij1YWgN0S5UZMbSrPjEf+A2tkRzVqbUHyAd97+Ke5IjEImzcFBibn5ObrdIteuPMej9ftUyy0ajTovf+JTtCtlMpm0hPR1O3nOj9eZXbrK8//Fb9I5f0qrnqFd7eLTBuioBjZhs6gd4QuMobe79OslLLOCwLv5o6t0SnncwSid5jmWTWiK3Dip4FB1dDNJq5fB5XVh03v0XaMoSg2rcCABmS6RPKkcYBGQh0m7N4jDbcMdSPGH/+Zf4Y+PkxhI0q5mcbsTrG8+ZPbKDS5NDaOpOsGlT8ufo1LLi0osrYJQO9bk0NbhH6LfaaD0yyhaRJRlJHFbcbioHn2AW7rV2+AZloMu0f01agcogTkUQb4nLxWQruRVeuknso6m2kH1RsUZHUSfkyqG24uqjOIIh+i3cvSLazgMF3q3TGjoeSxvDKu+ieJM0Tp7SNeuYOvZ0Xw+OuUSDs3CP7CK4XShubpk8ufcfOPH/F9/eJPXXp0hOTTImz/8iOsvTbH54IRr11Ykqb1TNBicjnDv8Rn/5nd+ja3sDr/9v93htRthus0OxU6f4ZgdS3dwa6fM//Obca6OOrm/p+D2dfnwSZOQx6DV6vHslRnOc0W+92aeq6t+/GE4PukRiOnE/SGMnp2tffH8qdTbFk7NTSTkROkafPikyMpcmGRIJeSxs56u0G7b5YXB5RGJITflYoWLi4O8fTsjWThhf08q1ITWTmx+BFH4ibisDibZPMizPBHjvC5858h+eMDfAZtfbhdnhh3spztsZlqEbYLq7pSfS1Xr4egquMImEXeCW/dPmJsTgzgXB9lTRgaD6H3QOw4UZ4tEUOPk1MTtMhC/WKXVZXrcx9ZpGZfqlcPpqEsl4bWRrjZ5ZibKUaXBbhufusIAACAASURBVAYm4yqzSS+HxTYPd5pMDoQZG3WzftKgqCu8s1GS29GZ0Sg7Jz3Wzuu4vF72Kl1sZg9FFcBhlVCwT7+JvHR5bQpjCQ/pXBmnzSl9zBG3QssSWmM76Qwkwi7KbV1q4URWMx7zyVpAQ1ckwNDpMNFcbk4zOSKpBPlMFn/Ig81mo5jvMTYWpdGosbdfY3wmSsgfJb2/x7wYIJycSLBhMiC88F5KxQqpVIxCvgCKnenZcem+Fr3coFcMEZpcurrC/cc72Ho9CoJaqBtEQx7avR7FstC9+UglojxePyLmtxOKiMhuE7emEQgHsRRTAoqjkQDR2DC7O1tYhsLFK6s47Ap7B4cUi2V8Xh/VWotwxEen1SGeSHJwfEQoEGB8dJQna+s43HbRwsOpOejrHYZGh8me52WEH1MhV8xy+dJlGbvvmj1Z3atWxQBriJ3dfRKJKJZAcLY7MhHgD3jZ391jYFAkS4X20JR1GQElLBUFeDMq4Yf7e2l8Xhdf+aUv8fbPP8DtstETPIhmm0q5wOTsLC7Vgd2h4HRq8u+ytr4mhx3ZTJa1x48Znx5ne3uXCxeWWJyb5Th9RvrohPNslmQ8JqF4J5kjhodHpXXh5OgA065K0n+jXpXng+vPXqdWLcl3o4g0d/UedqeNyclx3nj9TUZHB+XvMJepSF7A3ft3+cLnPkdX19neEmcaBx29S3JgROokDw6PWVpe5HBvj06nRTlfpGn2UPsGV5bmOUqf0uv3iWguuvQwbDbGQjHShRrF2jluv1smGj7KdHh1JsS/vuag225yd7+NoVpkKwafuZ6S1pFb6+KdbWc4LpKvDrIFhZWpIJVGmVyuR6WqMzvtIzUc4cn9c7zuPlPzAwz8neFra61CyGtJp/pHd07RBTei0WN5xU+3p5LNViUv6Jkb4xQLsLWzi8sbksNqAeAVhHez78ToGsQTLqlvzBbrDA8GGUr5ZGJR8JGcPhutaluqya2Wgc0t4N1dWi07F1YC8nP2sx/tkhzyEY+LBcXHl9ZquSOfj3Tu4055t2WyudWWVav4gIdCrsP+cZmJSQFhVlBsovbpIh7zcH5akYnYcDLI8V6BsdEQkVgAp9YiGgjy5o/3uXBlQD5rgxNO2kUHWztZqTsfGQ9xdFgjmvBQLjapVm1cuG6nfm7DpVrYwxaVU4W+0mNkTFSwVM5yJorZp643iYfd1Ms9yk275EIY/TauQIALs0F2dusSej4YUzg57iDkK0ODTnw+O41Kl9OiHfHbv3hJqAbbBIIKLrebN354ygsvJxhJuDhN6yzNhnm8m6WYbzMUD2BYOqsXR3E6DR7cTRMJR4gk3Jye1KlVuwQFuNgwpN51dNTH2uMKmTOhRXVLaF4y6aZVMTg+E6wYOxMzATxB+NkP08wvR2XCvNnpUC/VqTdMUsKI0zcpl7voHZ1IykNf/7gP73a56eoqMysuWvk6N15Z4s57+3gCDp7cL3PxWorMUV4CVRdnonzvu7tMTHoIBpySGVVtiAFAkctXk6QGhd3gXJL/3V6NhWUvOZG0K4qBhItyvkk0FiYUU6iVRJWtwtBIhN2drPzuvX4jTvqkTHIghWK2qZX7uNw2aasZTLipFNukRgJyGS6GrbtP2hLoWK20SSS9jI96aTb63Hz7nJc/NUY4JWwJVVlH2tvro1g9aUIYGfeTPW7xyc+NUC63ufVhgXjQKQegHcNkYNTLzqbO7GSAo3Sevad9Lj0rfu8elL/5zRGrXGowNOqWoABPyI9L6bC+WZXTVdEZF/HLeNSHTXgl9RaFol3GS5KDTpbmBtiVdEYN7CZ7m1mee3aM997O8+qXh7lzM8vhSZ1LKxEaTRvFapX5pSguj4OzvQaqrUMsGcDh8tDvlnn9+0WevZoSwHBye0WCMbckPzocBsGIj9NdQbgUVgAhqOzyaLNKtyJisioOS+XF58fZ3kizXTTYOO7T6bv4+UGVBg48Qv3VKxBwOnA4HcxMpWi0W2TOzxkcTNHvGTj7HdJNB1ubBSpdhaDDQb7dRVNgYcLJjVkHC/OjXLq8wurUMMHJRTq6hdE4xihXZPT6vHjGwNAc2e1tzivHjM9cwWEz5QG5US9gmB1igQi3Ht5hbnoZv8/HnXfeI54IEYnG+d7rb6DrLVavXOX2zUeoLpVKWYCFVD73hc/z6O5dWn2DVDyM09FH1/sUCmc8fnTM/FSc0YkhPEKF1urIvuDSygVS88v0axVuv/9TJmdWSA2lONrdZE8ABYdTTEzNUSnnP97i+ROEklHCqQRO00Yxe8JAagDfRIyD9W3OT6scZM64d++czeM88UgIu8fLQtKBLxrg9v0NLi1Ncpqpo9ndLC8Oc3B8xubeOXMzCfklZLSaeDSL776Vx2eDf/rbz/Diy59kfChEz5Ogu/Eh5WYFVYBzgiOExq6R/uiP0Rwu/Ktfp7L9MzSjgzbxPJYRoLL11yRmrlMtnhDyJ6l38iSiS7TaZZqZ+zjGLmKZwgmsY+s5qNcPiQ9c5PTeN4mufg336HUa6VsoAiQ3colW4YjQ8ApNE4xWEa/aoZbZ/BgcE5tkb+8Odz5K4xYaw2KaqD/E5GCSdLGO02rz6he/iN5RcfYqtFtt+oLubrdj989Rzd6RQ4bI4ArtVh9nIEb14Bb+oYtYdheGOEE7dRl/7rXLuP3TqIlBOLmLFZvCbqlSr2l2znCILKjgIjgE/K6KYgtjZD/Eik2i+eew+lt4oss0/RH+wz/5LfJVN0+OGqzMD/HZT07xF3/1Cz77mZdkmuWb//eb3Hh+GV/AyTf/+B4XlgP84R/8OtHFVyhv79LP3KKvDWMWwZvU6Fl+TER8cxSzcEDL5kBVPPQbeQj4cZgBcLTkz9twuKR9wG2z0Sndx/INY9MiGN2qhPtZDi+KPQhanWBgnJ4zRm3tb/AOrsoh1uHjn5OavoQ7OklXP8EpbA6VLL16Hnt8Tl6CBWndCE5L7oKVe5++FUTVAnT6fazSA0EdwLn0DfT8E7rlI7TggKS/2mw6/Y4Pp9+Fojjo93vyz312g7oSwOPVaBULODU77cx9fDNfx+FV6Z49xhaaROk1QPHQaRRpG11S0y+Q2Xgb0+oSG5ugK0CbRguHmsIViaFpPSrpLVyuQXxD83JTUNl/j2K5zNTiFer1PAcHZyQjA/zpn/8JqcQgF268QCwZlsyDaq7A2fEe2XSOuUEbz335H2FZgjJVp9bKYdP7OIcuop88xrC5aNeP0PoNtMFX0QVNWwOjfoxR3MUemMaRmKdb3kPt2j4ettktPK4h9PIuOMKoQZ+Ys6I2z2TVg56GomaxxI262ZEARpcnhi8ZwelP8YM//zNBvJJ1koHJUSKeQe58+AED8Rha0E00GiUYiGN3d3F5UnjCUSzDSaOexSF4C8UMkYlnoV2i062hmA4ZwTdah9hMEcFrEBi+Rv3pn6MGZyQbRrGHMKwW/VoOWhkcqatST9U6fwdDmccbG8VsHuAeuEh760e0KzmcQxewdTOI25GhjePwp3B0zujZRQTYop/fkgMRAXXzDK3S7YmUmx2714MTHff0Zbr6Ef/+X/4x79zeYGgqKE01X/vyZ9jc3eDdtzb4B7/+Cnubm1LdVmwHyWyn+Z1/fo1PfelrdJI3UBsZ/t2/+B/5P791yJdf0tA0v4wDvnojxs+fdBhSmrx2JYLmtjMaEXVBN2ubZ6ynW1yejZOr1jDsbm4sRmj1ejx9WqVrOWUt7sWXUnLK7xCXn5IYfBhcWnLxYK0pDTSLk16O5bZHZ2zQS8Ddpdq2CHqcbB30mZ2wU60qmEpf+pb30hU8qo1Wq47H76dUaPFgp8OFZSdHGYOJlMrSUpCnW1UWJ1KUcxX2T1t89fMTfPv7e3g1hamJIAGHGEy0ZX9UtbnkpmNoXKNWbHNvvcKXvjjMyW4Bm93Gea7H+FSCje2MpP8/vywilSq/+ChLIu5gZnKcR2sH8ru12jKk3tfn8/PWR1mWZ+IYYpBn9GUnMuBxcZBpYbd1eGYpyRvvnfHclJOReJBipcFAPITAqee7DRp1k4BLpETC3C2U8DuGqPVqnPcs0nmDqm5S7Fg0LDGEslFqdih1FQn/azQ6cnhsOhVG/BZOWxvL9JBIRkmf5RiOB/HaFRS1i2oIJkGbqeEI5VIPo99ifCzJxnoWu0vBZlNo9j/2py9OJ9g7PMXjcRMR6YRGnV5bbCidVItlCSITwDxBJRfDBrfTKxMHxWqJUk0wGOKkhYZZ85IvlfDZXAyOxogEAmzvHtNudRgbDUtFlctllxXDgN/F8e4Jg6NJmo22vOjVa6JX35GXd3HRFqaUdlPn4pWL3L37hPmlRQmtOjk5ZnXhCrrA0xmikhJgd3+XUrEstcr9XpdQ2I9qV6Wr3uvxYvY7NBoNYsmE1BPqepujw0MaTZ3FhVkJ2hPwvalp4bE/QLXZ5eWicJ4nnogQiURwOlyy7yuo/f6gAKk15PZOXBZsNgeRSFR29GcWpqiUSuSzRa5eu8hbb7/LpQvLDI2MyTPYtcuXpKEo4PPIGkRf6PeKeSZGRrl8/So333+XcDAiN21OTZMDi3qjSSDoBxQ219f51CuvcO/hI6mpe+baVd56+216PaG4W+U8l5X1NqdYwPRanGeyLCwvcevWLRYWZjk7q8h0jlBDvfPBB/zSFz8rdXRrT9Zx+73EQwGWL13icO+QXD7H0vIyqmKy+fQx6eO8tFh0+hZTIwnanQ7tdpNmW5XbXbEImxAJV6VLq9Yi34BcW2y+IRzo8rufSzAe6mD6g/zxO6e8OhMh5HNzfF5BsYs0rCHhoorVl/rRiF/DpsFZpS5BalPDYZJBPzaXxf07p8xfjnFxZYa33nzA2sMWEzNunrmWZHuvKiGMnU6Poako63cyLF4eYUd08o0ul1aiVCoW7WaPjvkxg2x2IsbufkXWNYV2UoAEw1Enu2stVG+HkaE4kZiLtYenTE5HsHrIzv3iclwaPjodg0cPK9y4lqSltyWtfSgRkJryQr5KYiRBvVQhX2gzMuQnEIixvpWh2ayBYSOZCtLpNSVzIRDSsAyHrM/0hSq2JVTFQkVtI5vr4XU56dNgf9PkhU8kaDT7rD2sMrPoo12pU6j1CYfddDoqS7NBcuWK3FiPTARollpysXr/0TnJpIYDha0DnbExL+GQRaVksbHVYHZKGAKqxAcC7J80uXQhxGm2gmlpVMs9fC6LSNhNz6lzfmSxupzg+LRAOtMlIJIgqiKNAe2+nURQYXhMpVmCsfEEDzdOyZ7pkkdiWIIJ0ZHqWPFZO9wpsrAcIX3SoVbvMzHgxh1ScAs+Vb2FO+bCqSg06i36lkk45EGxaWyvZxmcdDKSGiabzZHP9olGXcxfSLG/nmdnvyZZR+I52HiURdMMwvEwpWyd514coFHv8L2/TTOz4Gd6KihBm3rDlB14s69id7vY2SvxhddGWHtS4yxTY2khjMDRNSo68ViASl0oa2uSS9duq3KQ5fcp7O83WFwJs71bp18XcMkwlXwDITP1eUSNx4fbr3DvbgmfTyRVTFJDUanr9PktyiVhJNHQmx0mxgICf0e1/jHfweHtcrjbZmoigj/W5/GdBuG4Q2pFu6ZFX2/wymsT3LollLUWmqNLR4eJiWFyxQKlYle+xyIBl0wimbaOrBXdvZOh17F48VOjfPjzI1rCQmAqJKPCghHk5LiKN6JSzvQYHHExMhRl70BY0UyUd/7luNVqI4EOLbF9GPEwM+Xmzl0BeIrT6Td57+0Cn/78NE/un+L1mMwsDbB3UJJ6p9x5j6XVIT66s8dgwsPwaIDDrS6hlI5iBmU/5+Agz3PPTrD5+ASHx058MMbd27u88ukZdrfL1Ks1MAOMT2jspgvYOhqWo42hexmb8mJafR49zrK0IA5YPRmFER2laMCGV9N486NzJhIuvvxckN/+/zLsizih6GVlylyeT3DeNej0dBZTQTb2CticDrKlJolwkHqjjepxMTsXo1jWqVaqjI2EqObaeHw+GYnZ2jiSnvmO4eLkrMS5OExZBiHFTixk4yufmeKLV4aZGE2QmppACSmYYnN0LrZJKUpb9/nZt3/GlS99ilq5KA95Yc3Bo+01rjz/HGdHx4RD4gMGiZE5qfh5+MFdUoMxtg/3yB6ncTuFakhh5+k+Owd5nr0+gz8U5MG9J1x/9gL9Vk96kz/12ovsbG9xfJzmmauX+ODWPRZnhmg1LUamB2VvcWJ+nrPzHNPTcxzurjG1JKbaJ6TTR4wOD/DTN17n+ovPE4nPsvHkA9yKysyFK9x7923mL63IDpHQj1luQQy9w70HD7j7MEu2ILpqCfa2q1y4HGd1fBp7ADLZIpl0k298/RN852/ekC+qd2/eZ2Zmlqq4tOnw5t09GgWLf/ZfL/Hi5SXGli+gisl1I029HOe0sMP0xDB9l4+uGsSZvUMtXyW68AnqhUcoTj+uwDLlozex26M4fS5JvG3oXfkhVLUoavOcdquMZ3gFo3JCp7CPLTSOZ+S6kIbTbhyh5x/hG7uKy5nEcvowxAWkXaOrVylm9xhd/iTdtjgM5AgnJ3j8cIuzfIOzkyMu37hBNOTnR2/8JRcuvIzdrrN4+QatahlTL2NzCAhPD290kH7xkLYnRqe0jzc4DGYVoyvghnZ8w4voxTxKp4VzYBQ9/Rg1soRSeyTBNpbLj8OmYfV1XKJ73+nSSn9IKLqM6h+gsvs2vlCC0OqzuMIDvPud1/lPf/Y6a4+r/P7v/WPu3r7L1u4xZ7kOumnHaZa5cXmKtivFm6/fx+9r8nv/4b9h4bkvo5+uY7Q7NPQO9r6AIwltXwO106ZnOvBFfOg1UPQN7MPP4DRddGoZbKklepUzlNYeBBYlVMkoPUXVa1I52KvkcMcn0fs9AjadtuFAEUo+V5zNtffRNDcPP7iJqsXodnJsHORZXb1AqZiVkdp4fJDh0TjRgEV4cB6HTUU1C7gHl1C841SO36W2vUdPEyrOAVSXHZdXo9tto9rjqL0yqC4sow6mE8Wso8avYIkaxvltGSPvi85ifhdD8WJ3B9Gi4hJ6DHqRel1HC0Uk0LQnGAGeUTzxFPWDuzi9XtD8GPW6hP/Zg8P0m1VUs4bTN0KvnQacqK4oVm0bu8eDklxFaWYpFVsU1m4ze+MT+Acv0urUqeZ2eHT7Aza2T9k62OeTn/0qKZ+K6ndzvL6PpVh4Rb2GBldXpzAdIU5yRzz30hcwTDetg3eodFUUq0Y0tkq7XUITB/D8EborgscToVnZwetfoWcW6eT3sCtdbBPPy6hz+8kbOEcuY3OncKhNVLEpy6+D4sWTWqbdTuPsil5vncTM81T2HnHr1i/Qohfw+Lt0mm1OTiskBvwMJRK89ZN3KOTSpEamWF2cYW5uDr1VxzeQQNPG6elpzFYRd3BYpkOap8d45l5EOKFMjx+3oH5nHtPotvCPf4ZWbgOq67hiAuwXl7CwxvGPcSdvoLg80svbrm9BZpeuJ4x/5CI0CrSbGez+UbTgKr3amgiNCH04ZihJ/3ybVnUb/9hVfI4+tYKKw+3Gl4igxFPoh8f86C++w3ffeUjf7BIL/P8svXmQJGd6n/dUVVbWfV/d1d3V9z33DDAzwOK+drGLvcBDEncpUiTFDcuWQpYdYUfYcsh2SKGwInyQQdKmKZMSKZIh7nK5JHcXWGBxDgZzT0/PdE/39H3VfV+ZlZWV1vet/gMCDaCmu7L6+97393uekDywfvXNN1l7sIIvpKG6UlRze3x4O0+3ZnJhOcR/9Y++zsSVr2M5TDrbD1Daxzhe+jX+6L/9Tf7dX69jocjha2Cgy6RYIu7is0ddXh/t88pFl6zPjHtMqvUO1590iQV8OF12psb8PFjPozhcJKIqB+U2EdXDbk6Tm92Z8RA9vS+jtfVWi4NjnfOnYhxk22hNk1jSz8lxi7ERN7WmRkU4kYe8tBum7LyPTfioldqIeexn15ucezrAUNDFxpMiIyMR6nWNYEhhN9+hXjSl53121I3ltbH2SADWFL72xQjr63WiCRh0TAaqg7GEn52jJqsbfcRMv6OYPD0t4pAmhUKX116ckprE3e0Gz35hhhs3DogkXWxtNZia9MjaocNrZyjsxe206HTsNAyDWk3Q+A3iMRf+WIgH93NMZrxSMdlsC3if2JZ2eOuNCW4+OOTzu3YunxfxeFFFMfB4FbSySanVJhkK8IXTMarVFuVWB7fXxoTfj83do9cWXHIHfSd8tlaTcf5nFqL86GGZTzcVVJFY6NholMXmxo3hFuaCEMeFDt6Yi6ghPtIHmHofr1C6al3OzcVo1PscVxqcSSl0+zb2c1UyybA8t8ynfQS8Cp+tFiXsLxbxYukWjw5rcpAgYG+xuJt8rkSpaTES8zI2EubhRpbjYpOhWEASryvZIl6nQlgMCQTt3VCYGg1yVGgxKeBS3b6MnJs2O0IV3e1bcjvldYp6QIBaQ/yZbLicAoql0Re85z64g05UQ6XUaDO1IFRXQQnxe/bqU+RKFeqNGjMzI3RE5LZnYIh/x+tmfnmB7Z0tukJfNjPLk/U1RiYnOdo+xC1AgU4P2bLQfGoYPZPUcIpOuy0Ve2IAJLrVH35yQ0LUnnv+qrxQTwyPsrrxUC546nWdYi4nYaKCEzAQCwS/n2qlTDIWIxqJSUWvMCsMLBuBgJ/NjSeMjGWoVSuS/D80lMClOmk321iWjWAkjNFpc5DLMzAMxjMT9C2Du3dXef21lykUsjRqLQaDPnNzc5L+v7u3T6FYZnJyjFs3buP2uxkfn8Dv9smBz86eAGOnZcd/a3uPkbEhnj5/mgePHtNoaIyPiQHRY2KJOH5PhNGxCDcerGC0dYIule3dHdmtF6lZr9nHHY9wVKwwaMOCINWbP3sOOh1YbzWp6W6cusY3lp38/ad8lDp94l7B8xIJkS7rqx2mFiI/sylYDoZTfuyOvoygV+uQitn5wtNpbq1myYtuetjOxobBi6+GsPec3LmT4+zZEH5PWGoV8+UeXnWA1htQFxyL5Qh6yylTSo83DvjSF5e5fWOfZttg8ZRgWdnk+71QbpEvNBDlhfJ/BrSduxTD6LkZGlLl4KFS6NLsCKWfuKA2aBt9MsM+Gm2DoZGwJNsvncrg8uhSWbvysMLkgk+ySW58coLi8rHzuMTwWFCmQoQy0uhaOL1OZmaD7AvwnWqSPe6RHItLO8/ukxbLF4fwKSpr63vML42QP2ph2Xu0uk5CPouFpTR37mQxexqpZBCX28HNWzme+0Ka42wFtyuM6rIolBtUSwZOy0Vmxs78zKTU17mCXsmTcHn82Hsmoxk7xyXAVBnPeCU/4OCkzuWnRfpH59HjJk9djNGoaqTTAalI3Nvr0LNByOtgeNiDppsUcxqRmFsOJsIBVb7n7AM4KIiUmbjE+ohH3BLUunTKL7v1f/XDAqbdycXzAXZ3miRjYPe42NrUUVwGT51J8WitJCtaKZ+fkRFQbKL6JHTFGlMzwnZWlhp3AXM/2K2TSoUJR+G24MyNRPjgWo1ffGuC/Z0sxbKD574U58YHVfZLNV69nOLuSpvLl8Pi45+NB12a9g7DCRun5odZvV1D8dhkTeEnHx1KCK1gEYjap0gtPP+FCVYfHlHMD/DHTC6cGmN9q0ZPb3FKVE0Oi2AJe5vJUNrLo/slhkb8FLItOlqPSFxle1OAmlPkshWiKSd628nsYpBaSaOtCdi6XSq4T4qCpdMi6HETTQRZ2y6IvTUTswGmJsPy3p0vtLH33fiSdnwuhcP9BlMLYWyWSavcIz0Ro15qUCz0cQX61OsDehpkRj209QG1apeg6sBwuCW4dGuzyeUrYTLTSbYeFKm1W1y4OMqjBzncHocc3t+/ccz4XAzbD78zYjW6OvGYwu3bZcbHw3i9wuMQ5slmnmjYQzDmZWLKzv0bNcLhIE6v6JN0WTqd5rvfW2NhOoLTJRQPDWymj5VHRcbH3aQiIXT6MprvVeHCM/M8erBPuVxnaChE0C0ADHmSIwFuXS9LuN9b31jmL/7jPflChyIutnc1Igk74Ygfw7Jht8QU0KIr6L37FmrcxivnA2S8QV77rQO2G06+sWiB3WAwCHJl2cv6YZNSRyEZH7Cx1uHU00OkR+Nce+8OuiMqASyaoRGJCtqrQSToxq0OaLWd0OvKGJnogw0Lmq1DbCXEJd6NS7H4+F6BluGi3rXLaOrQiJsXF0O0jvP84uvLfOkfvo3faKLKWHSao3d/gmZAu1Zk6swFHt7dwBeJMDQ9QfXgGLNr4ImouNxBhqZn6elNKgd5winR8TfZWtvA6fbIn8MnH1zn0tVLfPj+ZzTKDS5dPkM2V+DB+iZepwev0Nr0BsTTCZ5sHHD2/BIrdwVI5gJ7e1ucPX0ekbURG8fFqSmMbpehmXlKuSpa91C+TuGC7XU1UtEhVlZuMzm3RHJsnLvvf8SVl57Dl7DLadXB5hPZE7r+2X3++kf3UH1eyo0GVt2D3Wlx/pmM7PaYrQ5Tc9M8WFnj4VaFX/y5SxJqdO/xHqfPLPLbv3WNTt/g6mmFX3p2gS/+k3+MLbmIsXeT/OpdbPYRBv+pv+4MNHD3bPSdKvX8GoojjhpM4nCJw0CS482fMDZ6FtObxuwJoOCA+uE6Tl8Cd3iKRmlfuqRFPLh5vElfO2L44ndw+JJU9z+lmb2LNzKH4nLhCqXk4EBx+fG5XNQONlBDTlyC0N84goFTbibUaILG4YnsFQYjHhqFIkvP/RyVrU+x4SEyfYl6YRWXOsTAF0PvZlE7WVT/PF2bKQc/emFLxp3dkVH6Pr+0Hli+SRqPvi9Bh/Gp52l2hR7NjWnVMDoK3qEERruFV2xQuhbhCWELKHD/gw/5N398HY+gw16YZi+XlfCgr3/xMtsPt2k7QkSjSUrZAj/8eJezKTv//f/wGude+AWsco5B74CyIADhQUk9jatXpXXwKUpkJ0DNLAAAIABJREFUDHdiCaN9gq1nYxAcweV00N2/JS9Nvsk3cDosWtvXabRypBZepF2t4Rs5j9E4xmYX8M0qfQIEk2N0aieyJymAbtWjFXaeHHH3wV1eeOFN1KiHo5WHJCdmeO/d9whGIsxOzXLr5qf4Ekly2TwTwwniiSGWMkM8WHvM4lPPcebiMkZfkUo8q9uXJH+t6qDr6GPvC/5IGJsvRKuxj73dwxkbxRufoPHgP2LFxvBElnEYRZq1Q4LJi5Qf/SXBmS+imxr9R/8WZfJtvKEUeq+Eqg4zaB7TFl16ggyoyViq6hml1Twk5BZUXzsObxrLamPJqH1UQqQGOOTzLBgUimHgGr9ITy9JGGK7UcOfuYRir6ILpU0iw6M7N/jzP/kz2fEbTg7xzIsv0KzmyVeb7G/vyoTWmbNn6XRbjMTDPH1+GSU+SnhkicLaX8tBiaHM4rRqlHNHhONpCQNjIEB8RazEFIpNQc/t4Z54hsHxNUQBxyleu1HH5ktItkW/tcnAcKDERjGruwSCFyVromfXCQVG5QFxd/UmT9bXuXF7lczkaVKjY3jtFrce3OLc8gVUpQ+Kj2sf/BiXL8QrV2ZZfvlrMgprHn4u0xWKJ4o6fIV+dZvC9X9FfOHvYorvV71AOD1LI38Pl9OH6j+LXjugIbb8ImkTzMjhkc2XorX+h7i8E9j9M6jpJTpb/wF714F3+nUa9SO8ap/m3i2s2DzBUJLi4RbJkWUc9i7NnTtoHgfDSy/gjJ+iW33IO3/w//Hux0/oucHrVGl1TQmmmxz9WYIrn8szvzjJtQ9X+fxajueuxPj1bz/F4pvfxmxU0E4e0mYYR1PH6d4neOYXWJr+NsNDA9xhJ826EGVoMub7pfPjXNvM8fGmSl9rEg0qXJmy8cK0lzeXVNZ2dQp9QWruYFo9vvjUDHuVJo1mR1YksIvf1abshOeOdXxOlZ6zT1t3sLvV4txplRlxQGy16dl8aMUmumln6fwwR9t5yQp49KRCp22yMJtggCFhfr2+xtiQSqGsorh1xke8PHrcwqaqzE4FWLlXIBVzkB72cXTSIBBW6XQdrK03yWRCspYguqjl1oBQ0MfyjKje9MlXTD79vMLb3xjnwQOxUStSbzsl/TnsMuQh+eBE0JVthAI+TFNH6ytU63XCnjAnuTp+fxCXt4Ex8FMu1Dk1FqZiaGSz4I3asRs/0/y5vAaPNgxeeVrFG/CQzbVx+pwyLSHIymcm/dhcUMzVePhEZ2baTzgw4HBPZ79m42svReg0HTzc6YjAE2NBi42cjaczDmLePsFUiEquxfoJ+N067qCdWlOh3enx4VaLlq7SFKpaj4+joiY3jm3c5DumTEX4gybtep/JTJxmq4Xf6+Ww0WQk4ufSiJf+wKLabSOkgY2eDa/DJc8tuXyT6VSQnh0KxS6Z8Qjre2UK5S7Lc3EOjupyMeLumxQEdd3poFgW2kQnEWEwCHrZ2q9QLrY5NZukKcCDdoNUJMnu4SFnFzMc5+okgkE2sjlOTY6xd5Kj2+oxkk7Ji3WpY1AtlInF/bQbGtV2H7AY2GzEfCpTmXF++ukm41M+mbyMpIJo9Zbc9KZHExyelOWC4vT501SKYnhusbG1xdTEFMFQkHd++jEzU1MszIyzv3+MwBkKxakAxQUDXnl5++TaZ0Tk74sFen2dz2/e4JWXX5QVgnqjLmsOtVqDUqEkXhpDw3F5WXeqKm6Ph4OjA06fPsdg0KNVbWDaBoRCUTrNBrtHxyzMzsoNcr4g4NRjjIyOsruzJdMOj9e3+cKzV/EFPfL1lys1XE47lVoDXygoOQrf+tbfk/pEkd4yjL5MBEQiCRSHQ763xVkuLCo3pkHI76MnUlVan5mFCW7duMv45CyPHt4nOSQUqDY+v/5AQvcCThUr5JVpCpF4GA3YubtW4unTAnALq9tVfDGDxwUHe1mTX3/Gx5XJPi+PhDhoaRSrfVYPNBamfER9PjZzNRJ+D7pNY/XRgOHYQH4OCciaJgwd0SAnWUF1V2TVJz3l4b33yqQTfqKhHqonxPFxgWQsSHpC8EqKJOJJPv34hKXTfiJRH/tbTU5yNS5dSUsN6N5ejdNnojxeKVIoa2TGE8zPB7n202O8ATh/dYqP3t8llQ5IHo3d5pE0+J3do59F7ocD9IRqLyuGTV4JPkuOBpgbG+LWzW0uXR5ja6dCu9UjGg1Ld3sh2+CpZ8Yo5dsSqCrOzxOzQfK5FjaRUBPPmk9B12wkUy5pL4hHQjx1OS3hmttP6vKi2GkLKGqY69d3WFwaodvs8WS7TDLqZelMimvX9pgdj5MrtvGGPBSydZJxD5Gkl+3tAvNLCU52a9SbCnNTqkCdc/NOnzNnPHg8Nnp9MVRtkyu3+c6vz/KD7+6RzgSkFUDQ6XsD0bnXicc9uFUbbr/K1kZJJrMLJWH36HFwNODcGS+WwyDkdHNcbqAMVEp5B95YH4fNLjfvYjCg92xcuhAjewyFbIVLV0fZOyixOJHk1qrQYtrA4ZW8i26ry3DSQyou9OkRORS/fke8j2FqOka7ZlLMa3iCFpWyRafbIxp3C8QKPr8YWrZ57kqYWt3Oo828tDE894VRagJ8ud9mbd3kzW/EZY1AdTl4uFFjctSHHZPNbZ2l5RDLCxHWH5apdDpMT/hRFT+VQp2B3SFND+LZdnv7TM1G+egnR1x9Jk2h1OLatRK/9O1THO2VME0Nl9sth2Bjoy5EbNLq2Tk+qJCZCHHnVpZUxsfje2XmzsaZmU6QzZbkkL2Y7TMxG+fwqEi53Gd8VGViRJhOfOzu1lFDKuWjHhfO+DkuG7T1HgtzKX7w/Uf0TDez0yonJ8L2Yslt/u6+yTffHpP30tX7RVR1gKLaCEedHO2LQaiLaMiOOxTg7q1tvvjmPB7Vzwcf7nDz8yJf/dqofDa31vN4/cK2UmViLEok6sT2t/9oxKpWO2TSgkbbk0Ct/e0mz78xyuZalVjKhc3uYHs9i647mZgQ3cAO8eEwtXKLla0OL14O4w7YuXejQq1mMjSsMj0XwbIJDY6T/Z2m7OFk5hO897c7TE2F5JtV3L4cpkFqNEAsaafRcMjN2sFehdhwkm6lwdyyn70nHTxeB4+3Olx6OsZk2su6gAXOxXnwIMelmSjf+IMiq3WDX78cQLHb2TzQSMcVjkXMpqMwP5lm/ckOHc1NZiTMYNBFDQiYTksS+YcSUcq5Kq1cnYh49yISDDJ9xe5+k6nZBPVyAdXuZHwmTTDq5sa1bSZSEdr9FqWixvLytIQV/vjdJ6ghsaXtcbTXYTJl4+XnJnnh2ad5ejbC6KtXaO1u08sf0erUUWxejo8rDMfHuf/gBguXXsdjdclnjxk5u0Bhd1eSSUu5AnqrxpnzF1A8ioT/2Rzw5PE2gcgwuYN9DrIlirUi55dPsfJwkxeeeZpspcKtm494/Y0vEA+7+eTTu3IKf/niJZrNNl6POBBqXL36PPFIhC4G9VqLaECATBw0amVqlSbTS3M8EnBE1cvk0mluX3tPfkBMTczii6rY+jqBeIyhoTF0HX7vt34HX3SYv/nLFRwBAa+BblPnxTcvsLt5wlDCQ7dtUsiWmZ5MMHluhk8/eCRjNfFwivc+f0Kga+OtX1zi7a9extT8OL0uth98SsCboVm8T3j0HK74aTrZmygeH/7AKYrZ96kdrjBz4eexxabpt2p0s+s4wxH5fawePZY/f7/YFnd1dK2OgzaWTajcnPj7Gv1gHFwxOjvvYqpeAkMLDNotBg4TvdXAHUjjiE5iH3Son6yRSiQxBM3XEhcpC9Xrxqn4aekderkd/KMT9E5OqLc3CU6/gm+g0S7t4UqdlZdHvXWMO7mAMxBCKx2h59fx+FO0RCf51Lcwj6/TLG4QXvwm/ex9+Zr83h6dpg+HT6hACsSjceyRCY7ufMwfvf8B99474rUvLZOIjJLtFvnwh/ewPApLCxlcvRru+Czf//7HVGt9fukbU/yTf/G/4rPVaZZbdGslFF1BHzQIjyxKrWHnYA01GMQRPk2ntIHRKhJNJqjntnElFrH6bekkNQWptlvAI5IVlpvm4af0mzskF79Nu7ODVtrH7p/CoW/SaNtwOzz448NUazmOVgTgbYLs4R7pyQn2j7Ks3nyPX/mn/wuVk13ufv4RU9OLFIo5ufX2eFROjnbB5yLqH2F77YYkxC/Mn8Hls4gPTTI1N0+/08Y9PIa9XaJdzUMgia3ewB4eobb1EXZngODwOLkHPyI2/hKWO45lCYhhQGrXLKWDajqweyfoNfblL2V7cpnO1g3cqXHMwiaWS0GJn8beKNNDx2H06VldXKjQq2EPJ+R23RlcwnR0cRhAIoZV7+O05WicHOMIpvHZBmi0cI+/Qb90j35bRFjdhGevYPNouHsG1UaD7/3+v8VQ+0SUKOHZaSanJ7n+3o9odu3EvU4K5QrJeBLDbHDh0hXCSaEpnWBg+qjvf4SlRnC0tuiqowTTZ+nVN7GFJ3ENVPTaJj2zjdpuoCbEwKyA2TkiNfk6tUEJe2uA1x+g1apJlaDTLqoALRRDoedKEQw66FR2sJtBlHCQdrXI3Xv3aTd7pMfTtNt29jfv8/rf/S9wWh3+/Pd/ly9+7RuMT85gCT2f2cYsCeiWU+oN+7Uq9n4Vdfx52rVt7PYwaigJhXXswRh9UwHtBHswgdkb4LHbJSTUGRBDuY9kdURRE1QOhf85jjL5NM37f4HdUvAIavXuOqGhF/CoDjQjjzuaobZ9H8XoEr38d+i0trjxzg/olfv89h9fI5jwcuXpGcq5E1585Q0erW3w6ad3ePapZY4qNT55f5ul+QD/5S+/yvLbvwb5mwwaHnlQFL1iAWEKCP1XxKJruIhe+Ge8MBciGvextd8gFrWRPenQY8CpEZFAUST0bP9xmQ3LjaPc4TdfV/Eodv7+5Rg3tys0dTvV0oC9fJ3nnhrlJNeg7xgwM+rl7r2ajKaePe2jJHzUNoVas8Hy6UWZ3ovELDLDMakEc1ge7q+IgbyNTEZwfkyOdkukM2Gq1QaZqaDsca/eO+bshTR6u8babhdDVwgGB0RCboyeA0F/EmyMuw9KLC/5qDfsMu7bajRw+n2UKy20rkUqqaKqNg62u8wvheVz8/k9nUuXBhh9H76gndt3K7hVL3PTHh6tlIhHw5x9ysv2Zoue6cTp6mC3nITj4lkzmcpE+PhmnrF4CF9YwLvsfPZ5kcV5J37VRb8H1e5AwgoNzSU5ApMjdsq1HvcfteVWp9syOTjRePOZIdayTSpNg9OjUWqdNsWqwfyok0IFxpI+dgp1Xn5qmE9uH/P+TZ1vvzFOU9S+7HZ6HY3hhJu+QwwTTMrNDi8tJwk5TW49KfHMlVGcgwH3Duoopo3kSAj0Pj+6U6XndlIsOHmY07B57IwF3VT1Pu+t1nEHXRiC0eHoSzDwSMhBXwBpGzqjMRcBr4eU6qTbbZLXLFIxP8tjUT58uMf5sQCbx11EVl90u4MiKl/tEfHZyRU1amaXLz8zx7vXdkRTnMmRIey6xvCQl1KpQ6Gpy8tFraNxeSFDpdnlKCtisD669Q6BpAur58BuU8jXckyNZHCqFrsHedoauJ02fB6nZHjkKl2iYa9kKDQMHb3RwedzSyJ+o6ghqHleVZH/renlafa29lBcbiYzGVrdluQazMzOSX5DvdMkNTRCJVvA6XawtXfEs5efkhH8a9c/48WXXmF7e5vN9U2mpsap12qS0J/JjLO1tSU/683BgFgkRjafY2xslIcPVgiHE0xOZWi3mjgdXh5vPubi+fN0ex25ILLbHRRLZdrtJuOZUex2J+1GG1/Qjc/lZWd3m3R6lEqpTCQWQTd6rK1vMDk6it/vxx8ISd1ZuVSU/49EOk0yEaHTbrGxuUuvZzCaHmF6YpJ8KUc6MYTLo/LRpz/lYCPP2JioIgywbH184RCtTo+gW8VjmTzaLsjEx3jYi9ca8H6uQ7sxwKuYfP8fRIl5TPb2mljeJP/heo63n4nw4f06S1Mu9gtdQWHBxE0gJIBwPV58ZoSHKxXK7YEEwmmdLo/WiszMDUsApSWGUYEBF88Ns7JSYGDoHGX7nL+Uplkrsn6/y3Ovj9Ktm6w8zhHxuRjOhFGdyCj1+QuTbO4U0Fq6NHUodgFQbDIw7STTftyKwvFJHcumyL827V0cDg/NWkPCJBdPDfOHf3ALj8vO7EwMBpbUfiZiTprtBs88O8Of/ftVLPvPYvelege/H2miMDQT1enk0UaFqXE3dofKzlaFuSWxsPSRrzZoNPoMD/sp5NsszCUpFdqSUTEyOYSpCaXkgEq5jjFwSMW5+PwUqjy3Q0FVFR5uVDl/OoFmdDk57NBo9HC47JxaTvLhO1kuPxvD5RH1qwF6r8fpM3H++m+2GBgKr7+c4pPrx2Smg9gNu/z9JdJ1qXGVk922ZOSMZhwyQSQUcSsPi+ztDkgkerz6wjQP1ysYvTYDS5Wfw4dVRYIrR8cMSjkD1aZw6pLg0cDaaktqYptNB5eu+iR3aetRi1NXfLhtDrJZE4dNWFFMyVh49+Myv/ErM9TrBh9+dsKp6RimqLZUHBIYGosqVJotfE4Hfm9U1px9ngGJqBvVLappRcl2iEcDDE94ye5V6PZ7sl6QigQJxyzyRzqRmIODnMHosIdSoStrQMm4qEgMJHtJdRtsbPWYSAbl8jhXbEqwcqMh0uY2uZAeSiiMTUapVAbkCxWGEmHmTrn58J0abnePuNjWrxdQHArLC0OyZtTRKkRCMZmAFINMYRvQW4KnIGrdTjng65kG0aiTXKGDR/XgDZhkxuJSZy9SJ7a+jVjKS7VSQ3X65HPqdXhwqjo2VejBozKJUK5oOFQXQpgtmDwHe12qxS5L54eIBh202jr5Yx1PUCEc9JMr16WGUoBHN7cOSQ37cQlwvurAI85ztg4Bv4dOq084EsGh6LSbYHv3v56ytLrGx5+fsLgQIRK00WhZnDkX5tZnu3R6bhaW/NRFKsLpIOQX2ocoH1zflxO527cqpEIOMpNRNjbKzMwmcLocdFqiyzWgmKvIyenZC9NkD0/otGxMzXnY3+4yOhFk4VSC3/6tFS5cSDAxFOX2yhHhgIOxCRcDwye1RIKeubQUxeVW+PTGHi4rgC9qYyTiIR6Cmungy7/f4ZWRLra+SV6z4zIH4FfIiRiLX8XuDrFdPuHV189QbohUQpb5mWFqDYOgT5AqVXY390mLLW5bdDWOmJjOcHBwzNzpEV587iJ/9Ht/RTTuxecPUi93JOAikhI8AR/jCTf1RouuiFZVdPIdu/Sziu/NUUW4j7u0ej08wFDawYVhN//8n/8qc/PjklqenM9g2AbkV08kFGjr8Qa1hs5AUFHTQ1TqRUYz4zhxMxiIS6uG6bDLr/vq2z9Pvpjj9uefcuXZF+X20Wy32XiySbmQo1Ru0WhpxIMxYmPD3Lh2g69/82VyhSbddpPR8Vn+9//z3/HKS+fRmxXOXriAOCHZnHD55ZcpbK1Jpczzr7/F4eY2t29/ztj4HJ1uU3ZQRB+t39WxOd1MT2c42stS71QZSY2RGPPx7k9us7fTZH39Cf6Yl3bNoNmpcOmpM3z0+RO+cO4UllmVfb1Wu8f+8TF2p00Sy3c39ri1avDWa37e/OIl3vjSV6BVR2/12Xr8kKn0GHp0AtU00Ftr6OVDApPPYjPdFPc/w+4L4lU8OBSFTreDNzSJyx+iW8/ijs7T3f8INTlJYOwFipt/gSrAKQp4Rq/S3b5F32ziCi5hbz6hoovkyrNUiw/RtCyx2JwcAhg1oXUMMRjYcdtPaNZcKOEkWr1EeGyS9tF9nME0jlqRgT+BZ+IKldXvysNbcvIyrZ4g97vQS0f4xGbdE8TM3ZWXTHdoAWNQoH1yRGB4ASU4KvvavkiaZj1H2KjQUoaIXbpML3ef7/zq/8adRzXOnU5z7mKG3SdPJAwsNZLi/p0NvvLzL0l7xA+/9w7fe/eIZ055+N3f+WfEz12kvb7OQCsxMMVWL4bl9tI6WkFxCedwjdLqXxFfehv30Dz96iqOwYB+u4pNceNMnMIwdAaNY9zuAf1+iK7WQHUaKMFZHDTpO0OY1X35jCr+sKw7dDplYuFRWt1tbB0P7U6bna19PKEEO3uPGR9b4LPPfoJKRDIytjY3eP6NV4kGfXz4k58wNreEbrMxHA6TLRzJX0jTi2e49u7fkCu2SEWEO34gt9Vf+uqXJGF66NzTtB5+Qr3ZIDn/LK3GIaIH5fROYVmHdPM6SjSEvXZE3+XB0dMhGKNXfSSVkS5/kn67SL9dwheN0akUUb1p7PYutvA8eu5TzLaOOz2HMujTtXlwdXLoShi76sVhE31UC9UFAV+Gav427U6O8NBVbK0mvfYJampMPoMO003P4aDfLGK3t/FNPo/V3JNdSI8NSuUmN69/zMbaz5gGEwujJASF/fAIfzDJ6EyG2598TPWkQHpyhvPnZ5k+exE1MUnr4TU6J7soY0uoZll25JyuFHruNmp4GtNmYLMJQKDwmnulEkuUAwWISTct6RB32FsgcFJKFE94jvbG3+CMZbB5RvDEhtEqxwSHMxjHj1GT07RyORrlLXxDszy49i77W6u8+uZvEIi6qedL5CtrTI9mGISexhlL0it8ioswfV3H5nXSE2DTyBD9+gF2DRlFFODIztb3JH/ArgSwFPH1eRRdp29V8Y89j2H5MBrbuFoHcjAgCPFqbApTz9PsDxFVSnKDVCkf4Rt5inJB9P8szMmXKd/5G/7xL/+P2DwBzl2aYG3jkK+8eVkehm98ts6Zi/NozQpbhy1uXt/hH/zDF+Th4rmrl+XzTLVHpaJhFv6SAWGU2DiqIbgTXSJXLlPaqTN18TflBXI73yLoMoiGA3QaOrmyQTQktKwtLswFsTts6F0bPZeLv7zewLLpfHkU/ruvRNjY63Lcs3j2vFduqbuaRTjh5cnjCuPjES6cTktGweP1LMNJL5lpH+++t0lmbIjdnap0Fz/zhQzNTp/9nQpnzsTY2CzR1S0JY7I6dlbWi3Rapty01IodcU9lZjLGez/dY2E5QLtq0TcMqQQ+LvRljUsMQ9sNXfqI25qB1zMgWxzIA5TWslNr9ag3BoyPewjYDZZOxfnpRzm5wcpVNMJuheGkQq3uQLH3SY86yOctTkoCY6ZzfjnM/o6Bx22Qr/RIJQNoTYO5ySCTcz6++1cntHp2lmdA02zy8j8x7uOgUGVsOMrdlRq6ouLUO4yPRaUlxRdzkQwGOKiUebSuszyjyteYDFssTo3wo8+36Otuqi2Nc6f9aDWTZDqEnRqLcyN8du2Qj+/1eOqCh2RYkfosl7OF6nNzYSrGtZUiHq+NmTEff/yDPF9/NslasUXABhfmfXQbijwPDEcsVFPDtDkYCDyb5ebwRMMeVtFRKfdNjstu9rIlsvU+R4abaMTF5qFJU+8SdLopd/p4nTqZoQilWlNyj6aTAdnnnwk52S+1mE+q7Fd0MnEPx8U6voiXZ+aGuPckj2E62T4pEfF6pdqzabZRTAuHSGNaborFplxEtDpdJtJxSvUmV0UMuqaxW2owkQrLS3pZ+OXbBmOpMMm4n3y2QSLhlWpEsSkUB/9yqUZGGKBKDTkgELBlm22AadhY2yui2CxCPhVDgFMGwnKkEvCp7Odb8vPU71GlMtfnFRpEVdL7G/UOT/bznD8/R63Z5fLTF2npOvVaiYgvItOfgYBI78SkSUDwBI6yx5w5tUCj0aZdb5MYSrG9vydrJeOTGZkcvHf7Aal0HI/bgz8oSOFF5mZnKJXLskKwvb1JNJIgFo0wNJzkwcN1uW3GhLHxUSqVKpuPH6OoThwohMIR+c8bojpmaAywy+c9FA6jqG4srUM2l6VcrxLxBznO5vALjZ/TjifkweoI/ZwhAZQHm3XSKT9epw2rZ5CI+lmr6RLmN/WfuBT/8q0RvnQFbq42+f71Kq9cDNPTTQnTHItF2T5s88pTQxxUmmQPW0QTKkeHGrOTQbweg3LDQdCjcm+jyMSwn9RwkPt3T4hHfZiGxltvzfLxRyfMzEUIeFwUSk36fU2630fGBZfGIprwkc1r9DsaWqfD4uI4jzdOyBY0htJhyQG4dDlEtW5SrRkU831eeTmF6vJRLbWwFMEfMKRxTGy2FUuAAPtcuBCWirnkkIeRYS8Bl4+Tchm/38Wj1QJnl9N4Qy62d06olSwZ819YTmD0BxLOaLe7JZ09PRqUC6u2buDxuFAGJhPzcTbXyvjCKrWyzvRMkIOdFnsHop8+QrkoeCMmpYJITg6k/cHn8aB4TYyOi2KlyuxEmK7e58HdOvOnI4xPRChkq6w+ynLhQgbTHJDLtiQT4zBXIZX0Eg7YuHG7yVe/PsXRYVNaCwLBGDvbRVx+C8twkhl382S9zPh0iGa3z9aG0Iv7paJRpNQQ5y7FI3vgH39wyIWzEbS+heVQKBR1XnxplO3NBj9+55ivfSWF3lEZmrbzvT8/Jjnk4u+9neH//fdHclkY9imIXPTShIuaqdCt6zQ0nUTYw4P7NQ5qNi6fgXTUz8XLaX7yQVaCBiemYpQbbYonfRYXVKolk1jULjfUNkUhHGnxyaddZmbdjI8KVaXBhx9UmJ1wEoso+EIBPviowlPnPVimHZtrIPkLuZMW6RR4/XF2dmrUuh0JCxzoXRSPAO51cCsunMqAdlMllDLk9nxxSSEznmT180PwirvJgGDSkF8jNItz0z6++70d5uZD7Gx15d8LHl2raaPT1iWk8qhQlupXTXdzdKzx9LOiKtlnb7dMKhbl0eM8x0cmv/adeRp1nZX7Zdpdg2DQjdfRQ1FgfjrN/lGZfKlBZkxURAJUixWC8Z9BVz94/4iZ6Sjzi34erTTp9lsMpQNoNQFkFfl0g4BIsrTaFEoGyXSYYqHMKy9N8d6PdzlzLka3DU+2yowOBwiEndJAZ/s94j02AAAgAElEQVTRdzKWw2OXcRe/X1BBndz6vIINjaF4hIbek910W7+PT1wIOi2icQ87azrBYROj22ciM8LublmCHQIuuwQ6Xb9zwkhSlUCbg2PhRozSa/TQOg58YSc9Q5eHjJlTCY62RI8iTjGblz2ty5cX6WoV2g0bLX1AIuhi77jCxGiA0WEfv/NnW7z1lXESATAPe/zqn+Zpudz8wlNBCSO6ny0ykwhgdw9Y22tzfjLBfqXIxdfPEfIHOcyWSQ3Hye6UWN865szyMOFkkvfevc65CwvS5frkwRqaaZFMRMkfiu2Xg3ajxfLZCVbuPsHpFP2VuNR29Sw7x7snTKbj2B0WvX4Xw66QOywzPZOgq9mwAbG4ijZw8tOPj8Hex3QMpOd7ZsTJ5VMxfuNXvs7iqRk5AQ4mwzh909A4QKtmeXD7IU1N4dz505TqJ5w83OT81fOYNr/0GBeqOcbHp3h4b0UC/Qaazkl1T8bqFpcv0W7lePzwCX5/mL39HYqFDhOzArKxx9krAvzmpFlpsbd1gDugoHXtfPbpJuEA/Nwvv8pwNM7c6WfJ7jxE77XxhcMcHeeYmBrnYOeY47015s9cpFoqs7W9yds//ysc7qxLj6snCD63i0ZnwE8/esjv/98/5dypIbqmwt5hlavPigi5oABb6L0Wi6dPs7H+hPx+kYUzM9QrWd6738SsdJmacPCtX3yTV956DcWrsPHTv8Vea+IfH8Ey3fRbVdTELA6bhmUr0yw0aWb3SEwvYjftuIbPoneO6eUO8Y7Oo5eqOH0aDsVP92id8PQpDCWO0jxCG+j4opN0agf0Bzre4EUGljiMZFHUIHq9iE210CvHhCcvUTvJothPiEbOS7dnq7xJJLGALZbGrOxK6rUvPsnG9d8jGpglsvQGfX0LZz+GIQ4uYhjhidBxJ+VlRqltY/Mn6O5ew/JFiC68iV7eQq9VcYZClItHxGMewsPLvP/jD3nwYI31tSMCo16unr/K3ZXHEmozloqQr1TBE5Bx39sfbzA54eC/+Zf/gtCYD9rQLLaorN4Av1BoajjFgcMUSsoBSlDUJk5hL+dpdo4YOLv4kudAbLBbeXr9AYrXJV+js9VAHwyw6nv09QIO7xwOFfpWAEdrB1dwiK6tRz+/gyPzLNFQhuL2+6j+AA5nBHcgQLdWodkr0zjO4fZahIcXyR3v0un0GJ2ZYef+AQcHmxRyJULxJM1OmdHROI83srS7Os89+zKBsE/2RV32HmarKRWUu3snPF69z1fffotqoU06HSQ9FGDiwldoF7bpNA7xRk9jGUWMdp52YQfx5EbnXqQhhguq+GXupCM1aUPYtQP0fg9XeBGHd0BjbxOXbxTFbUq1pGUPoBfXUWJTiNu1UbqOMvQMiqDYN7bRDEvSmS1nFE8wil7awBkcxgqP06sV0HY/Qo2OoCZPozf2UftOBrE56ts/xBOcIrX8IpaZRXEn0Stb3H33J2weNYlnojx6sMHy7AKVUpHh4SiFcg2nIjpisP/kPt/89q+TWVqk50jS27yDqZTw+Oco7n2KmpjGFxyje7SGKzyEQ/HR6Z2gdHpYkTA256isf/gHPTRvAqt+KGOHztAEzs4xSmiGvmjQCdBgZZNa3SIyeQqnrYwaO0PfIdJhHfzBEMW7P6bvi+NPpKF8iNbUMFprWLElvL40Rukx3tHX6bfWsDlDeAJpOqVVes1tXIqK6YqghGYxa09QInN0S3kULY8zFmPQbYBvEtUfRS/cpdfT8GRepnvwIVbuPt4zf4d+eQfP+FW0yqaM11qCTeEsET71GqYzw913fpd//X+9gxrwylRVrX5CKZfHF3ExFE2z/viIvmmyvqGxsODm//g3/5Rw5hTKoEcjW6aevYfVyhJafIt+t4mp1TAcwrPtwqiVGXrtVWZHv4VHafKVV5e4desIf9gpAXodbYBqR26HBjY7fsViZCTKtTvHzE+FJDldXAsfHOi8NQNjolgwn8Ro2CnWmuRbGiOREEH/gHNno3z04RHJmI/USJD97Rqz0ynq3R7lUlMOjYdiXrZ3CrKDGYirbKxWccpqjsXF89N8/N5D4sNBWprQmcL4nBeH6WL3oMhwKojba5eJnm6rLZOEcl7UaXPp3Bj3bhfk4KWrGYxmPBznenSqCqazS3pIkbWNjm7h87u4v1JkdiGMX7FR79k4PKzwzKUx6q0O77xb5ue/PkGuVKNe7aK6YWo4zgfXf/Y9qTcNMuMxqvUK6SEn6xsN6aYPiFTCwMGSSBA8rsmecM9wkkq5yO0W+eKXx9ndadHQ+0RDTh6tdVjKiItklO1sBWdAwdEXPdkAu/tdHG6LxRkPg8GAP/5Bia+/FOE432H1sckzF91yeL6UCuJwO/h4tYHbqZEKR7h2P8dzZ6LUGppMxd27U+e1N0awtbus7da5eDrB3dtZpjNhuhZ8vtPm6YmQvGyfNARbc8DZWRd+xGZsQDLiIeoT23Fd2mQisTA3Hh7TEkTwMaFNrLJasFFtGTyqunAoIsrcp9Dt024PGDjt6KaC2+UCrc5wMkyzWSUZDkgwVdxrMp6MyopRrdYlE/fS7omB6oDhqAvVadHviWh8kNubBdnX9rkcDBQPlqOH04Cu4SARjbGyncOlalw9O8o7H+yxOBOnL8qsdhuBoJOOBlpHJx0LoxsDyo0WWUHaDokeskv2v5eWRgioXn50bZXTc2MUCoecWZpifa+Ay+ml1mhIO0PQ5WVru8jERBCtqxGPhuRl/ijXwuNzUC2bkl3hD/rklvdw75C5pVkGlsX41Bj1hk5fkLsEMT8Zp28OsPoDkrEo127eZGF2AY/TxY271zl76hTbewc/g9I53IwMD3Gwd0AmM8b+0QE2u51YNMrK/Ye8/PzzZPMnbGxuSmtBMpliYX6Oh482ODo6kVBLwQsQy6f9/SzD8QjBUIi97SfoRocn21t4PV60uinVv6lomFgqLM+0Na2LOnDjCdoY9nuptLp0/zP4cLtoUq52+Z++HOWrp7uU86C74xxWugRUk5tbDc5PxbD6OrlqjbFojCfZAjMTSQ73ymTGfFhON24P3LjVAqvD3Gick04XszMg5LOTjLiJhFX8AQ/hiMof/j+PefWNpNxErm+UuHQhww//+pDpJT9aXScxLFS8iqwY10uCQaHRMfqYHeiYYnMawND60tWuqCrHRxW8Xge6ZkqQn9vnpHjSYlykezezPHs1TadrsX9QJOhz4vOq8jNnb7NGJBZgYy3L1HyM3d0aZy+mpWGkXLb4/LPHBPxuqe8Wi7Lx2WE2Hu0zPhaRVdtatc7+YRfL0Hj59XFpKBPnKsHZGB6L83jtkHbL4uyFGI8fttnby7M0kyKzFOZgu4XR75I9FClmuwR29iXBvs381DDx0SDXrm1yejlNqaDh9jqkgvNgu05b0+TlsN12MjLqJ5hQKB9pUi34eL3M7HSUjz7O8tTlgIRqCvXzwXaNRMrNzl6PiNciNe5mY1XAocUzZmdiMkEp2xb5RLzeAVpNk2r1ze02bpcph2AnO8JsJoZJOgvzCZ7sNDHaPSzFQbHaYXYyKcGdmxvHLC6N0m41KFX7JOIKQdVOW7dTqtpQLJ18pUO11WN20kfA7yVX7NLudAmEHBgtUcUy6Vt2abO6emmU+w+OGJ5Mcbhd4ezpsEy0XL9TZ2w0itfexBv0Uaga5A57dM0uQxE3otey8ljnm29OsbWdpVG0iI8MmFtIcP92HpcnQLXUYCTjI+AROr8QvuCAQrHKxEiCldUKG487PH8lgDfuIrvfYSITYWDTKNb6DMf8GGZXvh9WHhUkPE/oWQN+B7tP6kSHwkxOOjnYbrOy3mZpPkpqxIdLNSnsa8wtBbGsPvcfl+k2RZUqQlProNgHLJweY2fzBJcaZGo6wN07BzLFUa+L95cfs2/i8TqJCUPaTkGC4EdHk+i6hqb1KBaa6F2LqfkR0mkX2ZM6dsvGSbbF9o6Oz63z3OvzrFw/ku8lASwVFeNUwk21amD7q9+YsES0fHEpzJPtJpbNy2DQklCgYEhlfbVEt2Pna1+dZmevwPqTNssLQRl9+dM/XWNqWqiFvOzvtuTUyetWSYkJbr7A+bNpmh2LwkGFWFKhUhiQq3e4fHWaeqUkuyBau098yEuvY5AvdGT/56VXJ7n5eYG+KYiJAdmVOTk2sVl2vvLWMH/yF3uMDgd55Qsx/uRvs/zhWovxuBtTc0o+geiUif27gNWITmx8JMDEzBg2j8qtByI+k8SmmdR1DafpRNMbLJ0/w9b2LqXjAqF4gvnFMUq1Co2SRsvQKO0WpIVg4fQcJ9uHFE+KdAydqOLl6FgMRQQfQNQGBMlXZSgZoCw2zm4P/V4Lj9dPodohGlaIe1Q2DoThIMmZET/f/ek21bZOS7czcA44l/Dz+vMTfPmtK4xnkkSDAVxDo3R2dqkdrrO2XWR0aIKdx2tcefMV7ty8QdCXYvn8HB/8+IfMnD6P3+sh5I9icyg47HVKxarsE+rdKtXKvqSdDw8vcGflAQfbR/TtQgUUZHx6nnsP7nDu3CkJPnEYflbv3iTkj2E5BMpS58UXX5MgiWK5gGIZ1CoaoyNpednf2NjF7/Oyu3mTmmGwNH6OjSePSE1OsLg4gi+Y4POPblHOiZhtmJ+8v8LBoc5LL5wiXy3w0TXxs/Xya9/6Jo9Wb1JpDpjOxHn3k89ZnJjkuKbzzicnXJrw86//56+xcGEas26X3b+2OOA42hj1Q0nBDiYm8Y6cxmGzKG18gDsyhNFpoQjYnC9J+egevvA4htVBr+VQE6cxmnuYnR6d/H2Gzr2MzQhhOgzKe3eJzj+NWw1y/OAHhMev4ByoKK4eequCK32ZxuZ7OGML2DxxKP3/LL13kGzpeZ/39Olwzumcu6cn57lzc9jdi82JWAALEFgSIAEIEJNA0qZE2SwVy2KxREsWy7JLtsussi3RRduiCVJMAEQBWCw2x5vznTs5z3TOuc/p7mN+3/q/W1tz985Mnz59vvf9/Z7nOpp/kVIth8fRpW/00EOjdE0Fq/IIu+rEVBMMSweyauKaPIuZvYk++3V6mffRHEJtUkf1xjBtLlR1iGFLkL3zXcKzZ3FHThNYmERge3/nO/+Id6+1+OIXFgkGLPJ5F7nCAeFgjGjQxejoPEN9yF/9h5/iHLj4x7/9PJ/99i8xVOaorb/FoFdCsfx02xv4Uo9h73ap1bL4I2GMoY9uYR2H1cSZehInbdr5Fcx8hkFyEb8WoFXbx+ZyENAXaRqb6NoUlsuJZfPQaxwzrD7EN/9z1LfeQBs7LzcZw/IWzuRn6BYeYmKRWHyO9IN3cTuKeCYuYHZC+Hwu6rUDgskFTKNJr1hCPKf2xUaMhuyqW86Q1B21Gna2djdp5Y7JFot4/TrFchu328vEXJJGdUCuss/yzDlW1x+xu/OQF174IkOjwcnzJ4j5YpiiiObyUG5W8TtGMOtrWA4P7tEFuvU0TrvYPKkodUHAHyDKiIojgJm+iU2N4VZFOCWDEhjH5nChdZu06KMNBzSKWTSlipX8DPahjX5rF5s6hiM+Q7dygFVtoUZGqB5+TNgfR42OyBu8gLBqjpBUHNrcAYaZNQaNNOrS5+n1qljHN7D75iCk4HFHsQppKvUcj+5vcXxwhBaJMRy45cPukDpG08LsO7nx8Zu89g+/zfTMHI3jmwTGL1PLV3B7TJz2JEY7R7m0IQedgdRluvUNjEoGNTSNS/fQKhbQBJBo/CmsXh1l0MEwdmWKRVfdOLUwrVZZRvssFOymgXjxepaKVt+np/qx+ZYlU6Nz+CbemedpD8Hn8GA43ZjZuwzaeSz/DE6nE7sqmBdO+p06jnYBu6bRq/ckn2PgHDBs1jD0KL5oDGPvLt1yBvfCK9IR7GhtYpXTDBxOjJHzuBotuYXrm1laRzcJTj1N36yiDJL4Ty7j0LfZff8av/9vXpeAUhEbvfTcWanw/PKXPs+f/cVblNplliYn2Xq0JvVV//J/+SVigREcqedpXv9bOsM8ztAobvc8/extbJqO5XRJ/7rmCmIWtwidHwfPRdz+zzM7ruIRbIPhkHEBLFJ1Sp0+pUqRxUgMm1dh96iOrV3H7QtidYV5YUhKtXHlqMteVeOPfyHAcsLOx/dqTE14Za+1WhtI3VMy4WJzs865U2PyXvRoNcfFx5NsrJSJx/zEU3YyeVPquJIRjXv3CtKVfuF8lG7H5OrVEvGUj3ajx/yCB+FvrDQhrNtxhFwE7RoH+YysYuiKi9SERqsE6aJwsve5fDGKUxdx2oJcGjz10qSM8tdbfZrtITOTHqqFLoflNrlMn9On3aRCMTLlKrqm8P23qjx2UpGVtEDSwa1rVV79/DQezeLh/RInFr3g9NKoVSXUbm+3x/punmTMQzLu5yBbpVYGj29ISBwGa036fRubuy26fZ3f/LVRvvvnu+hOi6efmeY4c8SpuTjXbouuqcmjzS6/+LPTbO3neLBicv60T0LX3CEHR7sWyTFh6jEYSeh02gbHBTsRzWQt22Jy1ItbVxj1qZgDO2pQZ3s7K/IzBJwu0q2uJDafGPNw0FL40Vt7fO2LKXrdIXZrQMuw82CzRMThJeRrsHxqiu+/kyYUsCPIbhG/l/1jA5tDDCUCkvge0dzMpMR1ZOOj6zmeODFBY5jGaA6ZivkoNgaYvT7pjpfNXIW438sHh0UqHY31woBiq8tUzEO6IhICHYTH1tazSCR89Fp1qt0+sxEfRr8t62gTbhvBgJeoBpvVBoOGRcjVITiS4uA4L5c4on4gtGrbJTG86fOZc5Ny6+XyqJRLHQY2Fcs1YNjtEgrqlGt15kU9pzZkc7fIU4+PcbhTwC/sVEGdbneIKVIIQxu5Yo3p8QjdpnDMm5I5ISoz/a7oJ9to1toySSAisML9HgzqeHQv9zaPZf3E7VBlBN80TFmVEcM1YZVyaHY6pjhwmpw9d4pM+pixsUncPi+BUIi93QMikSjRWIRMukK5nGd6ZhLD6En1oc/jlu/pjc0N+X5SxEhdVNQWFjnYO6ZnNhlJjEqy/khihEyuwKBn4guFZM2heLjFjfv3CDl0mbS0HALm2icR9MihYL3cZWkxyn965yHPnJpnP52hT5vpUIhd08Haw6oEf766bPLyCRfnJkSM3csPbuTx+ZtMBkJ4tSHv3q3z8gUf6WqPrumUh4onL0R486MDLp4exaX3+eiTsqy4nlvyEwjZeffDHLGoxpMXRrBpfY72O/QMjU6jgqrqxFJClVYHy8+ueP2eT7CzUaDTEPYIDza1j9stgtuwsVbF41cZ9kQzeMDJkzH6hoMP3t3ixc8LeKKNlbsFeX8S+j/F3qKQF0s1mFqIsLdeIpLw0qoa5ApddJ+dQMBJrwmqLpIUFpomYtp9WQMWQy6f5mZyOog7oHB4UKfdGbCz3iSe0Oi0OsRHgp+yvrxtab45znbwehRmJpJ8dPUukXCcdr1DKKLKuPbmeha708lTT8xR75S4f6cloemBoB1/xE88rLO/06RldJmZisk0y91bGYpVYQIY8sQT4+zttuQgxO0WSlEvdnWIy66Q32vjTdoEq5p6XSwINdwON7lChZn5BB+8tS0Hs888P4XZaZLOdtAE2sfuoF4xJXgvlxccEZusHCyd8nO406OQM9D0Ph3DLhkyEykvj10a5+0PdiiVRB1swLPPzuDwKvzwB3ssTfmpdOssTsbJ1xrkMx2i8SC5oy7JhJ2gx8Pkkoe7d464fbvDk09HefSwJQQZEpzeMHoszUZJhES+1UbM4+LhSoNw1Ea6YBDQVMZnda7fzlA9BmfQwXRc2IlsOFVR3eoxPxXgk9tlbE6Fy2eTbK6LKqqbR5tNuo0Oz72YopJtUygPcHsEp8cCdUg4GuXurRJ2V5snH5uQw5NT5/ysP6jLOsjps26pT79ztcPsCS+FYleQRegObAT9biZSCjnBTzhsc+J0kIm4n76txsH+UKbsnvpMgsm5AB+/leX6wzrf+Jp4Du5ztNPAF1I5OrRQhgOZgN/eFM9MCpERB/FkkB/87Q4TKSfLZ0fkomt9tUIsopLJdHF7DZ5/boEHK2X67T560E7QKwa5Cl6vIBdbn1ox+obkp5SyDZZOB+l0+xztmYzPuLh3pyKTBVMzHnY2m8QiOoViE9t//HbEEt2Ck2ejPFppoGsWoShk9ywuPOenU3Gyd5DhC19a4q/+6iFep45Ld1IrtYgn/MwvJ1ldFZtIARcwqIve/okwRsuS3vhR4ei9VyCVCtLo1ag3HYyPuXGKHmSnx8R4RPorWzULm91Op2mRSDlJH1a5eGmCd948lA/3X/96jHxBaP/qWKrFbCxI2AtXVyrslU02O24yVQM9ZKNXbZPw+eWkW2yFe8083kSAwEiKSqdKLBUmGHCw+eiIUHKETDpPMhVhMjXK229fIZyIEAwFcGCj3TRIzY5QPk5Lx2zH6NNpiqnOBNVSFZfXzea9DXmjE12vTL7EaFy4ZmF3q8yIGKREvJSPK7SFj8Spyvhbp9hCddtYWhohc1Ci0e8Q8sVEmpb1gzSDgZNytU3VhKTHxjNPJjiV1PgHv/EtfNEgamqRzsENju7l2FldZWRuAs3pIH2QJuALSviMNxRh49EKvU6bC489j+IasL3+kNHpx1DsHWqFfeZPP8XO6m2uXLvJwBBVap3d/R3i0QTtdp3lM8vs7B6ztrHJ177yed55+ypdo8Pk5BjJRITPf/0XaOQz5DP7rK4ccOLcMponBIrC4aP76H6Vmfkz5I4yXPnkY77w818ks3PMYGiSmAhz/94O/++ff4LT1aZQNHnhpae4d/1DXv38Z9nJZLl+cxfLtDE/NYaid5lIhIkk/Pzv//4tHu7BV19K8t/9868Rv/Q0la0H7P3kLZa+/CuY5oD1a3/J1OwFBlZfxneNagurW8abnJGRXcVooIWX2X/4QybPvsKwX5ewP0FDb6evYVbXaNggtvASmgmNdk3+XAwNAhPnaB7dwux08S4+TefoCKN9H7eeBC0mlWQirm/vDyhs/pSR6edo9kr0y/vokYs4PX4sI4c1NOk2y/i8I9Ryd/GNXaDfNbELtV5nS05I1djT9PZ/gMMWxR104ohG0Wae4o3v/hH/x//8Pb7588+SKzb4o//7Fv/6D17Fbdm4cu0+S2fn6KHz4795j8NMi9/9zed47Te/gTM4TWf7iPrmPRzakHZ9D8f44wTcNpptE5d3QirtFBGLVRSG1TQDqy6VPpZN6NKCNErreAOjKA4Nm1Emu3mD8Mzj2Folhg4VgjHs3Sb9WglVAoRUHI4A/U4eh9dPt3SA0+endbRPYOkFWs0CXk9c/s4txYs7dYZW7goe9yLlwi4OxcQmSvOdDq7kOZyuMFbvGI/HTn3YQ3f4sdsc9DtVXB4/N9/5EVfevUtoPE72uEa1VpbXsilgT0Gd6all1nY2sVoiJq3gdgfQ3H6WZ8Yw1QE2LUKjdECjWGRk7gmaO7cYiAM8URyYdLxBfIITMHQyHGQZKjZ0u05fPLSrAWyDCoboE4aSVA/u4A7HsSsBrIFQRukYzQZ93cSJ0B8OMOolFMWFe+Q0nfyWTAN44ss4E0scfvTv8PiSxE5/jXruXRhEcGgqZvYqAz2ATTwQGXVMVxif3pc9fldyns3rf8ODO3vs7Rf5wis/wwcfXSPoCTIynsDs9TAUE7+tx+xsnIlnv0RlvYTNPCSze4fo5Gl0/xSKU6PTKcghpie0xKBZwOwe43AKpaYQKDiwDQfQyWAlnpbKNVv3mHq9jniStgWnZGRT3Nd6RhlbNSs7+8IBbO+sCw4iA/80NtsoFN6jZ7dh9yxhDyYY1g9xtLMyomjzTdE7fFdO0vWz/1gaFazGjlQ2imvVKpVxj85L7aPRKGCaLVRfCmG7NkSHdO8ukdmX6HWzdPbeQVsQqYIy9tIRVmiGwNQszqBGYfsu//2//Uve/zDH40tufIkUqWSQsYkQV67tcH91l/MnJslk8jKq+p1vnOKLn30Z9/xzmKV98tubeJxN9JEljK4DRfNhVvcxBgU8ia9Qu/W/YVnHxJ/5r1BcTj778i9TL7fxjUdlJ1bENBXdopRr89hTs0wspfj+//M+U1GN2GSEzY0SDpspB2EiWtMfiD872d/vEwoO+INnAnKY/qDQ45uvTPPO9WO6ooOeCuH1OckcVukYCqOzLmK+EIeHVQY9g+nZGO99uMvS8igTI+J/7mL9YZrYuE6r7MR0Njl7KkI526fT6bCx3cQwhkQiHvqDHh7PkMMdMPp9AiGdmaWAvC6yuy0JYIuNB2jU6zKGe+d2hWdeiGHrO5mZDvBn311h+fQI3VaTo5zJaMxNJGqTh/j52aDcrIpY9anlcd56/ZiZZeF6Fz1WO+lMh3jUwenTIW7cqksa/cmTHham4+zttqVNqNsx6HRUTp/W2Ntvs7Xd5MKpgPxcUNwKjy/G+cHbhzJhFwj22dy2MRpQUN06Q6vH6fkof/HmIZ856abYtFEpNdBcTjKlPuenPahem+zNe/3iwWzASCzCRzcztMVDdd/J/JSLnaMuz1yMsJOpUC19eg/QnR3On41w9W6ZWNCDSxmyvi2qDEjrz+5Bi4kRL3ZxbwmYsvPttZx8sFpiPBIkFrPI7RssnwjLQ9+DRx0JSEuNBLi9XuXsmBjGOMk1RIUyyvFuUX7uNKotqoMhbpvCE/N28uU2s7OjbD4sYFpOooEhDueQVl+l2a7TGOq4TAdlFK4f91AVlXS9Tc5wke6qdOotUTqUwEFcNhwui4QYjlp9nKrFWBA2jwaEA5ZU3um4eP5clAcbx7iCAbrNtlQzp5sd6a62azqDoYHLqWHrazQ6VUTgOBr0USgbjE4FqFXb5IotqcccGgOSySjFUpmWIZRbNmzWELeq0+m0CfqdEn7lwE6z3ZUsgf6wjy6+V7tdGgZEEkEZ2qg2mwR9HtweN5VKSd0PL/4AACAASURBVL5OjXof3SeWXDn5IJ/JiHg3+D0uCac+PKoymvITjQYkzDSbzREOhPCItMjWHqcvnSOWCDA3s8CH734gU5ij0yNkDrNUyuIZMc7773/I0tIJdg92JFC3XimTr7To1C1CAjA5FyfsC1IolOSSrVSqsp0Wyjsfi3MRDo+LGIYLl9oj23BQaA2E3ZTXLhr8k8tRom6FR0cmugD5FXqcjHv5cLXy6YFkIk5qzEU12+LOYZVXLkzQbhhUejVabZV0pkq9JfzrQh3oodToYR9YJJM+bA5xjHOieT3UcqKPDXatz/07BX7255fZuFeUjvvFUwkO96p885cu8ebrdxgYTub/XkV85ZMDGZP3Bgzm5mYoFtKSGC9SiMrQTbFep2vA5EgIU+mSDMXY3SsxMu6Sw42RVITpmRArjw4xBYhbMTjzWIqDtSqGacn6RyThIzWq8ZPX95ieCjCaCrK/X6XV6lLItFhcGqVcq5JIBdHULj7vp0awdqdOPtNjYtLD7lGVRMCL3emQn+HhWJzbNzYkSG10YkTyNda29ghHQoxNuHl4u0A232FuJigH4IpNkQP9ertJvT7AZvblhtpoDznK1bHo8+LLJ3jzR2voXjeqbqI5NJkgFgdcT8BBatzLB+8eUMiJOPkF3vnJLcyhi3PnxlhZKZFKeQhHnDx4UGI06aPR7BNPOukYwtZWkkPIfttDRtRsxrw4UNH9Q3KFljReNCs1+f2Xik2mFsNU800U1cnBRptg0I474GJ2Nsit22kCbg9jixE65QGBUIebdwucOz3G+x8dsrPV5rmXY4QdToJJjV7bQaWcx+yL1IFGJKxy/1aasckAvojGR+8Lw4CHSCjM9ZvbnDgZkGwwodh+uJJnajpOv9kjU62QzQ9JJaM0GnXmxl3spOvSAvHFz49y+1ZWDpYsy0E216ZS69KoG5JJp7t1blyrcGLZx3jKQ7ct7tMqaxtlCdMTdZRy0aJSrHHqTJhbd8qMTwcIeoUGNYcq6iOrdRZmo0RiNrpdh3xdTp/zyM8Un+ZnZDTIoN/FhoHP/6meT8BVu22Fb/3DWR6tFqhUbEwmXXQNAxw69XaNeslOOGwRS7hwB4J0m3W2HnYYGfNJ40y2WKPXGsoBzXCoc+Ksn921IprHKy0OTlefZMJHKOLlo3f2uHBZDErrjI7rdMwekYgb1WFna6uE5tKxaz1CAT+HB21s3/tHI5ZbFdCTIO1OkdRsiqPdGgc7BWp1G5eeSHLjWpZs2cDvc3L5cohyvkuvZ6eQExeSiFHpHGVrjE5EaFcbjE/4SeeqHB8OWT4ZptG0UF0dCbhp9gxUzYVZU2j26zQbQrnjYmw8IsFsogLg9gZ4cPOQuYUwLantUikfd1k86eXN94s8fs5PIunh3SsFzk16qf49VObffFCh2ezzsojdNIbo9iGFakdOd1Nhv0wuiODLbDJCsVZlbCkpfbpthmhO4afsEx2LcfPqI6Zmx6TDW3e62N/LMTD7jM1OUK8Jx2lLKo3cTpXpk+Ny2h6LRNnfFrowlZGRKKs3Nuk026jDNtlKG4fTx0G6ygtPj8kOyOa66PU4ZGrg6LDF7JSbarMrASYRkWhxqnSFt7YuNvc28q0KRy07xWKPKb/K7KiGrhr8D//iO8w9ex6zVmHg8JC99gGKpspuXSGd48TyPDu7e5w+fZLjbJqrV97l0vmnwRuU3Rij1WRq4QJds0YiGcHjC/Pg2se0Ox28vgiffPwxHqfO+GxKwuKmx6N4dA9R8ZqrIa5cvUU+XeLSE/N8+Ru/wKBXl/T/Rlk8gNvp1OoMxZOqZUmQWbUmQBgKhVKWZGKUpTNnWL1+l0tfeJa3f3CFtZW7BGMB3ntvk/CIytpqm8ufGWXvoCQhOF5VY2FxhHalQ6E7IBHQ+fd/8xDV0eeffuki3/7113DHfBzevorVrGJTAvQGeXRfDLtvFpfLhTFIg30Oo3wTpy2MNnmK1tqPcU8/I0Ey7Z0r2KPjuGMLdPM79Ds52cVGj2OUdhja3GjRUdyal3Ytz1B3o9qGDNs9nD4v5VIaj1WF4AKeQIrS2vsEZp6mnF3B0e8TmjpHbuuHuLQJ3IE4Lj3KUNFkr9rpGeNo43uEPAlsXgGbO8JhCVDTEJszga7Z0JefJHv9A773/b/gL14/5PPPn8KnudjP5OkYFqeXl6hXcpSbZUm5xeVHt3X4/d//LRZffoXhyk9IP1hBj8cJjIxQO8zRd3kYdO302xtowbM47QXZExXfn4j69YZRvN4Qg1aW7pE4dEYIz71Cff8mis3AETmHYrUxMms4xs9Kguygss3QITy9IwyUAa3GHqHgEt1eBacrJKGM0toQmKC19RNxpMajh3DEn0MJuSle+TNCPje26QtYzR71agWPO46i2rDMJmpohq5RwSzX5UHIqbRx+UdoZtJ4I178U+fkEKKXvo7T8rG7+pC33vlImilOLJwg5PeQLR0QCU/K6z0UDrO/fpeJmTFOnnwM1enDFXZSTh/g8dholQayl+nxRjAtMdSYxeb1Yey8jd13An38DJW9T3Aq4g08wOVQUWIzKJYFrUOGYuvQ3sStxRgaYtCZIRSfp92pYu/3MK0GDneKvsOL0+YFu0EvdxN9/ot0136E0a2gmH1c0fMoPhfD4QBlUMEy3BCMYBzuEDr5FD0xoMzdJzz5GBhlVq6+hy+UoF4u8MP37/Hkc8vkD0VU18FgaMnvt7C7x7f+2e8RCGv0C3vgGaW+8yam5cftS1JKbxIdP4/lENFfkSISvbUBimXSaTbxxCekycHjjtHtD3HRxgou4rD1MZt5uuU1vL4FBp4Yg84ODs+0TDYMD6/jEOqa2acwWkdomS26sQU0kZ82TAyzhE3z4PIvMqisSs/2UAzN/JOguHGYdUy7D29oGqP8kGGvgdM3yrDfQfGNYe69C/4gKCkcQY1ho4HNn8TIPJD3JLs3KWOk+tgiRjHP//iH/1amq/w+UVFoMZ0MEIy7qWSHknB+5vJpXv/xWwz6dWLBCF957Xk+87kvYdaqlDIFIq4WDaEKcvfwBi/RqG1gNUuogXHCgTiDkEo3v0b49LNgTzAffZ7jbp8nT0Xkdt3m0cgc5zDKXYa9PmoqRHJ8HHfAzsqddWyZGgtLUTr9IY2ahe5y8/6DY/7VN+McZOH/fLPAn/8Xk/TrTTlE2DkQqlsvc0thMukGukcooLwc5qr0TBvZo6asp02mVOnLrrXqZI87BLwa3rjO9Y8PmJ0J4nS4MKw+Xt1PNldiMFCJxoY8fXmaK3cOSR82UBUBCPYxPedjZ6vE3o7J6KhKs2fj7HKQ9TVBYbbodXu4FEEfN6jkWpy/GKZSFlrDDgvzIRQBWzIUphY8ZPcapBJOdotdavkeYyMuwokktUaRYVchGHHTGVjcv/VpP/L+eknWCBJeFdVj5/qdOmGfg8efCFDKWBznupJvsHBCY3rUxw9/lOPUsobmdpJJm7g9DgIBU9bfdKfJdnpAKKxzuN3l1LILb8CFahe91S6+qIftgya6PpTU70ZtyNJSmK29JpfO6nx8pcTZ83GiHov3rhQZm/BKwHHIF6bdFL+LAQxVwiEP/oCTD64cSsrz6VN+ZqIJrt7fxLL7JChLd9qlU/ruSoHUqJftnQHnT+qsrAuAnUsIPEimLKaTcW7c3WN+WnToTUK6i7/5pMCXnghxmG7waB9e+1yIfr1NrTOUBwO3qrBfGFBvdoiGnMyN6dze6jIV9JIXKTqPypeWvdxPN0iFVPpCFG+zmJ8Py9hzudJipzxgfjJCrVnnqKXhVyzuHnW5U7Zxf7+HFhbd2JY06gScJpWOg1pVpAn7aC6NVFyjW2+jBzx4h12mEgFKzQ5BTaPSqklLgtOpsJfJE/V78LtF9aRNzRQVBSetnu1TkKCu0kYMUFQZ0+0rInlkyb5sMBihXhXAUlErGZDw66hOF71BT/aDdY8bpwNK4hnF5WB6IsHq6j7huFdWHMSzA32TWDxCqy3I90GqlTrFYploLEyhVGFoDrBs4NM09vcaeMWtOR6i3mxLQLHT7pD/Rq/Tkjq/SDgoN48eAV48yMuH8lDMK7+mXm3hdXsZn07w4MG2HOJNxCPsFuqMRL3EYwG2M3XajSohv46ByqP9Cl63KlOTv3rRyTMjJcZiHh7U7DgtnbW9CvMTAnDdZ3VT9MNDLI3CjbtVAn8f2Z8a8/NgoySj80HNznbFZCFixxMJ8O5HR/ziq9McZMtUyypjEQeVXoV4OIHdOeTBg2NiQTepCT+9jsLKWpapyQCRsEcermdnZvjBXz/g4iUfpTK0GoIB5pIDk0TYRbFk8OBOhnAiyPiIxttvZ/jyz85gWhbrq1ncugu/30GtIcgIBj6fh0DEy9FhjmKpLwc5S8s+cocG/qCgvdtJjIpFI9y9fown7JeHQdVhkkypHB91iIx4cWsa62tlpiZ1yVp49CAvSfSf+1lhs9DZWC/iVGzyv51YjlEqi+RBg2dfEvwYqNQqFAtDipUuMZ+AJguguIv9gw5T8yH8Xjg67H86uNEVTp9JcZwWLIeG7Ki3ui1S0RDZYgufW+ggA6w9ytMd9KhXBGMgQalUZ2OzxeK8h9S4Ryq1p6diHB4VWVlpcOFMnKN0ganpKMGYzo2PD5gRQ5GHoroRIzlu4/03Crzy6gLpYp7MUYfUhIvjXZPT5wRTLMDxYUlWVTxuB+njthwSCzBspzWkVW/za//ls9y4uk6h0pX1jVKjj1/vs7Qwxu5elaOjHs88F2Zi1M9P3isQcPV4+pk5/vOPN6RyUHBrBDdjaS7K5laRZq/PqcUUD1cOZMIvORahVirT7tvlIEoYSV58eYa/+9G65B3NTSY4dyHMD3+yjX044MWXpul0nFy/lgN7ncmxAMFIjHs3DvHqA0YmQoRjAbw+O3dvi3RJm0bZSc/sSdWeoP6PpkJsbZW5cClGpWqwu90kNaZgmgrlTE+qL0WVeHImyupKnVarL/kVDgPsHmF0MTg+6DA27mZxOcXrP9gkEnSghVT8+lDCQsv1LtGUW14b+3tVdvY6nD8jgJ8qhXyd9HGfobPNY2fH2FhtsLVd4cWXxyWU8s6dAhPjIZKjLjL7dZSAB5dwrTLguNjCpdgIhFWye23CcR/5cpVBx8IbUHDZnVRKXeYW4+xsVuQAaXezRThmZ2l+hnI1g+LyYPuLX05YB7slYkGNWEqAbnp0Oyq5bFkqAMfnA7TKddkDFRAcu+iaDfr4gjqaJryXJUYnNapVk+NNg8efizMSdLGxW2N9q85E0sPcTJSDXB675cITUOl1xfy0LX/RQa+Y8IrDqElyMignLo/ui172p5O2iZQPoSks17rcu9Pg/MUQDrvJg7stPvfqBM1ah+2jElORKN/42zLJcJBnR1pSDXIjA6N+BymPm9uHNVJJL712V9IsRTfo8okUa0fHchLTdzmppctywZtaiOMbTYLTkqCckdkkqzePmDyRolgoc7yfoVlpSxeux21n5d4BM4sjhL1+sIskg41kNMq9O2t43S4m5me4++FNVNwYvZbsLsZSMcJ+J9vbFRJjfvyeIc2axd5uUU5LLSccb5dYPDeH2WpRbxvyohXAGbezz+2VGi1jgN8N33huljMXUnzl6z+Hf2aR7vZtrFqDcrNGdjWDfyJJfv+YyfEkQ58bR6fHzvYBk2PTHBVzGEYDnxZgqNrlm0Z4Vu/fXeHk6VMUy2k2tw9ptPqypymsCR5Pkv39beIjE+zs7oO9KeNQutPJ7MIkseQIIVXFoWtY4mFvd5dS+hibW+PE8kX8bhd7e4dEAkEaxTyKb4jq8RCLRQiOjPBr3/xdukNB4a3y5BMTHB5lcdh8aPKAXcKnqswujtLu9enViwztIbb2MiiNFr/3e1/jwstnKR420NoWfW8Sq7bC/uEe0cQJVGUoPe25rfs0ao+Yv/RtMuvvyoOdLTSLNzhJd1ilfbCF2a3hDwXQI+dBs+SGz+GO0C7cZNB2YXMO0cYuQeWYdq+AwzNLODlKbec6Az0uAYD5jTt4Zx6HwhoOwS1SFNrioUYcYOsHKKrKoNTEtGfQPaPY7OI9MkG9V6WdPiaW0NHnnsJmU3jnT/9Xbt/cYiWNnETeWTnka1/9GVY21lGsIS8+f4n3P7nJw+0yCUEGPa7w61+Z46nXfhVnYo7e/iqN9HugTeMOT9MSykGHXx7gmpk7BEYu0e43MI/exj/7ijxkWoVtBqpGO3uIzZuUUCG3psD4kzS2rqOSR1ETDLQ4ew8/IubX8SSmaQoiu2MMn1dEktblQEn0I0X3SVEMtH4LJTiGWW9Qau8zmjpD8WBF6p689jgDvY7L7qAzHMOh2rFbVcki6ReP6LZyKLoPu9FHnbosP/y7uU0curA4iJSCjtWv4fB4cCgu7KFZhsU7lLL3UT0XuH/nCulKgWFLQGf83Lh+g8UzJ1mYmWIg9BU2O0eHgjSt8NXf/n0GjTr9ep5Ws4rDFZSJnkGjguKbpHrwNnb7FJj7DG1BvIkFbEMbtrgbW9tOIXuTiCNBq9uWMXbxswifcq96hK47sCeeklaBbmGFYeyy7NA7vUHQRrEaG7hsBgM9iWq300hfQxt9hVb+Foplx51axChn6XdzqI4wHXtPrOSx98rYwzNYfRNLqCs9Hmxmlp37e3z8wXvsl8qcPXWGaCJE9vBYDkKv3brFSHyCZ1+4JPvpqagHz+yT7D+8irMpHNh1bPqMJO4KB7cTFwO/eG9tMNDH8QQimJ0s3cwGTm8MVFGh2Ef1h3B02zTr6/hS5xh0LYaqG2vQw94pYnpFvHNAv7Qrt0emEpSsCiu3gV0LoJ96le7xbXobf4tj7jdQbA0oXkVxxegqbjy+ETqFe6iKjhWK0W1ksXsSaGqCRn4VfzDFYCAUVQ003zjOxiE2l4rNH0UN+nCGUjx463X+5I//FFPxkM9U+a3f/kWuf/AJj9YznDg3SzAaQO81ef39HHtraX73d87y2m//txiOAJ3bb9BtZlG8s+jDKvVOF5cYuql+mq1DEhMnGGCxdvNDTlw4hzI5yaNrj3jxc3/IwG3n8aUY+WwB3aeSTAlXtptivszeYZvp8zOUMlleePkJAjE/f/uXP+bodpOvvDpBqVrhoGRD73UZS3jZyHa5n2nzZz8fZ0FAtoTK0TAlWbiUEw82SbY3sxRrHU6fC5NPI+FSR3sl+TVD0ScOia34kNt3skT8blJJN1NLXm7dLsqu+svPj1CutlAUAfIdZ28zQ0/QneM+3n0ry899dZyjvQbFjEV0GsnEuXlnl9HxuExCic9Foe8VoKhAMsi1j8Rnkkvq7R6tViUwLDFmce9GC3PQZn4hQXzEx/tvbNDXVJkqtFs9zl0axe7oU8pZHBxWmZ/R6JtOEOBYccCrNXn+pTmuX82QzbU4fTbB0dYRpYrCxcfnpDr02id5Tp4R0EhFxsoDI26qlR6dSp/xaT+D/pC1nTqT427aLUPGSQcDhcUlcNoDGN0WCh7WDyt4FYWpKY1q06JaNQj4hgTDHjKZjlT7PXkpIDVZj1brOHVhFjLZ3Brw/GeCOF1ONg7KtIsKX/lyjO+/laNVszEz/unW8OKpGPdXSzRaXXSXj5GkE0XpsXs8kLamr7yWYme7TyEvtltu7j/qEfSpjESR1PCH6zXm5kJkaiZRT5eeKQjVHUbjbml0qtYMvAE/jx7kWD4TIOhwsHkoDkoW7XaTyKifetGib1OkTzoo4vQDRUahra4hdXv2gbBH6XSFc14b4Nc9hNQOiq7hdX0Ka4z5LHbzCpo/LLkW1x/lGZ3yycPTfmnAVr5F1rRx3HIgwAFKXxzsDTSnSbXtEiJxToyr1EsKA6vJWMxHudvnVCzC0KyzXy7z5OwkWD22SyWqTRsel1sEEqiLzriI3pttgj63QJqyclTi8tIY5qAnlzNzc3EcZp92e0BfsTNw2lB7CltHBdmp9jo1Ko02oZgPq9MlFYuxspdG9Wl4FYtitUUk7Gc4MDjMC11niL5hysN+X9TjVAetpqiuOVDtBt0BEgTr9rqIRvz4FZXtbJrxWJwmXQamhU+otd1ttvbbjHl1Hh7XCXl1JuIqpmEj5BsQc9nZLQ651zDplhT+8NUBCyEPpsugU9Kx3IpUFbocFtWuyeqjLk88HqbTHhB2DznMtlGkFcNGt9djZkbjgw/rkkL/8ktRNh/WZC8/EnEQjvgJeJwygp5JD5idc6J5ghSLDZr1ISFdpdTqSTjoZ15M8uMf7PPUZyaJj7i4en2PYmbIyy9PYJh2trf3pM7wk4/WmZkP4LJrFLN9/AHBP4hz63qBdq/HwpxKqazIVGRUUN9LHVpVGJ9QCYkEQr/P1mqN+ISXTrNP9rDF4vkwqytlObSdmg7isIPTNWRqJsnxQRpPMMR7b+zw9LNTbG7nGR/zY7Nc0te+t1MmMe7Bbhny6wRATzA5XvnckuQMJCMeTLNLp+lgYT7MzUe7OGwuWUmOBAK8/sYjTp1NYIgUp0t0201q5SFLJ4MycXSc7dGqDeUQaSLlZ3e/woWLCfodB7tHBU6fj7K3XicUEzUEyKbLnDmfBIdJelc431skJu341ADp4yJ2py7/zo1raY4OWszMOgl7I9LOFRux0xNDsqjOyp2a5DLoXgFOdMqO+JnTYY7SJXweH5VKg6DbSzzhZeXRkdw0X3oqQqXcpZCvYUOcDYUtwU2n2yEVF56/ruzvx5Nu3vtpjvkFH8snYnz0zi6dYZfZ6RF8niG15qev31ARv1OVh/drPH4pjksbsrbao1CoMTUjLDdeon6NnaMSx9k2RkvHosPzL02gqzpvvLHJ1HgMPdAn6HHJGL2AU7700hw/+E9rLC7pvPt2iZGUn0sXAnzvu/vgGvDNb59jZe2Ag92WVHyeWAjgDvlZvXdEqzVg4UyE7FaPyJidxN+nXP7Dn2zzM6+O43fBYabH5IyPW1cOCCd0Rkf9bK3XZIJd1xUJphZ6yDtXi5w8GeHCZxLcf1Bj+0GOhZNRmtUW0RGv1PFuP6rK+3+v7SQ+Bq2KgsOhMD6lsbqalwaA0VEXaw/yDGw64xNuihVhKLOx/qDL7/zBAh+8XubD97L8+j85RalYl5ySctZgcslPpWTI4czApRHyDmV6pW91GQ40yeBr1UvU205212tcOOdngI7tr34lZU1P2uTN9sEtA6/fhkMxUD1uwiEbjXKXUDxKPlfE6NgZTflI55vEUn48diiVDDS3Q+oxxkfEw0wOc6iQO+4Q8fop90Ssy+SJJ5OUD/oUa3XGZ3T2NjpEU05abZOI30PXMGmbBlZX59GjAt/65QXWV8RGuS91NqIT4dAsFmYicvNk9MUcEA4269j/XiH0q19b4HsfZ/it7x7TAL56KkWhVicR8XCcqdMyekRiwmbQpTN0sjBhJy2ngG4sh072sMili0t8cHUPm2XDNBqEXCo9n0JoJIBnaEePuKUOJVssMXdmkvHxJBu3dmUEMpMRlG4Hyv9Pog0nYuTyNU4sz5DeOKTS7PDCM2fl1lzEMbL7efoNcCfcbG6U5fRPFZWDwUAqcnTngIuXhed1X3pv+0afVqPFYNCXUx+fM4BDV/jg42PGxxLc3i4wqZqMLqicPJHkf/qX/xJDM3DZW3SPDbmBP9zdp9XvEkroVIt1Jifm+fid9/jCd/5r7r351yhiivrEC9z78KeSUL988SLVSpZazaDRLNMolPi7739MIhnkS699joera4yMjtHqdLl25SG5bEG+MWanYiRHU+h2hemFIAsL5wmOLbJx7WNqjRqHxSN+5oXPUcisURMakmSSw/1tqSO68MTTZHfvkBOgnOMOt28cyypEPKJLYrDVt7N0Ypb/+NdvYQwdnJ6JSGLxQa5KxBfgkysHfOH5OL/2y58jduoymdtv02sqxMeXMfsiEpZhUBcKvBQ23cTMpdF8SYYC6pdZxxnxoLnnZNS536jhmjpHdf+nmIcPCC3/AzRvkErmFsGpl2hU9nDYuri6TfAn6GXuogSmsLsE/fwDjHqBxOP/lOLeJ/icThQtiDl0Yg27MGygaG56oi9JHyU4ja3bp773n3H6E8TDj+FwN3CMnWXYPubjNz7mj/7dG5x+YlFuMUb8KprXya37W4xOR6kUevyz/+aX+YWv/CuOMz3+xT//Mt/6zs8KGT2d7BaD9DH5gUls8nEMw4HSfEhlr0RsMoZhD2DPPaLl7BPQTqBMXCZ7+0/pldLETz5FKDFF+uA+Y0vPgyfOgzf+GK/mYPqxz9IqNhAJ775Zx0aIfmMXuxKVHXLFMcRwJTD3P6KaP8Yb9GK3/LRtFpHxBWrZA5yBKMmFr9DodfEoaWprV+kHxuRDdmH/PUaXX6GRXxc1TlzJZzAyH2F6NTRmMWsPsRwGiqXTt/ulItISZMJagWH3AEfiBXrFTQLTgjvQx6m50IK6/LlU1c/x/hqbezVufvIJ7rDG9k6Wl55/hROLM6yuv0+l1sdl0+hUqzx++THGludoNwb0ChugNCWULjx1BpdfQLzSKM44maN1Dtavo+tu3n/jI9b3jvmVX/8O3W6VM6dP43AN5JBj6JpgYFQxilnJXzDtbbDp2Id9BsMOrfIBvuAkdruXWuYjLG+I6Mjj2AZd+rm71EpZnPOv4jKFEWCIqqewa0H6So9BdQubaxT6JTQtRM+oyxixf3yelY/f5TArYFhZSvkiZ05d5DifkTCvWsMgGdPQfVHe+N7rfOmLT/LES6/iS56ksfcxpsuB3u18agNInMClhRiWd6ke38F36svY6keCJslQGBTKFczCI9TJl7H5E/QbGSx7AOdQeObbopiJw/EpbFS1WdiGBpg9+i47Nj3OsH4HrCQDrx9PL0+n20CPXZTmk2GtSL9yC3X6RZR+j2E5jeX0YDQ2sDuTmKaBJxKn26jjj07RrbVomXUCwRT09lGi47hiE9Ru/4Q/+pOfcu3meCJ8gQAAIABJREFUI5w+na9/4TlWVh9g97ll6Gd2bIxypcmth+scbNX5td84yzd/5ddxuMdobLwv2vwS9Cjuea1KHXd8DFMMtgZic5qi3HPRrx5Ca5XE574Kdj+vPfNNfnK7SExV+IUvLVDIlehZduoNG71eGa8gWqdNDg5bXHhpkp/76rO88dPbhEMaisPGjb97RGLESVBT6dVNtLAPtVVmu22wVtL4v14T6a4yN1dNnnt2ipU7u3LDLQ4n6Yyw9MQpHPbIVYssLEVo1k2aDXEQceJwWrKCNzHhkSC13a0SXrdgL9i48GSSnc0s2bTBMy+O8cmHhzTrXZaXR6gUWrJ/KuL96UKVeDDA9m6euUUxhOxytD/k5RdHWN0q4A9GWVs54Nnn5zg6KhANR9haP2J61ktaRCkTbmrVHv0eeL02xpI6uNwY4gXBlN5tER++eXWP6SWfJJMLvWwkqRENebi/UpSbLLvZxR/y8OBRlYV5Hz63wpnHJtjbynPtZp7zp4PMLibY2shzcjFGs2tJH3erM6TZbTMzEUS0WAqVFuVGG7Pt4Mz5GB++ecDMfBSXZqNZaVHrmPh8Ko1OD783zKDblJBQlyvAvlgo2JycPuHl7mqVmQkB7NNJF0VdYMhYMszaVknS8RW7m0vzFqt7kIq7yWSrMrYuagGG0qdcFPYCSx5kNHUoneKiQtiomTidGu3+gH7HIhC0MB1O7txq8bXP++hg5+H9Bj4vLE1GuPHgmPnpiDxkv/V+mxefDtE1euxuN4gIHZfdLXulYkhRr9iYnnLSbAzIFDoyOn9iKsr9wzylgsHUbJjVdbFVDlM366g2AeozGAk5aQ0GWHYXI+qQtYMGT58fJ18qEBCag4FCNtvh5y+HefdhFl/QzaXlENVijZUjWBzxkC/2WCs3SE6O8cOrRTodk8OWjUxXkcwYYTzoDFS0PjjcdizngH7bwOO1E3D4cSgduSmeS/rYzXU5OaZKVVe72cQlBhO6jWq5Tb7Uw+7WKQgVnOwLe7DrFiJ3PpEIsJ7pkIi6Zc1AdYoSwZBuvy9f24WpsIyrN3qGrOq5NJFsaJGMBPC67LQGJmbfQVckrUSpxm6jVBd+eRXNr7C/X2NqxMfA6qIYKnavQiHdptZvcXlxkZ3jtLz2xGLl1EKQQqlFoWkxGYByp0uzqXG31MLWt/jtl0NcjjYZjwb5ZK3NbqnJ8rRbQt4cDg83dmp84cUkR1t1+jY7noAdo9Cm23eycMJLvtTh8Mjg3EkP++kOHtVJQIfTZwSxXuXhrTSekI7TZhKJBnhwvyYjy3VRZesJVZkdv1tnL99iIuTCn/DIgZjf0+fBwyrLS1G8HlWeFT74ZA+fKmLuQ8pZE39EuM9FUsvOo3vHOGxOxhfd7Ky2OHU2xM5OnQsXJ9jfLUj2gNjE5g47JCd8XL9yzHPPT2MNLXb2RI3OSdts8OIzJ9jaKFBrN6nlbISSQ3k9rt+r8eJnZ9nfyxAIuqT5YHwsyCfX0oRCPllrCIWgkm/Q76ooXhcej8UHb+6THAkRiltsbDSksnBmJoimi6m1B0tpymh+pdjg2eemeffdTQmYHEmo0pCQKZjcej/LyQt+4qMehh2DastgcT5JrdWUMLmRcR+fvJdmYUEsH9toTk1eV6sbFRbmI9IOVip1UB0eIqMDqXzb3cvj98S4e3+TVCJMo9yS70uRnBAVh3Pnk7z9xh7ZvMGZUyGZvHE4DM6cHmNnu4KiCgYLpKJ2yg2xvByQ3q/L2sz8coLVR3UcDhvegMbtaxUJcH36mRHu3dghmozx/R8c8Z1fm5KgwEa1zcScgOgNGZ8QVqY6J06EWH8odLZ1FqZH+fM/2+LnvjXHxJjK2r0cdtUlt/AXH0tw/0ZNBP+YX4RIPMHm6iHJZIxrVw44eUoktw16rR4Bv06r02diykO51CQc0bn6cZXHPxOToPq19SOef3WaD3+c5sLlUQqFNrvbGeKJKMO+OENZaC4X+4dNYiEvlq1LcjTExlqRkZSXXFoko8OUch0GpujVB9l4WMfm7HH5yRTvf5zj+LDNpYtBCQaNRATU0qJYr6BoDqLBCG5fl1g0zLsfiGSXg8XFBPfvHDMxE5T1Z8EisRhIbSpDJ5mDHoq3zfS4i43VAf8fSe8dJEl63mc+lVWV5X1Vl2nve3q6Z3rMzppZh8UugAWwAOFFiAJxFE2QoHgXcREM3sUxpIuQdNJJOt3pKFHmKIpBA8ISC7NYg1mPnR0/3WPa+y7vvcmsytP37b/TMR3VVZ3Z+b3v7/c8mHoMxVS2tjt4HAqlSp+Lj0Qxm9qS3+PzxWQ9rdH8SOn5yMUJmXy8t5pmbDZAZqfJ2Ys+OgMbxVxdDqJELfr0clBWK5LJJvVmC9MPfiNuBPxW0oU2zXqL+YmQ1PaJzsS16zsEvT5qDY25OS8IMZkhhgUNSvvgHzYk2bxdUxge9eMPdth5aGJi0olh1WR0A91Ot9dm9XaeaNDC/MqojK/8s396jZVzPmYXImysHUrNiejntLptCpkupUKPyVkXCwt+Png/R6th8MVfn+G1n23iMrto9zU6TUPqgexWN+FhJ9evHfLlT0X4339Q4M9uGrKfbLfohFQbl8ebONziBmZhs2hQLVZp6KIn5iLkNiToD5Mdi7hwGgLu42TUp7CX1uQk3qq0KVcHeMIevF43hg0mFsYkHVIoyQTIQ7jJ56ZmsDsUrt1Yx+v0opoHlEs1wqMRth7uMn1qkuFEmEw2L3t+wiIwaBvkUxkZ+amUGtJnLAAcgpoqSJsLKwnKhRY6OpMjQkdTZWcny1c+P8vDgyQh2xAbyYyMtGwdNtk47OIwdZkbQUb6vvrSoyyPOZi7/DRmxyS5m6/h9o2xsXqX/KDGE098mk6zSa+dYmsvDT2FxbPzrN6+RqlS5IXnPy/7h71Bj837D9jb3MDmDLK1sYtqMzMRG0ZTzTRquiRn6o0G6+IGqyhkaz0+++lnOXtxlFK9ScIbJpuvEYgGqbabOHpmTip1SePceHgHs8WD3+nh/POXaGSOWb9/RF238dffeYNqvkVCuEUHNZYXT5EutOjWOrQaZUn27VlMHB52aJVgc7fCP/vDZ3nusSHcqgcldJb87g0qqauMnv4Miu8Upl6BzM5PcEXOy3iiUBt1MhtoFieOYBhHZJ5BQ0xZ3WjNGlavTW5V66mHuEOjuMLn6fRL1E+E7cAjD59Wx5hUx2mFdcxmJ/boMs3MDp3cPexOVXqaTdYOin0Il2+RVPYeDmp4hp9DsUfQ6+v0KsfEppcwopOcXH+TP/rjvyBZ7ks2x9z8lFS+mfpWfvf3P8kP//ZNRibHaeQ7vHdzj1/59BTf+s0XsI0/TrvRprP2Jnavm4HDRzV5QHhqEUwC5pWk366LUzU2ceApHmAPBqVGpF4+oVlN4g/PMFCDmLQ2Q5e/Rubtb/Pyy28yf2FG9in1gUa90SMmdJyjCwSifgbNNJ7IDPahU9R33sY1fAm0MiZ9gG5XsTkNatsPsQ0tYYt4qGyJ6HYeAwNn9KzsjYvKQsewYvZ4qR/sk9+9Snz0AkZoiubhXayiLuFbxGov0WuqVFtbhGIvYjby0khgdDQ5bRee+pYOja2X8URC6LZJrIqPQXlXQm2U8ALexBStkzR7967y4b01DN1KaGyMejLN5Nwc9x5el1rPRx47Q0c3kz7cJhyMkzrMY3f1aFXbzJ+/xPh4kB999/tSJ2WyuIlEh8ikU8TiYwwFPbzx/s/I7pZ5/MlHOHtxgYnJGbwiet4pcfLuT7HPPoN1YMdobAlUK3a3m75rEnM7Sbe4geo/T09V0UsnMklgFrsk7xhKt4FuE/fmHEqtSUsYGWzej7R+WhVTo4/miKEGR6ge3WX41AKq08uV732Pjc1NJmZXiA2HyR0c4wgESe7nmV4cpd3ssjA7Tb2YxOp1o+guoI3D0cTqmael59GP7uOMLeEQ0X6bB6O6z8BqZ2ASryGK6nPQOb5O3xrHYfPR7VVBb38ERaVLX6j5egUs4bMY/TY0TnCEZmhkVlHFNZu4iKH3GHTqDIT9QnTfnW4sQ5cxmmUYHNK3+qGRx2rxgG8ES2iB9tZPUVpNlMSkdIMP+n0GNQ3XqLA1dMnfv8e3v/0yr36wzuL8DEvLCTaTedlNvnRxgjfevo5RsfPi5y7yb//kRzy+MsSv/sM/YObJCxiHHzLAQ373Ae7xU1j7HaqFNKKp40hM005vYB5UKOZMRIeseJZnMXvnuf7aLT772/9CqhN/8wtjvPVBhvGREP6oh7s3dhkeCUt+xNZhQZKqy40uQyMRJmZi3Ly6yZm5Uba395menWT73gY+xSNNCqlCF7e9T8vwcv+kxu1vhTnq9nmwDZjqjCV8lMsN7C4TkeBHfdLxMSc2t51aRXBNasSHXPg9KpvbBY4Oe8zOeqm3OvIBJeC2s3fYZGbOhUDYbK1rXHg0Qq6YltW3VkuTfAcxQCo3W0xOhUgdVkhMxNheT0vwls9to1LpcpIp8OInltnYzOCLOFi9kyYU8GFXkcnAcNDK1ffzeLw686fj5DI9Dg7KWO0G9v6A6KSXnR3hjhb6SXEAjWFBnADNPHiQp1Jskxj1YnX0cKt+ebB8sJHiuctjrG8WyeWadKo6H39hglKjx95ekUK6TdDnZHEpys1bx4xOBZga83BwVObOapFwRHRWvdTLNT7xyRjVloW33zogPuRleMyOxeTg4CSPxapiMvXJHLc5dy5KOiWGvG2w2Eml6qhuB7dvl6SiTCSr6GvYHR5M3Q4Du4tUrs7clEtCEZO5KlaTjdMzIX787glPnhWDDuFcN7CobuqFlkxTiCplvqxjHtTx+P3SNe1wGaTyLWYmfMyMOthLFlieC7CzP+A4W2c0ZgGTjUKhRTHb46mnhrm9muPcBR+NksaDzSbj4yaGE0FuPaxgSM6DheOcSGYJJaWCw63SacFoIkCrpnP3oICpr/GFZxPcfFCQcKrnHw3xi2t5NIuNdkP8rAZjfjuBkJ3b20UcQZVWDRqagsDvzcXttDodYv99uXDrYZkJp865mSjDE3YOUhWWp4dY3y5zY7MgE6ZzM2GaxTZXtgpk8wodp5+8ZqGs9yhWBpS7dXINg27XimpSMGw27KYanb5KyGVledLHg508UQH38tmodsWzRBezw0qq1GB5fIhGR6M76BJw+OTv7vRohGMR5XaHKFbztDp9ZhIuKi0zTotJHl4q7SZhUdrXu3S7Jmw2keToUa/18fltMv3WFq5zvwBR1knlGzy6PMf+wTEWWwC7KiB3Og6XTSZmbeY2g76VX+7keGzaQ6/V46hrouNwsLtT5A+fczOq6nz9aT839tp8uNUjFnSA1sftNpNJNpme8/Le3RpjYUFdF919Mwd7gv3iljYLYQfY2e4SG3IREnT2noE7aKac7OIbcjI9ZSef6uENuTg+LDI24qEgBmPZvkz0LJxKEIoK9o3Cy9854vSym3jIJ5WcDs+A1Had8KidRk1B64h+tB2rfUAg7KVSqoNhAUPn9od5Hnl0isSERrWg8HCzgN1sZXuvzHOfjFHJ6/Q1MxZVbPTNbO/kuPz0NLevH9Btw8JKlHjYwY2rKXKZJtOnQzi9dvLHDQmzrTdLDI/4yaSaTIz50PomXn09yee+MIzP7ZTpW6fLJOHFrXpH8iNq5T5zSz4cNjsHuznZz5+cjtPr9MhmKpQKdSIRH6XSR++zTbXT6Rk0a5q87iMRBZfPhcWqcP/mCefPjXAkUkMeC1ari3ymTq5YZ/bUME88M8bPfnAf1dnDogi7l8bplSj37hzLBKjfaaNvVXDZTaROBLxPJZJw8ubrx3z91xfx+Gz86Dv3eerZKVbX9qmVDVmBLuQNLqz4EH8i80mRULJJaNz5i2F5hhr0FI6yNaqVtiTljwz7KKRbnBw3JNMlGHASGbFhUqBWbODxe7h9rcTCaTfhkIdivoonYmH7QUUaZKqtFpefmubN19cpFODZZ8co5qrUW21sJg+RhJW33zri7NlhNrfyWGwmZifDJE9yRKKBj5YRRbG91nn6+WnefXWfs5fGsKoaD9cLJGIR/CGH/Pz7NU0Oq1u6jkUYa6w9fDYHyXKPoaCNyQkv3/nuplxsnD0zJlM4eycFQi4HsSmH5OUUigO5iS/k68xPe2n3BuwIPoZNgEQtDE+6cDnsbN4vEopZcXgUallVJmZ8PgulakuCBsWAIVussXeYl4miG9dzBL3ifulgalL8/zourwCLummU6swthSXE9OFqkVjEgc/l5DBV5SRlsLRoxWZTGRu1Ua/BwlKQD97OUm3ozC66WLtVIBh00dZ0nnt2iv/6Z3f4/BfHadc+qr6LYfqZcyGZsti5X6HesDI15yebKlArN3nkiUl2diqY/ubrAWN7pyW3o5/5XJTkYZPUYVPG+lttKysXffz8x0meejIq9URvvZ1lPO6mM2jTqBiEo6Lf0Sd1UOX0+TgHu2lUp4WQL0DypEx02C2BB7FwjEL+hJGRqASttJo6g76Jrq7TqfVZeVw86KRxWKycPpvg5u1DZhYiHK/XWDzvZn+7TiDikjGHSrVBJO4me1LB73YQTdg5FImDsJ2Qz8uCWuWHt/vkjA5vbhtUB3bWTpqSvr84KrrjToqpCk8sjfKDO8dEfVbGgwGO8kVJWfWa+2hWJ73OgGK1S6Wss3AqJBkG7WqTqt5n0O5TqPUYmooyuxghmRPTvXmpdLBbkdF+8fqeeWGeZqWFYTbj9fsJ+gTI466MX2oKMvYiumAul0qpXEXTFRDEbEPhZHuPUEREqJuyyxYZdnCSrksIha7bWT4zTKsh6KjblEX/e1Il6HeROW5Q6Zkptgas7VYJm8FmhtkpN196cYwnVqY598JnJH1Vq7R45+/+moHio5BrsLQyTKtaodezYwv4UIV73B2VETfRnZk/t4Shd7A7bJTKJdr1BndX17lzYxWt3uQ3fvPXJOdhfeuIXqPMidiSlGucXZggeVRmdnFSRmKefPYlCqldmsVj3NFh3rryHsunluiKG2tqD5vZwvjSIoXMHhNT87Q6On/7nde4cmUHdzDO6VnRp7OBWWNtu8STS2doGlV+9spdvvSFZQYK/Js/vcflhQB/9d/+AOv0Y6Sv/AW+4ALmoVnWX/5XeIanCYWjNDUTNqONI7ZII78vN01CQ+SNz1N+8ArO8BSKP4aW3kCNP4LV5qB8/3tYfFE8vgSKzSFsQXJT1i1k0EoHxB77OprVIH/th4TOPUX13jXcE2dR3XM0sh+AxYoqUhx6UXbCaxad8NAUvapO8OwSxYe/5E//37/knbuin+ZiamKUQMCPAHamU3uYVQ8PjrPykJbOVMntHvPN336EX/udb2GtnFDM5kH3Y9IbNMpJ2SO2By5Ty17DYh9DjXhpH93C7hnG5BnFqB/Sd53G2n5IPf0Ax/AzkrpqD7nY+fA9BiYLP/3ht4mMneEf/O7v8/5rP+b9t97h3LmzvPx3V7j8yacYHU1w550rLK+s4A1EWb1+hUcffYRgPCHTK7pZGDMOmIzPMLBqbImBT8+K2dHDpoTZP9kiPjYmWQ+51AnPv/RFPF4vivcU6Z238KhmzM4g6GZqtTs0j9P4IgnU4SdlX1543A0BxTPbsGgmcHuwusK0929h7mfQHDOoQ4uU936AT53ANnwJxajQ7RWxe/3Yg2NU1t9ndXWf+zduyM1btWnmscvncfo9rL93lYmVBVmHEuYHk8kjOR87yRM8oSEahRJPv/AcD++vER0dx2N3sXF/g+PjXRbOzDEzc5af/N1fiQomJsXB8myMMx97lnBkikG7i661yG1fx544iz18Hr1yk367gsM7xmBgpZd7g4GIvY88jaE6sbXyNLsFTKYQprYY2hSwz3wc+jpa7hZWNS7j3YbYrjcqaL5xPOYuhmOU3MPXJOPhg6s3efvqNR6/9DTtXo2RoSCpQp70yZH8uW3WMJX0A1782u+haQalrLB8CKXriUwMmcRr62nonRQmi1MyDtqNJBabUHwV0XbfwH7xHzFopFH7bfTwDEZxl3Z2A/f0E/TzD+kpKlZPBIdnnLZuxajcxmIJ0GnXsWotBm4fZtcYqnaEVm+geISix89Aa2JRInRrm5jUPhZbELNF6L42sLtGUdoFun2FSDyK2SsGKg7e/e5P+ZM//wlDkQTjo1E87gGbayf4ohF8TpWOJhRIVl5/c4OvvrTIb3/r67imn4PmEc10m2p2l4HWkDYToaNyWLtUCyVscRftnR16KIzGp1F8IayPfILc/Xd4/LP/GweHXRbHrAxHncyeirJxO0mz18TAglNxUW408PgUppdH8MeGCAkX9/4xDz7YZ/5CjFDYxdZ2mcO7SSL2Pg6vgyGflZOiWOY2uF0WQ+4Ov7tg4WHFxjMXIuzsV4mEVZodC3t7GRKRIP6ojfERB7eupTFhUGx0WZxLcO/2MfExH3aLxklKZ2LGQ63WIBxw0+732Vsv8eijC9QbZdn5DYWDvPLKNi67gjdiZmw4zOZqGbu7T6MB8bhdbhpUB5g0AbTL8MKLs/L/0PMysmAQ80W4+uEBpxaGSOeakux+4fwQD25m2T8Rkcph8qUaR8cdFucdBAJWttZ7NOotRqZd6JpJbqLHx1RaPRWnySThbs2OJocGI0Nh1u4es7QS43i/isAzTcyEWb9zQDYrYrk+LArU2w2Wzs6wcftEure7vRbZTJuJxTguS1vaAwRkqVwUSHE3ubwwGQxkXLTV1pidi9GsVtk/aOALu3E5u+zstrmwEieRiPHv/r/3+cbXz3H79h7dpgmXUyGZLBGNBVBMGqOTIQ73y+xn2gRsZkpthbNLftZuZSXYqVrq0bMqDLlMxGI+UpUGhskiBxQzYw5sHpEcGsi6UCzsxGozyQG4qDcNejZKuTK5jiDSOxgKqAJ/gT9oIeK1s3+QptW1ywdcMcmxCJ6KVeh4NcxOE7du1EgMOVhetFOt67LukS0NeO9alpgbZhcdlCsQ8FhIHrZwBx0Usg1efGGMW6sZOnqHpYkYwbCFP3s5S8ylMZPw4/crNJp96oqBWzWxvtthJGxjYOjc2Onw1HyQt/drlMSQYknYaGpMDA1R7rQwGX06bVX2ub/yeJSddIb7R3Uuz0UxGWZ+eDXLP/xMAsVQuJ/WcZnaPDga8Ppmm+V5N7dO2lzdNeEQg4FBj2DCTt9kZ/2oyqgXfF4324clVKvK8ohHPo/p1gGqNsAprErCu90RXB4IhIfYz2XQ2hoRvxu/w0kql8Xu9tCo96j0eiyNx8gX65SbDcIhP8V8mR4qU+N+qbOMeZwksxUUrw2la0j7wnGhK5WZZyZVeqqDD+6LWp+d46pYqhloms6Xzrn5d78W5+rdHK/e7xF3G7idZtYOW3z5E3GSuZaMSYsKbsghfOhW7j5soZgGBAI2XE6D19+u8MLHJ9G7bXb2ivhcdvx+C7lai+kRF4Vcm1xabFuFmrHB/PQwu3tFJuZ9dGpdqrU+npCF+zca6HSIRGyycnP3Zprd7SafenEaRRXKyT75fBdDaxIZ8cmaQKtsYPPY8AQc9LsdKtWafF2Z7IBirsnKiojNC46Ck717JSan4uzuHjEy5Wd2ZoRXf7bBmXNxUicl7C4fufQJAb+HgcWOaoj7RE9Cf8fGnGTTTXlP9fgsHOwVUa1m5paHeO+dHfSOg0tPBOWAwWoxcXBYY2jEg02BarXJSdbgs5+b4tbVTVy2gARbGiIevl9nYTHGwVGSxflRdncKnBzVGZvwoTosEs46PuXi5z/ZlTUbQYlPn9Too3K0kyGd0Xj2hRC1ssr+Vk6S5QU4XFHcjEwLALkdX0BwNa2srqZ56VdOs7lVksNIt8/B3m4ef0hhdHiIe7eLeMNm9vY1nn5CEP9FosdFTSRezKrcmKeOOxjmPs9/coRbt2pymOPzOzk1H6XfF4dEhVqlh99jwu50SgDmxoM8T74Q5N1XcjJRtbgc5Og4S7mooaoW+ffsJNVhYtbH3nYOu9lOo9WWibrYkEqx0sHe1zG7nGSONfwhM8dHVdx2G0sXg5zsNjl/Psjt1SIutwm7eF5BZW21JAGGokJdE8NooWcd9nG03sQb6OPwOTBbutjNAUr5CmPTLuoN2FlvsLDo5u4dwWnqc/GxEXw+D41Gn+tXdomNCBNEgO39tNTc60aLi5cmubeWplIZ8OWvzfPyD7aJj5iwKU4ODiu0WxrnLw3JRECnY8OktqQGtd3UmZgMcHTSwCvufwdNFla85I/7KHYDj8ch7y82i4jy17GLAU5fk8YTof4aGQmws15ieMqOw+qkWGpwejEhdaVDw3a+/e0jJoY/SoG1en3qXYV5MSTOVGgYKo9cjHPv3pGsyZVyXXkWF2aJ7Y0a0URYfvbBoJV+p0+p2mTp1BC1jk7yqENi2EXmsI7pz7/sNBZPR6WDUkyxGh0LR/tlnn9mFLffzjtvHzEuJu+imz4T4trtPKfmPESiFqp5Ef0x6Gg9qTRIZQbYLQaPXU7w05f3GJvySfdyNq1xZkU80JSZmghzcFhidtpHJOxhfeuY+bk43ZZBoVjHbFWYnIrw5pV9li9EuHsrQyTklFMaQ9dZWoog6BvJQo+zy8K7mcJitxN0iz/+sLrV4Vc/M8FJMs9CWJETZtHL++evlrlaMzNt9/NeukIi6Ob5cSeFXgu7rnNUanJuMiqJ85qpJ/9Id5saqtdFRetQq+m0BbrBYuEkXyEecDOZiHDvzpHsHXa6KoaICwW6+GNj+CNesNSp5XqYzaqc/l59a43ZxRFcfj/dZo92pS0fAmPDfgpCU9ToMHN6FrPSJeCP0Kw1ZKc5u35IX4DCUEjudIlHXQzocpJrMT03xKCj4feqtMp1TpItPvb8PJ3egP39MrVWmec/+QivvLLO7kETw2bG59Yo5gb8vWfD/N7vvcTpSSdKZJHm5jreRIKr77wlwXDf4Rv1AAAgAElEQVQrZxeplAbcu/4GT77wEjdu3WJxfoFUMkm91pQgxvHps9TrRfR+j7WbN9D7Ci6Lgw+u/5KAK8Ijzz4iI/zb6/el2mp4dIrXf/4h09NBnrp8jg/vrvF7/+O3qKSSdLp1Wb84TidJ7eUZnRih0Ujz7nvX+eY3fg2P10m1ZfDlr/2JpL9fujwtNwEChPNgM82ZlVmK2SbKoMn5Cxf43itvEQuGKKaz/P63XuDMY8+gdy3s3L6Np32INTZLs1LB0iljFiA7u4h2OeR2vvjgu/iHn0G1uznZep2h+Y9LDkGvdYjqS9DOH+HwRylsfMDQypeBrNQHigs8deeviF/+LRBLoMoGzonP06s/QNcamHttBs4QDqHPO7hJzxPB5h7CqJTw2ZrYls7yg7/4Nv/y317lY8+tEAmY2DtMcu7sIuWi6Hq7WZgNs5sp8bffuUHc5eOlT4b5yjd/F/vEMKa9Nar9IVp9nV5yA28sIcGFDruTQb9DvV7AGRyjVyuhNyo4LQ3SR2s43G5c8RdodA/xmYeweDx0q7to3R6d2j6q/zHef+8qOkVGonMUSjlGpmbploocFfPMnhrn/Z+9S2xuDp/HyQe/eIuFhfM82LjPhUuP0uvk2d4/YmgowKCtS7iZ4IxMz8+SPMjQ6lUZHomxcW9TVkoENTmoqlx85lFOP/oJes0m7fQWjaZgLYzhcZho5XP09ArWQJRBp8yg1cSk+uU1a7GH6Jt96Iev0HOcwT97iVbmDqo7glFrowYcElxnsnpQymmK1RLx+VNS9af64wyaTd782XdZ2yjR7qQxDxx4/V6e/Ninebj2BtPT02SKTQ5291g4vUSrUpBAo3Q6SU8TsYMeockgzWIZ3WSl1zPz+U+9wNqD25gtTgyzm+zxJrur93nxK59l+fEn6ZT26FbLiFG9w+NFtbnptbv0lRx6245TqPACp9AKq5gKOxhjl2kf3kZ1RlGcKibFhkO10esKar+IkSnYQwsorRzdfg+rYaOcuYFvUegPkzjds1g8FlZf/Rkb2/c5PG4Rjvplx/GJJ58lub9PpVhnanmWoK2PN+DBF0gwwIXWz2O2jdGu70G7iF3AHu1OzGYzZquTgdZhUN7H4o9jDJ2he/ye/JphDmANBNFOHtLR6njHn5S9vNLeqzgGAQglpEqp1zWwK31q229hCwxjH17ChPjMTjD6os7hxmQX72MAO0JXlKfasWN1hTAPDLp9nUHqgNDFOIr3Ka781T/hz/78VSyajdkzMTnEm5ia4mS7yHH6ofRdu4Um6L01EpEhZk4FePGrX0MNXkCr7pNd+w5u9yzW+AxW3YZuqtDY26BvMhEYn8JouWiWHhJIBLGc+hzJg3f5P//oP/Aff54hGtA5M+5mKCY2fH5ubewzFQ3L6O/hSZlEVGwC+oSGwjjiNo6OT3C5IsxOx8jn01i6sH7tgE7LwOs2iAc8VHsVahmN0WkPhyUnu0dp/snnPXxsJsBmpseNDzPER5zEhx0oPZX723lWzkbJp4uoDhsjiSDXV5Ni1sn4pINmRZWH5pUVLw8eltE6fUbGYxztpsnmNE6fC2ExK+SzWcoFlVZzwPI5N2MTEV7+7kNe+OwcH76dYXzeIBoe4q0rJ0wu2EgMeSXLRddUnFYrG5s5pifdjM6EyWUEkb3LxJSH//rfjjm1aGF2Jsp7Yju0Mkq+kCceDFBva9xeK/PJ58aIxBRWV0uIAKWwluwfdknEhFBP5fzjI/KQfu1DsSkR+qwe0bCDSNxPqdyhUiwR8DlxqCpLF8e5cWMPk8lCXwyAbX2aWo98WjwA23ny4+PcuJpkImYhl9UIjrq4c72AO6Bw+dIoh8clWQdsFLu09RaTIyGSmQ4Om4Xt7QynlqPQ7eIOq+wcDdhbL/PSJ6O4oy5Wb+bkEsXuFUBN4WzWZD/dFbQScnrY3EgxcyZMtagzPBQjW8kzFHFz5fUTRhJOuoaB1jEkYNitOhmYe7hUBVfQRvqki9upYDKZ5T0yU6jj93tweQ1OknUWpnw0mj3p0h6O+yRhWlVs1BoKPmcP1d6n1/GQLXalEWFk2EE6raFaLYQCCrv7VTmECPpMOFQH97dzklo/N+ulVRFb8D42u0l+7ldvpthMaXz8oovtvQ5tTeHc2TD3DiooXZietDNoi+9t5bXrFZ4672Jsysmrb1Z5biXAfqEvzTtjIQe7x016PUNYWkkErGynW2zn+kwHLbI/PjXmoi3AgpYaTsXJfqPNsCp0pGYUp4HLbHD7YZ1vfnYEpdelJ6CH4wFKKQEQrFHUIddS5cFbLIQ2azoHdQt3dvJUdFG/EFvcHi6rQlV30q7XWRzxsJ0vEzCbCAz7MDf7Mnk2PhaSlVmxnLFaNS5MftT/rpXb2B0iNQKKqrJ+UsBnc5JvdGSyKeox0e82cQd9DClWPjgs4fT6SJ1kyehmxjx2JtUuf/wFvzQ2+Rx9fnC9KuGCXYuJ6YBQDJrYPNKIBU3ycNYxDGx9hb2DGg6/AJh1CYVV6m0nHseAWkMcCCqcOROR9gab1cSQz8vucQVTX+HRy5O8+vOHBEIqTpuVVm/AyVGV82djpDIVeU/PFVqS33F8WJPX0shIEJd7QDqFpPU/uCkWEC75+90pN3H6xN8yFX/IzuhogJ/83T2CIR8zc36OdvMMjUYpCVIgAubXx+4Sh70++WQZt89C33BwuJvnV75who31QxxOJ32TIfkIqVyJo/0Gc4sjmEw6b75ywu/9oxVu3T0ml+wxveih0zBoV3p0zT2eeXaeX/x8W8LGV1YSbK6m6eoGC6fDVEoai2fEllwlXcjQ75g4PhZ9dT/HRxXGJ0dwWJtsb7WZOe1ifbVMwGuWwEireyAV4p2uGNq5aNUGrB+W+cRzI5QrDdbXO3z2pXGpPn/zSpK5WRfRqJ9iro8+qOLx+jCbWuzutZlfiPBwI4ne1okmBJMEZmYi9PottJ6F44OWtOGcfyTIO++kaTYVEgkniSHB+1YxTDaOD/KEh3xkslUJ3xNp3vT+gOWzEU6OM1icgrlm5XAvi0n1MjZhR9HaJE96JCYEnLbN7KyftbtF/EFRExQsFAuFkyaVTof5+RGcNsFgELYoK96AE4eoRxhW1lb3ZWp6ZCpMq1TFF/ARGrLL2PuH106Ym1YxFAuTMwGu3cih6x1Zubn0xDzl7Ak7uwP8EQ2PLUCt15fmins3y0zMhTm3YqOnKdy8lpX6xvlTIYFwIldpUs31OdipSp1ev9djfiWOyaJw99YJkzEvNp+N5HGNdhee/+QEb79+KN9fAWAWUEDzQGzefbz+apFzZwPkxFAl4KZZa2NzWzGrKlu7dYKePnOzMY5OhLpP/K6aSSYrDMTyIeQh4DeTK9fI53RGRoQtwMrmvbqsaZRLLcam3ICTzEGaZz41x5VXdjlzPihNNzaHlckJN7euFam0unzx8yPcvluWYMpOS+fZT8/wn/6vu5y94OXcuXHe++UWS0sxep0O771TxbDozMwGpU1A6Q8YG/Xww5f3eezRUVRbD9MPfmvIUDQrVpuCrtfJZtvMnYpzdJLFNFDodjR5QYrociDUp1zUsQrfbq1ONOZB1wYYxoBI0E4q2cPi7NBqWSRJuFhvyY230AGVqy3mF8JiOUU+12R/N8fp86MS4KGoAoxhEIo45bTyO9/dYGzaRtTrRbVr0l27dH6I7e0CN9dKfOq5CXotg3qzzcOtApcfn2LtQVZSrafHHFzdaDM/pjLQB1SrBk9eCDAV8/DDN+4xPjPM21td/vpuncrAwqDapavb8TpFFKZJNG7BZ7bhtQ+gZ6AbPWYSUflAe2W1wmjCy0TEKqfF6bLG5IgVr8uBbqjkDgqE3SoD1YkSshKJBKn3WkQifvwJEQlOy7jM2EyCnCAnCweWwy43MScHKRwBLw4RkzYr7O8e0jdZuXBuXk6P3SEv1VyBWMJPdjMpJ3C02piEb31gopCsMHl6jHy1wuRkHJtioiQOSIrBoNZHM4mHuwnSyQ639o4Z97jY2S+SapsZGjLzjReWmQ41+MzXfoXI3CXM/QaNnUNqpSxvvfY25556gkG7Qr3XZnR6hpPDJEOhIHfv3mRu7hTb67tMTM0xOXWKciXF2t33mZo5z/e+8xNGxka59Ogiqzdus3twyLlz57l3/z6GLgjG4vekxDe+8QJ9XWHlwhlECOLg4QPy5SKPP/8Z3vr+Tzn3zBMyWfHhG2/wzKeeZXcryef+3l+gWeDLL4g4vpVXfrrHF750ir2NFEeHLZ54PIEvoHBjrcL9B2WeeTrKn/7lf6Dws79AD8/hjkxQT22j6WWs/rikl9dSabzxRVrFPUq5DUYf/TpWOwwGXgalh7Qrh1jVEI7AMt3KLrnjHeJnL+EMzdDb/SVthwA+xejnN9Hbx3Kbq1PCMXDSayXRegqWwIzcbLb7YkNWQR248M6M02j1+f5/+TE/efttLjxylqjfTjpTYPX+Jr/7P32dn3/3NTD1mViY5//+T7/kdNjC97/3j7HYmmiWETqFHKXtDULLH6OX2WDg8WDRS3TqLQzXCE5fmH6nSzd7DZN7GMfUZeoP38U/uYLeaTIYNKFdoSFTGQv0u3msnmmq2+8RmpjHMXGJowdvs/beVY6zaWaWLktwn887RqFSomm0efbio6ztrEnDxKc+90Xe/tn7jM8OMTAUXnvjbUYTfiKxSTqtAYVCCp/bK3vxW7u7fPWL3+TOvRsEvQ48/hg3PrzGSDxAvX7Epz//mzhcDgaNPfqmoOzlB6IfRakcHh+GTQwRj1FMLsx2D1Ytj6GM0MjfQm+mCcxclrWCXnmXoH+EarVIq7JLuzMgsTCFlunR7ySxBZbQLD7cI0ILOAKdFI16m6O9m1x5/TqtpkE+fcQLn3mRR594lg/fvUIttY83GMTm93Hnxh2efP6LNKopZifjjD/zWTLv/Ygf/OSHLCw+Je+J7VYWpwBkNk04AsMo5gJ9vcfnvvo74PDTvfU3pHt2hsfmqbQymAWEVWj/nHFBCcGk2dENce2rcruqhoblUFRvldG7NfrdMn7PLOXsVTzjj9Pr2jE6SZqNHCbHBD5x4Mye0Pf68XmC2IfPUrr3d+TTO9y5vUWx1mF0ZAyfM4xma5NLNSnt3+TZv/8NZkKT1Ot7qPFL9Ap7WHSFvmqBehKzN0Ffr2Ox2Ok2dRTXAMU1h1JcxdIt0I8soFU6WAMCsmaGbkHGoLu1JsrwMr3Mdfq1FM6JJ+gXjrEPr9ApbNCrbqPoGmroImaXGavJI0n4g8w9uWnXWlUGdje+2Hna9SLW2j6uyVlMLhONbIt/9o//Kb94t8hXv7Iiu9qDQY+50TG6eo+gX6jh9qV1pmd28PzHLvDll2bxia8XNEzdChXNIo0whb0H+EeWsEan6Z3s4Y6FaRXTlPZKBC6ek8pJYc345//Lv+Zf/+cHqHadx8/4GBuNUqzWqYrhX8tBo12BvoV8tU1sxMfE6XHq9QZ6V8FqEfFbN9WTLJVqm26zT6PQw2XvS3iY4fQw63egWVrsl1SMVpX7RRt/9cUgwXCPvaMOmWqP88tR2kVNHmrdDguxmPg521K1K7RlUxNDdPUykYgbl6oyMRPnT/6fX3L2rJ9C3YTWbJMYcRMUyqb1uhywD42Y+eDNHqcvBGiW8mTyitxQ5LM1ORyq99ssTgxLC8b2pohmd/G4xeHcxumVEFvbQidq5dGVIa7eKlPK13nssRGUvsbeUYtPfHKeq79cwxjY6Os6Q/EgO1sZls4GZU8+vdcnlDBhmAeyT7q5kSd5XOWp58Y5OSqSzTUZnxnD6+jIfner8REbQGzdBaE+mxXf0yFBVa//ZBcNEwtnApSO6jL98NGQoMPy+TClQodSvks45qRT60jH9Mi0F4uY6vaseIMWtjarnFmKoFjNHGwVmFoM4XMJinYXj19YhMT3rJEpikO4CwfgDnq5e++Ii+dPUc6VKNQ7MsLZ0zo0yzresIOHtzNoZlUq21rdgXygNFt1sTQiGHJz/UaGycmAVM9dv33MwnSEQEBYAVIUCm3282A3DXjqUoRMvkunK5RiiuwB9w2N6dkImeMKFruFfL3PRMgl/eqBsC4PC/ful3n2qSjrDwTgOcJ+Kke5ZGZuVKWhGxLC1je6BP1eufwJB+1Uq2VZ5+j2NW7c7TASU3jqkjg8abx7tUi9B599bkgArNnbq2B16qQKDs7PBXl4lJOLFb/dKunXta5GWzPhcCqy8y1qJ6enw2ylc7hUE0bLSjTSJ1u3UKnV5b8JDsJhoc6ZWT/1XA9/3ODaaougV8VtNaNhlofuXLGJzSWGOnXG/D5pNvHZdRajQhnYw++yUKi3mZ+M4PW7eHDUkK/r9VtHjI37WE/3OSzrsgMecLtJVwfs1VvkMjqGx06njaTND7AycAzo60LVCXZLl7mQC5FD8Roimq2gm61YO+Ie5KTU6UjotlMx8/56mUqnTdzrx2OrcSYcJ2IvMzUEX1r2kW122EwLerjCcVLjkXErrpCTh5t1NIsZj1cM6hqUyxZavTYWu0I84qeUbfCZFxIo/Q7XH1ZYXW/z9ZcSDIU9Uu2m9VXmpl20OiISrfPO+xmeenqCXLqMzebgcKdMIGIhMeLBYtip1ZsUqwaWQYexUSfeSIzbN/awuxVcqgOTVaeS06Sab+nMmNSJOxUfNWGZchtsb9c5syhi022mFmI8vHVMp2tmcsqFIgZabgtbqzXCY1DNdKVhyumxorVqVCqKfL+EGaBU7FCodXA5VKJxYTOrMOiapN5xatLJ6p2aNHc8/rEATq+NOx/mEXelerWLarNIGr9u6lCt9hkZdmOymMgcVnF7/RyfHNJq2pgYdUizyMiolx/97Qmf+kIEm8NDeq/O6sMkiWiA0Sk/hWKepcVlrv5ylYEulJgKYxMeef3fvpokm+/IA32125HX72s/Oebxp4KMT/q4cy3H6JQioYGpQ52pWVFrLhJL2DlzPkpyr40/YpNDztGJIHvrGVl7qBQb1OsGA8NgYixAutCkWurSbtXxBz3o+oCAy0ujU0DTRHKgSHTYyqnZYRq1HMmcQqXQlvfm2LCJhbkwxWIXu1h2ZqtyidlXVc6c8xMd8nHt3T1sDqesLPfNfVmT6lZNFMo9ls75yaTrcuBR79YZiwQJxP18+Msjnn06SqWmS+bMyWGOUMBJeDiIatM5dT7CB6/l5BI4Pmpnb6vFyoqDuflRXnvlELtZJxLzoXrA5TRhVVwyiRLwqvR02Nvs4Al2WTozzK0PD8WEjbHpIJVMmelZD92uhXq3RTHVwhMQIGcbtXKVgE8leWIiGOjSbggFsWCw2aVi8tyFEfnZvfPWPv6wlW7PIDbkxDCZyZx08XhM1LsNUkcDLp33cW21zOywgJVbuHYrw9JSiOERJ/dWU4yPJ3i4lmJsbIixadi+35Bmnb5mpdsW4FkP5ZwYQlc4OuyzuODApFjY2a7wyLkAqt1J+rjI6HiU+3crDI2J2h1S9Tg742dzu4bFsMnB7ey0g5GYh/VtkeTu0e7qRMJejvbKxMdtTM4Fuf5mielTQUzf/vsxw+kxCIYVbIqL118/5vSScKCCqrSpd00sLfhkDymVa2M2W6WTu6316DQGKKY+8akAd29kOX8uimI1ePOtIp9/KcThwxaRsQBON7z9ixwzs255oImEw3icKqv3k8zPBSjnOhLkVm825U3f63LKH3z5VIjTK3FJJXY4VIYiNup1E3v7WdmB3T/oMhZ3cPpslEqmTqHRQ9d1Ng6r/PoXl7l6J0m73qWkdQk47ZxLRPlw/VC6e8+cinPjToENwyzjFR9muiTTJkmo3xDgInG4NizEXQMJNxkN9RgO+6iWasxPBLm9UcfQrJy/NML+fp60AEAYGoWaFbUvLh4B4VAJRFXS2Q4DNL7+W8+wu56VsEO7y8b67T1cQQfR0WHGZ4aoFEpU6xoBb4DD3X0UmyJjS+mjDInhsHxv/cEQutaV8A+LYcbabxKOREgd1Ng+OpIgHqVnQhkMGB120RH08IaY+nopF7JMLkxyvJ8k4AqQagvlRYF6QcS8QHEJXYVG3Adnpr187ldW+Pgzp+mbw3RaDfJHHdYebjE6PEy9Ljy8GR47fx6PP0K9fsz6g3UWTp+R8TTRlY7PL2M1xAXf5gff+R6lSheL1YLX78FuMssHPHHT3Fk/oN2zs7WdplprcHp5mD/64z+k13fTLqa48cGbdDGwmnRapSwvfPqrYOpSSe3x2vtHvPrOA0w2F08ujzJQ7dzdekDUY+G5p5/j+995jcSIg+OSnXev7fHpJ4L8m3/xB1gCcfbffgXX8EVC47OUDvNYHFm6zQ5aPYc9PIPVYaFZ7mAyaliNASZHGLs7SKO0j2nQlJFol8VJMf0Q7/zz9I9vUm2n8c99GZdZpbT1bcyBR/D7LNQrKbr1gYTeefxeWo0MNlsIpy+CPTrG9//9/8H3Xt3GHwmTEJRfTWfm1AhG28TVDzfRtBaTM7NozQJGI8eXvvIVzv3q/0A9s8bJ2gMmTz1Dbvea9JCGo3OU9m5jH72AOmjTru1jc4UZdKoytt3vFFHcK7hGExTXXsHun8XmGUfrHNBpCgimGbtvkVbqKt7J5+nrVUx6Ba0vfKUJBoFRcpvXqWYPmTjzGC//5X9hZ++QC0vnpO0jmcqxMDcvt7CtWgtv1C+n88V8A7PalpH39dt3GJmJ0azrhMN+8qkSuWqRMxcWMWt2+kqLzTv3GJs+TblSIR7zcu7pS3iEstNQsQfDNLLrUidouAVcLkLfbqKb26OPhss1hDp8gY5JwVVL0e8P6Akom6OFRXIdfNi9Y2jmHoOWYAqEaAjlo2Zg7ZZl9B6HEwd2lMgY9sQ0lZ0bPLj2Ki77ENsnSfK7R3z8sy8yPrWEw5+g2TjAZVFR3E7ZE1979/s4A1PMX3icUvKYN370N6yuHfDY008RG/Wze/8YzdRl4dQ8V39xi565zdSpGc6fX2Dy1Hl6FQHJEd7WU/StSYrbD1E6DczOMIjqRm4Tk9dDryKYBx2U5iGOxAV6Zg29mJKvyewKUT26R7f8gNDyP0B1R2mf/EKSmB2mCoX9HN7ZebyxCQaGC6vNQ+3he2zs3+X005/AYx9l7b2/xRacYHR4gVZ1B008XEUWMWnHmAwFvX6CPbFMp1aEThNNsUK/jS08j6VboVG9hyv0CO3UDRzhSfrWKGZbAF3vYrSyWLtHDNyzmFQ3Rl9YIoRycg+zaxijlcZolaWf3DF5WW51Bc2W/B7GIItj/GPozRqDwi56MI4vEMfqMySs8n/9jd/h1t0C51aihENRFMWGmLlq/SY2q9guGrSqJZIpjeUpJ7/6m19g7IlPoW1t0u5ppNdvyfu0a+xJHE4/3dpdBrUK1vhltOIRJlMec3AZf6QNbhP/6n/+j/znH+5iQuOxiy4aYhDucDNAUK/zcmCVLWSJRhOk9nO4Aj58CRVfNCS30vlUkcBoiH5HR60UuH47jdF1MhwFb9DB+m6BqNMmFYAls4HLaiMt6lVxD//+m05u3uvjU20cN2pcnB/h3Q/XCXmCeAM6seEI195L8eynxrlx64hOfcDTT8eklqhQ7DA54aFVFp1nCxFxuCqZ8NrMEhh5sF3j+Y/FmZ4N8OOfbDM1G2Q4YePujarcyKk2g4lJD+l8l+ODLJMzw5QrbXotnWa1w8VLw9y+cSLrdXMTUVLZNKGhEPV6mXIR5hZ89AZtbv2yy/xpl9QIr93IS0Cv+F0TKbjYsIVstkklp8teazrZ4OOfmaGS6fFwQySQAmTE1kWxYHTavPSlFa68+oCTww4rF6I0m12cDgtuj5M7a1lGp9yUMnWeePyUrLId7zVwB1WZ6nGZ4OCoxsUnJni4VqHTbXPhsRCHG21sLoV6VSQCxaa7L9N/lx6LYbPauHLlmEq1xac/N0f2OEsyPeBzXx7nx987oFYbcHrRw6A/oC6AiV7xkN9DXCojiQDZkwwdzcHy43HyO1lOTpqoTheRuEI1V8ftGyI2aadwLGLXFbnFEwdzu92Mz/sRyLiQzDM9HSEWDfDu1T2sikq91aLX1vGH3Xh8quRBFPMDHBZodTuCWkPQA90+GJoFp9PCg/U8j18aknTphmGWHez5WTsWLCgWK3pfPBsN6HZt+HywuVXHG3TjdlvlICs05KZaEDVBg5DLTKWlEBBx5GqFZFbjC08Nc1CqkSmD12HG0YXtWlsq+JS+lakRiyTNr55YJbPpE0/42d7Icv50FFSdVEbDrzrIN6uYDbN8/67cysmN4+Nn/Lz6VpKPX45z/UGWp06HeXBQwS/4KYqZBaEc1Ex89/0sX3wmSrWpceO/84IEIFYMhOIhC29c7fDYgoW5YQsmAbo8FWdv7/9n6T2DJTvvO73n9Omcc7o5h5k7eYAZEIMcCIpZlChRYU0l1662XLWuVcm7pbJsWSupdiXTctlrWSvKKpW8S0piFEkQIJExg8l55ubQN3TOufv0Oe19X/gb8AGD7rnd97zv///7PU+G06fCEkY9GjETjwQopeuYHBpBt40eVtZSHdLNoSSTB+wuDvM9Nupt9jIaRaEW6wv+QR2zV+N4MMLDdAO7zUQ0YJEASq/HTroGYVuf85N+vvqkDYfawm8xUy13pG7x2Ak/hweiBquxPONirWTCY+nQrPcJ+uxspERcWmF5UWyQYfeozNnlUSyuJm+8Wybg8clBmXDbi8Hb6HiAZMzJ0WFRsmXEuePdd9N85ZdmuXGzSDxiolEWlaAoO1tZyQ5xmK3UK21CcSvFgsby/Kgk5Atg6omTSdrNDoVyk3DELYGchiKGmDqtdoexMR9ur5VAwslPvrvL05dGWV2tYXcYhBNOStkGqZ2mVPlNjEX46EqGF14WiQBNEs/DiRA2OzTKHWoVHU0sFystpkZ9lOsNBgMFi2oiIyCqTybl4nHzcZ4vfuUY3/7PW2SPels9ikEAACAASURBVDz7yTADzYRFVaW1q1yq4g2GeHy3zNyCuIcYNMpNFhb9GIqFRmEItg4DzUy52kRVrFx6LsmD62l20k1efm2aem5AsVghc9TD4TUTDpulgUgxWzhKVRiddskh3TtvHfC5z04x0C0IFu7Wfhq7w8x+SuPJc6NY7CbJJxMpZIfFJuHEl396wNikjY6mYhgKZqOHKjTDJrH97rK4FOP9N3YYmRX2GSflYgWLQxR87VIzKlJX8aiN5KiPWNxLr9ul2elzdNBjey3P5EIMTRO98HG+940txiZsjI3G+cH3tpg77pTAwNtXdshkBrz22Vk6jRbbBxUOdjtcuDQq7xprO1msOBmdEnwQQ34uBLjcY1cIJ4P02h0qFUMC00eSDu49rnLxwghbW0VmRmM83shK88VLnxrnYK9Bs6bJpEC+IKB2MbKHdUIhDxv3M9jdXlS1S/D/Z9f86PUDXn5F3El63L5Z4vjJKEG/mWqpxsJSnAcPs7i9TiyKTq2pMnfMwds/PJSL2UvPjnL3bor9nSaXPjlBtzjgwWod07CD6hoS9fko1FoyMXfzeo7F+TjVWpkePRyqS/5/RPLS7RfJgjLRqIl4zEn6UHy3bDLdeP+2gPsqEsInkphia9kemBmfMDM95pPPSqfbxo/fSPP88yPS8GMemAXdlGq9xvSon3KtSbUAEzMWrE4rj+/XmJ6KUKhUyOz1WFjxYrMbbDwWYM82T5wVd3ET2xs1Rkf92Dwqd64LZaKdc+dC3L+dIuDwo/z9r0aG2kAjn21LounFSyFu38mwcmyUfq/PB9cLrJxwk0kJQ4AgWqo8up8jPhbG71TJ5ZqIQkw4ZiebbUrowf5eT35JT50f4cZVobXz8vhhFm2o8cSZaVK7WXkYalSEv3NINODCHXWROyhRqdS58PQcj+8JV2pZ6gRnZ4QXW0x+PBSyVUbGPoZuREeCUn+2u5UhGPewv9bk7KlJKsUsW7UOsz43q6mG3LYlRuxcu1tidl6ollS89QH5Xp0nJ6PEQsLt2yQ84WVtrc6HqQZGIIrF7OQvfrKPN2oj33FSydSwWxWePRmhp9UxTA7M1ZLcHnQHOlGPnTsbDdlZiftcWNwmUrsNji/7pWbl1oMCCgpT407CE1EZbey12lhdHrnxXzgxgdsppjnr2F0BJqdG0I0+1UqNWrnNxFiCnb0MTp+J6Zl5qU18fO0BTqeP6ZkEd2/dw2P30GkKUMqAh9c2ZXdLE2A0HfYzA04sB9F6Ndntsoe8jHh8WG0at7eyGKoXr6pyY6OAYOgmBLE+ovJLz0/ye7//a9isGsNKgX6vy+bqJuML89jdCdIb+xxsr+IIulieX2Gg6Lz5j98lPD3F0rGTGL26vHB4fD4C0RD/8Wt/yVG6wMRYmFs3Uiydm5S/0E8fm5YmgO9+5woel5lf/NIruDwK08fnqeWqNKoNnFYnqfwhxXSGn/vnv0l5/xHvXH3MP357nRGfmedfnSadgx/98BZLx2I8e+EJ2d979733mfWPs5ZtceXuDn/4r1/k1S98mk6mRPrxuwTH52m3FFTVQ797iDq04Jk8A40stdI2/uAiXaOGbgricNsw6nuYrCH0yi5G9LiMWbebBjZ7m252G8/MRYZdC0OKaLoPXW8STC5h1B7SKuXxJ2axB3z0LRH+9H/8M3INhWcvHePe6k0yR1U0gUaqt/jlr36Wcr7KG29foVhs8vNfeY6v/Np/A+YAlYc/oJnZxOIYwxRMYmpXsVlM9Ox+9K6KNzbGQBtiqm9gGCrNXgFv4ARav4lJz1I/3MITGUe1J6k31uk1yoTnP49qEoqnIvnt94gt/yzNagqrIibKCh63RquaxZ9YxBqdoS30eyYTjsg4xd1VUvtpOcgShoqdnT3MWMkXy/j8XkxWO36P6PFuyQjT8qnTpDNlisUCswvjUj33eD3H4dEODx+V+f3/6TcoZYqsb27hD46g9wt8+pM/Q6UrfKo1BrlNnnr5c2h6A08gKqPhveI+IrIxMCXotTK41Q595zx6f1/GE12Jk1Q2forqj6MOzQy0A7BO4rYaGAKmp1uorr+J2+/AsC7id7Tp21zo1T2IPol3ZAWjm2fQTMlLt9ZyMDDE+4+gHT6knM8SnztFp6djHg7Yv/1DnMkIkyufp5ZfJ7P5WHq31x+tc2x5UsIntx9vkFyepd/qUy9pHGUf4w1N4ByaCfmbzC6v4Ha7GTv5HP2BRjO7Lh8ilk6FYWBcXvZtQTetVgWr4UDxTQqmEoPODkMxLMhuYw+IzY6ZQXUVmyuBc+ELVNa+h94pEBo9RbmhE4i6ZD9YHQxQfEkUk51h+T70DfD66NU7DId9FDVMv5vGYgnSa+5iMqlYzDF0s4rV5UZVHPTqKRyJeXqZLVrlXdzTn8Go7aB4gwxbDQbNDdyeUZq+EYb7dzDbvZgjkwz6XYzaPorZgSUQRxH5vH6FXmUN09irmMobdAcantCMPPyIWog1GCQ4+yQmDFrpLP/4T9/hrdc/BMXF4plp8rsH6GYzp0/Ns7VbYGpqhL/9u3cZKANeujjB7/+7f4t58lkGD/+GemqPTuxV7N4Ig8IthoMhoYkxeocpFPHd6hkMzRpKuyz1mbaZcSqP3uOrv/lD3n6QYXQM2Xk27AbZQoehSEi0BmgmDaPbl0Rua9jEsXPzshLlj/jYebhNvtzk5NIcg3aH7//9VSYjbtmHbA7aBHyCuWMm7rdjdKt8906PWNDLK5Nd/rvPxLl5L0+l1iPkdtAxIS+VanfI+IRXRkzFUFNXzNQ6baZnAwRMXqq9BibTkMci7q/p6JqZ514Yp1YtEZcAyzIPHxW59MwYlbImY/EDFCxmjf3tJt1Wn9ikk1pRY+ZUkPU7JTJZod3yUcoXCIQ8nFwZI3uYw+L0cLifl1q//VRVwp2anQETo1EO92ro6LJOpmnCD96WWyC32yphdceOebh+pYLTb+fkGYckUYcjHmy2Lp2aCV1VZArgqYsxdvZaOD1mKtk+Q5tJsmqefGKGtQcpaW+xuYc8vJeRqrWxebeEnx3s5KRCN38kIuaGVF1FkiH8ATs3r+/gdYlLsRjQGEzMqDxabeC2WBib8WFRnOQKRQpFsenrEQ9bSeV0Uht1RiYcqAyxuSx4rR62U4eEhTZYVI/abWolBY93SCguvv8aqk2TlxGfz0Yy4qWpdThMNdnba/GFL8zIwULnv/rd94+qjI155Z9dKapUG015mROR3rsfNXj5U3EJFn68KoCGoySibnZ3M0S9TqoDDb0rNLQ9YmGXhFytbdeYmrBiV80cHbSoDgaMxf0Uc212sxXZUxfJAyHSE5XIcttModJjdsqNSPiKwYrF6qTTbsrqQSo9JDnmIHNUk4TvuEcQvT1sbRRZXJ7g6s19JmJeHC4zM9Mh3n5/g9OnfNy8KQ60HoJuE7s5g6BjiGoRcW/oDuHBWpVTp2PkD7s0+zrPnXRy+XadqTFhf1QoVVVOrYQ4ylUo920USjVGRE/YZMI8NBGKDPngvg79GmeOxVGVPnZEoiTIhzdzuF1mWkKX5xDWlzYmpxt7r89Rqc+Lz4xz5cYBPoeNaMxPr12jogvFtELAYeant5tEAyZeWwmzelhgNBZiwmXm4DCDzedmZj7IVrpBtWagCNB0Py91YjdWq5Lqb7Z4JP+gJYj0CSez1i7Xdwrg8hD2BSm3mtzaacj0h1XrkT0U29Ex2dt+916dT1+Y5sFeSQJwc6U2T50NgjEkJ1RqAuIWCaCXNL7zYZnjx2z86qfGWX1Uw+bpYbV4uHevyPiCH6fZglnR2dyqcOxkkIf3W8zMOhCYRqtDx+MOkCsWpAqwkO/xeLUgORouhwmPsCMVy1QaGomRKE5Hl+9/K81rXxiXSdqPrhzx7MtzbK/vMdQdhGIueYa3WoeyGiGqVDbFzsqZEaniVSxCiV2T0D/FIlgrKk6Xk1vX95g7NsZHlw+4+JSwmPRYWEri9lm4d6NAIOKmmC5RqNRYWZkmc5hl+dg0Q0uLy28dcfaJcQlivPVRjuklMYTsyuXA7FSCfKVCajtHJOYkn1VYOO6inBkyf8zD0VGbTr1Pudnk2WcWWL2/L+vFwk61/ijP5IyfsQk3lSJUaxVOnZ+jUaqSzlRxORxoQzsP7u1w+tQIB4cVaVwRi8WOZlDK6ZRqFX7hl1d47+0tyfsRWsCe0WY8YZV9/Hy2w4Xnxvnx97YZH3djtQ+lJrBY6KAbOuefiMshUKffp90YUCxDLG5hcSHKO++s4Q/5OHcmzsOHJSrlFvVWnyfPhnC6BVzuMb6QUBTbhKSSaEJUeezs7+XRdQtnL0Rpih5+Fz54d19WAAIhJ26PRYIu+02Nk0/E+PH3NvH5TSzKLfw+8WSAsN9Fe9DCG7SR3qmze9Dk5VdH2E81US02vC6LHNpsPi5x6nwCVRmwulUmHPBiNmvculMm6LUxOeHE47dzX/x7zEY8YSe9K4CSggulywFuyO/CG7TIGvDUTIRqpUG5PKDRHvDkhTh3r+WotxqcOjtGrdRmdafC2LgYlA3Z32rzzItR7t6uEI+5mF/2cuXDLGZbn2JODMXtxGMWAokhW7e7VMWQQ9hq+hrPPZ1A3KERa17dJi12sZBNpjStdo98T/6Qn1arQTQQo9mqSP3s5laNYqHLJ54eJRh08taPD1ictTM1G6bQ6HH/5iFPnp6lY/SoiLO97qCltWXiPJ3pgElndiIkIa4vPD+HNqhydFjD4vCSK+Sx42Z2PkS92qLV62FRhyRGPbzzZpalMwks4on+9S/4hhaL8LCrcpLw4mcS3LtSZWTKwtFBl8hIkFa5zJ07NdmLiSbAaQ7xznvrvPjaJA9uHXHmwizp/Sx7G0POPuMnu98kFHBwU/T3wyKmI6izLZ64EGF7u0ep0CU5a8fcUclVBkSiBo1SjwcbQ+yWFqdXQkKaQrrYEGpfeYEVvbJCBsKjA4yOCb/Lg9UzoFgXxHuHVNvdvt5g7rjB3pYmLxtiGi2qAs5Qn7hfxOGqzE0GqFfLmDUnU4tuPrpWQbeZKJf6WFQksXtprI8qXLY+E25Tl7fvKMRHLNIr+kfvNHiU05kaiZBr1XhqLCCpkn6zysV5F235uttowzaKxUW61Gcx5sDptbK5VsVkGxIKutnbquKImpgbGcWwaXSEKKbbxj8WlpCYQChItdpBtYEx6FMutJifnaBUr1IrdQnGfBweZgh7Q7jdDrZ2U8wujGJ32rGaVWqVpoxuCcWigACVix18DqskEBtDQ/4y7VbreIIiMm0ll20SDbqodfoEQ3ZqxQ72gIe93Trr6Q4mi4Owc8Cvvxrjq7/+LKu3N/n0L7wqNUel7W0yBzWaQ4VILMnB48coTjtLx88QHo3y3hs/IBqKSv/28oVXePdb/zvBkQVWLjzD//WH/0EORW7f2aDdMfi133yV65fvSjev3SWml1n+5W99irDfJuE3Jy6dopiu0W03eHzzLp/68pdpizh9vcj1n17l5laDo2yKU6dO8td/d5UXn5+iX69j8bmICHvD0MTqVppsWuff/s4LPPfl3yZ17xs076eYf/41+Ro66VXK6YfEJy9huIJopTXZvVeCUyiqhU7lMaoaQ+sdCpgz3rF5OsUireIhnuQcjkGdYrlIZPk05uaAjds/YfTUWYy6jb61RzQyjmVqhjf+7z/n71//kEB4nPUHW3zxSy8y0Po8Wt/C4RCk1yYXL57k/Y+usHW/y9f+8GU+8av/mu7RHpnb7+Jyaijxs1hNClpmFZPLTRcfXtOARnGPZvOI5Nl/RuvoHQbVKpbRsxidHFZbRF7kmvlDXIklrPEllNoeWuWAvk3FKKSw+hdptA4lgMaWEAMOEQ9tYNS3MXumsARH0Zptals/ZjisMfbS72G0agxrj1DcASzeWY5ufhtXeAKrM4zJbGbQyVPI5DEP+gzMBrFgmC5OtIK4oI4ytCrojRqhuYv85Aff5v337/LFn/0izfohzUaX27ce8swzn2Cga9y6eYOhonD82Ar379+knKvy6c9e4qnnXkPxzDBo35eXE1UwAoZCDdTCZvJieFy02+BTmtTrJazWIIbHS3vjB7iTZ3AERDfbLp3f9YPLEibkWfwsRv4GXU1FFbBA/5wEANYPvosdB90B+MYvUM3vYO7kMZurNHUP/qXPY24f0E49xBaawXCZ8dqcElK4/eAqf/O338QXCBIPxFDswgnrIBwOkS2maTfazM0uUMylWdvOYVYGvPrKJZaOz2G1hVGGLRq1Er1Om4HZg80fR6/t4xBViIHwv/cxNKHXs6NYh1hMFprtDJZ2H82u41ZUBt4xTHbx3+3Ji36/0UG3BghNHKNWLWK3GqiB47QrazLSObQGaO0/whKdxWEZoitC+7iBKXyOTjeFWVBNBWqt25X6SRxx9MOrWGwq7U4TT+w0WATVv05t9zpWpxv3wkv0SxkURWOoeHBYTXSaLdRACL0/lH1Mr/ANO8P0620sgx0GTROKMB3YzPTsDcIzT2Fo8IO/+Us++OBdaa+Ym5qn2i2xk0pjVw2eOL1M12hx+24Go63hd2v8yq9/keT8Jdq1Llp5B5NgCyTGae3eQxO1kYXP06rtYRLsD0Oovo7wWIL45pYhPoJ+8AE/+8U/4Yc3G/zCpxN0WyIGWebEiTkJALp87R6DjoXZmQSXr66SmAgxszJDPBrk4cM1nC67BI2J4fXmrXVaqTpt3US335XmjoWoWarfAp4ht3fB4jFxlOlzzKfz//zuIm9d3sMiOr6qmWxDxyEGtL0hA9VKxxBJnxYnjsVJhO0y4qsPzbLSZwx0gj4/0xN2VIeZdz5MMTkdltv61F4LxfLxhX9pOS4HdetbGdlNz5ZqPPHUtDy09Ho1HHYXDx4ecmI5Rq7Qoa9rTI0H2d1tMtDbMtUwvRBn80GW6qDLuVNJMvtmnL46jx41efGZKbLFIrdu53nlk9Pc+DDLseUwTreDH//TJj/3q/O0mz2uXa8SDuscpvok4h6CYZVcWpNnkY3HNWYXY6QPW0TDFjxhG7trTdl51AyhyHNiNhtYTANWToR5750SW5t1FLvO8ZUIw56JZrfJ8cUkmVJRbq7nlhIU8w2G+pC5hQBrGwX2dpqcOZ+gljNYOeuWyrS1h/sSxufzeuSgQDF3qTZUFAGQDdk5StXIZtosHwsQTtpoNzRZlaiVWrRaGsdPT1HONAhHrbz/7jpPPTfL9qOKHLy88so021tlVLshOT8bj0qyulLKd5hbHmFIi04TUoclZqdiWM1mivkinmCUZr3OYNCR3X2hUL74XJJ6q0PhoIVhEksXs2SsZLMF3A5xuWhj91nweazSn/7yK/OkdrIE43EMrYjXF6OQz1AvDtg+ahMIuvF6RCJzSCrV4vwTI1x5O8u5p2K8/kZKdl+fOO+W6Y5KYwDDFo82dJ5+ysP2TovD/JBj0x5pA3l4COeO26RiutNXiAV0+kMHhVIPp7svQb8ekTo1q7x3vcTLz4lBT5VOrycTXbGo6WOAptNByGshne0wNeqlWteZG/dyc7PAuUUnB0WxHWtw8qyHXLYrAW1CAbabqtJXFFmR0PQBc1MO/G5YXRvS7TQZTXi4tV7DYTWTSFolFDNzoBOJ63IYW6ka7B12CXscPPmEl3trFap1lROzdh6uVWkbOsdHg2QqFaJeN3PTFla3urJKu3g8xsbGvux7P3vKxpt3mqxMuXmw2ZQgx3Je4cwxg8OSjWxpwMLUgEbLwfZqUS7FVk4lePudfYIJB8VKF7/Zztysg9R+n0KtQjLsx1B1OpW+/OzevVvn1GnxLK7w3tsVXnpuia7WZGutAmJQYh6yv1/B63WQSPhQTBqaoRAOuWTVol7S8XiteH1mlKGFfKFNLGrl1s0so2NRubmMhh3YrIpU6Ap42uJSmFK+SzZfZ3oqSKOjo3fFRVVAy4Ls72Q5fmxaktfThQP8HifvvFnj818KUC6bZJK223exuXbA1LQXm9eMaqgSmnnuwjiP7+eJRpyoFpXMUYFjJyZkBadaLjK0mBiLenCGFN76YZYvfHkBb9TF5Z/sYBLJBL2BxWTHZBMDIw2L0UYxWaTRR7wen1thdaPARNLN9nab5IQLp81EJi2i9RE8AYW71zNEEh7iSTM5YT9JBnF6PFLXeef2PoWCwpd/eZb93Tq3r2T44i8tc+3aEanNMtWuhblxG96AmfWNGmefDNGrQ6NhyOpLtapLQ4tgtHztz9f4zOcSaLrO7lqJaMjJ+FxYdtvLZUHrh0ZL1JNsONwmnB4TNrONlhhwGGZpeBGMAa0nOAJWuVhUBg68PhOHB2WeeGac9P5AQnF3NwrYvC4uPTvGP/39Q+wuKwPFzVhSJD5aRCMuOt0u/daQkUkXm9sNpmecHOx2mZ7102jWGOombt4Qg6QodnObDz6scPGpOGNjQQ6OSmT2K6QONGambQw0lWjcxtZmR0bUtaZOrdFjejZIo6oRCJklcHDtYYmT54Nyu651FPk8HPSaLJ9M8Ld/tcupU2GiEaQ+fumEl27HYG21ydi8iaXZKVLbhxwWBmRTHeaPe2Qnfv54nI37JXa2y3zqs3MfPyc1XZpfRO2w2e5z8lyEQgGqlTalchWzySLhev2BlblFH73OkMd3jvCPOvGIpOt+g+CoDasBd+81OP1EnKHel7Ucm9NKNOD5mHenCvtejsM9g5d+ZkImtv/X//CA08fcuIMWaWTxByxE3Aq1WpezT8yQKzTkcD6fVmSNY6DpZDMa0zMOmcQL+n2EQ07u3c3RMzqEBOy7qdPr9mCoML7gYn+tx/FTXrbW2yjf/Mro0B/WMVts5HJtPOLiPKjic7tIp4UDcoiCjbNnkhIocO3DPYJhB5cuLfKtbz2m1WoxOhqn3hLxiChjkwluXttgZi5OTxuyv91hoDRZPjbC5sMs5aLG7LybvY0Gx06Fcbt1/urrGU6fD0ptVUCo8+w6jx/V8Pit8kMX8ge5fSfN0smEVDo16j3io2Zu3S3gt6ky1ry8GKXZMyjku9x5UOHsWTelA5hacgh7IW+9VeTUqSFPPjHPvRv7FJom5me9Uj1Rb1hwuwQJts8nzka4dqfCoNmXKQZxIZ6Mewl43fQaYgMtnNtmHud7XF3v8G5G4aCrUh8YaALUZXT40sUEDqNJud9je7uB3+2mORwQ8gbZPcgTc6okJkNUqzVylRZhf4B0SSeZUAiFIzxe3WLp9AI3P9pj6eS49HZ6Q34cHif1dp9SoYRHdP+HYLJb5Qd5Y32fZ5++QLVbRTHMNFs1Cd7ApEkCZqvakT2kva09FBHl6wykbzkaddE3KRJ+t7N7yOREBL/TYGujhC8eoN1qMha00tCsZApCpxLi/rYAXPS5dH4Et7nFf/qDr+Jxt+g263gjxzk4WGf98TZjk2OoQxtH2TSBUISpxQW2H6zSqmQxhgoTi/PyAoQgYfvd/M5v/wEW61B67l3uCHPLUdw2M999/SOOL8/RrhU5f/Ykr37+c6TWNui2i3L7cPX9O7g9XZ588WUwmfnSl7/GibNhEv4khqkl0xnTI2F5MKpXDVwRC2ZV5Xvf3uTSeS//7uv/ic33vomh9bE4pgnZdUxWP+XsI0zDPhZ3nKHdicubpNfOULr3JsHjr+ALHaeUekCvnyU8fhzDiuzhK6oTk1XFXB+izl/EOHiH6sEaoaUXcI9Hyd5+gz/5g29yOLDwiScXcTlVel2V19+9xVe+8jRb97MS3hIb9/Bfvn6ZL752nC9/5hN4jp2gWepi6g7pVO7jCSTpVOsYghifeQtd6+EYfUoS32tHD3FMLGJ1JBj2SugDC4pFwaxpNHsV2dMWkJ929ha2+AWcXjGJtWOY3NQ2v4MruIDJ4qHfy2HzuHAHj9HLp1DCdszhF1COrlBe+za+pZ+nnb7KAC/euYu0dgUI0sAWi2NullF9AayuKZROXkZ+xeVsYDehNPM0Sjn8Y3PQbtDrdlAcCbTOLtTa+BbP8o2//nMuv7/KU5fOSfL3wX6eEyempd92OBCxKQ/tWo+p+Rk6msZbb/6EVqvO6dPH8Ht9vPzpl/DPXqJzdJdmehuGfXShnhx9EvSqdCDbhUjCHKCfvk13YEINzGBp1TAFI5Im3O/WUGqHWCdeYNgtoR09gpAXymXKlUckjn1eDtx6/Trd/KH8ZxGB84yeRjHqaJ2ijLaLg2wtv4bL6cU+uoRVq7B1P82N+w9QjS4DbSA75f1uD5uikivlsVkt2IWXO2TDH4xy8723KVUMPvepcxx7YgVT4ASt/Ca0CqjWWbTyI3TnCIreolNbxx+Zp1Z+iNO/gBKcQe9asVt0tGEJo16gr/XkoUf3L2DzLaI2btBvDNGHfcxC+irI+zYfg8EBWmeI1WZncPQuqnMCIzSKxRFExUmreEsOGKy+OQbdPfRGEdxz8gDW2r1CZPFnZKS+u/U9nO4RbJOfQBPfxf03UVU3tsQ5lH4V3eqFbgFFH2KJzGASyvCWJruLrmCCbr2MqX6ANZjAGh3H5euhtUe4fPmbpO7ssnmYlb/zxAW4Vy5iE9u8bhezO0yp2sZm9Nk9zPAbv/YyL/3WH2HOZShe/RqGPYo1dhalsoXmmJGGDq12H6sjIvu7Vq8DS6eNNTyNNZ6kU7/OP/yfb/O7f36DrtJlacHByxfneO/DHXqDjrwkqKqNUqbG1MlJMvtl3AELitWOanfjcA658+EjXvjMJTq9Kqkb2xg1nWZPZ2QkREer4hGOWEGjLw65XzBIhuxcCGv8wrKT/UYLu9Ul0wFiiyK2HCLxcWzFztbmQBLspyZtqIaZljZgqBuk9ju88FKczH4D1Wml2WoQdgpitol8vsLcXJhavYHP5ZIgqnq5gTui0GnZmJv3y01Ns93j7XezzM27eP75ad7+yTpa30F0xMLkiJ+t/SqKpkkfeq+PVM0J7ZbWMXH11j4vv5jkYCMnlWy509+ZggAAIABJREFUfI8TJ31UsgPsdiejc24e3DjE6bdh9MVBxkJ8NMjrr2/z7HOTzM9H+dE/3WZyPkE53ZOE44mJEN2+ibXHe0xPR2g3u7S1IYtzQTpak8IhMu4quDq5qkYk4cIy1JidDUl9lz9oJRL1S+NQVKj+mm2adZVY3MrRUVMOg+u1HuMjXqrNDhaTgcdv42Cni801lP5ncToSw1TRNx20BNBPxOMHxMctBHwBHjzKUco1iIUCOHw6O1ttgn4TZ89PsPY4Szpfo28oNEsmPvn5CT58e5PJMT9mMQDO9Egkg6ytZYhGHBxbDkjrQCbdRLRgxLZvfiEoBy+9ZpdQOECh0JJbcL/bj9djY3rBy+FBiZw49J4Uhp8OgZhAydi4evmAF56boFhuc5RuE0+aaPe9ZFNHhEJWWRsQQxdNbxMfdeB1+GSnOp3rsr8vDvEaDp/B9GyYer4qt4yCoq4MhbHIxrvvZBiLeSh1ejgGdiwenXDCw1Gqx/ySic31Nldul7DZYDwZ4LAsLsYdLqxEyBc7jEYt7O03iYxYGQ06saFS1DqUKyo2e49LK1NcfZSmSx9n34XqgB0JITMzGrJzcNShN9BlP3roUAlau0yNh8nV2qiKSrHZlswm8flcmnMzGHYpls1s7VU5ecpJuTDgYL+N322XestKrophM+hpGt3Gx7C7gFf8/LtsbItznJejUgOXGdxus4z/VntdzH0F/4ifo4MqxsDCg50qv/hilKNSi4PikCeP+ak2NPb2W+zn2pxfSZATrBRVZ2lU9OG73F8zGGgayaQZl9tEOQ1D+4CRuFvqC9sds4wmh0c8PLpvYFh7LEzamIha2dxp0lfMLM555YVwf8tgejFEtZylXDVYWvTh9bnwuR3cun4olZzTkyH6wyFvv7lJNGmXtRFVHTK36CG1XZKDNfFzTk46WX9YZflEUEJqHz/OSpr8xJhDXo6ECi+12ZRsi4WlGLVyjc3NCmMjAexuO+vrR6wsJyXB/m/+jwyTc32ee2marQdVWTOeW/JJvWL6sEezUWVhLi7TUp3OkIlxvwTq3b6Z5eVXpyUkVZi0FhYCCL3H1qMOhWqNkydGePv1XT73K7P807e2aDQGfOHLx2Xt0xdxsbWWZWhxsTjtxx9y8eF7Ozzx1MfppI5uwWoS0fICr/3McR7e38Fht8mE4tOXEozPRimk2jzePGJ5ZZSNzSylrEalPODSxTC6OmRjrSyB6OVinRFRVSiLOpKbJy5EuXZlX36ndV3o00McHZbp92yEwm2qdTvhkE263g9STS5cTOJxubh6cwOvNcTQ0UJVLJh0lXqnS62q47SqmCyKTDmLwegb39/l1HkfnV6HfN7MypKPu48KjI1YcbpdXHk/S1yo7exOyV2rVgz2Nxr44iaCAtzoEUyLIUeZFpOjJjotC9WSwfIZB2/+KMvFp5PsbNVw2HQyR33Gpr0y1SEGROVan+UVwZ0acPN2AZu9z+RolGq9zsLxpAQ+imdFuTJgYsTDzl6RSMhNNOHj4LDE5FhURtz7HYVCVvAnvFQLTRYWQhRLTZaWYzTrOqtrNcIxG4bS4cHNBhaXWd4nhT2t0zHJ96NYDT77xUWOduts7h7x9NOzDE199rdrUmU7Ox/m8tsHhJJOFlf8PLhRpNsZMjntk3fgUqEl35uiO1hfz8jvncmmUsy3efCoxuJyCK9HDG2a+P1WVs6OcOWtA3r9HrGYj8xhm6eeDvHRRwJuqRP02wjGnHjsZq5cy+P2i+F5jBu3CzJ10yoa+EIW+kOVUqlFMumg29apljRmpjwCcSB5euGw0CE25QVfAHmP9nIsLsfYPaog5E8etxnNEHaICgGng77elTDLs5cSHB00Ua79z5ND8eJanT5mwyQnDKGok1pew+ESsZAhXr+d7T0xfR2TmolWq4w+HGI22UiK3k65JSeAhqnDN/56X5hyePHFKc6eT/KNb9xmcd5Lp2uhUWsSDHtoNMWBtydj67VKR3oJE2Ne+WYPt0s4HSpuH5RzFh6uFnjl1RhDsb3otDBQ5FBh/oSf1F5dTqNKJZ30fol4win1Ws12W+pwetY2E9E46XQNq12lJbYJt+qcXnCTL2uMj9sloMKrmEnXK9y6WWPE38cT9bO338XutpDL9Jibskr1zeykC68FMiVBWbXw3LkEVy+nsHvNbDX7/MefNDloqHQdLqpVQeZv89rpJL18E0NYyZwWeUianQ7id9go1ZvY7W7KPY1HGzkmxlxUWzpWER9WVXqqzvKZOa5ffszYRBiHw44l5MTjEw8eF9u7+1isZpxCt6RCuVhj9eEO8dEoiXiU7FFGgsISCT/vvfeQsfEQx0+IqHEXTLB6d4OAxU/qIIvet+J3KPiTTgJeO6GEn4d3M0RDbhlT/ejyGsvLftKHJYLBKJ6wlx++uSn9qqWeaDwP+LWfSfCJZ89zdmWcpF/HEhijkD7EXDNxVOmRr6awWww0TeWp516Wg4IbH60yPhZgcmmeQQsZ9z51+hj/7o//kmapxa/88qe4/+g6c8dW0Fo9vvOtt4iOhJmKjzA9O4bfY8IVC+KwhKiIjba9TzA8xf/yR18nMRuXh2Nf0I7H5uCD67vMTsZkVzCzn+Pk6Un+/C/u8NJZJ3/wR79FIJKgmOlh0QcMTDqKHTqH9xkoAirXwJlYkUo0//gihmZmoOs0C/cIj1zkaO8eNpNBePppCRezDMvsrr+D2z6Hancy/exL6PV9vv4nf8bSyRXe/XCXn1xe5/RKmHNnTuO0m6n1+tRFhN6A63c2cdt9fO0Pf5mRFz+Pnttl8zt/RyQSoJ84IZ3p/ZZOp5UjMndO6j9a9Qo29yzmYY6+iDP6E/RLeQmjGZr72N1O9HaLhohkR6Zl39qwRjC5J1GOrsremS1xnn7zEFOrhTUaQbWEGZb3GVisDIweZuGZdwQ4fPQd4qPPMxhkpMOeVo/q1uvYXFGc8ZN0u2WsVkE/7nJ05w2sFgVHMElw/DlazSNsypCOPsBu86JXshJwpvmnZAe03tnA6YhL9+6jBzf41nfe4vmXPonbYePatfc4++RL8n33mqI3GWV8ekT+nRfLHT768DKTiyto2TSH2S1Onj7HhbMnCB5fYjh0U7r5pnTpKk2dZjePS0TWx17F1t5FN1nRegaKkaFafEh48jdQnAbN9X8Qt0BM7iAhVaHpDNPJVXB5LZjCCzQffB/3zDP0miW6tRSBsYv0h036mXtYrH4GFg13eJlutUHl8A6hqTPkUlssXPokzYPbvP/uNUbjJ9jNbvPo5m1GJiaZXzpBrb6PWXXzwVuXeeHV17BGVN74h5/g8XmJhVy89trLErYYiLuxhU9Q2HoDsz2J1T6G0U5jtQfo9kWZp41WzjFQNByxOZq5R7ijFzDMPYY9EUvXaB6tY/eO4fAn0PotTP5JFE2nlr6JNzaN1m5gdHMfb/WrJalP7Jd3cB37PHr1EDMOFE+EoSOA3thBbRUZ2ALQOUIJn8eqeOn1D7A4xunnbzOwDXF7F1AMwZZw06nv4I0do1vZpJu5jWJfwBYUlOUu+XIKr32GLiYcShPnRBSTZufqu+/w0zc/4OqNA44fjzI2Nc6t2w8xhirT435OnVzk3Y/WebSWlT3LP/tXn2PxlS9gGAO0bIr9zRu4HVZs9glso3MM0rcxXEls/lF6xT0M6xAhmG42WkycfxJcNlLXrnHp8/+bJDE//dyk7JTnC4dEXSE2dg5x2B0sLSXZSOXlRSkSc2F3qEwvj8iO+ubWIafPLhIJhTnYWiW7XkIzDBIxH/tHJYJel4xSt1oKpbZO3xjw6VkLnzolHMEVTk8luZ0q0xsaRF3qx5u4hk4ybKVS1jnMNjlzOkTCbyOdb5MpNXA4HKyttpidE1sCGLQ1NncGTE9b8Tjtsj6wc9iVyYjTT3pp5hSswQGxYIT1rZxMggQiHyv1RpI+TGqHgF/oODUJnV2YHaVVbXL9donFxRECQQ0GFjLZhqTGX7wUwW0zUcgbctAXH/NKsKSimUTjBmMg4IR+VNWglG6yclo4oRvc36jw2vMT0n388MERkaSNkCfC6bMetrbqXL58xOyCh5GRiDxEezwDbnxQYWbBjdXhpFRqovdUur2qrB9k0z0KJRG5THKwX+H+nSJj4wHqtRrxqSC5rS7PvhKRz/yNtQxPPDPLngDuVntEom65hfb57TQryJ6lxWKhq+nyWbyzXuQg12IsaePFl6bY3CiwtdUkGPVKo1DmqC5Vy4mkE4fTzO5Gn2qzzpc+N8uj1Rpnz41z5dqahNYFgyF6WkPMRSlXW1gdFrZ2m3IIJM4B66tZzj6ZwBdSZQT4xkcZ4hEf0agZAU8XjIKT50PoRoerHxaZmxshm8tRSvflUHlxyc87bx8QSwaJxQQMDQk/q9Ua7G5V8HhseD1eCqUyTrdTxlmzhSZD3Y7T25c97x99b0OS6y9cmJAVCzFATo6E2NmpU8tXGJdDlqYkh+/sNTBMGl67XQ5crt1KEQwIj7YNj3sAhp10pcmESCUURFe4RzJko9bpkK11sDhd2BQz7U4Xt9XC6SWxuW+zsuIhm+7IIcydzeLHRotkhGyjjtfnJOyBfKFOMORF14fEXH5+ej/LzKQAsOpUOgbnx31s1/OyGy9iyR6Xyng8Qmo/J8GBmm7w6qU4O5kK9YrC6laP8SlhHjBY32nz4vmwtK3sHNSwWMV52CyhjeubeSbjI9y4V8BsNzi7FOLy9SyXzo5Q7LXpVNoUuyYmRlxspYWRx87MuJlWs4+uqswlHZRaAkQJE6M2Ud2lXDaTT1d54ZkwNx5UZNzc7tKYGY9hGG1Mbhu5o76EfL76bAJBU86WmxiawodXS7z6qSQBl5UbD3OcmPWzuV1lcTFGarcEWDDbxHKty9x8Ql6+93fLvPjyDJsPS3SGXUIeJ9l0F9U8lACx7bUiK2fGpY5ub6vJ5IIXs9GnUITZCfEz6tCljUmzsb5ZkXrJV16Zod3UGNIlPuLj7//LOqfOxel0WkwmI/gDZjk8+YdvrzE9GScctbOxfsDM9ChO15D7j0t84ukx7t46IJVq8tRTU2AIJodG+rCD3WbB5lLod8y0WwUWjo1hNfco5BVZJ202RHmmR6tRRRtYURQLybiL/qCDVfFTqB+S2jLx/AsjDE0qd+4csLgYZmsrx8JUlKNMA3fQQDV8qGYDu90i64h+n8HY+Ajf/94a8wsuouN+RoNWcsUWW9sfb7rNVif76w288Q6JRIxCqk6zZyIRVxladfbXO3IjP7EUop7pc+9RHnVg4slLCRwOAf/cpdvVWV4O4PfYyBd63L1fxWbqEUrYmBkLojoH3L1Wxx+wMjbtklC8737rAUPdydDoMC4u6KpKuaKRL1Z58QWR9NT4z994xOyok/ExO4bVJhNQGBbJYgiEXNy6fMTSUhC7z87q4zxTUzGSYTNrhwWp9DOZ7BzslSWxvtUx8fieABraZV2hXBTbZxutttDeWrFikilFcTF2uq3cvJYmGLVgdTjI7hdZOhGRsOVqpozZY5cpMLvLLY0Me5tF+mIp0NZlWiSQtEhQ5PIJvxweYrYRCCkSbLu61pLWEI9TpFFUbFaDSEhUUsWwNMj6Zkmm546fjEjtpMWhsbfbRNMUrKYh7Y6JyNiQ4pGOy2EmlHRRyLUI+1zouirhrokRK9ubNZIRD4GgyvZ6Fbffy3aqzKULo3R6XblQ2N78+OIvgPmLSyKl1aff0zCrFsJhD4eZOi6nhb2drNTCiu/I7HSEfLbC+OQIO1tHBMNunFaFq9f2CUT8oHRw2t3YzCrNfodeR5VVMVGRP0o1cLgUtJ6JyTErg+GQR48aLMz4MVnE67Ajkv/Kd38rNhR+w7EpL9lij0Grx7KIxhlDSevMHXWZnDDz7vtVRkZUOeU0REyzoeEyGzgDTmr1Dv0+dGoGk3MuJuZiXL+2gddt4d7NOrOzYgsgiMQmzj0R5cP3DplfdMt+8IdXs3zpi3NkDgqsbYtDgYPEpEpixCXVe6lUgamxGHfuHDI3Nc7x81b+9q82SCbcBGN2UnsVTp2OMhpzc+NWll5X4VMvCivAAbWWiQcP6sxMmTl7ycvqQwE27Mtaw9X3jjh92kM+reNPWigVO3z/x1V++6ujMoL4ze9s8rOfHCWdblNq9LC4wKla0btdql1khyboFQ9Hh3R/Juwmnr0QxRFQeftmkbzu5f+9UuZxYSC7fUMBUHPC4kQQpV+mXzcoG0Lzk+AgWyAZdKCApEULRVjI+/Em3GTq0SybpNNVsapMToZRHToipybAMQsLCcKjAeoVndUH66ycWsGgz+qdFInRAOtrG/g8Pj79udfY3tziMF/C0FuYVaf02QqAx9R4gs3HOxQzBayKk3KuztBmxaoPefq1U6Q296mUhMfy4wOjjgW72WBzr4RFHaAK33BLJXVQJFsRllP4518ex++Cc+fP8MInP4HZ3ufGm++xcOYVdm8/4vAoTbaQ45MvPkW900fTGkRjo+hKm2qlQzaX4catB3SrXXIljdnxCLERL+12i35PJRCw02sPyGSKfPaLLzAxf4Za5Yhsep/FpUXckVFu/PQj/vgvvsv9x3X+zX//GkeHKY4O9nj5xRf54PJDIiE7illl9eEenv/qPv43f/wviHgdVI+ymAdWbItnaG/ewBGdprb+Orb4aanfsZqH9HviC3eE0xbH7AlKSJ9WyzPQ66hWFzYBnTPb5c9QAK/UkfP8y1/8b7FFvNg8IRbHA5LUavf4uH31Ft54gFNPLLHzYIcrH67y7//41zn17DGMdoS9B1fxROdQtn5K1R7C7Z/FYc9IaqthuDCZnPT0Fi6HcMWnqBt9wrMvoRUf08zv4fTGZOdoaItIyv/QZGLQLqEMxb02iRJN0t36kNLRFSYv/h79fodh5QGqe4LK3hWswyGhxRfo9kxyC9ApPUQzTLhnX6C18VPMFheOidO0d96W6h41NC3KoTgCCyjDDOX0Oh6bFSVxlqG4GGpVbM4w3V4Ja9uMLhWeJnrlIzyRszBM0a83MDvjBJMCzrPG6oNbBGMTvP6DH3LixDmiSR/dRod0qUA0FiO1s87iwgXsZp1cKYM/GOf6h7eYWYxRLtQpZLJ8+dd/m2PLIQZDoXESVY5tTHYHik2ht/0+toiASI5hUUw0a/t0xYHTruINTdHSweK00dq5im38EyhGhcr9NwitvCa1RL3iFoGx02jDFu1KGbvNj2KzoAwUGqkPsMWX0es57J4ocuVFB9QkilbBFl/EorWo5R6i901U2i2aQq+4l2fxzDLf/c6PadQ7fOHLn8NitnP/o0dUelWCbisRr4deW+PSl/8ZNkVDMTQJcmoVdhh0azgii3SKu5j0At7ZzzBst+mVb+KOLtLo9rE6Qwy7WQZqAJN+RKeSwRO9iN6t0KsXcSem0TpVuo193DYPmqiPDHRsTj+DdhmLJyJVTYpewOjnwTIu4/xmm4quic+L8GU70ZobDDoGDt8oFvF30OnTbGZxB0fpGWDq1LEkptBqVfT6LqozClYdizZAb1fBcwLPiF2mOLrVPL/zu3/Kmz9Jc3rZxRd+/jOsrz1A3EkdNhv5nIPkZJAf/OM7ErDzx//Dz/Hk515goNrRWxaaa1cwOZ0o/hEs7TpDs51Ov4berOEKBehXWhjtMm3EBnYE6+mLHN2/x7/6F3/KW3c7RCJmlmd9lJtt7EMT9fqQ6bk4hVyeVKbDQDiLg1aS4wFaAwsBv5349ARaT7AwQrz3oyt4VRMuu0LqoMnKTJh0QdgTzJiU/4+kNw2SJL3v856szMqsrPuu7qq+75npuWd2Z+8LewEgCICQKJEIUSJpyYbtYIQli0FbkukIKmRSMsCgTZuiSQZJEaB5gEvcWOx9YmZnZ+fua/o+quu+z6wj7ffdT/thYnp7uquy3vf///2exybfhmarj+bSeSbQZSIwYHraQaWkkq4JcJwbwzFgIirqXj0OMjYo4nM6KjVVYiuweVinkunJjuT8oodydUgl0yE55uL0mQRvvJ6hMWhx/lQcq9VkaDpwDXWqzT6dVg9VEzTqLi6/KuGllbpNIu5iYPUljbvfakjHtiB191rgi7ikL357Wyh+3bQ7Ir7hIBg2ZO/07IVR7q4dY3WErrbFhYtR3C5D9lFT42H+4I/vM56Ep5+ZoFAV/AqLwnGPaHKIx9DZ3W+TGvVgqz2yB33ml0KsbhRk8uTlFxb4ux/c5OTpEfb36xSPOlx8NE67PpD6sGa/x1AMS+sKGB2i8TC7GxXGp71sbYtntgt72CUaCksA1tZmW7qXl0/52dwqsHRqjEq1ydrdCrOzXoYDG81lU6sPabZ7ZHM1TiykCEfg3beOWVyK0+8OpdO+3W4TToSolzpSrZVOW1JVdf3aAamRIG2rQ67QZXzSzcfXCjz3mSXu3t6VtPxAzC8hcPGJMd55dYsTZ8MkYgLmVCcUVeTPP3fQ4crTgjBdIR514Q8Jm5ODm59kCPs8hOKqrPeJwbHX5+DGTUEsD0tO0eKsl+3dFl63xvi46MsHaXVrqJqoP4QwnX2OMk1CAQ9m0MVHP92XHeFA1CboNmTiLeAypR/8KFsjky7R6g7kYTgy6iG91QRD9O4NUtM622tdkvEeA5eXQqaG0zDotTuMpwIcZKsoHQfnL3jJ5W32in1M14BUQOfgsIPbBT3VSbaqfHrhimkEnDbb6bZ8LTy5PMq3frSDgYXf5aRn2Zy+EGT/sEtOJBdNgzMTGnVLIZdXsYcNrK6IERucivX56dZQ9o5Hoh3SB5b8WUW8Llwem/30EAcaly8H2F4p0VGdbO3UsId9Tp4Ncu2qgHwZXDrno1HqYlsqLQGPK9eJRJ2UK/anUV6/yVGmwsmFMNfuFGSCza41mFwQAxCFyzNu7u22pb753PII1UqfSruJZigcbrUYmVAZ9gWkrk8yppHJd1iYdFJtOFhbbzM3Zcv6wdSsm0tnx3jr9V0U3cGJUwHatR4ffpjh2eem2d8vSf3YmUvjHO6UZCz8xJkxDg+qdFsdybnKV8RW0cGlR8a4+u4WF87PUal3sTolDvdsZpeC9Dotbt9sEh/ro9ouCccTusl2uyV/t9Nz4plYp9MQDBKFM8tj7O7lZbze53awv1nj4ScTDCyVv//uNj//SxO88s0D2aU+dSYAgyHYDjy+CMV8HpdXp1m36FvCPNYnf9zncz87Sbn06YbeF1IZS8Ww1SaZo76k31vWgPRhXXrcb1wtc/nRAMc58XzXefjJCa7/dJv4qBfFbnDrI6EzDNPoNGk0bXFs54Q4P9TLHB50pOrS53Zzf6PIjOiOu2warSalwx7usFtCRlOpMLev7/Jzv7DM97+9QSbX58TJEOVKkWhUXMKd3F8t8cLnJtndaLK5kmfqhFcuU1UHVEsDnJ4BbpdNt6cztDqEwqZAOnC406be7HL6bEKee8WFr1Efcu5yiHxWMJosJqbDFAs1QOHenRrjSRVV10gJyGuzx51PCpw7HaJr62SOaoyMm0xN+tl9YFG3agQCLsIeHxmRcMy28bjdzM77+fDaMVPjMdqdAlMzMX78w0MeuhyX/XrBT5k54cbUvFidPselOi5howi65J+NjPpRlDbdlorq6lMrWXIBKSJ+HveAUCQq7yGilrG2Wsbwq3h0VaboTp1M8Npb64zGIeSLUu925OCgWRZD7Cyzc2Ea3TY+jxefZrKdLqHYPQyXk3qtT2oshC8E9E0Oj44p55Cg1LsreyIYzmjSKzV9q/eqzC9GceLgzkqaf/RPLvPaD+5RKtrMLwc4sRDkb/7qgbTCTM6aXH+jISuFQr2oDTXarb7UCm6vZPmHX13m7fdK6EabeERn+0GD3hASYnCg9BiIs27PkrXY0nGL+KgTn0/AXMO0BKCx3sdpa9S6bSbG/BKuWS9r5GtF5mYEAFGMPAMypScMH6oGw4FITev0rKE0dOwdHREOqvz0kzb/6Ocm8Ph9PLh7KLA6MkXaqfXwxtwof/3LCbtarjA2FpPTrVCwTzQyQimfxRcaoVzM4feF5RakWOrw6CNjfPTJnuxCT4yE5FStmLVoD3rEIm4KxSyrH1ucfVJs90VPq4Xb65Jkz2TUwBcasruvMJrwkSmnScViGIqC5lW5e6vM5KzBeMrPm28cyCTC5GiAw70uzW6LhZNeCcwQD/GLF4IY6oCrV0ssLXowHUFe/2gbfWhx5cqUPLy73R42ttP0WypPvDDFUbpEMdPloUdSlNIt3r95KHvlAmRxetlHrydYCAGahQrWYEiv3+Xs/Ag/+uiQp86OcmOtQLZs8dSFMVB77B2V+WS7h9s95MqJUd6+fsh43MOVOTdvf5zn0skUB+U8m00H9w91rh52cQQMOoUByQmDlpjmBTvCHIXpVgj63TQawiTQwan7yDcqXFwaYXO7TLcP8+MBdndKGKpNsdNnZHSUWrsoJ9xHpRbTCyOcPD3D7n6WzQe7LC3O4I+ESe8VaFRzuP1u+h2hInKzv7FPODGKw9GXHbhTyzPsbRzJiFKt2Ob1127iGooukUG1bDE3E6CcrZGYCaAMdYJeJ5l0GU8shMdps3LnAMtpcmrMw6UnLvLXf/0RHz8oyzjS2Ykop6cU/tW/+CKnn34UhHJyZ4/NO9dw+n3sHFZxeT1MjES4t7Yrh0Ff+rmXONo/Yn11A3/cjWF4+Js/f5VQNCi7e56wh7HxJIVsg7Xba5w4k6LfbvP4s49guBMcbK9IZcdRocnGTk6+Sd5+fxeH5cLtaUvir/AYnzklfkYGe9tNfvDdD/mPv/cVzp9/kdLeJuXynpwQtwsZxi59XoLX8ivfxxudYThooJlJNF+AQXWLQOphMg8+IBJK0tVD9CpHhJOjOMMh3vrBDb71J3+ILxRiai7FzbtbsvYxMFWeunKCfs/Fxs4+3/72dc5N6fzW7/x3ROcvUF9fo5b7hPDoktyFV0PoAAAgAElEQVQS1uplAiPnMMPjlO69hjmSpJPfRXEE0EJJnA4B8+oy6Ldlz9rhFAMOHZdngv4gg+4ep2f1GfbzUpfn0Lw4+sc02028iTP0axVJ4x60Mih9C08oKfkJDSuL047i8PcwnCkG9QxaKEWn08IVjDOsbEk6reqapFu6i6oHZWWidXgLf2ASZ3ScXmkf2xOVAxKHFmTQrOK0mzTKR3hi5+h1sri8CpYdR3eJ+HMPxeXB0UljJE6jmRatUo1m/phmo4RVqrNbK8pDfT5bZW1rg9GYn1RymmA0QK2TZ9gzSETHqDWqVAoZMdAm4Y8xvjjOxNJp/O4wreK+7NL7bBXv4gUa1ZL8vqxyRVKR88e7MhllRsTgLUqtnJGxeDHNtwddhnRRxYY9v4c1sPGnnmTQ2WbYyGAmHqPpAG80Ri+9Tjl7k0DsNLoieu4FFG+C/rBIL5dDD07i9YuhrgN3bFx+GGttnb4rhFM5Yu3mh/zZH3+PX/iVr7GydgeH4D70hG3Ehep1sb++yqWHL/HwlYek0aC6t0arnMXp0dH1gITZueOLlA+uYs5+BqWyQ7u0icublLpHPXIGrA6VrR/hnriE6Z+muvshhuHFMajinH6ebmkTJbiE0k1j53Zwnvo83Y3XUHp11NQl7GYRu32MPv48vcI96fPVvSMMuy0G1T1stxunqqAYM3SO1zADHZTAWXqFbXS3j1qjgMM3jzsQxm4VaBc3cbpGUEcXCE0ksI62+ZM/+H/46MYalx++TDQa4JVXXuWll59j9fYt7m3m+OrPf45o0M1v/q9/zstfmOeffPk5xpanaGSGlO6vo4+NY4oYV6VFt6NheXr4nENUzyTW0GZYzqCZ4OyW8Jx9noHS4V/80r/nj7+3zrmTLtnhC/UV3AFTTvkfe3SRg50M2WIJr+bBFXbhj4foOV1y2FytCWJ3kaWTMwQDQW6+dZPtjSLJmE4q6ZbU6J5t4TBMks4BLYfJJ4UOF4NdUmafl076abSHKC43qpUnNDLJtY8PSMVNRqJOsiWVUq7NM0/62dkXHndNRrpv3Onw1X88zuq9I1Z34dnHvDSqA4oVm0FXdDV9bG7XyGUsJqaijI1pZNN9oj5FQp/+7M/vEx8xuXA2yf3VIi63jepQyaVb9AVgWrfxmwa1us3yaS+vvHIseT9LCwa1kpu1wzTnxSar2eXiaS/31rrS4y4OcmJbF0l4cbucdNp9GpUmsYTwJYsttMXVq8ckJmBxKs7rbx1wfjmOx+eiUhOqp08/N4+2hRPcgdvtldWtick49+8WsR1N5hbidFtIVkwuK9hFCblBUhxdPnj7kGjCSyTmJJBw4x7oDBwdvF5VniXyxy3OPxQnd2yxtVnnM59JcXxQ5yBb4rOfneHW7Spbq3UeeS7Kh+/leehilGqjTTFnMz0t7C2aVC/FkwpbD+oEQmKR0STg8TG/EOX1NzcoCeDrowHGRkf5zvfXZNIyFjI5uRzj42vbTE7GqZTK2LqXZMxLJpujN3DS79r4fbZMBSl6V0ZCxQVp6kSM2x/uMzIjhnk56lUnk2OjFDtVMuk+5857qRR6ODQFQzNlt/0w08RUdJqDGgouzl1I8fGNIwkQm18K8uB2mbOX42w+KOPx2EzMxmVyUKSsVKeDWDTE7dtZrjwuLmd13vhRkdlZg+R4golpg3df22VpOSlfm/VGjYWFGAfpKq2mJV83IxM+eQd4sFfjzITJ+mGbo+KQEa8uX8O9WoOJeROfw8XbKyXmUw6unJ5gf7souSCmXzAueuQrfTaO6oR8Ttljnx6PEIpqvP7OPrsFmIoJcJ9OOm9hOgzZje50ung9DopVjfvHbX75qQifrB5wbn6eo0qZXKNGzO1n+6iGOjSIjTs53C7J1+j5hQh3N8oszEQIuFvcftCVtY/UuJtm20mtWmIkrHJmNsn9oyKq6DE5VI6yHeoli2jExWg8QLNdJVNsSW3hXCrFH/zdHWbiLoZ+L6V0nfGIxnEODJeDM0shHuw3cfvFFq/JyYUQXneHcnXAzFiUj0T/OGZy+ayblZUOD/bq+B0iUu6jUu0wMhGUyr6QzyNVd4NhXy7ycsWyuCcyPx/C8LhYu78vnff97gB/yIUnoOBSRVqnSCCscW9NnLX9HOzXSaR0PC5xcXVKNeD+dg3D4+bqVWH2CjMx7pGWCVt1MDkaYzAUVdQ2d68f0e7BF750kR//4GPqgpEyrctheXq7x/yiT8KOnS4N3amiG072dvLy/RUMulhaDHFn5YD52REuPTxKo9rnrQ+25Wfq2ISfT64XmF000FW3HFy5fQMabVFnPqTXGeD2agy7Bod7Fc5eDFAstTk8trh8LiEBhqahSOhpNC7+KwZ4XbxBF5srXU6c9JIYMfjwag63KaDkTi5dnGX1wS4He11mZ+Msng7wf/yHWzz+dIz94y5nTvgollrYtkG3ZaGq4jPBQTSmMz0fYXe7yvRUglvXH0gely7O9mXB2VCpVjQanTovPHeGb/3VbSbGnZw6lWRjoySfm4apYncGkstyfyVHp9UkGHRy80aTE+edKAMX7VpHfq6JBJPh1njn9SzT07rUCEaCJlc/OJRJIjHEVZwdIrEQ6/fqzM37UZ3CNN7+9DLudOMODOi0NRr1HuGQk/3DOt12F4fqIhoTAiDBw2hw9kKSfqtJuaQQGVHotw3SxSp+r8bhdpunnp5E83S4+3GHE6dDXH3vkLEZN27RnekLfXlTDo5Nj5uD3eqnGm5LKDXBbToZn4/QqFfZOe7gVm28houjTJmHHhlnb6smX59XHp6mWCpz/04Ob9gjkzk9S8Mp+Di2MAqE6DXa+D0BKuUiAwzCSbdUiCpmT279Rc8/JNTsHpvVu/u0ujqTcx6KRxaFao9nnlvkh39/h+dfmpR3rnrBlOwloY5naNBodHj00STlfItyw8JWBOuuwdAyiY4Z9AUEvq9L5aaoiIrkUyJl020pErrZaqlsrNdJJVUmp+ModofM0ZB2r0s0opJMejg6rOAY+HG4+hQzbS49Mc5br29iWQ5+5Z+fYnu9xZ1buyRSIUJ+Q369XLnCwmyQ/kBD+d5/Hbf9/hC6VqOPk2sflKk3GiwuBOQbYWTUKf2iHgN+7hfPsbNe4vq1I1KTPhrVlnxTxSc82NZQTrMdtk+qZAZ2m1ZH4bFH4mQKAw42S/KB/8izY7z54yOa7S4vf2mWvQfH3FupM5nw0ej1OLGUkhNIAb3xRjT6dpfNtTovPZ8inR3y0dUjHn9yVNScJSjCobbktqFWGUiN4DOPn5Qb8m//7SbPvRhhNO7mu989lrHBD94pyyjY8sM+Yi4Paw/qJIRZRvdw+sQI3/vBKsflLqcWPUxOhbn50zSGz2A33WE86UHR+tKR6nKI6ZRTdiuLjYYEAY2ENKyhxsSEnwcbBXp9CIUGhB02Lm+I8zO6nMzl+ybffKfJptVjJmry2jYc5ruo+oAr425mwwbljoXa72GrFsWmhmDJiyhpWcCqBgMJ45mcFtTPPH5vhNtrRzKN0HWIB1eE0aSHivDKBnwkZyb53o/e5NKZU/SaTdY3D3jqmUd587UP8PvdLJ06xcbaJgG3iWKKyEtMTlrTWznOnF7gze+8g+4yaNUs+YafiKiyF9/vG5TbXUJRD4at4dKFMqrGyy+fZP/gmLuf5Jk/PyEVg1tHeQYDnWxtiKYP+fx5ld/7+v/A6JzQbuSo72+ieuLU8zVWbm2ihZxcefx5Nvc2iYXCjE3P8JPvfJvjXJFGrkJX0blx60BuwU6dniYitlxzM6QzWY6Pi7z08ou8/8GrLM6dwGcGGJ8b5e9//BF/+XfvSaWJapusrW1z5dICt+/tUe+0eOELz/HK377HZMzN737913C4OtQ+eZfg1MM0B07ULhRytxHV3OiZf0bn+BqF3BYjY+fpNqu0ahlJ3/YkrtDJ35MQv8jSEr//v/8Rv/MH93jhoSBf/vJjvPrqDU5cOEOmsE8zX2KgeGj1VIxKlslTE3ztt/4naLpoHqwwbFp4vG0aPb+k1hu6Sebaf8E3Poc7MEWzsE6/WWKIhi+5ID8ANMUnL2SNYR0TL1p8RlL6G5k79GoVfKFJenYJRCczOs6glqfdqOKdOIPdSjMoHmDEJilnNzD9J1H0Pqo3gdY4pHK8jjqw0EdPojknaDVWCSYukrn3fUZPPUfXNOjt30EbVlB9Z7H6WdTYMo7cA6pb1widuIymTzCw67Q7Dgy1T79TwTZU1EEP1UzQrB7htGpymGT02lKfObDdaILBEAwyNDz0Wk18I0uIzKdGA4wIte2fkj7Y473379BV3IQ8LpxminY3L73BL//sV/jOK3/D4WGBRCRA9mibVGqCy5dPsfbgEJfPZHx0gohHZ2RpAU9smlp6H5fLQatcp5ldITwygTL6ONbWa/T1Hk7/AlYpjR49hyJsEI4ctjaKwxdE6VRplAu4TQMlPknj/msorgmcXg21lcEOnsGvC8LsEabWRQnPSQ5Ar1Kg3m0zNf0I9V4Bl6tLa+U6sUf/Kdc+fIvv/ekfcenZZ0iOJLh/6x6hkQCfefkr/N+/89vERpLYwxZjI0EuP/0c3sRZmkcbDO0iindcqhybmzfQIwuglFCDixJUU8t8jC6URf4ZmfzqH72PNnIeEosMGiqu7icMXOPYrSOGWkimWtoPfoxn4TMMGhn6njE0PYTZy9Pq1HFGLmFtfReHGUSNn0IVg5Lj+wwjoxiBc9T3f0y/XcYVOy+tG7XMNQKLzzPIrdPpFAklLtJ3eRiSxTMyjqaP8ee/9S9Z386zviUuRgoPnY3y6EMXuP7JJiv31vnX/8vX+Df/9o/Z3y3zDz43w4tf+QrLlx8XolyaWxvY4QQOU6e/e4OWEZRedbtygOKKEYgsUsmk6TuqOL0uoiceQ/GM85+/8e/59X/zE7yBJqMJjeXJEcpNheOdMtPLI7RrbblFEbzDVr9PJOhj6sosxXKPRu6I8ckUkUSQ+/ceYPZ0tu7v0Gr0Cft9jMX8bGZzjGhOLiwEeS9d5Na+zqR/wFcmFZ6/6KVeb/KT2w1+9aUZjksWf/baIcsTPubHDDzhAWtrLdqtIdGYwdKyj4/fq3HpbIjjWosdsW0dVSg0HDTaPaJhJ4VMB9MHhtOHPWyCojPoDRkKV0m2ycSUScDl5tUPipw66Zd+dMET8EZMObwvFixOnIlw7eMj5qaSuMwBOzsVJsZMtg5sPvNkUMKO/s9vZokGhjy0HGF1vczciQgfvp3j0uUohq6SKzZkx97UnTh8CrWizT/+0gj7Ox2+/2aOn3k5ilP1cHhcIuH38/rbR0zOBllc8EsQk99tM9QUOnWxJevS6tioap+gWwD/xGa0RiTm4eCgznOfmZWVwvfeTMsa0jPPz5HJVsjm89TKLnqCCOpWcesa168V+eLn5wjEbZlqrFQHshf8p3+6Ljk1X/xKXMKKt7aHmO4hlt1iIjHNnXs7KKrC4mwc1T3EUNVPt84Oj2SMQJ+VraqEIybjQqlcY3YpQkLAoCp9Ll2O8f2/u0MqFaXSFp1zk5aFpLMP2kNe/mIKRI9zO09IJFdcKna/T3zExer9Nq12nakpH9ncgLFxN9euH3Ph7ChnLkR5/UerDCwfgRjcvFGWLu6Ty2H+5E9WOXc2TiTk4+q1XfxBXVYZxIXn1Nlp/t9v3uH5lyNs77TIZ4ecWFBlzFfow2an4qytigSaKisNuYJFKuHC7XJwnG1juFW5rXzkiRFu3zlmZjpIvdpHcyrE4m6y2Q7VYhdP0KCWL5AcHcVSFVrpfZ64HGHloM1+todpRrlfKHFYtFHEM93dZMTjwxP1Us+WWBh3ERXvPQtpzIjEDK5e3eehy+P0ei6MoUgydPGZThl73js8xvTF8Hnc6KaC4bSp9Qe8dadF0u/jsJRmY3/I4qibQqlDYsLLqNvJ0Glw7WYBTbdlPWJnr8OjZ8PEIgY7O0VsvYWmGWQOxEBYR3N25ULN9Kg0Cy2mx91sZ9oyyjxUHFSbFgszXva3LUqtAR5Pn6E4HFsGs4sR0tsFUgkdp+GkWhtQrFdwa24K+RZT0x7OnUixunUsq33rex0WZk0uXYzhtH1c+/hQQu9aZQEAM+UzSWxhi80ek5Ne2YU/dzmK2zDk1rLRsajVOgT9Xg4OSjz51ASekIefvrPJoO+QP9fUhJtEIs7qyjapqUm6jQr5Qp9urcP5R+KiJcXVD45YPh1mei7I22/vUJCDp1FW1vP0+y0SIyEOD+s8+/yM5LRsrR/RHdq8+uMcTz0aZzplUu93GQxVStUBqYRDuuDrg460a4wkwuiOPscFYSEpc+ZiXNaE0rtdvDGdkZBbRr9F8sDh0PjwrV3mT4bxeE12NsUAc4BuuImFA5LDNbQdzEyHJFz89rU8I0mD/VxLVheE/nvotDEwZRLLcNkUxfBR17l+Lc8v/rMTdDo2b729SqMy5KErY/gDutSib2wciPAOL3/+pFTcCRWdeA5k831Urc0jj6UIeKO8++aK1Hd2lZa8jB7u5Wk0hiRTbrzeMG7XkBvXP+UJXHk6Qq0qsAZDVK+KCyf7RznGUxFZgXrjtWO53Rep6tFxLwdbPdYfpCXET1QGBNz8nR8fEBn3sTAfJJ8VsEMXx6LOGxW8ATearpI5bhKImIzFXeTzVY4yFqfPzrC/tc+DzT4vvRBHNV188y/u8+UvzPLRR/tcenhc8meKgk3lGGBZCr0OzJ1wc3+1wMRInFyxwGCokIj52dstMToe5e6tY6amYzQbNSqVIbPzPnKFMortJzWmUC20MN1+jnN54vEgydEo2VyJYr4Fji4z40mpU91c32d2Mcm92xWCYYWAqEYcN3n8qTkqlRwOxcQbFq+BNLZqyvvgO2+I73uCzqCFTwyejrsSoPrCyyd5+/VNrjwxyq1rGdxuF7NzAni/J7f2jz08KoG9d4W+/lSEwmGDjTsVvvDVJV79uw0GqkhvqAxqLoKRIX6Pn2K+gjsiql8hVu+KelONs+cTeEPQLPdxqE7W1wrMzXikInA48LG+kuXCBZHCV3GHh7JisLXaZfm8hwMB2O0pnL+QIJttk4g7qVT6JFIaGxtNCc2fWfDz8c0yuaMWCzMhDvNVRkJe3KEBNl5iUV0+/6rZAcpf/0LCbrW7pCZ8aA6Fa9f2WTybZGFKdLUOJEkxEnLK/3F0wsDuKCzMhig2BQRLlw+3vqVynBbEWiemoWP6VDI7XeYWTQo1RXbSTiyFyB7XJTsgV6wwsASkqEum1MPv9zM366bVrLK52uPKU6NSB7Wx2mR/p8FjTwcxPCGa1S6my6JSFOoOg0ZX0IYNkhEVPSj8vAPS2S4X5kPcu1+m51To5HsMTAcvvTRGNGzIX3423+GZ5xfZ2T0gvV/j8z97hg8+2pNO4ek5vyRWi3WhafioWy2mU0ID0sTqDGkKh2O3SNjrodHTCIdEtCMgybLVXotkTEx2uswkolx/kOXjvTpRj8rFpQCH+xaaYnFqxIcjoHB3qya/zv1yh9d3dLLVNs2+TaYIz54IcmHGIVMLMxNJfnKtSNvR5MXL01zbLOF1dnG0BrRR5aGiUupycFQSDDzisQCtbk+SWCPjGg7Tx9hkklTKy0G6xMnleX769g3a7T4DTbS/dOxhD69Hx6ubdBXktFITl91YkORsikpZdPtEJ9BB4bBDaT9HKS+SCjZz8yPy9y9MGKFknFvXDpia1ViYSJCv1TA7FjNnTvK9n6wQDoXYKZYpCk2PjvwZ/uXvfZknnj3Nxp17jKQWqdeKNEtNYrEYH757g0QqwGgqhWorPNjZJlMtU82XaTY1PD7xewrwzodXmZkYYTCs89D5R5lfjDHo6STHpylmV/BPPILf1eP3f/u3ePV6i3yhyVNPLpEMBCh2B9RzeyycTvHWa3fIH/b51h/8U0ae+ByZt7+DKz4D7hDDVpl6ZhNb9THsFBiUMvhOXpYPfgGXiowt0GiKKX8fYtP859/83/jLV+7zjW/8K46P7vGtV96Rw6InHlsku13h++9vUWkMePlhha//5Z+g6RHKN9+W7yev18fx7lVcgYTckAuwW6dawnZ0UFQXhiuF2jzCMvz0+gqKx4fWXJXxfW9gEatVoV8vosSWsDJX8cZO0W41UY0hTkvFdhSpyqjyBL1Om3p+D09oCjOQpGu1UI0+KiG6NQG2G9J3+FGNGLnVH+KfOIfWyNOpZwideJZS7j7qwMDhn8ZhFbFVocUyUVQTpbWLHghRKfXQNQ+KX6d7eI1A7KLU1wwVASYRpOgqhv8UfesARyvP0D1Pv3kgVXpOf5z68TH+kRjtZoVe5ghXPEm3ksYMTKEENUw9hO3o4jJdpFc3Ud0KH733Lj5/kjv37klY0PMvv4hld8jv5nGZbvrdFlMzi2Ryx3IrIuog9z66Rq3b4Tf+59/AE/GTufUuujuEO3mK/VuvE5p/DjPopp3OonVL1Gp7BOZepN9aR3GG6RzewJW6iNP0MujUsbttWTOglQXXCMN2jaHqxDV6muruj1F7OqYnTFNQmAdDXIEU7eoBqoyxmdSPPqbb0oife0HG8e+/+YdsHQxJrz8Ap4PZUyeJR+O88e6bTI9NotpuqUEKJA0eubhEIDJCq2/i7Kv01AqaotErZsHQMcYfo7v5TfToFZSASAeV0XpebKtLt3pHHgDdyZOojSKWEWBY2pPPCzP5OP1Oll5+DU9wChw1yW+xaiUC/nG6qoN+VXyYl3AYAXquMVzODoPcLngnZTJFCyRp5+9L323PHKCKVVTXT7+3j9OIEhqJoKg9GtUKf/oXP+IP/+IGzz17kksnk5Syx6xslTh5epmLl6Z5772P6dUHbGxu8bVffYkrX/wqtmXSuPkKljmPy1OWmyYBkHWbOlp0icrG63gGCo0BxEYXyB7eYfLs4zB7gTf+r//Av/vGd8hmLZZOBXH7RHWgT6OqEJ/2s7OXxuvy0O3YFHIVolNh/DEfwbifVsfCqRgUjtJMLM2iWTZbK7scrReYnzTk1qUJ3F4vsDgr6gYdHpR6zIyYLPv7/NxZXW69qnWFbGdItWURNIbc2rKYGXcyYjjYL4LucshkRSzkw+l2yf62bqocHthsblT49V8/wXsflqDXls76+SUv6XRTxm+F7i6f7chYYzjuZXM9y1gyQiSg01V63FvJ8vKTU2w8aHNvt8TshIdKvU6pIG4pKh6vgkOYeJK6dMOjDVi5W2X5tJtuT+GnH1V55vEoLkef3XybemmI36/j9VlsbztIjGp4dAe3NmvMJQUcz0Tr1thIN0mEdYIelat3WowlvfzSL0zx7odbHOxaBIMm9XKXhZMCjFdhJKKRHAuTzdcYDG0JzczlWkSjKpFQjKvX99E1hdNLMeptm+O9EmeuCO1TQGqJhVlj9mSIYlakpgY8/VSS99/fJl8Vw442y3MeqnUNl6vD7Mkodz4ucvHSFAMarK9WcBviwiGUWYrUItYbXRYWkqxvZGhU2rz4+Rl6loubn+zKDfjcyRi7D9KSS7CzXpY63+ZARVORzCBFQTqkBS3a7R7w9LMnOToqkDtuyYP37m4Ow+Fm6LBIxgVMT6S0wOvxUcqXiCTEnw3wGAHZmxY6QG/Aj1P7VLPm8/rkQT0l0pfHNZzuLkG/D6tnSxhwPi/o+HD/XlFGY8VQ4caNrIQHe/1OPny7wLmHo8QC4vkukpMu0kcVaQ06cdrP/naLg80KTq/ORNJFo27JJGW92sPpdXP/ZoGXPzvLxs4Ba1sWT5w1qQx1XIM255JhufD48Ah+9zUL3BZKz2JRDEz6Ntluj3zBYiYmLsaigqDzyU6Xvi3ew11Sbg3ToXNnr8HjJ71Ewk6aVYuZqErLajIbD9EfCh+9RcPRZ3rETViAAdU+4wmNtuhTDGwqAxGxr3E2qdEaCm5JjffWhL7Lx3zEyZv3yrzw5CRvvr3NcUdlIqxQK6tMT3kI+Bw82C0zMhpjTQwqxaA64ZEXfpG2cLmd+Ezx2nRxa7VKKADdLmRyFo9fDnOYbpCvNvjS80lu3Wtyd73Oc0+Nc/X6MWEfXLw4gVtt8e0fHhOL+JlKmeTKFtPjghHRIhiyCXg/jcHfe9Bk9V6ahy4nGdCSm/16sYnq0Tm5HOXG+wfExc9g1MXmWpXZ6RCmT8NlerC6NW5dy9PuDPGHDEZTAeotcbYNojhUPrqxyUg4Kj8za+U+07NuIhNhVm4c0Lc0IimxALQZtHq4DF1Gwbc3S4RDAXq9Dv5QgE6thj/oIVdo4AnoGJqTarFNpd4nl64RH3XxzHNzvPbaA7m9vnh5lA/eP+Bov8JnXlxmd2ufUsWB5ugyNhqgUgWn00G5VKbc6KPbDk6fj5HL9ml32rKvX6vDxKibhtUjFvRKWn6tKoY3Ks36gM0HDU6djlKpVum2HdTbLSYn/LTbn1aJZmbj3Pk4LSZ67GZsnnhohINsgb7VxuMVdSwvmcMylabCxISDRDzMwWGVqYmQTPfdupEjnRZHSYu58RDrD6rEo25MzxCnoeNQBvLzWSxSx0cTeL0O+b0+WC8yOROmKPgDXlGxdROKe+UgdnYySNOyqBTaePweHKoD03RSSIvkZod2c8CJpRiNWk+y2p54doz1+xm2NpuEoqYc0n38QY6Z2TCbeyW8usqJpVFu3z5g6BR+LoWHr8xQKba4eWebaDggB6eaUZKX8pX7BZYWfPISOlAGMnmlOmwM08nRcUNC9Pyml2q9IWHXx9kG9VKdbEFjYdZJMOJndMrDys0ixXKXYMApKfa6W2N/vyLTQqJ2KxgH1UqTRhV0H7idTppWm92NAZ97aZym1WNvs0ok5ebkyRTvviOsRj6cZgu750Qxh6ytWHz2c6J/32JtpUqhDFMjLky/GECMsH9UYv1+hRc/vygXysV8Dd3VYWJcDL8OCEX87GxU0BWTpfNBPr6ewdD6TE8lKddbLC1H2dkqSj2dywgAACAASURBVItBaMxLfvdY3ruK+TYjKQ/7B1VcHo1+tycZYoVyA6/LhTfkkCpTca4/OqoQjWksLcR4/Y1Dzp2Jky00mFnwkdu3qDTF0tpNszogFBR6Tg+3bx8TEgm5lniENYh74rSsPCOjE2juhgQflqstHn9yibXVfUZiMTS1RabQQXn/1+dsl09lZ6PI4UGNU+dD3Lpe5/RpF7rh5eq1DM89PcbqWo2RaZ3cTl1uxRy6QrPaF0sECd4QcTmxifT7FKkoEROyRtWi2uhIpUgmV8cwDAzdJhoy6PQEodDDQaaK2xxQKHbl9ML0GHTrfRaWPbSbDkJxPw9WMhzttpmaCfHCz5zg2391UxJN84UO716t8tVfGKdUsXntR7ucOZ1kZLRPJCLot+Ki1yASc9Nvd3BoTjFmxVZckrTdsMTGVMPrN+WFUKh8xBa/02/TrvTxxTSy2bokZAaEYiHqJ1Nu0asNcPo1mqU+na5FIOri6LCF4tOZjDoJmFF2skIRJN4MhgS8ia8nwnbxgMKoX+fWdpOdUptfuhJlNmzjcDnZONT57u0c240hWzUBcbJk1DQasYnZFh7Tjc+0afU09tNFYqJDKCoWiiInzyJa1e538boUqa+o14ZMJyLULMgUS7IzP7+cQPGYnDy7gFPvks02yKbThMJ+wokRVm+uUixVmZybIVPcZzyRpN/sMzY+yv7hMVNzY2iaQr3SIp5M8M5330VziA2KitWz6IgJYK8n6yHZoxw9h45mm4zN+LhzP8vDj03QqtZkP3UnVyBTRRItwcfTJ0z+4bPTPP/U06TT94mnkrTafXpdlVbfopLPMpJMoA40Mse7nLq4zBs//IBCucn6dlFuMc4vTlNplSQ1PRXzy95PNBSi0axw5tIjZLIZyTD4jd/8FouLXh557DLvv3GHhVMJYq44uVqam5/sEHT7+bf/6bdxNXdopT8gdPJLlHbuywiZiNcEQynKzUMMhyH1GiKeP7S6JE+cIP3/Ky9/+Pff4fYnu4R8GrGxAM2GwWgywbDXZPsoR7ncJlto85/+3S+y+MRF7F6S3NoqSu8BlWIFzbcsY6mOQQYHbvq6A7uSw4jP0qyKiWqDQGyBzt5VCa9zx2IMeyEGVgOH14+tGQyqBQy7SHfgwIwvM+w2UNxh2p0+7kFLlKpQBh26JaGB8tDsDSC7Ai6T4OjjtO02zcwmSruEe2SanuaQbuRuI4fVOEaPzKEbftoZodUp4E5+nmb1Jk5V9GRVOpUN7GYO9/KvYattnPuv4xg/zWAYZNA/onN4B9sxIDT5Ms3CTRTFQa+WBz2MmVqGxg79Rh1bMxmoOmZshuLG64TjSziVPpVSnsjEGYaFXZpmBHGbs8rrJK/8LIrSoTtoM6xW2Lyzxtb6NkbYTz5T4NXXr/HCZx+VUJaFmWUGdovt7bssLD9GwOMifZDnBz/4Ng9deIgv//J/z7B1SGbjI5x2Hz0xj9sVoJS+iS8wS6+aZ6B1CI48QrNTptfYw+kZp3XwUxQzhC+6SN+XZJC7iydyik5jD1uQ0kOz9OvbklzuDo3JviKdHIquMWyLQ3SIbr3K0PYSWFymd7zF0BQXJ7eM6732k2/icMSoNhq4HUM0v4HDFt3wNpmK2MrOcZw54KXHz+IbfZh68UNM15zsrXWHPazjbQLJUwy1AHRKqLpPQi0dwxKqJyLBWsP99+mqJvroJRziQNero3T7aJEEvUoFhQ7OyZ+ldvP3cA4HGPPPMayuoml+OqofrV7E4dXQjNCnhoVBV14WFVtl0LdlZ1Tz+VE6Feo5AS3UcI0EMCefZfsHf8x333yPe2IInM7yzDPzhKMRlIHGWDLEj167xsrBMVpNIRRRee65h/mVX/saDpeb2r33aTfrRAJeLN9Z+h3BZbiO4ZimPyxgJM9jV/ZoF9OySuGbX8CcO0tn+yP+2//m9/nTNw+ZjxmcvuAhEEhw7cYu50+M0GnUKdZ6VAsWA8NDt1vmxOlxpi4tsL2TRx/atATo1uvF4XWz8eFNtrY7LE8Iw0wP2zTlZT7p9uCwdW7stXhQqDIV8vCbX9BkpHdnr8nnHh/jnbt57m83eXwuSKZaZ37SzbmlOJvrNdKNHuGok8lRL+9/eEg46KYvTCrmkGJGbNv8koQseo0PXQyh2A5KlQ7HmT4ObcjSgo7b5ZKkdfEZoepDGbEUn8mm7sXttak26ojsZbHQQRjtvQGdXKnN0nyQkYTK3dtFMoWehALqzq48wL7/TgVX1MmJGYNhR0M3hb5X43C3xdScQebIIlvvE3PD1EKIYqEpoWKRBNQquoz/j0/48LuFfqvO7KzJ1etl5sd9KC7R3e5yYsFkf79Nq2UzOxeQSrheR4BfTWzxGlOGTE/7WV/Pc/LMGCv3y3IobGo+PB4oVNvUKnDp4Sg7u1VMRZMu+7GkSFVE+Oj6PlZfxe1TeOZiknsbeZyaGHMMiAR1+fcF+K/fHMqq0pABV67MS9ONqrjpdUWHu8js0ixDS/z76rSsNqrqkITrUMhNrthlclon7A2xvnIsWQX+kFBIDhmoQ7ls+OznTnCwlUN1aDJ6H0yZZNIWpVyVQDQka3qpGRHXHhKPhuXfX18p4rRVokkvkahBpWrxxut7klDtM33Yap9KpcnavTKnTntwGmF6Vp1qZcjcnE9e2o73q/JisLcn7AcuDg8aXLw8QS6bl+yDE+c/VRKKw7ohDEyIOozC0U4HRXPiddmMjDvxukPsbJYkmLndaTI6G+GTqwfMjiXZ2c+SLjl57KyL2biO1evwk/sW//p7LXoqXJ7Q5GXN7Q8QN+uUxM/HidzWhwwN0xjiGBrc3m8xNuqh23fI7mudDlM+nYDHy53dHO2+eMIPaXQ1OZQQtTacJqZtUa0OyXeHTIdERF2nU+iTFH39ep3FeJjxqMFbd3N85aEApaMaD582UV3CnKMyG+9wa0vAYttyuJSrWIyldNSBS1Y5xeBh/6iD4WrijSTIZxo0hkL/VyZfaktwtmmoHOdajMd0apZLQqvvPciTy/d59lKA7byNbrUlf+rRK9OMRlp8/Y/yLM24OXdOx6oP2TnoMDnpwXS7WN/J0mqonFuOsbqaxynOonGdbl8DW8Xn7xAJxalKRaSDbLqO16dTKnRYEGdCu8fRXoeVlSxLSxG8AY2p6SBbmwWpwIwk/EyOunD5HfzglSMJKn3ms5PycvbmjzYZmVFJpkZZv1eSsL5oJIKiDeSm8WirgaYrXLo0wQfvb2G1W8wtxigVBygOS9ZSGlYX2gOCKY+suDqdPtr1DlZ/wNF+lYl5v0z8NnMDpk8FpLLVtp1S07c0H5FVq1hc4/13BEQuzOiog8zRQKYiB2iMTcboNoX9wUJM3AT43OlUsIZOEuMu1m6VePnlMT66VpDU9+ULI6zeTeNAxbI0Cfx12hYjoxEebKfRVBf2oMfQNnCKNKAmVNotHn0izsZ6hWK+hzfglBVoMWCcWIgQ9gXY2y/ItId4ciwsJdg/yEs+RfaoQcgvKg8GnUEfZejg4LDO/IKPQddg6KjTauiydivej9vbx6TTAwzDJhB0MjkRIBjV+eTDLKPjHgyPl6ODEo4hjI7qOMQZ3RNi9f4hvX6fl35mhv39Lg5F48ZP99BckBwP4zFsisWe1D46nBqBoMLCdJKdXQFu9kqVujfkxu/S2Duo45O62CD7x1WKaQfJCY1GxUE6X2BsNMTaugADBuSz1+t3oTq8JKfE76bO3ZslHntsgsxhlf39KuMTQclNEa9XYXpyuQ1qzb480wbFtEwZkkr5OdyrkSvUefHl05RrRe7fLUmwbTIZJJzwc/Xddblx90cDNIptDtJlXvrsHG+9sUc05mbpZJCDjTqukEa91qOnDKThJbcHqWk/Xk+XQqZLbMwge9xhdmmUzdU0pu6i3++ze1BjfjLAmcvj3Li9T68hWG2iIg9jY17CQZN8tYsTYcqoUW868AY1bn5c4OLFGNVqDafmlSnhO/eOCUd8eA0n+VwLjC7BuJfjzRaTc37OLE1w/84WPp+fexsFls6lKB6V5UCq3hrQqjV5+tl50pkavdan3JlauUckbsjvRdjVjnaaktHn8QwpFNpsP6iyfFac93wof/ur4/b92wdMTAVIxAzpr22ULBmXqzehIXQ746LLZ3Hrdk7GF3pWg25dQxHj4n4fX8DJqoBZTMcl0RfHgEapxdzJWVbubvPI4+O89eYx4ZhKMBomvZ2TNF2x9WlaXSYmQ5K+aOqKVI4I9+PKao3kqMHcbIj0fhnd4+Odd494+rkEmozoWNy8Uefcgok3GJADibt3czz55AQrq8e4cFBs2CRHNKkj6g90giGh6xK0zhDZwxKGX1DGy4RTJj7FoN6sUmnYKH2nVDVVm21JqBcwo1jSZGM1Q70wZHzKi8djyn9nKKDx7Z8cMRJ08dzjSb75nW0qVY3LF1wclTvEPDqnF0Lc3axzY63GU5dMUsKT7tG4eitNT3yftT4/cyXOcabDUkpjYTnE668eYEYM3tvpcjMDm3mFymCAU3Fimy4uJBQC3hZay42mNjgoWrjdIQqZIpPjXiZHg1z9JM9YMki3/ykNOVdrMJqKsrFXIugZMn9+kWq2QHg8QVuBWNjP5u0tXJEAqUk/6QfClV5lbnmC1bs7tOpdZhfGqFYFaCogo1aCqCq6NfmDHA7nkDMXTrJ2f4/i/hHJaIKC6DIObGyHE5fbJbUsSzMBjjJ93E5bRrzcRoCba1lUh4N8VefcnMbX/sFpvHqLL33xF1HjGvQGlDcO2c1sc/rSZ/jotTcp18o89fTDvPJX36GoQK/eo55v4DJsIvEE2VIRx6DFs09fQPd6iMdTDFsWtqmz8NBjfPHpX8bhDPDP/6vP8Bf/5bs0ewYvPjNDKBrnG19/Az2s8Np3/yO2XSG7lpfbdV3tYkanaJa38ft8NGqGnCA61SChSxd5749+l3/5m+/wlZ8/y6DV58tffIkfvned/OYDRueXuX3rHs5BkS8/d5Kn/8dvoFUK9IsVjg7v4ezW6TZ7xE8/Qadao3p4ndjUODR71Dsueu0SrmgE3e4xdLh4sHadmDNEYmaEB7fX8MQSBCaTVDbuMzJzVlJCW9WsPKTt7m4SCsQJps7ijwYpZ/YwtHEcSkGaMwatEpbpw9D7dHMHkpHgTz6K01WkV/r/WHrvYMnO9D7v6dPndM657+2b49zJeQaYAbALYBfYzCV3sWLR5Jpikmi5VOVSkZIsukqmVZYtu2jTNm1qSZmkSO6S3MhF2sUiz2AwOd25MzfHzjn36e5zzO+D/0UVMHMxc875vvf9/Z6nTzmzj9Vjxx1LYdeG6M0mPYeDgC2BddCmahlia1bRO1sMSjm8s59DDQSppldw2BwwDJP++N/hWfgsntR5qlf/V6KHPke7XcY181VslVuUMzu4EzP0FC9WvYTWr2ILHaLVLlHZv0UkOIoRmGPYqmK11rAYAdTwFP3iMt3WPh6v6FtlcY/PYKlXZAIkfPic5DVUHrxPsdZg6AwSjU6wtbPB1fd+Rr3SJjqW4KlLL/H+O+8R8nsYnQyzci/Dwxu3+O3ffYWls5cwCmlssUVaxVWcbuHHHlBvVwmmTrF7/Ue0yrvEjnxWLJGwlNcZNncIjs7Rss6iKDp6+S6Kfw7V6KDXd9FCZ1BF5W0g3gDQb9dwhnx0tz+ikN0g9anfo7P9PraAF2wJBullrMoQdfSoBAk5rB06HYM3f/gdrHY/hUKZ1NgEXr8Lh13h4cMNmqUc5y+dYXxkFHcgLpx69K0tVCUlD7PN/ZuojhRKdw9VEPk9CkP8qL0avf4QqzOA5rAz7FVoPfg+3hNfY2ixYhEX6tIORvUGnuhpBtYhphLF0FSsgvzfLos6rpxOD1wTdHLLWC1iAzBN28hiFDfwRC6gK4Jw3sPouHHHY/QF/8HT49p3v8V//x9+yqc/c47NnW3mD0/Rq/d5vLyC5jA5dfyoHBa98e4djo4n+fXf+Cqpp1+gs3KVoT1JcecRHrWLzTXHUC/IgZgx7KI3NRxOUV8qUaurRFLj+I6dga7Ov/+Xv8vv/d/30Yfw61+Y5ulLk/zJn12RRPaDtOiW95ieGKFQaqF4FEanInhccTSxlS6VZKxyfDwkL2Rvf3APe75NIuwgEbUT8YX4YDVNsWnhs/NuDvI6VYeFtfyAX5sZ8NVzNgybje9/WGduLsr6mhjwmTx7xk93qLCf6TAWcuDwq9y9VeTwyRT1bJ5ozEm1PWR6IizNN7WKBbti4fTZMK++kWHzSYFT5wI0qkNmFnzculZkYjpGKDyk1evi9gS5ey1NMmHHHfCz/GCHiSkXqckRfvz9DU6cCtNpD2lUeySSdpoNjVMnPQwUVUZ+BSVraTbKjQd7TKfCdJsCZuNlazvP7KRQ1nXJZnp0DZgbd4M5pKWrn/RqbQqqXeHWcovzp5y0ewrVgs6zl5Nys2KxqAwsVio1HZd7SKNmcvqkH4fPyZtvZoglbKTCNpliK8lKnDD1qPidA2oy0izAdC16TZ3Tp+Ls7NQYHXNIZkhTN3A7+qxuD5gYsVCpG2QrJtk8fPMbEWyGxpr8RtrZ3q5x9FSMB3fLcpGxsKBKbsLefptYzEnPGBLyelAwSWcFNFHn3MkRbtwoE45YsVkVYnEv+/kya8tNCqUhE5MqsUSAW9ezHDkeYflWjcVTCuOpT6xIpf0uNb1HrtATAQ5eejkuL4aLi0lu39ikXDew2xROHg9KG4JI4U3PR/jpj7eZm42jaC2pBJuZCVCt9z5JiCkmHdG/d9t44fPH+d5f3KDTG+D22hFP/fx8krvLO3g9AbwuldXHaZJjYSr1TyBe29t1/D6r7LOLqkWxVEXvKYzE7TgDdtYfF0kmvPgCfsqFKtl0EcPhZHosLBWMgvNwcimIgujrtui12yymVN7ba/B//MRC0S7I91aOBcV43s2K2HaGNZSWhUJ9yImZIDv1IkrPjs3eYyLhJOaMsLKXp9HuCAkNU1E7M+MJfvRBBrcfnjoaY+1ApGAUgm6D9XybuMclNw6Zco1U2MNqVaNQq5PyudlrdPE77NS6bVmRi3rFwKhNtjUgoHopttp0DJ0Rv5eG0cetWxkf6TEb9rC1WecLF0cZdAsE3H7CdqQJabOmExHnRIeD0bgPh1kmEPHSsfrJ7BbweGw8Xi4yPR1mdDzAvburOBNjuLQB6VwDS6eFgo3oRIwr17fpqzZ+4dkEB/kam0WNbrHG0GFlPJ6gUKrhdis8TncYdVtFQIy+sAuV24Q84n3nl9apu7fWmR8fIV2o02r3GZ2Lkt5psbWZk2aIqA8M02RhPkGuXObD93McORWmW2tw9sQYq2tlbA5RUaoIAQKJWAiLzcLaepFLF8dJ51vYrAM6DSuG1UKnrktVpmKzMzAEgKwjEyylekMarOx+hWbFkNaIqTk77aJNVmGCfhvYLKw8zOF0uaRRwm5TefvdXUaTHo4eFXDOMqmEl9X1mkwuitqr+J76Ay62N+uYAqbX6KBqTjyRPg4lht3eI38gNuYWVjfKzE/HaQkwNi7216qkJjykJkLU6jV2trtyWXPuvDAAtCiX2rz43KxMCWzsdUmGhZkozUgiQLHT5lOXJvngg31Zy5A1pIMO2zs1xid8hIJ2Cb+7/WGGFz4/S7+ts7XRIF/tceZEUCr+1neb7O0UOHzUz71bFWm3sVhNgiFB5u+y/qRMWx/idds4vBAlkDR56+/zHDrhJZvvMZHyyLrP1fcrMhGzcDzAjRvb+H1h5madfPRxhtmpGKOjGleuZeVQ9ks/P02l0JMp3lMnJ7l1bVMOEUUqYHWlwkjKzXtvZTh2RkCKBuT2dFLTfqyKjWK6zNRiiOxeHa/029eoV3VGRr2SLZHNtWlWdfKlLguzYTJ7TVxBhVbNgieiCHodtUqLYEiYVOpMzrplzUvoCEdSAZkCtFgNVKufSjrD7NKIHILr+oAjx4Jcu5El6FeIxRKsreTxhQwGQ00CUUVieC8jdK8aIZ+D7tDEadck8LVYHOAL+kjvF2RKIbvfQVUVUtMqO4/6DLUhHb1HtyHsGH38Xhc+ux1PSCNz0CI1apdpunIFCYKcSLlZe1LH4bAyNhtkb7WEx6tRq/U5fjrJlSvbqFaV0aRTLjpiI2FyBzWpBp085KNT7uN229g7aDDsD/EEwmhmFafHJTWeUb/G3HyQzqDP1esl4hEHAbdJtqjTaeqEAl40h4WxUVHfEHBnwYAw5bCmWa3I6lEhNyAW1bDZvbi8Bvl8D8ufvRI0FxZCPF4XXu4Bp07GpNdw0NNZOhWiWuph9DokE0Hu3S9w7NyIBI298YMMz7zgIxwOSGVBuyN6DmJjKfqANUyzxeKRMe5ezxMK+en1mkTjKjc+KpAY9cqXS6PWA5su1T1zi3bZ2Yv6fTjDQ5xuP2//dFfWDUYTNsklGJuJ8/D6PgOrmPLH5IV8ajpAr2clNiLIyRr3bucIhhUiQTc6VhYXY3z0zi6xuINTpyb442/d5PNfmubmNTGx76MbDi4+FeTDKxlOHkvQ6wyptnoyfSBejl/92gJPHu3LF/zElA+npsnhyOO1GrWyLjdlgqLpsBu0B32W77cZX3QScdv5ybslKs0+P/d8mO18n3rXIlMOSTe0TF2qOsollZ1Shfmwm7bRoVhxUWu1cLitfP1yglTAxoODBmuFHj5BrE8PeWtPKGwsbKT7zExaidiskjYcc6kEXBp2b5C7m2mpdUrE3TR6UGo3WRpP0EWlW6rIqkEr08afEEAkF4VCVdI998odYpNhkuPCC91hZ2WfyYkE1VoTTXjJvRqVnHAkCyWPg+R4jGKxjM1vYzoV58nDPTK7ecZGQlRKZRotg3DAQ3q3IN3ioZCHucMTLN/exO2w4Y06ye5VCEUFKXQoadhTUyN8/40drHaNEe+QcwsufuXnznDuzDGCh4/R2rjDrSsrzBydFjp2LLY+i6fOc/X1v+H11z6S0DVROxlLBOkZFnwOD1t7GY7MhHn2SxdZX88zNTKLM2Llm//lH0K3w/HnjjMeDHD79hout40TJ2b4zo+ucGoxzO9/6w/g0YeU2jr9nguHJYjFXiK39wiP6cR37CU8U4d47f/6V3zv9Sd4QkGm4yMM1SY//P5NLl86Tnw8wZ//P28Sjyv80R/9V/hG5jEPdiiWttEcIqrkJCAKugIu55nG6lGwB/yga2ATiq4simMKQ7OhDJpQ2YNkim4NHMYenWIZpz2JWdmnZfSxhSYZ5B9iEMY5lkCsVJrpfQxNwRceYWf9Oi5B/99rYXXW8Ew8g1EWlO59OkOVXqNE2O/FGzkCvhH06iZGexura4lG8TGK5kSx9qUr1Wq0UONHsRQe0jEU7L6AnGj2+x767TTOUIKBEqSVuYk3eoJu/T5GpY7/2M/RzN/CYbFTbexgVUN4/FN0S/cZKjHcgSgWZYDpijHsCOKpF7OZpttv4vS56e4fYARGMdO3qHdNRi98FaWbIf/4BppVxRGalGoow95BU32oqgtMA5dLxxqYpp4rye3yT7//F1icXp65fEluZm4/3GR7Y40z549z5coTfAELP/8Lr3CwsUc42CY+chFfOIhprUk+geIcoVu5i7VVot9VGTgj6I0MNpsdT3CMWnlPggNxRTH7BXqVIprbjg0nioByGVUUxY1FgIKq+1R2P8ATPIw7GJYH965pFedu7AwZOBMovYaEkFoMDW9EbDZUvv3tbzEaG2F1Y4VDh0/TarV4cP0255++wAsvv8zu2scEQnFQPFi9SYzqKgQPYxRvY/FMSiuB3i5iCy6g9EoMC6tYfFNS+zeo3aGb38QWPozpdGEfdjAdEVS7qBMU5MFOpy0PUHbvNP3uExqtofzZbc4JOns/wGZPQmgSxexhNRWavRYOp8Kg1SIYjEBqgRvf/iv+5K+/TSg+TXfYY3YihsPuQlf6tAWc0erloNDg4coBR4M2PvfyIS7/8iuYrSaF7R4Wew+3Yw49/zPqxW3ciy+jiNqMXqfrsqG23RISF5h6Gps4XDg6/O2//gO+/u/exaNZeOZihIhfxaFZWXlUY3YhKGOBzcqAsUSASqdPYNSHZjWJCAZLc0BpZ4+KPuTyM8/w4MYt/E649u4Oo0EbsYhCoadgG2pYrALaZsXn1vjooIX7H3bK/+azNj5zIsbNW2VuZwTVvcbF2QiFchubT+PJSoXxhMrhYyOYfYNarUejYeB19rHYNOhaZEJtfCIkN2y5/R6uiEm9okv90dSoR6oIM6ILeHSMRraEL+pgba0ne8qCqK33DElanp8Ls3dQI5OrsL9T48TpEQnE2t0VsMQBXh+MJMJy0yCqeW6PyeiIU4KuQh6NY2ejvPVahrFpJxbDTq3ZotvUiaec9DsGDpcbh8PC3m5T1Nnx2wc4hEKx3JYAt+y+eO/7JdXjzZ8KXoCLeMzF2naNU4citDpDht0eB1kL5UYPh6C6WrssHfLSqGoMBT9Dq5PLWYmJZZHiZXe7zqVPheXPWavqRCMeKs02j1b7HJ5RmZ6JsLpale761IjKypMaomGbyw2IjJiE/DaqTR2X5mXtSVamHcJhJ5t7JakotSkKLp8qN1JDxZDE5ky6J+Fl45MCvilAubocdJiDJpefmef1H61SF1wfl3Bfuxkbd3DrVhmX5iKa0klGo6w/qWH3aLL+4bGZJEe93LtZlhVEf6THwOIiELTQLZkyPecOeHj7tTSfeTlO0O/lzp1t5o+N8c67B1w6GaXYEKlNO536kKOnI3zw/o7c5p85O4LeNbl7e4fjp1OsP2lIBePNq7tML3g4cXye5XvbODSN/XJNsiMCHgOrqsrz0sKil7MnRvnp+wfYnDpHZgUzoMeT7QqTSRvxlA+zo0og2EGxji/s59qDDv/2V/3sFkx+80+raP4hbYvKtM3N+KjJx49KOLx2Ym4vqzmd0bAVp4BNVnX8QTt3xPRpcAAAIABJREFU1grUa0Nmp7z4MGkbBocmfcxPBPjJzX1Zb4smfextFLlz0GEybmU+FpDfRI8tSE+vcnO1yZElHx3TxKjVsTscWDU3nUaF6bDKZtFK32ElYLdKhV+3b6A3FPwek3DAzupmEZdiwxZU2S/bqIhNnN5Hczhw2wbsHAwI+VXcaouh1YNzaGG70mAk7sNjmjx32E0mU+P2eptf/UKMXKZFd2hwZiJEq9Yh6uxzdM5Lo11D74hKEBh9sLvEN0yA6SwyaSt0eY06WBwmGw+zBBN27J4IrUaX9WyV49Nemt0enZ6NdKPP2lpDXj5mJz2MxtwMW8KiIy7rCpGwH5Mh8bCHR4+38SV86LoLm64zO5+g1euwvVWXXXV3CNSBQ+reZg8FSe9XaXfg3kqFsye8xENuqVWLp7zEfG6ZiMxVdVqVJqeOTVKqd1jfPeDI0hQP7myxOB/BH/Dwwx+tc2jJzUg8wEG6wcCh4+h7ee7pOG9/sINFU5kYC1Dar7N0fJR0tsTyRp2TR6Ny6NjMD5ieCdOzdrFYBFC0Ksn8GCqazcLWoyblSodf/NUFXn11nbPHE7LO985rjzl7cQEsYlsraqUDrryVITluY3rKR6OhUq5XCEc8Yh7BwBA8lY4chE6OOTGGA/rmkK0nHRnnFtUiUXfI5ZskUm6uvVtg8bSbmYkQ1z8U6uI+3qCbck28g1uMxHzkqx2mJ50YA7dQ4tCsD+RZ7cLZUT76YF+mDUamg+ysliTAr9PqyMGlSZ+A18N+ukilMmRy0idB4k6bwsLRCMOehSfLNTTnkEPHYyzfyqI5LVKROjkZlElNQx1gtCz0ygPGTwUo53q43VacDivX3s1w9oU42d2e1J9aNHHXa+Pxu7n8zASZgyLdqoUfvrrL116ZlIOgh7eLeB1WCX5cWErJvx82uyGHRbl0F9X9SU25dNCRlbPpybA0BtWFjlbU61was3MpsgdFAgEf2+k8tWofY2Bw5swY1WpRxvArDZNufcjSuQiZdIlGecDEZIDdrZpMvMUiXnGcJhR1UsrVifg9FMp9yeKIjwXw+C1cv1JiPGGRyUG7x+BAVN1DHrlQtmsaezs1phYCYDrReyV6bYNsXrDxROKjw4iox9T6eP0mmJq8iBtGl4NsE4swgIU0/CKJKO5+PiSE/uMrWQ4dsjM65mZ7u8ftO02mplxcOCeSa51P3kfWlqyAVop9+XdK2EXu3Gvz1W+Mc/3DNCeOxWXCRFQyBAz39Ve3cHsUPN6hTG8tHvLKlF406pH3+pPnJ+n2a2iayoPbReaXHKR3hlj+/jejptPlpG/orD2q86WvLPHkcZonT3JSgZHJ9iT9d6B0MToqwajC2pMKTruTw8d9HOw12VyvE056iIQ1DLGprXWZGE9gDqvyQbi9nCafhfEpP71uW8J8NlZ0OoMqYxMhbl9rc/6cB39EZaA7OdjLYtWsFLLCb+kkGQ2TzlQwTQselwVfNCB9uWLqJKbJE+Nuiq0G5V2dQNwroSyWnkqnBvGEjYmFMD95dZOjJ33SL7m53uDQ4QRen51Cpsq5synefWdT+ppnJwOEki729ovcv9tFMQSgT6PV7TM342Y8FWFto0YuV2FqJka72WJuPsbVjzfZXbPwyleSHBSrJISmrKuzk+uzudbD5+yzdDhOt9WmrVtZ3anQ6xosTDk5cniEH7y2waGjAVodSGdrhO0e2fcIBey8caPPyydULiZUyqqBYfXQUjRe/3CftaaNW/ugOO1yq9I2+8z5LGxV2jw15ZHOzZJupdypSxuCCwP3iBOPYrC+02FqLMTGZg6P18OI0CrmW/IDn5pNkRVbprEIfo9GQ6gQBShQEMzrDRpCXzOeIpuvUStUiSXCtFtt0rkin/nyUxQLDdYfrPP85y7w8NZjAgEP/XqPjfVtxP0lErShWC2MpUK4NZWHmzk6/YF0zYp/3mppspe4nc+zdqBTyuuSkHp+0cc/++YZvvCNz6ANDEyPl/07j9ndfcD5Z79CrdSUm9uPb1zFoWpURDQoFsEQh7GtHeYnF5k7M41fUHB3M9y9m+GDOyuMT49L97Agh66vlBifFpO6KG/8bJkXz43w+3/+bylfuUK33kWJenEMgjSLW4Rn57EGk/zOb/0e37tb5I3/9C94570P+Iu/uca/+p0v8+ZPV+TLeHt7k1d+/lm+/hu/g0Ge7tpVXHPPYR48xJh7BqXWALeKxeyw+uZ3ic/Mow81NlcfYB8M0dslGlYfU+NxPnz1A1wBN6fPXWZj7TGhsI3k1GG50Wsf3CYwfhirI8SwXaBfLdFzWIiMztGtFlGMIerCKcxGk2G7hc03B/k79G1e2sUimilqBHs0KltohRy77R4j579OkCCt1g567hbOmcO0Dkp4/HGs0SS0u1Rru2hKF9USwnDZaR8sYzVs2HxRHC6VQvEAfzCEJ3ycWmEdu9WOrtmxdmpUdz7EFT8qvdJdvY3NYsfUnJimFaO0jTMSQVU9IiFIY+8G3vgk1tgJzPw9hkL1Y3SxBsaxaWP0mtu4XRFa+hCbq02vUmdY3Mc/tYDiTlBbv0mrtIUzPEFy6aKMDYthx5Aaf/pHf0KjqclKz7lzZ3A44zSqezSbCvfuXiHg8hCOx3nw+CEOq41wKEkwaOPwp55lYSRBr5ynjwbDNqYtRmNvWQ56irtXCMSmsCVPSOiiiRWz15ZubFWzMWgLUJDCMJBCEfrDyBQWqRPckrYBjTB6v4zVrmJYNGhlUGxxqbUT+qFBbl1G0wrlsvSoe0JJDna3abSLhP2jLB2bQzXrGD0L9ugh1MEOeruAPXqCXiuNxeJl0K9hd8cwmk1axet0K7uEj7yCxR1nWL+PzXtYQnS6lQdYhh600eP0ivuo1hZOw6SavSM5CQIppypB+R3A7aSzl8Ps3sLpn2boCtCs5gnEjqFZyvLSNDRaKGqM/+G//R/J6xYGlTYjS6P0Wg1a9QEvffoi3/3e+yhOK5NjcQa1Ik9fvsDpUwlC4Xl0nLTLKwTCkxII1+yAV9GxGD2Gjiiax4m1VqevD6nW94hFTRznv0bz0QOe+/y/5GFGGGkcfPEzI2iDLk+e1OgY4BhoeIMajbZOudLFH3XJiszi8SkUi0hYbGK2Tc5eWqSZb7D/IM12psTp00n6xRJNRZVpibBpSqjbemPIjfUWAbeFX1qyspTsICgb9x5rxEZUTFFRs1kxmn1OnIzQbuj0TR+r9wUh2cGLL6f4k2+t8NTFcXkxFd+wTreJ02HH41NpiO5sZkAg2mPYcbO2XufpZxNU5XZF5eGtKpOzHvLFNhNC+aYF+PijHTk8iCRsbD4R3wAnnY6o7gmI1aiMCgbjFhoNi4ziBr2C0G7l8UqeI8cS1HID8q0WWs9OZMTCR1eLnLogut4teeiaSvpQXS42Vvfxi82D5uDxSpljh2Mk4h7ZjRY/c2ajiupS6OgtwkEXnY5K8aCFN2Tg83j46HYBBUV2TcvVlrT2PH85JQfPW2mDne2G3FZlsy2GwyFHZ73cX61y4akwna6V8kEVT8jLoyd1RkNDDJuHeq1Dv9ej0TQ5NBMkOeJgM9dFYyC7yKdOJdjarDI+HuCJcJxPeOR2q5Yforms+DxOyTI6ejyFTdVYW91nfDzIvZU8AbuXtt7E6xLVswpWxUUm32Ri1MYzz4/zg+/vSmjedromLxgiGbG21sXvcUrvdrVc59Kz07z31o6Mbto9CvOHRNLPzvpKWfrmZyaCdHtVqcgLhoU6r8Z4KkC1qjO34KfcMHn9B7v8xm8t8PB+DaxiuGEjmQpw/36ZYEwogBXWHtSYPRYmFFKI+GKsPd7F7XczNh3gx3/7hImZIPML4r/bZGe/idupSJNHMBTAF7BTzreoN1s4Ana6QrFZLuILeIknPTJ+LGDAl5+K0Rw62dk/4EzKRdHq5rf/YoOVojjTeKha+3TaHZ47OsrqWp9rmxkcQY3TXpWG2Sfo8zCVCpGvtrBpOhcOT3Dj1rbk3whOw856jnpN5852m196aUKCQp0em4STCauN0XegawbjfjvtapW6YWG3ZUH4nE8dCXN/u0qtbpVny2TQzv29Cp2ByaXDMVyKylq6xuKMnzuP0ozGgvSaA9x+O1abqNIobKznOb4wxsP7B4RSVglNzuwbeP0KoYCJqth4sNOQsOeFRIDdZh21b2Ui4WM108SwDLBrNrZyTZxeF9XiUMbKj8ZDrNZqMgFg9rtMJgzmox5Wt1uywpPyDfG5LRwNWekPB5w/PsHHt9L84uemodPh1ZsZnjuZkL+HQMRJQzwvu0OZjnnvRomnzgRp6mC169g1KzeX64QjQivbRu+L4V6NZNgqh44C9mjRbNy/npcch+5AJ7tfZKDaGLTa+F0BDs37ePP9banrdGomb18rYnc6ODrvYG48we1Hm6TiYSq1DkORNXP5uXUvzfnz47I2/N7PDmQyeGAXf3AmftuQK/frnD8dRlWcNLoNmiWVXL7Kpz8lnv8+faMr+RuKzcXCrI96rcv3/26HV35xklJZDDpV9I6OL+RmqHdZ22jh8ggeho2bNwt86eV51jdyAiDA9Iyfjz7IkhhVmZ2Os/6kSChkp1AQasMqI6kET9YzxMJuMXqSgLlKXieR8KFYdXTFKhMYMQG7WyviEVaTYpULl8dZfpiTqs5Q1MWJM2Fu3dzF4/CSqdQ4vjhKb9Cn1zT58EaWw4tBwjEPlWKFVq1LPBmmkK9x6OgIuzsVlg4FKGRbtHQFpWdhdM7G8q0Cl186gVtr8e2/25QKylOnkhi0icWj8t8XisdTJ8Uz1pHnc7t9gC8Q4P69EtPzDqlI/s5fr+G2O0iMWCR3RMABr39YkNH7U6c8ePxCsyvgt1VcXpVrV5s8fTkiIZ+GMpDshPGUR8Jm3/hRFs1t4fTpgNQbD4wO/Y6Jy2WXda/5pbgcbq09LJAtN1hcSNLp6MSiXjq9LkbfKQcbly+N8sEHBwg5VMjtJDrhYmW5xNDQWVjwsbXdxh8KorebjIxGJZzz7oMdynlF1pjurWSJR6NMz4iKVh/VYefWrV3OnRuXKt70fh2b28HGSh2vT2VmMUj2oICiaYwkg2QOmuidJg6vja2tvuRCiO9gIVOUbBuRLhcVC2GWWXmQBYuV1IRT2CzZO+gRiXqJxqxyMN/oDlicnOUnb99gdmaUQ4e8XL2aZnrWLdlql5+b5NHjErlMjW7PlEDnUMxFJlORoHhRcdvaLvPspQUJXF3brfDM+SC7e11u36sQEvrNQ2IoYOXWjaJMlqyuVAkmHMRCfm7eSBONuomnRE1/iOXHvzVm3r6ZJ5pUiXjtWLU+00thCbwRjsfxMQfVkjCsWGh0+pIg26n2ZXe3LojIeyWOnR2nVhpSLmY4ejzE/kGHt96pMh33kpq2Sy3T440cdtE/PDouoT2NfJf5hShXPtqTG/RowsvOXlVuC/Z2Wxw/GebosSgP7hdQFIPl5Sq99pAvfX2MN368J7UJLz4/wfJqVjrO01stPv/FGfnC+d/+9ztcfiqMzWFhMBQTa6EhrDESE4RWAU4wiUbc7G81aHRF9MfB3KEI3X6dx/eaIvFPv2fh3DMRttZrVMtNpqdDeFx2Pr6RR1NhatxHrdWXQIYHIqNvdXP6RAhfwCAtYjw5hW7bwOvpoHpV+aG4dbclJ8qmPiQei6CYDSzY8Pugb6iyE+W0taWCpd9zEAu60Ac9GQvq20zurLX58pkYmUadixMuaU64tnwg+2NbNXjnSZOthgamh+VsD6fPjsfs8/Skh45Flb24w1E7DYsLhQ4HBRHr81PodmXXaTHqpNrRKRQ6BH2CLtnCF/GwvtNk4WiSxSOjVHsmhXSaUDhMezjA0emjuR3oAwsDkegZDHC7HbJ7FYnEMZQ2D26u4QvGBHdMxp5FXPJgtUBmvyGnWALy43c6mBwPgd1Cu9Ein6uTSHixDHqyW7lWyjM9dpQPrj+iIjuTDi4c9vO1swE+88ULJMbnGPQjdPJbbG2v4Q3HGA4V/vr//UsiE/NcOJnie699zPRoCKw6R5ZOc+rSRRnh7Ze7vPTyP8MdjPOPXlnk5se7WFUPe1u7LB2LsHw3w1e+eJZf+ObvwXCT5uMP8bgc9CZPyrjif/3Lv8X4VEIqNl565QhXrwhYTZavfOY8b/3kCuV+h7/8j3+M89TTKOU7WGtZijtrhI48y70fvsa9R8s8ePSYct1NsVnEtFjp1yx0bAOEqUfUcSdngpSLFfpi+u9ROXU8xYOtHdQmaOLQWOoL4DkXzkRQhi3Mjs6J09M83mzxjky7QCCkcjxpJTYZ5dqdA45PBfny5y9SKGd4+uVncdmiuANB0OzgWYR+Fb1wH9Wdora7g2p30Vz7mG6rhSVoojlTuINzDBvbEv7lCggHr/C5ahidDu1yFt3SxG+dpK2UcdgD9NpC3zVCo7hMYPpFeuL3WtsH3wJWaw+9tofaG2DoaUz/IkozQ72eJjByhH67T7++hj2xhNeZpLD5XXp1O4lnfw0jd1vqnVr1fVy2JI54knq3jN10Y+l06CHc3kKjFYLEKUrrP2Vn7QZz41NogQiOyU/R2l/me3/153i9U9SqWbZydT737GUeb6wQDvqJT8S5euUOh+ePSL3R333nb/jUc59l6/FNDOuQs2fP8NmXXmYg4KQWq1QPuj1iK+OnldlBsdjQXD46Rh+HzYep2THaGSy+WYblPexak1p2i8jiF2g3Mjh9Iww6DQaGMLSAalFQbX6GQwNLeQWL9xAWq41efRlPeB5lOGQYCDOobGKzi61xmb/80z9m6eQlTpx/hvzWx3h8IYadMtb40ww7FQlpFMOXXm1dphk0q4iJ2iRcSwDFlOYyQ3MCNTFPe+N11Ng82kCRkBm7XqevxLGPTsBAxdqr0G+LuLwffZDGG1yg09xE8VxAVYcYxau4ozNSA6o4/bKv9tv/+PfIbpU4cdpPNBHmuc8+zw//04+xuTxcevkib7/2Mas7TwgGJhgMWvzqNz7D6S++RL+mMCzfp1Sq49GCVPNP8CamcI4coidUfsJOgJeBPUHz4A5jI2MMTj+PtXaLF178F1y918IbcPJPf+kUu6tbNOs9HJqNTKEnO8meqINaoUFqPs7IZJJaz8BqmmQPKoTCURzuFslwgrdfvUp6u4/XMsQddVDKdHjphRQ76boEzE4nXOzpDq5uNvjGMRtfXHTgHg6xeRX2cxpDrcme8Fl/eoThP6TF7m032FqtceFsnGRUY/tgQKNRkxHT7sBkJGKjP9ApFPsEo5qMtHd60GoUmZ+dxeHq8ZOfbPKVrx+intHZXC/iiYlYrI7To+H3+tleTWOoTZ4+u8TywwIPHtU5fcpH0O9nbbWOqdXldiURs8muvYDyiYTSlav7TE36cGDHFxEu9DypZFRaENJ7Tdk57A8NdvdanDoxIqso1+/sUsl1+NrXT3CwnyGTHsqBhzisbO53mRnxkkyYGFYrZl+oqvrYbDo7232shsr5i365NSq2hnSbTc6dm+TOvQJ76SqpRERWzF54fppaocuHH2e4eDHE5k6NdFph6ZBDgq9aBYPxRT8r96vML3mZmwrywdUshZzOV18Z59aNHPl0k6Onkty4kscbUDh9Oky5oKBadXkuEYS+YMCL3WmRNO6e3qRQEZR1hWarT9Bjl/ahlUcNXn5phP10i7WVFjNTNrk8MC1h6DRoDHWScRd93SLZQA6nxvZOi3BYY3HJzztvZui3e5y7NCpd1g/vp+V2+NjhMJn9AapzIEnhq3cbjB0K8vB2BtM0OP90kt2NGiPjHumJv3e3wKc+naTbNLl1I48vrJIICcNPn0rFYGWzSjz4iVYtc1CXcdud3SxGTyU146JTV0hnqnLrdvRIUFb2jL4pz0HlcofoiJ17N/J0ByqJuEKj18dv1yRx26XZuXW/xGzSRbk/YGenxRdeGMHe6fHdlRL/3fdNQkGdX73kJ1NXODNm58e3G7z+sM68y2R+ys/+QZV/899c4M3X1vmrj4rYPCLh6SLuM/nCCxO88d4WTr+Ks9diJu6WKYX1RoNnjizy4Z00Ryc1Ti9FuP4wTa+jMZbysPk4I5WLwWSI128d8OXLc2iDAcsbaTw+H6mgC6dL4907B4yIWmuuztFEhHhE4fpKlXgojtXRJJ9tYo34yG0W0FUbi9NuQoqN7VyDjt6X6U3BCqi32tCzStp9eNRPKqxIkr/YyqUPKqDYSfqs9A2h71WYHlWpVkzWyy16up2xpCGHtu896HBs3MbSfJwffryPOuyTTPlY3tHlxXF+Kko6U6dl6RBUFOKOAfMJO1eECSRsJehQibhcODWFF0966beaZIslJlNRJr0O1iodEn5wmiadroMzF0bo91tsreQIRYJsbhUZGYvgdfW5vVxgLdvjs+fHPllQFNokIhbeeC/HoXk3MZ+Xd6+leeb8CPF4iPdu7ki7wHjcTTQRZ3uzwJFZF/vlNopucvRYQgLf3r66x1TYS3zEw637+wwGNs6eT9Gslrl6pcjMtBubTaVbs9L6h2H9+Iifje0aYY+N7XxNKn2tdFk8HKE/tDDUe9y7XZA8EBGXF5Wd5LidRsUizRxCOVeptCR80GazkhgNcOXdbamEdtgdOLxicOtgfauKwwpnLqQo14dsLGdlza7fE7VWnXymI9+rueInCtVz58fY2BFbfo393TbDTk8+T2tPBNTUiTOokTto4fL60awdbl6vEB1RuHghgTG04XA6WVnek33weNKP0InNLcTZ2ylKldvBQYNitoI36GJxYZSrVzc4fGSU5bv7Er7s0uDZlydoVS38+O8fyyqW06fQ6Zp8+FGZr311hu39PKVMD1/YRSJkJ53rYGJIwOmjO8Je4+DxWlPG5RcOueUCRGjVc9UuDosqmW8WixiuaOTyOl6vYI/1cVgU0vs9nro8zdDs8nC5zLEjYdZWCljsApSqfPL/wO7k/nJGnhWPLUZ5stpgaclHo9tle70tIfKHl6JsrmWo1UzcPpVeV+fQoQSVok692aXXFeBNUcG1cO/RNmfPxiV00BiI+7eVsWSQnEg1T3hldUIMJ3a36hxZSuL0m1y/2mQsZSFXEPDWDk9dnGTQNomPa6xvHpDfcxKIWjl/McGPfrAqwbyHFvxcvZLn2RdSFA+aHKTbRBM2+sIM53eQ3i3LQdrFSzM8vFug0epjV8WoS3w7LKQP+nR7LU6cGmFqYYTHD8qUC0UJ483mh6yvlqX+0uPv8vSFJb73nUdYA3B8zkO5rpFL1+QgKxAOUC3nyezqHF5ysyZgsJqGO6rjd3jxuJ08eVxgaSlIodTG6XOw9jAna2exuJO7t9JMTocQ2A3Lf37FZ27v9/jySzN4QhZ++LfrtPomHrfJ/CE/U+OjPHi0zanj4+ztVmVPaDQZZ0CbYV+TW1uf30GlUiG9K2AyIUrFEiPjMRm3SY37qVdrbD/pcuZkDF/czl99a41LL0bl1GT5QYGnn02yuVGVE9v5eS+1LtQK4g9ap1luoXoMJscTRMJOHt3LSGKrdNUuFxibD1HYa5ERcfaohkNVaLdsJBJiZzBEF1EtY4DmEmCiDp2ek0a9hc+voloVbt2pER9T+MoXj/Af/v0tfuVXZukMBNU49/8DjjT2DuqkxoIc7Oep1k1Onhqh3+nxcDlLxO9k/x8OHy98KsHukzrX7zd55nJS/hqVdptkOCAv186QyfVrVSIxsWXpYnOY0l1aq1swLUMmJryU8k1Uu01SmrOFGhbTTTym4jT6DDwO9qtdDieEBq3PZmGAQxN0Uh9Lo1BstPErKofn3ZiWLn9zvcU7j1U+LvZxqUMKnSFJj5OUS6WPTtCqij0kc1NR1veLRCZcpNMDnNYOe1kTR2zIVCRGr1inNzREppI7K3UWFj1Ex8OSXplvierGLOs7eeJBF/6wnbWVsvSy6/0BCwsT5HMZPL6g9GkWcnmC8aCEs2mKnZDXxv1bm4TcXkyzw5N7eTSvyskTY+Szddq1jqSBrz7IcPnyHFGfycZmAW/Aw60bBVmrMGwWAmEPFxd9vPTMOC89t0CjmCU8OY9n7BCVuw/54KPr/PV3r/LL33ieYiHHo40nRP1xvvlPvkmnlmd8YYbBwMflp/8phlPh9//1N3jnvZsYrRqNmk447OXazR3+0VcX+JV//k8oZMu4WjW8Cyf5la/8c+5vN/jDP3xFOm7/8vvX+ezlJB5vnHQ2z5HpKC+8+Iy0F9QzGVk/aCpWXn11lUzHIBV3SBDPL/78Uakl6fUMpmcWsVuhkMmyepDn1NwEkaSbn7x1B2PQ5QtfeoGHD9ZZWdvhxIkT3Lxxh8WJcYJBN+2Ojo7Cm+8v49BMLp2YZHU7i2mxcPrpE9z96AbjQuWDSXa3gNYY8mCvhrBhHZ11yni8aVV5+twMs9E4I+eOcXx+EYvXRb+6jZp4QUab2ss/pbbxgEpgFEtBKPLEwGBIpdEkMjaH1WhjNT2YlhxGa4DudOKwebBYBDgnSm3tbeJLl+gYBuXHbxEeP4rhEqmhIUqvjaq0pfdajc9hVLMMLAb24AK9wiPoZLAmLtErrNDOPCJ49OfQM2+DYcEdPk09/2PauiATP4s5qOAMTpJe/1C+OJtdO7ZBH/fUU3TT72BRA1j1AYpi4hQ6nOhxeultPnz9VTpWg7WNfXp6j+eff5579x/idQbkhLnZM6g3mxyen2cw7PKdv/o+kzOTnDh+nJOXz+NSmpTSe7J/FUw9Q7e5h2rokkSt+Sew2ZySti90bCJi6raZ9K1eenof1cjSTR8QO/ICle0PUJ0+VM8kFsVFK/Mm2A5hcxgomg+jU0N1CztCC7e7QV8f0E6XCE1No/mnGHbatHs52sUKwbCoK4TpDu2yF6vaRJxYlYot/eBnWGxBNP9RBsMaWjuPYYthqia9gfBKi9/bAYp/Cs0Wp/X4e6iReTlRt2tODP8opkXD0qv6MP+TAAAgAElEQVRi9rekDlav17G6RUlqgr6mExyZx56cZef6t/mD/+lvaRg2vDYLoXE7idAY+1tpfD4vxUqWp08fw6JZeO31d3ju2Re5dCJFZHERq/BJl0VlYhTDUsBicaMhMOr3aeHF7pllqJTQ63mqW1k8sTgjx8+Cv8V733uLX/3d19jKd/js+SCnFxKsbpXZzjTAsDE246Rc6NBp90hNBNEVO+VmjTNPH+fux+tSx2rT+sTGUmyubaJ0DRrptnQYawMnjzYqjCdVEg4Ff9zJW7fqZFWNXrHBt77h4eUZP3/2fp59AZDz2IjaDZIhD492GrLv2qnpzEzYZB/96KKfTtWUzIFLz4zz8F5GuoeXDoXIFnpS+1TJNwVlVirsxuaCZMRGTmwyRxwkQjZZLThzKs7dewdcfnGcv/+bTZlqcKuC7B2kUCmRiPsljPeDD9Z5+plJemJYJmKOmaZUbz5cLnL5qaRcDLRaJolRF1kBiov5ZAIvn+/KjdlwaJWVgIN9XRK786V9Hi/3OXVmHEMfcOf+PqfORCge9GWH1eVyUS60salWHB7QBSByoNJstrFpGr6oRjTk4o1XM8wdChIPwMp6A1u3z9f+8VH2cg3uf1yn1m7yqUuzbO9labUGjE8FSG8Xsbn8tBptdnYbuD1WZgRFu9olGtZo17oYQnFjGZDfbxKNJskVDwhHvSQjLoY2J/sbafpDG082Gpw+F8I2sLC+WQbFIjWOobCVTt+QEKlmo0WjaeGrX53jRz/K4nS3GE8K2KqBL+Cg3WrRaDSIxTy8+8GAo8eH2A0rkajY3NclKT/sF5T6ptxWa06Ncr4uVcv9pk5yxsej2yUqtSb60MbRwyGG6pD33ijy4udC1EpQqTekzadjdmmXDKn0m1h0k83lmR6PUy7rNBtDDMOQBPFH9/dZWEgyFMDj/pCdvRYXL0zx1k82mJkR3KMBh45E2dwuyi5rXRC6vQ7KNbEg6BMMioivIYcZuVyLI0tx3nxvl4tnx3E6u9x/UCKeDGC3Krx4wkapNODp/zlHx2XlvzgXo1ioS4bJQFNp9+3cXM/xv/z2JT7/az9HMHkGsvdB7fHmn32LXjtAoVrl9Wt7pKajbC630SiyVjCpDS0kAiqWps6miCgPIO6DBzUFh2KyOOqi1GqRroI4xsR8oLdVmgNRQRGDMxuxpB3aQ6xml+fPxZiOunm012KzpDMdMojGXTQLQkJuk9+4QNDOG9cO+OLlCR5vZmTCsFZtUzQszHidPF7O8tJLS+zt7UslaMDmIN/sMDca5sFagc5AVD3s1IcW9jMNfD7xbXSQy1Y5MecgGQ2yut+gWhc1Sw/NfoNPHxvh8W6Nu6sVvnAhQdKnsZquS76GgHWOBd3sVBs82uxJVlStO+RCxI3HD3W9zcChsZ9tUyurLIx7yTTb8jmomiaRUJheE8YjPYxmmzpCpWeIbQ4B1caR+JDjsy7MpsmJQynWt/Z47nSE5dVdTszGcGsO3rud4fixafbSOabjAYrVKk8227z8+Tn2ck02HhcZTflpNnViySiljOjs9+ipCtWDCvstcDsUcmWdhZkQRxcEYT6Hx+1hda/K3KiN/WJDWixOH4ljagqNfAfNo3FkMcz12xnJLGvX+8zMBVGFYchoU2vCSDJAPteQ/C+L8skz+eEHOZbm3CweT5HbKxIb8bK3a9Adlpka8/NouUGrYeHSJT/ZnACowUe3cjgUlaWjGl5/lHd+ss5zL46iKSY72b7Uwi0dCZNPt8BuwFAjklBp5K34ItCpt/EHXXQbHcrNAdFRL6auyWptt9Xh4+s5zp4IMDkTxWKH9UdF2v0hQ92U3IWnzqdoNZsMBezbUJkc9/D2z7bwB/xMzzrl87j6sElo1M3kqA2LaZGgRKFd7VZ1ah3wOE2K5SbnLiTl4vThnSILh4M8WqngdtgZHdfI5XrSJmGxWDnY7TEyYZMJpn7TzVNPeyjkGmxudkimnExORCVAXSwNe30B4nOxt1tm0LXjjTgJeQ1UzU1ePICKHX/YoF6tYxguXB6RlrRKg00qGcAbtJPdbVHtd4mEPXQbbexWVQ5YU9Mh+m0VfVhkfaPFoTlBuu+ws11nZsYrh577OyZ2wQtwDCQEr9M0mVsIyUrK2+9vMTOboNasEvQF2Nku0u8bmKaJVbXLJazHI8wlA8k2CfiaPHrcx6kMSKQS+BIqmtmjXFHIZioEo0HGop9w5jrCkJF0k90bYvUYEjzoclupNHuyqn7zowMmpwNMzwuNbIv79/fRWxY+/fkxMmsV9vKm/FlmZz247C7u3CoQjcIXv3aY//h/3sfj0WQNodcwmJxwsfGozsi8V9ZCnJqf67f3pS7aZrcxNx3D1Ay+/Z+3+PXfXOSNHz3my79wiuvXt6gXTEJJC6srOp/6dJxWS8fy3V8fMVVB37eZ6MMO504cYvnxAc1uXxJhA0GhljBlH+ThapXPPD/JzRsHeJwWoqM+8rke1WKbQ0e83LtfwhiojEy4ZUTl+LE4G6tioznkS79wjLdfW5UQDacnwOiEyY1r9f+PpPeMkiy97/Oeeyveyjl0qs7d093TM9OTd2YzdpcAF4ABIhAEQZomTVoWadH8QPnYtHhkiceUqCP7yPKxCAWaJEAIJACBWITN2N0JOzl1z0znXFVdOee6Vfb77of9NHvOdPVU1X3f///3ex5OnfZiMth4vHyAL+CW4BLRF+mKuUkbghEfrWaH9a0UM9NeyjWVSrHN6JSDw82KTC60GwLErrEXzzM/H/pkQ9lXOTxsyZ7F7RtJ3G6FSy9NsrW+QyFnZGJc6HG68gvH4jCjVzokEj3OX7Zx+05V0rlPLfqlokOolYbHNGh3WV2tSLLs8KSdfLzFqRMjkm4fGTFSyNUoVozYjD0y2TJWu4WLF4cp5JocbpcJRTSGBx28f+UAr82NojVJpIuMBMO0Wh2SYthhNJDPNVg4HqDcqBN0axzFe+hKk7DLwP3dFk6XQUbxRC/uIN7h4qKP2xsNzky5ZXTovWv7/Nrrg2RTCdoNDzjr7NVcvHE7x/20glFzcJQv4zb0cXoMLPgsnJ3WuHIzi+q2UMj0pYbFbYUPlss8fypEudyi3ha0aNGjatPoK3RbCjPzPpaf5rhwcR7VqtPp1Zg5PkWpXGTrSRyn3UO5VJGgxW5NxWQ00TebKJbKnDxxjKOjOGaDmXKpRrchVFsl6vkWiq7Q6tVRNAfFbImgz4FmVDBpZhSTSqfWxGmBTKXB2kFT1grcTiudbo8xf5+z83Z+7RtfYGBY9IDcpPc3ufPxOj954z6//o3nSFfS2ExB8oldjj9zlnPf+D1+9m//mB98f4ULS8d4unPA1FiYxYVhbAEb//Gvfo65VGVuaZzVjQLffWcfxdjluTk/3sEAmXgCTRCGXUbmJ0ZweJx8/4dXOT41iieg8t71VcIhF12jG7Ne5fLlYzx5eMi558Z472d36Rk8TISF3yTI3ZUbDAUjFNJlJsaHOTg8kA+NpfOn2NrboNFWaNX6FFJFLl8a5p2PD/G4XXz21Xmuf7jByaUYPauNN396k9HBIIpSly7qaCzKf/rLR3zty88R9LdJJdN0cctpecBr4/yFMX7jD/6OTz0zTblQ4e5KEm/QSD7Z5aXTI4TCOja/hS9+7hKxk6+hBQSgxgjxxzRKBYwmN9VUnmzxUEbkNd8ohnqGZk90j8ZwBwWkcgOTqmPt1ygXsvgnLpPfuE2rtIt58Cyu6By19FP6nSKe6PMkt9/A649gdk1ztPUuZtsARtVCr7aJPXyWbr9Aq6dSP7hHcOGzKJ4TVJ/8LQbFiigrWm0uqbgU4D3b0Cu02hmq978lrRN4nFhdMbmtEYfurqLRbVUwtg/wTrzC/to94tt5ivUkt+6uyJ7k0MgET9Y3GB8d5vNf+iw//tu/kwC3XKrCqXMnuXf1XQ4SDf75v/wnWNxhcmvv4Bi9TPloG1O/Tg8HqslGr1FA1wsoTRPWgXEamafyC9069Ard1EPa7Szm4BLd3CZGgejFgN7P0u5UsAeW6BQ3pM7O1EzJeJrZP0UzcwdVW6Se3qJYWiE0+zkZFTU09sgWU9gDJzE08uhWD43DZaxD4/RLTdTACIrwh+odlOYBvVqRrm7DIOjGnjmUfoF6eg+Df1ICPcX3WiNxn74xIAnyihrA2E9jdo5RU4L0Msuobj/9zC2M1hnsQTtm3yCV9Ao3rz/hvZ89oKi2CXic0kHcM4XYXXksL5yq1cCxkQhvvHWX5a06f/N//Abnv3SJ0sYm5sAc+sZVyv0+7sFTtGpVurk4imbFZHHTb3doOTw4Og36Bgd0lnGeeZ2O3uArF3+Hnz6qMRbq8OXXTrO1HyderNDrmJga9fDm1R1On5lAr5elBSMc9FPr1ql2hJvZRyNXRDWrsg5Xy9bYfrxH2OOj3C2yODBIolBiINBnK6mzFq+jGM2y7//iYI8vn7EQtsH/+X6VGZeD2QmNO1tFlrcaTPgNEug2N+mXXdmhiI3jMxp3H5bw20WFxiSTbGKzsvwkLWPedq0jYbUCSifIvjeup2UNrdOpYLPbef6FSf7Z/3aNr/zKNNVMiw+v7PGFL0+xci9HsV5ldloMCjU2V5NYhSbv5ACpfJWacE3b+jg0C92OjtOlkkp1iA6oPLjTlN3YyQkPJs3KvVsJhofdmG0GrEax5a7RafY599wgP3tjg6A7SLPVIBgU4DhYWy7JzXXfYuBwvcTIhI3ogEiB6LgcZgoVhXyqiHTP9kSnUmzHNYxqk6NMk3qpz4m5ELrVyJOVLIVijVDIhtJV5ODD5nGRrzQYD7uFMJth8Xd1u+SqXWm6GRZat/on3vbYsAuTx4Sl36NdNeCJWCVU7K23thgds6KqLnL5OidODPK9Hy5zbNrKq8/PkM63+NFPVtF1RSYccrkWiqGNwSi2M20cTkV2je2agWb7k823iDKPTFiolY0067ok95czCo2u6NRbped9YTFEq13j4d08SxcHpJ7U69LY2a1w9sIouzsZmSrcO2wwM+WQYLVe3UgyV+TUWQ+lZB+Rt/dHLFJhW2l/QrTvtMwEh8TGJ04uXefTr09w+6ZIT9oYjNkpZ8vsJ2pcOD9NOhtnemaYK+9vc2xxREJJ46m6VLWKDrU4iIuKYq9v5faNLaoyYTZK4ShBEwun5sLcf1LGoDcpVXR8EQdqvcT5kyEJy/pHf11io60yH+oSNRnQgkGePD1kM9GgWnLwv/zePL/3b/6lZNUkHj4kGglT0Gv4QmG6vimMjRS0a+A2Qd0KNgO9ugu19h4951m65QOqa1dxhMfpa0MoSpnDp095enOFYCyK1ecgsXUoqH7kS0WsXiutRp+bKwmqFZXDcp12tSFZE8kMpDoqPsG4bokQNbyy6GI33WDlSOfFYz5CITPZVJpAJMy91Txui1E0nugJMLKhzWh4iG4jRcDr4fTxQd766AlOs4oz5JDguYmIm0jAynpSvO9TfO7lGN/9aJV6VSPsFsmTGmFPhI9Xjjg9F2W/2ORgt8TJhQBOi4g176KbFQkzCwTs2C0Gzo2HuLN2SDRoYDvT4+WTfjJJnY7aZi9bJl5X+PSEl0bfzIPDLFMBP+1+UZ59ByMumkYH19aPKFX6hLwWWVHdOqjw/KKDR5s9ir0u82FFsraqPRv1XglD18iYS+XcmELYZWLnsMroiImgy8bKaoljs06MzZZko2SLOp+5PEIy1UU1N3CYNEbn/Pz4p2tSaWhp9ekKqpbRQ7ZZYNLr4bsfrrN4fJRhr5Htwy4ej5FHm2mGo1ap54u4zBg1E4mtMnZ/n1RVwakY8YXN8nl2cNBhNCpec4tC4ZOBu8sdotSoEHTZpfr39seHjE7b8Rqd1HsV4gcGFudttCxdqvkmi4ujxOMFjlJCPTvClfd3OHkqKmtTwQEvhWIHs13Q6g1yiLm/l6Klmzh51oOxI9JSPdIHLe48yPKF/+o4D1f2ie9WeOmViDzvb2/VONzJcvbiCGtrafZ3YWzaSHTAR7Vcwak5MLvMPLx+wLkXY9RyZZYflGQC166ZePblYTKJPJsbZc6cj/Htb23g9cCvf32JjqnJk3sHmCwG5k+E2NnIcPWjBlNTDgaiZh6vZ3DYbPzCZ+e5f2NbQilvfJzFE7Awd9xO5rDG/UdVLj8TZmCwx4cflSiUFCbHhbpRmMeEJs/G/laLTF5w2gT/ySj1qLevH3HmfJi9REme3V1ujXpDxe2y0Fe7FDJiIGJhZNjF6iNRw+xj1XqYVDfpYlrWx4Uq9+q1NP6wiUqxSblc48VPLbC5Hpf3H/GaJ6fdLJ4Ms72VJjYQpiASxLkymuag1dXZ386jNxWcXkjmddweAyemo2TzJVzC1FADT8RMJiEqdRrJ/QKKzSyHxdGQh729JLuHYqjq5Nx5D92uzvsf7kjzmVBzLt8XXDtNzExpdnvSYOBx2Wj3WsSG3dy+fSSompy/EGQkNsCte3s8uFshNmrl+IKPlYc5+fwRm/qbHycI+jXOXg7x3luHmA3g8dskeH0sFqLcEHcdoWgXmsUCFoOBL3z1OJ1On7/85gpGS4+Ti15KdYV2qyvPlLMzYZwuhQ/f3McdtWE29aWiMr6XQbnyhyP9ra28VA/sbNbJpsu8/MqQVFUJeMHjzQKVcot0tkksamJqzs/tGxmx0+bEklMqGET8QhD9bz2Iy0ib02knvlfhhZcF4KQtYx0uT4Ou7pKxcqdTJzToloOFXBIUGpLcqVjNFPIdikmds5cE8KTH2maB6dEwdx7k6XWaTM/5pbc8GBK9hyLdjoGF4xbaPbe8rLeKHW7cjnPhvF9ko+l0awT9XtZWszx5lOTyC6MUxZemT+GHb8T5/JeG8Tid/OSNVb78xQX2DtJ88GGGr//KAu9/sCo1J5qAAYkDwWJY/kN/9EGCZkWhrlTlpPLugwqn5qL4gh1u3s0R8Gpcvhzl5+8ecnjQYXBEJTRkp1XtyV670hORQBPNZgOPz832dgq3V8Nl1nj3WpL5KbucvobCPm4/zRDwmWlWarhsNsyaxtp+mblxN4NBG8vbKSx2VU43zf+/9/6bb+b45VdciNHwYabHTKSN1WRhYtBCu6GS6VbIFlT2OiaW9zrcPRCDHwNldGxGhSmflXMzVpqVAvGiEdF3aDRqODSTrF3ceVTg4oURDGqPrc0UXqeG5lMkaKpSMaCa27iDVtlN9Q2JN2wNVWgBJ0ZZWTvArHc4e/YkVz+8RbtZxeWPyg1+I1MiOBTC5rGyt5eheJjBoCMd1810ibYKPq+XUq1MtdxmatxH1OFmK5ej3exw/NgghXSep5tFWoqZg2STQU+Ptt7ne//u6/TLBYYXZggMzfBrX/k9Qq4wl15bwK0KirOFyMQI/qEz3H/7ezyNxzkxO8O3v/UOex1F6jZqZViadPD8xSXe+rmIgTvpmTWcYkK9vsfNu0kGhge4fHmGG1cfsrJR4Eu/sCCjWvVqgZ14gsOtEi++tEi1Bv1umZ7JwsaTBC9eWqChCqbFBuubOV568QJ2p4Fbt7Z49tI0R0d18oU83U6Z6ckprtxdYXIwTNBrI5FvcPnCAt/7+4/IZOuMxSLYTFVJhr//YJcz52dYGB+Q8XhBW80U2tDKcf36Jp6oVzrp1U6ds6emCUTcHO4mJIzF53Pidfl5tCHMHwM8XttFMbj4znfvIZoaU3MDNOtmxkcUfumzz7KwNI01OASCAp/ekIaMum5GT2fp9Ip0ehHSh3H01G1cgzE8I8epCMCWzYOJJhidEnQnHLjk1umqPVT3cdnRqhY25PZbbW7hmvoqejNLZfdjjLao7F9pgSE66TXM40tUlt+SKjzr3G/Q2X+Tnq5i9vgpF5N4ImeoH75L3xxDCwySP3iAZ/AsiqVPfvMRruisvEhUq1lU6yCGxId0u0Yc4wusLj/AZbew/GiLK29dwePXeOZTL1IplnA6/UxOD/HjN96ilC4QGp8ktb/NM5eWZCxw8tyrWBw+Mk8+wmz20TcZaBQyWN1mylvXcc9/GZo6zcRHWGNnMKh+GpUE5n6bntGEKXyCxvYPMdsiqJ4z9Ap3oGvCEpilXtym2VVwh4XizkY3+whtcB6l06F1eBPVF0XtW+h7plFKm1Sz97H5T9BuJLF65qik7mC1uzB6Z+jV6zJG2dDNWBx2aDVpFjbQTDY6Fp+Ms2Edox5/E5MrRNe8gNluoN9MoGdyWNwa1aMNtMAMRrsdpdXBfmwaXUztP9rgX/zpX6EFLXKzOzY2JP/7d3/+Q3YTXf7wH72MLxDmH/wPf8Ef/NYJBkfGeeVr36BWydHcf4A3MCNhbtXKJqbwSZxWjW52D9FtUXHQq+zRtjmxhafIr99j6NLr4K7wN3/2//JHf/xTSnR4fsnPwZEgT1twayZEzCYXr1FqNxmbDDMyPsjK8j4Gh8LS4hKry0/RfFaUvonIoJWtrTRPb+wxP+anU69L3/JhviaHZ31Fpd/r8Wi3iX9A44y9y5nRLvN+Jzd3StSaFsY9ohfcI5214HGrcuJvNfe5ei+PwWBldlLl/fer2DRBro+gGm3s7yYpZHVOnPXR71tYeZDkxIUQhcOOHNIm4hX6hj4Oi5VSsSkPhifOmwn5Bvn4+iEXLngpNnQSW3U+9ekIO3sion9EJOTE0FOkI73dtNLsNFFVVW7khbN5etqL2jFylC3gj9jYWasxMRGg3uyzuppjZspOT2kT8DtZWckTjLhYe5xhMCysPApBscVcLUg11uScg8ljIdqFDolynsnBCLv7OanhHB4ZYffggH5H5XCnxsyCB93QJrGps7FT5le+Pi3/bHu3IOO2EzOa3DbFj9rMxjTsgjydyuF0uOQFYGQgwH/4T0/lv83nXx9E6UP8sEixqsrN1IuvCkr3HsaunedfEYf4nHTZX3x+iqsfbJDLqFx+zk0yKXRUXdwuqzwMb2/kpRM7ELJjsvYIBzRWV0uyFuUQhPm1GuVmk+MLDlo1hXpdl2ehYNjB5mqGVrfHqVMhBoc8/PQn+0xM2hgedXL3SoqjaoXf/e0l/u2/XmHhpJ++3iWXN2B1CRq9Qkc3SBvSw3tJPvO5KVZXk7z7doFf/mpMqvYeP83zwisxDKae3NgJz3y5UZQx/oDfyvZWlr7YXM4FuXvviKWlIO+/f8Az5yKYLQbWN1O4bC5q7TLnz49JE8GDh0mZ4LPZmljMDlae7HNsdoCDrTIOr7ic+NlcPyIQdrG5kZLwuGLDQGzIykeiKhJ2sTDa4O37Xf7sgQGzy86vTFgk8HhPRL+HI9y5v4/Zaeabf/INpj7/DYzb97jx0x8yL/rm4XlpfzFrInHUlwNiz8As9VYak+KRyQubnqVRFdT8izjHFuiXlyWMToteoHb3m7jDMVrRc/QGA2g1sSrX0XsGCQ1Wj7bBaAGtBe4p6Ih+ohnSSZrlZZk4M3sjHNzeYnP9DjMTwzy99pCfr6exVouSvP94VWFo1MlHDwok8j0WZh1s7FdJVBVR2BK9WZxKh4ouBNlwLGZnNGzBa+vL88HooJfpUVG9SDMccLKyLbzjGouzPrKHJTx+M+u7QhMWQld1/AICLc5Z/RatUlNqhe0GFX9IYflxTl7ygi4jO0d9pketZCoKZlMDxGa83vokUm7o0MfE5mGGgEfFZwqRzAn2gEFG8oX9x6mJn7Ej3xupkigPiTSfRk9tYOvbOew0SCdaTAza5bBg66CAQbMTjZqwWhSerHXJNyosTXs4EJwLASM96mM0ieowlFsQ8qiyPhpyKlKXO2bLMxUKSAvB4/UdDFWdr7x+jHo1yX6qh8nYJyIYJe0695/m+eJr89y4so1l0EqnbaXeabN71GI23MIbDLK9XqbYahHx20lVBQkYooEA6aMS4YgqLVaNSpu1nRJWk3iNJvRWjvm5CI1GB6Xdw+RUuHqtQiBoYHzSSavcRel2mD8xya3bq/iDHjKFuozRG1SNfDZDeCBA3wiNUoMb9yqY1baMdTfyCpdfDTI0qPLxtTLjw5q0l2Ay4PN2OIqbpGJ6bslOYlskfTpSQffSp+b4q2/eYn7eha6YSWSzLM5Ns/54nYvPT1MuNyhXutTyLXriu7tcl8yOWzfSUsP6wnMTvPXOHg4HstLkD/aJDbip1rtSTWtSjRhUQT7pUM7X0PsKS6cFDL1JsaBQKFWkBnVm1s/uZp7gkJ/44RHDAwGZWMlkutJgET88JBj2yWFFIl2SVeDBYWHfgfffTjI6Y+XYdIhUvEIiWSE67CZ5kCc27pepVwFnrlQgV6xxfM4rlaLoLW7dTnF6aUjy0Bq5TxaP0UEbSk9BMfVZmI/y4ftbUhvpdQlgZ4NIVID5FD76+QFf/tVJHokKlMvOuWfC/P33NqQdZuaYX9bFBQhe3DMLAshY77I4P4yi1Hj7Z3E++9oM+VpDPiObxR65co3RMRedhk5X1whHbNy5e4DFIpgRNgJhB++8KergDRYWffKOKBLfAgC8/qRFvVLh9PlhttcLRKcs7K7VMBlVCtUuUyM+7O4eicMmkYiPXK5ENdvl4ovDJBJlHDYj5WJfMjOE/nZvo4bJ3ZYw1KePG8zNDlCsHuHzu1hbKbN0IUgl32ZrO0c20eZLX1mgplfY29ap11NMxCJsHlRRrvyvw/37t/Isng5SzrbkNttotEjI3tCUJqEaJ6bCfHRrnxPzQeL7XYw2hWK+IKFBExNuNp9UWH6c5ff/8Tm+85diO6YSHfPxnb/ekOoeQbscjrmw2+1UShVaTSsP7x7w+uemWVk9IhI2kUubmRwz0ex2WH6YRTGZGB1zs/WkKAcFr35mgnyxxPLdPGNj4kMqImTiZzFQyOlSy+UPG1l+WGR2MYzLYeGjj/Z55kSY4Tkr771xxJlnAnh8Gt//9g6Txy34PRFWHh0xOGKg1zZgd/dJxnXGx11EQw7+7kfrfPb1mKQi19tQz9WZmAhhsPQlOZTxWq4AACAASURBVNXqdPL2T57wy//tMX707XUmZ0KEfRr78RyrGzUGh41MTwQJhDz84Ltr2L19GfsTXALx8zYqXRYXR7jzMCFVFt2egWcvxbj+0SaFFizOeyRV+Ml2lmNjg1RLGbltqBsMmFWkRUFEYTZWswyPu0llarIf3mx0pdZP7TZQ+yYepZq8OOPGrdn44HaSy8c9XJgwYLZpFDIltip9ijUr//5xh/eXW/SUHn5Nx96zMhbtSfpqvaUzFbKDJg66HXKZGm6zRrXZl9RLm9NOu9mloX9C8+x02tijfsr5DKHwAFrIyfBsWEINH9xYk8AdzRlid0NAh2yUc1UisSEqhRShUBSr00GueIRHV2n0u2hWFxsPn6B2zRSLQmElkm99bBYvpXyBSEx0wAS5U6fcUGm12jhddq48TMkNca7Y4IVhG7/5jZNMDZkYn3uWu9dv8GhrV3q4hSJpdtpFsePjT/6va1htBrzODncfNTlxwoZqtLC/k2ZycghFvDZDk7ZBY30/jdsblDTtQiFLKCCUmTUZJzp/IsDS3BjXbqzy4EmC43Mx/HY7TaXD+pND7F4bgsbw2//167z57g00p4W93RRrOzk++9WXufbOTYL+YS5dmuDPv/kzvAN2oj4XP/zpJicX7MSGInz88T5f+6VTsse4tp1hJuKl3m9Kb2p6r4zRAbFYGFVv8/a1Hf7733kBgyIcrmla+SLdXoux6CCZep/dnSSnT02wublFPNVGV3QJ0PnFl46RKfdJHSUYG44xNzfBw+UHPNk84vq1HP4IFPMQcMJLz00xGLTItMLJX3gBo5iglUoCH0uzodDtJNBzJen47RmNKJ0K9XwSnBFcbicG66A8pHRKOayalf74azRu/2cswQBG1yw9xUIteR21q2OZOIfaVKmlHsoNs1kbpbLzHXloNEeWqCdvoekqHV8URbhXByYpPPqP+Ca+AnYnlHfkIdNq9WEQiT1jj1ani6XXo9POoPmmsDhNVNMq3tkJOu06FrNC5tEDuiJq27GwuraGySy8u0auvHuFi8+/jD/k4+bPr1LvlBkbmpSfj+HREcbCJhxTl+k1UzQLNZRWC50s1uirlA/v0Mqs4AgtYfB6URt5WtUMZqsf1T5AvXAfU7NF3z6CSUAt8xWqlR36tRyuY6/TPLxPrVHG2suh2mbRAjEq6Tv4Iido9Y2ojYzcTiki9ib61noHg82G0mxQS61iGTiB1tdpqi0MhgCddhaDngbFS19Absw1GskdbKHTdPVDNM8xmbpq6lUoJeUFWFCRNWoYnCE01zD453nzm3/M2z9fodjp43cZOTYbJVepUC7ofOYzl7mz/ITbV+9RbArPssZL57z8w//p91FDp1Ga2zQ2H2OwDlCotbEaurTrRYxWhU5dRc/exzX7PAZHiMrebcpb94i98pv0ow7MxThT0/8z6VqTgZhQhnWgbcPptxKNOmiV+xSO0mxmu5y+MEpseoDDvbR8q5b1PE67eC/a8NlU6nqP7ZUtOkd1nJoJza7I1xNwmBn2eCmUq5QadRpmDbexzcvuJqdOhjhYb3FQrTAVcTIcdLFRqbO6WWQ6bJDaMlEdOzbmpV4Tw/E+s7NhTNYm1ZyJbLGOU5DeCyrBqJ18viSZCQvzI/z4x09xeh34NIMcMBaqFQkBvHBumPff3ScYER52E71+jzNLUZafFNlcFxsHjUf3szx3aQS7H3Y200zFBkhkxYAOOeiolvK0VTe1bJXYuIPN7Tqq3mJixs/BTpGRCQ2nxUIy3eboqMBzz8+wshLHH7XLtMHUsSCqwUruqIjJIkCvNZ4+rhEdtNMsd9DcKpWqzu6mUMlqMiGQz3ZRzII35GdjrYjbb5KJlHy6iV9U5jJtxhfMZHJdmtUOFquRbL4rO/OPH5ekC97l1NjeLDJ/zIbB4uD6vX3Oiw1ovisBcSYzdNsdZk8EWX9UolJrMTc9QLVTZ/l6mpMXI6gmlY0nGXkATu0VcPvdNLtNUd3nKFVEtaicOxejkK+SO2jQszbl5UxT69QaCns7HYanhOkoicvh5szZMOV6i3g8j2a2cWz+k4VKt97j6WqJxeNBAkE7tUIbd8jA8u0K49NmCrkGXr+VeqvLzVt5ji/YuXB2lFs3jyhky0RiXkZHvNSKbZLpDAeHVUIhDwXhmI9YJBhV9GYrdYVUuszS6UFaQn/b19l6UuHSSzGS6Rx2s5t0PIc76CSeLjIYddNpG1i+u4cvJLqkqnyGinreznoDp8fC8JBQjmZx+F0ymSA6p76wjfFRB9evi2e3gemYjajfxb/6/ibf/NjA9LQdS0NceuzywqA4DDx+UiRsMvLjt/8Z7ulT5N78Lp7jxzm8dxe72YnrxS9RebJFvbCMx+mlkLiDc/Q1TCYD3WwK1ZCVQ7O60YmlW6dt9NASQMpaDjUYZuPRY8bnjhN0+cglVojv7BOJDeIYH6O8eYTaLtAw5QkNPEvPEkVptlD6aeq7T9EmzuEYilEprGPzj6J4NJR6GiWVgolL9C0OmoVNVLuHfnIVq7UJZjfNzV32V5YlnC4c63L17Sfozggbmwm24i2sDhNXHxcx6ioHlR7DbhOZQgddhJVENU1vcfaYnXSuw+NUm8szduw2A5l0hUzdwrEBlWjYzkaiwvRYmPkBOw+3EmRTJSZGQ6wddqi1OkwPaDSbJXSTjXqhQWzEiVE38/zZMf7xf7jK55+JkYhnSFR7cnDzdLfCqM+G0w0DQQeNao21nbpM/R6LRbm9nqGsN5n1+8mpJWzNHkbFJAdeM8Mu2oIJ023jsWqyJpWrVWlUdYSKxO/o8TQpzDleMnkdq1mX3fr378aJeh04LDq7pTaTAxG2E3UOKwUcZnhmIcTj9SxCNO21O8j0dOqFLmG3xpkxjYd7R5wcNHEs6mbcVScgUngFI2eF31zts5mo4lR7TM4F6DV7ZA5zpNI9aXYRNby//XGC8yd92Dx9DLqJht6lUTWxnawR8RroqT2Ocn0JUOzVFTLFDpcujrG/k6XYrpNNNnnm2WkOD+J02n1OnRtgb63IR9eTXDwdYVpUtdJF+iYj/TK4BjvcvJYn4PFIurxirNHoGDjcrrJw0icHDKJ+/czFGPlCFVfIQuqgxmGqJD/bE0KdfVCX9H6xqJs/62d/u8beXgWnw0SzKr4rXaTyTX7nN4/zwUd7bBw2qWfLqJh4/qVRHj04RIQJJwaE4lD8/UJp0MIfCfLmT7Z57lNhNJMVpWdEN1S4eTUnN9TegIbTb+f7397k4nNiSONg9V6aYqOD3+fEF+pxtNvF6jJQLjZwWB0yvWsyqMKwy8SIj+3DNHang4APCUNUlB7H58Js7RdoVLvSOrPxuMCJc1GWH+yRPOpy6eIA9++lGJ/10G905fdPq9fl/beOeOG1IQkV7xpb7K73MFmMxEYUVh5VZKQ/Nm6TQ2Bhoyg3RSLKhc2mY9MUihUYGrXx4PYRZ88MsbFepFjq8tzLw7z5kyecOzvIxmYOvW8hvV9k+qSLzE6LFz83KXv+/+X7CZ552Utiu8bnvnCch7fXSaR6PHNxmPsPD7A7rbg0O5lchXyuisNmZv5EkP2dKtVGC7vFgs1pkPrKm3fjcmFstOk0S2am5izcupPg4LDP2UUn5XJfMonCgQAbeykJKQx5nHgHbeytlzl5WlRR4swsOAj6nBwl25QrRTlwT8fLeFxisGlibaOAqd/FaDThDVgZGAxx/coaynd+Pdj3OjQqlbqczokHZa3YxOKwohoNdBsK4UGF+7cKeAJIUN1LnxomsdeUMTen2GKVG7RqBsIjKtvrNanEGxsNs3NwRNhrp9awyG13IVsiELayeHpYPjwE2VMQitudHlffi0stxf5RHbUDkSGdRFxsElQ5tRVvlodPUxhoEQh76NR0iqUe7XaN2ZNh2qU6G9tlDJqR+Vkf+UKfDRE1HLSDoU69aMDlVJmYH+AolZETlGMLIdm/3kvnGY04aNdVkpkqZ89EKZfzdHUnwaBCLtPG4rTQahhEO4pSrUAiXmVgxEYpVycY8JBKt3D5VGyqiJME2N3JkknXyKbbnLngx+f38mR5n17fJN/sH7+3g8lhYXRcZX56hIcrCQq5PseXPHz/b7f5xdcn8QcEVbfJPdEFarXlBr/VbnN4pPPyc0Oye+O09bA7jNx+VGJGGBNGjFRLFiwWM5VWhf14k1K1wUjUS6fRlB3QUslIqZDnxEkfjx+UGIgqvHTCzcaB6JMpHDZ0mQx4b7NIo6FSEZHrHhzzmZiNeUnnBaG7hUntEguaWD9sUW4r+AJ2Wo2y7NgIFsPuYRGrFdmFFHrFwIBG32RG12B+egJH2E6732Hj6QH1apeAx4vRbkTtiVicmCoLFYkJm9VL9vAA3SDURadJxlOs39/GrBqkVULvGxmOODg8yhH2uzDofdmhEjyF3YOMpJoe5toI0L7S7hISQBn6nD3p5tL4JN/9+xv86lenuXE/zQ/eztDsGIlF+8TCXvp2VcKSBOTq0VpG9gEdmkp8t0dwRMHat3GUK3D68hD5vSatbpW5YyIylufhRoaTU2E63SZeS5d/+r//Lt/8v/9W+rKfuXSWdz+4QSHToW3okkzXmJoYZvtxgqNKF5cdCasR2yCTasbvFTTVafqi+hDx8tzlc9y5c4WN3QIn5mdZebCC5nDJw9LKrUecf/6kVLF99PEmB/EiU1Mh1leTUmnXVEykkjrzE1bOLo2yspJgenqE2/dXZXLj5Mkx+sDOzhHzc8Psrycw2DT2U0lmR8ZxCXtG6ghdVQn4vESHLbzz7jKVlgmH1SQ1jv/+WytMT9iIueDUiQCDI6N85UuvgjtA3+yB3AbdroZerdIpbWPQXOR302iDUyhqC6VckIcns81Jqbgjo04WNUJ55xZtS5fR+UvU+246jSxGvUY1vy81eYbQIgalS6fdwaJa0EWs3a7RSeepHN3BNXoBozNG6fDnWKxhrNFZyrvvYbUFsWgxOp0qhfwB/WocT2QBLTSA6h1BrVdJ3XoD3/w57P4wrWoNkyNEcfcJG6sf0uq4ebK+yfzcSb7/9z/jxRfOYDZq/Pztq/hHopw5Pk4pV6LbbvHpL74uQYaG+gbFdBqTdYTE8rcJjL2MZ+51iptvymi/I3RGGj/K6Qc4B09SS69iNPkoJx/hcNkxRE/TqSmoZh21maKf3YDQLEaD8okBwjWBrbpPaucm3rHnMbhGqVXT2I0tWvkDXLFLVJKr9Pt5+sYZFNMRas+GweoVjRF6lXWsI2ep13r0umn6R7t0u0UMoTM4HCq9aptWz4ijk6SguaT2zxUKgOAGJHf5F//0T7h+N8+rnz4tL6S1Wl0OZrO5Ov5ABK/Pza1b99jaPOIf/DevMjMTZGD+Am1lmPrmFUp7j6CRwbf0NXRFyBXS0Mxh9YxjcPnpH6yjCJjr/SdMzE/SCw5gGgrx5//q3/C7/+QaEbvKSNDIyGhQbiWEfrDbrqObLfR1oXCzSvPL9Plj3LqyjMNjlwAdAz0iwYD8Wd/57hVKmRbnz0Q5yrXYPihy8ViUeCaJ4hT+6ybrSRWzockXRgyy86i2dV47M8D3Pz7i2VNeDg90Pl7JMhy189wZm7TZrG7VpJmgXVb59Odn2N3LSjDY6JCf8TmNf/2nq8wu+LCpTVSrAKQ6SQjVUxF29+pcuuiRtOH4QVlSfcWluic26mEPZqtOLtNk86CCua8QmxR9QYOQSEo10oOHBSbGLQwMB/nPf7PKl74+wbV39hgec1LKN6R6kX4HVdWZmA5IpkhytyoH8aVyC7O5g6JYyBc6kmGyvVtlataN2HvqbYWHD3OcPxcmVxKDFIdozslupQAMnj7tlt/NmmanWapRqvYZHrGTjtdlF14MHX0eB5GAg2qlTrbUoK8rjIx7UfpGDjYPASuHyRKnz49Qr3W5fi3J8ZPi/+9K97FVHPRMTlK5Gi67xti0BX/YQz7Tplho0dMrbK53GZtySNPRnQdxvA6rZBVpLjPJhKi61QkEvNy/d8TXfjtGs2Sk23Bw7/4qNicYDZpMHbS6RfSaEY949nVFmsJMo9aTrvGOrmPSjCzORfngw0NZ7ZuZtjExYedbf5Hli1+bpNkq49BEfbCFO6TxeCVPYr/CwJCoQpgZG3dKXkitWicr9KEGD26PSrncJJtqMTYRwO0UibecNIkMxlxsrZal51moCgXh+/IroxSyYvHSksMMu90o9YZikCKMEm6LmVv3Mpw46+Vgp0UxU+G1z8+RTaZ5sp7D43VJMK+qmdF0K0ZDh1KrzfCIX9Yho04Ha/tHFJoafr3I+UU7H+y7+YO/WOeFs24OUk1GAnYZt+0U2/zgWo0Lz1r4yff+H9AD5LffI7/xEHd4EoU2lsF5Wpl9bPYgTWMLC2561TyFvauY3T7Mg8+iN9aw2cao5DawOmN0MjfBMYUxOIqhWaPb62J2eegUChI8q1pNUKxhsRkpZlbwxS6gOI7RSq2g2C2YrJpMQOnlTczhBak0LQgDTXCKTvoxvY4Zh6aje8fpJHfpd3fR3MP0lRa2kc9SXPkxNHfwvfI/Qm0DnCNSTyuqqMy8CNUy3ewTyFZR3SqpuzfZq1kx2uyU4k852k/iDE1TaXd4sLoruSEd1U7QZ6LVgfXHRxzWhfbRTipZRTfLEhv1jhGDuUsLE2Fbh70jWFqwcpQTVhETtLoci3owu0XVyEAy1cRiNzEy7MHYM6LQZ2M/hdmoEPY62UyKGm+HieFB/E4DpY6FD65vEo2KmkGXVq1LKOSTmlkBChV67VaxSTzbYSHmYCvVJuo34rB0MKASidhIVLsoTZ1kVhjAQrLTvrabJxK2MBiM8NatTcrlNp86E8bucvL+zUNiETuFeoudeINXl0KsJtrsJ7OMOoy8/Mwgb32coKB3aIiRc1WhYOjh7HZEYAbN5qERLzI3JeLObY6HNbLZtuR22Mxdwv4odmudTquO1uwKAQBLk35uPzji3KRPLpz8DpusKRZNKo26mUfbWT5zeRJjv8/KTop2X6Xe69MsdLn7SKdtrfH1z09x4+4+Y4NO9jINmdp12FxMjLgZipm5djXJQbzH1JhFhk9Um5WdtYJMY4nU1TMXBuXQIH5o4P7yEQuzTnnG9bkNjE2FuH13n1NnRySDan+/yv5mjQvPhOTyyumxkxU3264Rt9Drair5owqDI17u3soQDRsYjkVkt/woUcFgcrK5niAoQK9NwTQwUa30UOkyPOKhWGgiYhOapkkC/dSEg0rJyPZ+Rl5mQ2EHd68fkcu2eeHlQaqtJrlcneQO2Jxtmg0xqDXg8drQuy2ZLIgfNDk2EyCVKZHPNHEG3FSyDSr1Bp//4jR3bogqhge91ePx0zQXz0+QFHrHmsLYrJd2u8XKo5xMfV58JkRyL8mduxV8Xo3xWTc9vYNdc3L3fpILF0I8fJDFZlLJFxvExnw4XBZpwakW6gRERQmYPuZhb6OAL+ShnC+SzrTx+p3MjNv4+E6JUKSHS7PwzjtpLj0botZosr1V5/lPBUgdCFi1jjfoYO8gxdiETyrHO70qdx8U6daFhUBjbbfMzJxGLqkwOmWjXNGpl7uEIyYywqzitRKJOvkvP9jjzLmIvPftreUx2wXHTmXuZJAHD4rSinTquInbNwqceyFKNtnl41sH/MqvzrG7XSaxl8HhdMlkrWY3yNqoqLJrDiNul8amVEg6UZqClRNg86CB8qP/Ltx3e63EBFDiZ7symi+cv+KXqLfMWKxiKGDmldfGSSSzPHyYZ3oqyu5anOGJiFQNBAMtYtMh7l0T0/MQmVKRfs2E3WXG4dXJZwRDTtAinWgmM+lilmJZpV3vEvEJoIWBoMeFw9emVjNTyjbxBs2yeiAOat2u+MVp3LqS4cVXwuSO2rzzfoLnXxyQHZKNzSOcqoA29cgXymhWB4uLLj76YE8mFDLJGp6oGYvqkr+EyKCC3jVx/myEdLHN2rJQYdmIjvVIJsysPU5z6rxfwj2uvp/nwrMhrE6F9EGB48cDWG02fvj9XU6cDjA9GeDatT2Ozw2zuytUXS00s0Kz3cYXiFKtN7EYG6w/rDIQE71aBbfXwd1bh4xMudncLGKzWgj7LJgtwq0qlFNWComK3CqEAnapkFh7UmTqWAjV1OfJWh69XcVl93DrYZGlszYSqRoRl4e66N+FFDxejRt3stR1C7/0C8M8fpwkn25jc6tkijqXT0X50Y0DupUe5y6M8MYHe3xm0ckvvzTG372zyplpjRmPiys7Re5lVX66VuGDtU+SbaMRcfHu4HO6EKKR6IBGNlUj5PPyYC+Jz6HRpMZQ1MdOrkHUaUNRVaq5NlUhrjcIrkQPX9jD/m6O53/htIQapVJZ3F4/+zsHkm7uctvwOO3UKg0sNhP5TE6aKAQropYrMBSLsbO7hWZ0sPv0SNYp9E4Fr99LrVxE7faJzozTzsaJDAZIFXpkMhmqtT6VujhUG2QvX1wU1nazbImobs/AhflhSRzfOKhiUxVJeBfQtIFhNwa1Q010hxUksCyVFZsRo7wIJ4+KVHIVfBGxSenRavYJByDo8XEouqdTbhxmTUaq9vb2aZU7fO6LS9y7+ZT1rQJ/9IdfwiB87IjN3bSElKi+ccqJA0ITJ6nv38cq4oB9nVKuTMAXomcSbBURTyvRbaRJHGaYWLxEvbyFLRxj59YdomOD5PcSuEIDpDefUu/Z2UoW+fC9n/PujbJQw3NqKsqBAA81e5LeXK3nGIsFmYqN0ugImNYRF0/N8PHNxxyUdF6+eIyNgyzlRJHxhYg85A+HAlQ7VYKmHv5whPdurkvCtLj0ikm18MAuzTv4/X/4ZcmwsNj6DJz5ApS3qG0n6JkFoThBp1rCExihY+1TiaexuhbRbDayMgYqOp5RKpvXUfo7GIlgcPlAsdHv6Bg6B1JlJnSVFo+B/MEhrshpSXgvH72Da/4zdMpGlNIejfIhZm8UxTxCtxH/JOreK2E2mjHYBkk9fAN7JILNHqMmkgyZpxg8MXSjSin+QIIP7f5xydRQjBbS6cc8vHOf9998wvDkAKeOi9RAlZ3tXTzeASwWjXsPHzAc8bP0zBKL5z8l9U71SolWegNb+AKl3GOMjQwWh5NKVcMV8lPZuYHqElv1MXpWE0otgyqAe5FFOo0a+uEVTOKDGThGr5HF4J6im75Do36ExX8Kpa9T2PkI98AiRquLXqeHQSnSd0zTSj3FZqpgGv0cpfhNqQbr6W0JfXMFTlFM3sPoHsNsnQVbheruFawWA6a+T1o/XK4Qud0VLLFpXD4PtXqD2zfe4o/++EcsTE8wfzwoh3zNUlNScZ//1DP8zV//gGjYjN2iUs5q/Oo3znHq8y/T3amT211FG1nCZBKe801MgjScSRIWgEi7n3ozjVU8oAxiQ7eGtXiIc+4cpqnjHL79bT73W3/OwwMzSxMOXjjr4N07h4QcVkYnBtheT8tYrjgUPXy6xeziNDa/l/h2Un73Cmp1t9ekkKzS1xukd9O0Cm1iUTc9q4pXVG4KDaziO8zh4O5qldlxM7N+WLQpnIkZeHRoZDkr4Fl1Oj0TAbuCajKzm2hzecGJ0dYhV+ixs9rg2Rd8HMXrRCN2Wm1duo4FqczsMGFUDNitBsLDNq5eS7C7W+fcubAE3F28NMrm+iFeX4gn2xUW50wc7jYYm3VztFOhZ1VwWxRWV3VsLgODorfb7DMQCRKPJ3mwXOfkUhCH1qNTh+2dgtwYT85HuPfxHufPDeL2G3jnrTTT0zayyTbFWoPz56JsbdXpd9uMT7qpFjt4w9onXcz1KmMzRna3GiydC+Nxqty8lkGzGej3VYZi4oD2Saze4XBx7cohI5MaU2Mhio0K9azOzlaV0SkXutqlXhB1CYMES1UbfYrZmuxcWh02pmZsPLib5/QZF82WgZvX4/j9Ll79xVmufrhNXFhrjvlotzuUilX5LBH9zUanjCoO7o2ujKb2+p9cgFp6iUpeDN8n2VxPEgpY5PMqc9TE4TLg9tjYP0hz7plxjjbyWNyi8tHm6eOC7K/Wa02Wlka5d38bq8OK3W4il6ng9wfp6lUJzVtZLvHaZ4IyrZiOV/jqN07y7k/XSKbrLF4KsHW3i9nWYHTaSz7RkD7toSFxXsnj8QjNlEVWIBtVA65Ql2bZIL3PgQE3xWxVXvAVo514PItmMOP0imh/hYX5IAcHOcbGgxTLLdw2G/vxDO1OX1ZhQkELoRE7y3cyDAx6cXgguV8jnS0xOjpAvVxhYTHGxn6SVr1BJOyR1gKLgDdqKqlck7C3z/aezvkxM7HJAf707SR/dbUjPxsXJjSODgoMjgZY3chz43GV3/qCkT/71nfoCcjl/R+i9qPUmxkcVlVIRDH5JiRwtLp+H5f7GN3BoAQhK+L5UD1CF9pUVxBDcI5+tUBPc8l0FGahVM1j1AL06xU69W05qGk7/Ti8CzRqOzIhoCt9+nqALocotR42zyhNsaZtVkQLGZwhepV9DE4/mnWUevEharNO1+JGUdyolUcILUHPGsXQ3KNSzuH0jaEGTtPvtujXilA/oIEHs6GERa2j1Ktkd3dwjU7hGD+D2eeGrqCyHYP6bShmIPYcFHY+OWRFpkFPgRqAQuKTbUAtR6+lUW8fYRZD3mxRPqfFQmRjdQ+DPcxdoajef8yd5TIdYaIpg64L01KHlrDriGR1V7QdVELGHhY7RDwKQz4v+5k2yWqT88cHcBgt3N7akWfAfKtJbEAjV7ZhdrXo1IUu04aidTk1GuODp+uUCwYuHw/wxtUdZiYDNKoltg4FQLbN4rQTkXUU6R/BPzDqPSZHPOSaogKcl5dRAUGNBgxye7u1ccDMzDAPtzN4bSotbJTyRabGXQx4A3z08ClWzc6A1UBP79HqmSm26lKxt7GbZ2gkTL/2yft7PV8jntcptnT+P5LeO0iSNL3Pe7IyK8t71977Hm93Z82tNgg8JQAAIABJREFUudu9vb3DHcwBWIAABYISqGAQEGQokaGQSAWpCBIUJSJEhEhAAgHwcDgccLc4f+vtuJ2dnpke176rust777KyhO/b/2dmN6qrM7/vfX+/53ENFAk399jEM0Al326wFHPTGdokXK+n9ZkL+WhW2oTGHVhbJqe8A+zOIR6xlbQq2J0eTsZUCvU2ikiuYzAVVJiamCZfLMrK6ub9PM8/s0A2V+KNW2VmvE62jtOEAlZsHicumy6BrqgGPs1FMDTg1KlFbt1Ns7VZZmbSJDDtRRPPoKTJkB7HiTrT82HJWmkUTWbn/DRrLdZORLn3aYZCY8DMtMbMbJBvfeOA8QkHqyfCHB+ViI3GyBylOdxqMLnopVnpylqz3eqg2hJGAgv0FJKpKrMTEcr1Cg7VgdUBkVGPrB6/9X5CDlfDETt+r494PM5zn1/k3kaWTmdIuWTiCQ6YGAvQM5sM6w4cbhsWa0dWHayazoOtDE8/MYXV0ueN99OcOSsqEX4ODvMM+n15hrKKJ7LFkENRCVw/G+TBZplypU7Y56Nc7zKzYOHxg4bU601PiMVfDavmYG5BpKcUbtxKMzPhlNWG+TkPh+ka4xGdfGPA3RtZpibDuBwDaU2we91y299rNDlzcpZUuk2rXSI2EqCc7+F2a8wveak1uuSSbWm8Ee8zcf4WkNNWR9TErFisCp9ezzI9IxZ+VdwunxxshPx2coUGsVGHHBwndnuIbcatzQqxiMYXvzTHrZtpeSYbn7Wz97BJeELDr9vIlfqUSy3cfo2TJ6I8up/D6RJJWg2nu8/MXAS7TZfL2LfeO5R1oqkFL4V0l3xFgBV9HOw2mZl3cLBX4eyFSZLHTQ73KywvC0C3ivLnv+4ZpuI9zp2N8enGEV6/m/FRlVLNQrnU46knI2zvFaU2Qlyi6s2yYPTw/Mur3L2b4vqHab78lWna/S6pRIf8cYvINLI/9qPX91heiQizLn5XEJfflFOReEp0HoV/25DT5f6wQyzqlB1P0QFZXAiTOhoQjKk4bSadnpWN+ynWF8dkclcZqvKAKPy5G7fSBMMODFM81G1cuOJm40ZdLBopFgecWouSyzUo5zpMLrp4sFFhYlIhOhnm4a0i1U6XS2diFGoisqJSLPawWoUT0ycPPaW8wdScjesfH9PuKBhtEckYsLjiZf1EjB/98DETo1GpuSpWReTCg9EV6oc+83MBav0ew/qA3sBG3xhIKms6Lv6+ja6YDrd7KJqdo2SOWCQoHfTr6yG6wutdGJBJVblwKYpFt2FnyO17h5w8NYOqamw/yuPwKnLi98GNFlanIcEeyUwXl9OGR7fSH/Rxe+CwYHB6XJA2VbaSDTmRrbTFAMbG3ISIypdxOYZYFI1EocvlRS+qPsSLB5ee58LpOT7YrHLchmS6TdK08Td36xQafRRVYdQ/ZCLkZNZpshBw8G68hs9io2+2cWhO4tUmfrvKbDTMdiKNL+ihnC/j8dpxWT2SDn+Ur9LoqYzM+Ln49AkePtqXbm+X3yEfVjbFIqM+zUaX4+0jZk7OMTrmR6VPIl5l936SUq0uDyEhp9gqZTDECz5oITYa4M7tNKdW/Jw9O8W163vE46JTpDISFYopCw7HkGDITsjt4frNhLRRTI3YZTdIs6jY1AFtA/IFk06nx9K6X0L/GiWTXFIMxiKER/xs3N5BV5xMjGooVg/VbosnV4UqcxvVcPD1177Ixif3OHdmjbm5SWLnL9BJ7GGPzkjKdHH/AMOosv/oAafPP00um6NaytGo1+S0d2n1BOnMAeXsEeunL3L79mPOXDgvWQ0Mh8zOr3Dr5ocUj7Y5+cTTzK6tsvHuD9E8fhaXFkgfHjO5uo7m8ZI/PCJy4iwf/813SOxnScSTNOsdEscNeoKlUMwQ9YVpNkSU0Mvlc5NoVjdGvc7BcRGfO8xRJkuxXuLc6gq1RokHOxlCITcLE0Hq7S6bj5K89tUrvHN9nzufHuH0atxPdQjrsBiz8F//V89i7Ta5+OVfwDO9ANtXafcnyB1el6R1x/oinVSBiC9K2xQgmDShsUtomoV2W2ieLPJ3SDWytPJJ7MFZFLcXizOAltmnZe+gdewSfiLAZCL+7py4QHnnTVyhWWxT56GSpJx8gO7wonuEvtJAUXSMQpJa4TGxs19HdYyRufbv8U9eQXUG6VTuYPOt0e22qexvsPTSazSy98kcPOTBVp5Pb2+ytjCHZo9SKCWYnJ3gOJFn0GpzfHxMpdrhH/7GrzKxNo5rdI5eMUuzsI9r5grVg/ugipSNC1sghtnro9h8dMr30DQXhmnF6nDRz91naI2gW20YzknM+h0whefdjtUZYtjpoNgqGPUuFu86DMsYnQpWzc9gkMLuP0M1efUzGKLViqo6MYo3sHhWUc022U8/wj47gnv8FSy1WxCeRO1EODp8G39sAb/XjT59EdXt4tu//7/xzg8+oNZWSXe6/MKrZ/Hb3Xz/jTuMhbxUW4KX4GJsdJ6337zKk8+N87/+638LXQu144cMVDvDxC0U9wh9iweXy02jcojdPYI+sUo7+RhLvybd3oNcgtHzz9IeP4vD6uXf/Pf/A//4/3qPqFfh8slROt0GQZ+oLInNRUnWpQQFffxEhMW1eTx2G5ubh9QqJbHnwOZwsHRynGo2SXW/SjrZpN9ooAc1Qn4H+XQPm9bj/EKUb9zJM+WyMxHWeXWkw0UZK7Xy3pY4yPRw6zrzU3YGXQfffz/N330txmHcwGbrs3W/hdWtsb7oJZGoyA3v8VEbb9CD2yYupn3u3a8xOuGTiTVhilg/Nc7V947xh1UW1sbIHpc4PuwyvhhkdyONy+vG5TWZnPZTr7dJZXusTDkY6nbuPyowPeqUxN9Gx5RK3kKphsVqJ+gZSsZLMORkTyiIbCZDQ5Cr/UxP2NjdqtBsmTRaLbw+Fwc7GexOncnpCIVSRXJv0tmqrM0MDaFrcvBws4hVHxAMe8iVDBYXPUR8QT746L7cBjl0B6NjHt58a192GbOJhoyuvvzlWW5+vE8w6KNcMygJ8GtMuOWFIUCQmbssrYyQzdXR1AGWgYv797KsrLrxR0coZQukiwWWZ6d5tN0mGKqTKwwYm3TKbW6jWSUQsMlhca8vVIMWcvk65XKfF14SyasqFqeFTrNLtW7Q7hosLwZpdloUM9AXw0XdQiigkT1uMTbvYP9xSzqvs8Uaa2sh4jsNCTwenfJidlUKIn6ravSHQ668MMrup2VqholRtVDrlXHpFgnUzOUqBP0B+a6rV2Bqwc2l8zN8+ME22UKXldUgyf0Kk0s+UnsNORxYXP7sYv/J9SKn14Oodov8/Pcf57A7dL70lSV+9JNtzp0alXCujdspTp2MSiZKs9Ph1Lkp4o/T5PIGAb+NZLKG1WZhatrNwpyf40STva0GMysulEGXrcMm5Vyf175+lrsP9mXy5OxahEfpLMmCwquXQ4yE3PzinzS4H8/w4qxONBBi42GBpVMjZHJtPrxT4F/9o0v89r/7XdgfcLj3PpZOn/DcGUoHDwjOnKNT2qdbT+Kb+Vl0W1sOLpvpQ7zLX8akh2Kp00kf4fBMya1+t7iFbWQM1TaDWRW1trtY557Hkj/GsOrYwkt0E9ek/UD1L2F1qvSbJRQ1CC6FYSXPUEzBhg4Utw+r0aJVO2ZQ2sQRe4VOfQ/39EUJ9exnDuiW72GJnUH1zMp6m+gPd9KbKIFRTEVD7ZewuWapl1IyiaP5l+jkHqK5F7GHfXRyaRrJRzhiY9gcEYxmg4FZlANAuy+Csxkn17PijkxhHu9iDFKguPHOXJLJOMtQlSrKZtOKLeaXdUTV7UZxjEKzCWEfNEWU0w5KmeH+Jj2jjuacplzToJkinz0gt1fg7tEht64ZjJ2YZuPDTYotnUCgx6jbykGpw2HFSqEmNrlwYVLj6oGBVddwdUxWT/npDQdMBOwMOp/BVKulGqPjAgw8ZGEixkGtQa3QY0WwLh4nOTvrxLQH2ds9lkwEV1CAOvtMTY9wb1NcghRKdYO5CY2oL0aykufS4hjX9nIkMyVKJbiw7qaQGTI65iXiG1AzBBSyiTE0yVUNgpqOx6WSFPYqzUKvrzITsVJtqaSbTcYDbjKVKhbFYH1ynDv7Valu1B2a7Fmnj1vMTrqot5vcSXTlEmkuGpBnh2SrT1mko1WTLzwZJbFfRTBjz6/ZOYw3GHXZmPV2OMj1+Ff/3Rm+9+Yhfp+DUqrKXsnCqSmrXJ7m2n2ufrTP+RMRDKVLvWEwErLy/vt11lbhqaenqZacXLu2JxWcYrFomg7GJ6zcuZ/HaXXy2q+u8Z3v3CVz3JHPzoe7VVJ7dSw62O0Kp057yMYttDo9BNnhiWcm2bgTx+x78bhF31GlXOuzfnKEt99+yK//2kWpo7z5aZzpUY9cFh5livJ90G4OGJ/yyvpjz2zRrvbJ501m5/14QjqlbA27Q9iEBhxsfTbYWDnhZ+tOjiefnpW6RodbjDEgKH42R23cbje6OkBz2BiaPfb3G6yvB0kkauTyTUYDQQzbgKM9UR/RJGBxesZJaNQjrWBzizE+en9PVtNMQyGfbXL2fJC33jim27dKzsn8osbdm2VZaTb6GhOzLsllefwgLQ0IY2N+8qU66XiXqWkPp89GebCZlqkoAXHsdcU7TQB4BX9NJZlrcPpUlKkZD+/+5AjdpkhDijAorCxHyJXaaGaD0Mgoi0tebn2UZuVkjNi4zp/94RanL07SrpV55guzcoCvKQ6+//0Ez31+VFpRVIuOy6nIxJvYlqVzfaJjUEgazC3ZODo0ULWBvKMH/Q52drJ43G5iYzrZbJtWpcnp82NSWXj9w2Op/bbbHPIdPbcQYGbSxztvHTA9F2Vx2cN776RRPvif5oZ9oy9VDBefmOKdHx1zfFjBE9SJjovYk41yrktnKCiOCv26yficX25w29UhnqiNXmtAIlGUlYBTJ4WyqMLo+FD2KiYmHOw9rpNOt1k/4ZcKOgt2/EGVWtXg9o08r3xtiXs39pgSMIl8k25RkYqt1359lUyqybVrac6fC+Pw2Ll2NcXSsp2JsTE2NhMcHfT4ys8skEuXeOf9LL/yd+YkkKdREsChCuvLAewOG7eu17lw2Su3P1sPmmzcPeTEipeOYaOQqcveRjpTZmnZx5j0b7YpV4esnxuhWoCd7WMmF3wcJ9q0ig1GJz1cu5ZnbtbF6LiVve0u09M+EocFXv25M3znWxuMRP10BwPu3a7wxa9GCQYE2K3M3HSYYq1GNtWVMAoRTXU4B9JLLaZgR49rlJttLl6KcbBXlnApQTJeWnUSjUb40//8kAtnY/QHLbzWIMFwm7JQ29RFxM0pQVeFbJ2F2TBD1SDgDvHx9T0mJz10TbEZ6vL8BQ9Bn+iKdaUr2e52kDiqMz7jktGyjcc1dL8NEZbfTTc5vWSXJMuTowoeXafTNjG94sE65I8/7pBs93hvp4ehaUwKb7Rp5cyylQW/g0fZFK2qFZG16nUHtC09Rv0e+We6loGkb3r8VjxBN81ClZDHw517eQILbrntH5mLkUiXiYyHGI0FKORLHOwlOHtmlU+vPkRzqHJbkUqkmZmaJHGQpFUxpHJSkC59Drckco5FvVSrBseHBam6X1ydRB0obB8kWV4YoVQX35sGGjrFSoNXX1mh39d574NN+UuHbicYsHDi8imODpKgamiaIrchqVSZkREdZWDjeK/CoFtlYiYmD9s/fjPN9/7jV3nxv/wt7vzVdzl5+UkUax+LLUxp4yP24wk80aAkjBvVY4rpOtZAmHwuQ2RkhlhsjNzRDieuPEOtkiGfKxF2ONk72Gbt3NNs3HpfMOKJjE9gUzzcvvEel648S/zwkPULL/Dg8V06hQJrq2fxT03y1k9f5+T8LC6HjdDiIs3MMZpDw+FfoFS4j83ooIrYadPCQaLA1Q8/5NqnSa7faxMbtaNpEPKp8mA6GZvh4b1HYINQJMxkKMjbH2xgszuZn3Kj2B1cv3HAs0+cIn78mND4NO2e6MXVadVNmYq5fn0fs9/mCy+dJZ9P8pUvPsdTX3kJ1RjSa5p09m9LTYqI1AogpHtlHqXbo3ywhzs2g0MXKaM9Yie+8hkjIv82Pu9phoEF6YC3mxVwhTEdE6iF+yjmgF5QxMzfY/zCr9EoPqIZf4xjZA4GLkyHC5tDnCsa2OzjKJYW3cwOfaUKvQ4OQ0UdvYhuc9IXndTcBp1KF3X+FG6gXdjGF5uhlGuyuxXnMJ+g06wyEh4nEBxlMKyRzVWxu12Sory/c4eZxVleePE52pUStuhpGsm7WH0+NP8s7f1rWGw6Tt8E3UYBo1nDapTpqTZcK1/CTN9moGhYharPaEhQaL+SpaNYsNtcmL0Cmn9BGlaE8UFcSGx6VHIMbDaFxsFt1JFZtEYLw1LD5lulb/GjDOJACGs/S8vU5ZRbb3XoW3zUCreYXT8PkZPc+vGf8gf/51/y/Isvcm//gFavzN/7u7/MH/7RNzl/ep6VpTX+6rs/4tUvv8z/+8ffI+Do8zu/8xqrX/gluolH9Codiul9fH4do6th9TpRPQ6q+/tYnUMC4VMUs1WoPsQansYVcOOYfRbMHP/p9/8N//z/uU2+YfLa5+bQ/RYK8RxHJZWggAGlqyRSJa48u0xsboRrNz8hHIzgHR1B7XYwxGfkdFDPZmUiLfkoJbt0TqeC2+YgU+tRy4seppX9FiSOBlyeUXh5XmfJPeSo0UZpWwhPufngdkUOA3TNwOh3EDndXKOKqujks8IFDOFIAJevybjPT60zoNnoExtzkYg3KGXr9PsKT78wzUfvH7K2GqArPm/TydSclZ2tmqy12F1DDhNVZiadEgTo1l1cv5nE7fNSK5bRxABiPiwvpjbNRjYjYKsK+7sNnn9unrt3c/LfGI8J4GqDsXE/FvF41pH0+b/+qz1WVgLo4h0vOFUWg0zKYHE9LJ3vNz6uUBJbJF1hZslD/LAs019ie3x82OPkBTeP75YolntMzTqpFNssLY9yb7PC2gnxne+jWUVE0Uk6X2Ys4qTRE1U/g1S8QTioyiVoJjPE57XgsJr0TXFxFYHIIQ6Hhgg9izqesAKJGt3EjI8f/k1OWhEmxNC2MZDOZDGoFSpF+9AhqflPPz/P/k6cYCCMU1XY2i7z3CsLPLibkEOB6dkQdz9JodgcRH0K5YaIDrtpNNro2lBCmmaFrslj4+FGgZUzYQ52mjLGawwHHB5WZH1rbMJPKVfFJ8wv3R7dgUYt1yA67ZFR7MRhhYXlMJoh2D/QbDdRLEOqVZPkfo3ZxZAcRnh8YnGg0G50GJ0W4CwBhQuxf1DCZnMyNibqllFu384T9Nvx+BTSqZasl5jY8IcUhqZNdkFrzRqJw7r0mCvKEA0bpXqdgE0lPOmkVBmwv9VkelZjfNpPLjWgazYpxQVkaorqoMLRTkNyhlZOh2WVsJYvsTJhpe9R+Xcf9Pje9SoXRhTJSYqMufB7A7z5boJEccDGm7/G4nNfp/Hh+7SVHs7wCqrFTrN4CAPBDhmlVz7EHLboq0H8njCKYwwjd52BrqO6T6EaObqZRyg2u4zttwRRrlfBOfUkrV4HtZtlKLb0wyxa6Dxms4XSjKP4QwyqebqtEjZPVDKcOq0epjeIo19Ecc2iqG46nWMUaxBrp0ivtE9f7aEMPSieKTSti+70M+hoDOobWGzT0mqhmUPQfAwax1icUQzxMuzso1o0+gM7RvYA++QMFvcEZqvIsJJiqGi0zRZ6r4tiUVECqwxEvQon7uAkzeo2Sr2MFp1g6FpByX9Cp36MK3qCXguU5g6m7pW6ZT2wSnX7dbxhO/rsV3E1tuW5zvQsoIdm6GQeSLq6HhuDgQ/TakFx+xlaXFgaV8E6Bo1DcPnEbUPCRnt2MWTrUNgro/6tJ/2N19+UcMOJ2Qne++QxG7stEtkutbbJ7KhKMj2QyQVXcECmZCFmg5plwGzIKrW5m7sNRr12HEERQe9K9sW400nTYhKxW3D7VPrdHuHIOJg9qjkRW3dQQ5U6wZUJDxGnlZuPElhcDkYjXr739iFfvDRJrlig1BqgO1xMhXW5CAw5HDzI5CSR/exskEKzRSbTJeDVcHltTIRVUsc9CoMOYZtTghAnw1GcXoW+0abTQF56G4UaQbdOqjvgcbzF2SWX7Nk3KkMa7bJkPm0ct6QacnnKx7s3y6SKdSZjTkYcXeZ9Xn79jI3zF1xcvV2R6cFsvMn6ip2HiSHDeguP1y2Hu1aLyu5uGrvNy9XbVc6uOzm1FmLzUYXJGStjMRf9rsb2TpnJOZ1yVqVrduk2u9jtLoLRIbpFxx90y1rDh2/tympAvdHkwqU5Ws0hW1tHhEJ2ZmYDsqY8Pxfjxs0UV55e4fHOIYV8i7mZMG6XnWSqiTEQdd8mKytTNOt97tzJ87kvTJLPtcmkC0xNBdh/WOWp52Ns3G7Id0Ag7KReFajJLoMB7B0KS9gS8e0i88tBPvwoLmuhFqvKnTvi33DJM7RmHVIqd1lYGKPRLlLMWqSZbmkuQD7bodkzMdothpqdUNTCvTsFLpwawRga1Kt9yUt74okJyvUCQ9PJcbzE8mkf7aqDqzcTPPvUGNdvppibCOCLWvjo/Swnz4Z54kKUj98psZvM8LkXp2hUBqTiVWZW/MT36hL2+sor04xPeXjzeykUVXCFPJL7ZdcVENW4goGp9bl8foEbn2zR6AlTy4CpeaFcrTEzI1gqphy2t6o9+sPPTGjri6Pkiw0Jou62+qhCjRxwcHyYkwP+zTtlFmddUhUZiFrYfVCXoNxKo8/GzSLRiM7oiJ9StcnuoxrPPz9Grdxhc7skq2Z2zSSXV3jmxVlef30Tt92J06WzOO+S72flu39/dGj02nILImi4J08FmJgKcu3aAWGPA1MxuPVpi6/9/Bh9Y8jH7x3J7XMo6qTTFVsRRR48SsU6U6N+gmN2bt/KyUv1yVMTjE/q2J12Pn73QAIjRmbtEhCSSrQJR600W1UsWpCdzQovfXGcVLpHu9+jUq0yPhKg3ezTFLTQqIVqxZCE0amZIW6vwqDuZHJS5+F2HY0en391hR//4BE2i1UqLJIpRbomS4Uix7kh66tutu7mZY9SwEEuPuGmW1c4PBCbKZ2d/TqvfGlOHrSuv3/M+iWPSIWRq9QwWpoko4uXvOiNCAhir6XLDXS/X5MXxFS6w8Ds0u+JSZCV0ckYOwfH+B0uJqZ0vvWXSVy6zq/+vRn+4P9+zPMvRekZgtBcZXZmhEbPIL1XYumMh1wRbIM+ldqA8XkX+1uiW+8llSswEXFjdeq4BYyq3qOc6XL6TJRkqkatPmQk5pBTv1obas0u5arBXNTBVrxDwGun0m0Q8enMTLg4iDewuIYMhQc75qTXUdl8WOTFl6IUUg35gA8Gnbx9NYlu1fBoKqZdw9Y3+KUXQ9y522RkSiEaHZeu6jQ6//Y9oSuzCuYujb7C6owNa7tPxGXD6xfKpx7tZhvF7qRRbUgVi/AyxyJeFFrIs3PDoC/sRn6bnNBXSwbNisHobIRUo8TEZITVkwtkcmUmxkd5uPGIoTbgyScvcPXqDYyuBY/fI2D0qJYO9YJJr10j6PKQSRaxBTROn5pnayPF7lGexfUYuWyNQrGPXR1IuOFTz5wklz/A6vARmw0S8/vY2ooTHI2S2k/yhS8/zdbmDvF4Dq/fx+zKJEcPttndTBEd8TMzHaOUzfCDt/Lcu/7PiIwEuPvOm5w5/znSuw/JlDrY1Sqpo33OP/dLOF128gfbVPJZ1p75GunsfYI+D8XjJDaHWx5wls9e4sMf/IBCap/Pf/nn0X0h8scHklBdSB0RDMRQ7Qq6ZuP2zeuMjU9Iwvfa+Qts3b1PdCxGv16nUs5joFHNptARCpIuqjdAswzTC8toTjul4yw2T4/phSmsM6ehUuaHf/Yt9vbSvHc1AXaDT+63BReS3/kHz/LO+9elt/bcuUUC0TGuv/ER8ytzNJtdIn4dn8/Fx9e3yBt9TozbcdsCLJyY5fatB3KL6HS6uHnzWE76X3p2hEsnJlhdC7N68iKecy/TTB3SO7oGnnXM0g693DG++SfpdGoMZZxyFN0VpbLx55jqEO/EszTiH6MH13BEAtSLcRyucUmoFYDB9tFNOpofzeHF4Y1JyJ9qVmX1Qum2ZNe13ukTWH2BXjolkybumbOU4++iNLJ0hgHcdj/DfpGhawIhjLIF16kffkSvV2Z8/QUwGhzs3ePBo0O2NuKsnztDr99keWleslN+8tMf8vVf/i0+vfoOE2OjzEY76O4potMrNI0KGB3sipVyMY97ZBndNoZww5SSt6k9/jGx019F90Tp1UpoNtFfH4Jqp1SK4w+M0+00UIoJlPHLWDr7Mg5qVQQjw43RK6H5pqjceRd9JIxNETR4J/ZpoW8U0L8H2KYuYdMb9Got+kMHRq+Of3oSuztAP1/gn/3zf8rHV5usrPr56hcvs3OUYXPriDNLc3S6CvVGDqtu45NrD5kIufj53/hZnvvySzSPdjBKR7SafhxjdhpxwTfw4Zlap5s6wjG7jK7Pkt38C+lmj5f6uN1+Ape/JHWB+9ev8vRL/y3plo0Lp1UcQxWP00oy1WB2KiQ/o1vXj5hbdbN+eoLJuXkODlMcxjMsr5zkYG8fxWYyFRL9usfYRI80U8HltxGIuSRVeXrcwd3dsrRt6F4v73xaZMVv4Q9/xc1usc2nh6YEJ7psGrEJjVy2KR3x2VITj9fBoN7k0mlBOy9y5nKIQr7P44dZrlya4+BA1J2QG9+RaR+3bySYW4ixsipie2X5rhM+9nKzweZmiWc/N0PuuESr2WV2LkwyWaVQ7DFUTIIBHZfHSUrolmw2nn5ujJ9895i2MeCpK0HJ9tnYaOD2qLzypSm++e1daVhZmbdTE/5tl8q9uzlsdhdjUXEpNFDMNpGQX5BkebBV4Mo3lK5OAAAgAElEQVST8zQEOKo1oNMSw26XvBxv3quwuuSkWlNw6BAMOghE7WQTHckk8Ad1qhXQnV02Noo8++wMWw+r2IXqzBxynOqyuurm4XaOoWFDzFkvXRmhkB1gDPuS4RGKhLh7K8Gp9Sg7h3mSGZOZWRc2C7IqIzgp9Yb4eQV4cD/N6kqEqzePuXRpknKuKgnTpy9FJKRv936FWqvJzHRAQmsdbp3DdFaq8YSWcmbORWKvSGTUSb4gkgcGfq9KsVxjbmFCVg43P00RHvUxaHfIV6uMxSbY3ozL2PD0XJgP3oqzsh7G6A+lWeFIbBWnHVQbfRaWomAMiO8XqfcNFmdCEj4otonH8QYjUw7mZv3cvJbi1Z9ZJpmusLVVltYIXQxoAmMUM2Vy2TQnzs7Tb/XkQV2zDygcd5hbC+KPeNi+m8Yb1Ll3u4w9YvK1l8UwuweKj7v3d1EMTXZ0G7WuPAt9/Faasxe8qOL/Jd7nycvj7B6kpLtbVXry7FMtd3HqA3bjBoGQgjoYEA67sbnHeOF/uckz50ZZHqvzOGPSR+eU3cKNoyJ75SGfvvU/Er7wVQZvfJe+3qdnGWAqM9gcFjq5u1j8kxKK2m91sUZ8MsZvlA9QlAgWjx/L0JDVMHOYxelaopb+FM2zit0fpZF4Hz28wjDsR2kMUWsZFLMl2RkdFayOKWhl6NVz0qSiOmZopK+iOgQU9CLN/IcoygTWqAtLKUHPOQbtHJ1aQXaKzehJLPXHGK02A+ck1LbRvDG6Vjdq+iGqb0SCF8WFRsR7VUcUU6mhdA2pFB020rLSM3DPMKg9wqw0UEOTYNSxuyMIOayCC6V1DJYIRiuOzT1F32LgEmk7Vcco3pULfufINEZ7gDao4Y2M06k3GBg26rXbhPyrdBxRBsUkA32I7ojK4fWw3mVYekSt7yAwfYKukO0NW7gcPirx+3jHFzH7dTyxWUxFAAMz9Ps2un0NS9CNkxad9jEO3whKcAoaj6E5BJcfasfgCFM92MI2e5HM4z0ONj/C4bTxYOMx8Z0+R0qPZKaD2RygG30iETubCYOjcp8RsWGtD2Ulx+6Adl+o1MDQFdb9Fh5mBoyHnfTbLX711SWa/R6vv3XIpTE7S09O0S1XaJcVeZYMRfqkinCUKfDk2ij3H2cJBcR3yU6nUuOwbPDExRhH+yKWXic85qJUKLM8HkQdGhxlG6T6MO4ccCASs7M+DKuVdz9K8cUnY1jaXaoKXH9UYWY0hN+j49aaPEz3uTjrlNwhu9XKcccik6fPXJzi//jLTcI2K9/47Tne+yhBqa4zF+1w/vykvLSK+uz9+wmO4j1mF2P0jB6qojA2YadcbVEvdXG6fWQKFdyKC5fbQLXbuf9pnIm5UZnOqJVraFarfNbWym2pDQ6FfezuFCQ0Ljbi4fA4T0xopg0FRXHQaDdlvHzQMej2TbmxTiTKMLQRGbExOx/g4HGd1ZMxrn18JNNPug2iEY1IJMjrf7XLcy9MolosZEp1rBaTRtXgqc9N8OHbOyQODM4/OUU6neY4YbIwZ2NiLsTfvH4gYaNLK0729xpyCbR2QphUnBwf1zFFQkoxZPX3xMlRkinxzm6zvDqFOWjx4K4wLfgoFkvYdDuBoEIuM2Rh0cutT/IEQk5S6aJMmp04GSN9VMTvc1Ju1uUgvlhvcXItTDrRJ1spMzsdolKrSvChSEMM//az+MZ/2uPZF0IsLY2we1iRAN5z58awqwrvX03I5IOAMQqQsM2hYdEUug0ki8nrsXKUaBGbcONUNQmZFRDJZz63xJ9/8w7nz4nfSYVgxM3mRobxWT+FTJmhRZc8iMtPRWl36pRLOifWQ2ztFAmP2uVl/+IlP3dvNQgGhjR6Q3xiSVKt88rL5/jmt24yvxCR9QnVVGm1mkyMu0mmeyyue2mWFTLZLP2uitvlwuxAX5wD3//Hc8P9g6KkprvsDiZmhmTiGkOtzfp6jL2dEu2unXpVUHHFNLuBRXFIGvCdW2WWV91sP2zw4leE5qvP9WsJakWVp18cQ7VAqdwknazz5LMz7D6qUCz1WFnXSWy3mBAffrmC0+PE57dydFDi7IUZCoUsn97sS6/x+SdifPBhmoDfxal1j4T2id6fSBBoWHj4IMPnX1rE5nLwx394j/UTTl56eU1qzmZXJjh4kMcYDgmGFT75qMbSiSAXn4hx53qcTKbH+nqY995Ncea0B4tL5/atFGMhH9Mr4hcoIyNyMxNhxiecPNpJyC/M3U8reINOQmFVuilFnGhiKszRUYlGWcXpVHH7HFx6Ksa19+MY9JiMjNDo1nC4PRwlM8SCERm5FBdbv9uUnZBKZcDf+cUl3r2eYCSiMjkyyjsf7bGyGpBEULdPbKBVQmNiqoXcVm/uVpietjM1a2Nvq8nYhI30cZ8zaxM0uxWOcwOpE7vy7CSJ/Tbb8SKNXo/4QVcemAv5NpfPREgkW6D3CfvccgJrYKFU6qDZP1MItkUMXldQDAfFjiAg96klB1w9avOLT0UxS4LqbGV1zMtOtsriUoDrD9o8Smq8Ee9xI9PHbe/iscJSwMfFeSupoyodpwe/TXSIBIzFQqHaJdkeMDWtYzaHVHJVOc1toqINO7hMC40ulIdDvH4rmluVAKaTly5y/9EBZq1DcMLPUB2gGHC4nZJT62ZRTIMHaMqQXn0gNy4WxUK13WYs6MPl09BtDjotA7t9iO5zMdSsdCsNpubH2D06ppJt0m0NGJsaIVfIs762isej8t4bt5icGke3qhKKufnxfTTNIbty7tgIN+8l+Ze/e4Xf/I2X+PF/+CNG1y7jsDk42ttnenaBqbmoHOQUsklqrSKnr7xM4t4mdp8Du2ajUCji9YdkJFvUSOYW10mndrh/9y6TCwuMhccZKCIaaGdoWnBHgrRLNe7c+JCllQXK5Qw2j4/4gy1sHruMwVZqGcanV/G7Q3j8YZpGj1TmMXbstFua3FLv7d7jcy/9MnufvIfd62X10jkcCxdRWlVoxqk1FRyqweHDhxLqde3GLn/502ucnIyRqnbYeFzG3jd47dcvY3YNLJrGD968yXhsinq9yeSUU3Is3D6hOxORKJ2jZJyf/YWX+N4PxcajQ7WkMbD1pELpv/mtZ5g9s4TacDJoC9+yOPTu0uz3CYWmyOy/zcjyF9ADJ6gnP2DYSTLUpnB6HbQLaayaDzU4glHZw7S4cIw/TbN8Rz4wB6Ut9KnLUinXLtzFrvkw3T7M3AaDyAWC7iiZvZ+g6ePo7iBqPc5AFds5DX1kiX5pB7WXxlT9DN1T+EWHP3mMpsaxBM7LRED28APiuwX29rYxTZ1U8phgOMSpy2cYtPuUm32mvB3C0WWpw2xUu9hD4yiFbYZqG4tvmW7jCLplLK4ZHF6hQWxTi9/CN/MkfdWOUYnjikxjNhsYbZESaGPtCKXiCI5ug9bAgUKFoenAVNs4g/P00luYTh/OyRNkN75Nv/CI2PKv0jLTUGlJSrYtYsNqdeEZCWP2nLz+zT/i937v+zz11Bz/xd9/jZ9+/4d4PD66Awv3Nj5hfHyM5bUJ/v2ffIDaUfiLb/5L/NEwDneT9mGXTk8kFfr0ex7apQPcwRm6mg3drlFL3kKxjhKev0Dm5h9gMUcZf+rLWMZP0ck+5nf/we/w599LMr/o5MzyJN1+jVrNiuowURoDdpIZHH6NS6dP8fTLp/nhj65KR7xdC1KuiIuRi7mFMRK7CR59miBid1JqGAT0ISsLMTb3irInKgZpoaDOp8caC/YuT0+bPDfvItOokSprTAUdGKrQqJokElWZrHBpThbmfRSrZXbFcLXtkNHGkRi0TCGb0mg0Bgw6AxmJtOsGqsVJqVDB53dL1ZDL6WDYHdAfDGkP2zisHmrNNmazj9NjpdeH5UU/j7Y+0wONz3jZ2S4SC9iIjPnZ38oTjGjcudfC6Jt8/Zdn2b6f59bdMrNzAlTo4sFmC5dLZ2JG+JxVwmMRHtzfx+tyyf/W8uKoHD4IHoIYGvliNu7dzjHsK5y/EsDjspNOCPuLhf7QwuK0i92tAhabRkNUoNs9vvzqAlev76GpIfwiPUibva26pDmLBcHEpFM+rzSXTi0HzU6NuUU/Lpubj28c8OQzY9TzXY6Tn8GDT5+Z5NHdDDu7FSKjQQKegVR2NVtDquUeT1wZk0mvG1dTRGIBZmbEe0tnf7sgadRnz/uwmH0eb9fklsnjMiRlW1FEVctKYrfM5ITYTAl/skG12mVsMsSg38Cuf3YeWD05zv0HB/idTibnPNQqCrV2FY/dI00B4lQiIviZfIfZKaeETz18lGFtZZSPP9zGMFSefX6RP/nTR3zp81NYHR053He6FQkqvHEtzedfmiafLVMoDKR2SlgFJqdixCZMmi1Fqo5f+JkFvvvNRxJkLICzzYYhlYOHB226og8d8HF6zSm1y97oKG98f4fLT4bod7souiqHWqLX2u4gI6rZ4yHmsEvisMTZS9PEDzJy033y5Bj3H8aptE2UjpXnvjDLXqLO2ugQv6/Pz/3vJXpiuEsXu6oSHBmlXEjTHdo4KBSplu1s3/jXONZeIvnWH+Efip79ENM6iTs6QrWYQhukMfVJhpqTYbMgQXy2qSuoA5NOtQwej3wOe8deoNZ4LN/rzuA4jeNrGI0C9ugaFkcQu3uSZn4LdVBGcYx/ViXKP5LPS807icUTlmRvkfjpNktozTYD1xAztcnQE0XzzdMqp2UyxHRGGRgaSvY61tkX6deOsAzr2LxzdIpJbLGT9Fp7mPU0mj4DHh1zEEBpPcba79GzjYIzJFMjAhhniKqRUUTtt7CYbbTJU1iVqIhk0a48ok8XpdPDE16m3zliqHmgnKfpsKPXdrDrIYzxF1DLn0K/jhE8D4nHHMV/yuzSEzD9PN3sHsN+Hms5C6MrGKaO0niMY+ZlmtnbWKp7WGdfxtINkE5+S1Y0LH0H1brJyNQardYOjXwbu7VFX3eiq0KjuYlb81AyY9itWQbDOczGEY5AGF1rofnXZTVjoLYw6z30gILiimLaAljUAOg10FxCwQEtC4Z3gHmcRhv0QW8yKOyyn7MR9bowNReJrdvc+vguZncg7TMf7uawNRo4NKH/bFIfKuxnhYXAgttrctyCel/n7KxOpzbg5nGbxaiNZrHL2mqQEyenSDzcweN2sV9uM+4xZCL0zXt5nj4bwOF0EU+X+KUX1/jg7h4PtzucmHER9PtJl+rYNSTjpNYdYigdXILgPxTvmhaeoZPHmS6RgLhki4Fhj1K1Tijg4uW1CH/5YQqv10Kua8FSq/BPv7yMWi0QXYjwg4/28SqwdjZErzwkELBg8Q25da1H0CP0yENU3UMp28EwWkzPBWW1wq5rJA/bNE2FpRUbd6+Vcfqtn6WN213cHieNWol4qsmE0P3VWswshfjw7QzNhskrX5ogNgJbOxUODk3W1wLMzIa5t5nk1LkYN97LkEvnWV6Lyax2o1DFKXrXusmwN5C98WK1jW0oTCMeYjEdYyAuvUW8bgvp4w7nngyxu1vF7lCIBN3U2ypu90AmmkxTGBBM3A6dWzdTBIN23H4Lsdg4bo/JwUFe2uhWT03y9k+36DUV5ldc3H/Y4IXnxtB0VUKrp8dHpSUnn+uTTDcZn9Akd0sA8MJhF+16k6XVKFc/EAwEBUOYN44Ez0SwUOq4bV58Lo18rYzLJpbFdbKZgTxDvPyFIK2Gwo7gVShD5pZmZDVWsBf8MSemacFmFek0ja0HZUZm3DhdDqknTyVLnDs/wa2Pj3jyqWU++vCI8WmNjqh3NQX7IiA5FUGnlStfnOI7/3mH8TGdk6fGef+DBBcvj/PGDxOcOR+QrIFGtSWf+ecvj7B5T5hb+tRrAxRtyOi4l76hUq00ERO0ueUYn3wiQN9DLp+Z5sHjMqqi0m7XuXevxhOXojDsMT0Xw2aD27fSKG/+9uhQQHF6Pav0XzuFwqHbw+5WOY538fk+c35Xig2yyRZ+v0q5KXrTQwmpGWDn1tVjmp02Y5MempUhqyeFLrBKPl9hgAOLqeLxGlgF5KVvweMWPxBV0m3j+xUUrc3SUpTrH+Q4d3mEVD5Ds2jlcy9H5OHn+z/cQrfb+OVfWSexn+Z7f5PnwnkPTzw7y3e/ucmlK6McJftsPzjiuRfn+Ou/FnFShRMnYjx+VGRtxYd/zMGt91JcuDwmqfmJow67OyUmxx30e1ZiU1YOHtXxemxozg71uvCCajz1dIzEYZ5KpYfd5ZAk5GKuik2M47GgCxp2f0i9aHDyUowP39rmyrNztHsDCtkWlmFfAuMKOYPltTDRqI1MsknHbJJLmcyvhJkcc/PuO/uyd/S1r53kx9/ZY2h2OHlOgEXacqr3xOfGKRd7fPrxoYyiaDaNUqXFhTNTXL0uuj1WFmedtAca776b4NQpN7Gon1ypI3vshtmX1Oat3Sqvfn4ez7iN17/1AJ/Xj9OlCb4J9/caWIcDZpcUjhMWFL2Lgp0F4SwtiUOFQ/6yZaomk1GFenNISET57dBttjnIdCn0VBb9AxntE5H6nznhRlFVtlt9Wg0nbxy2eX3fxOW0og8G6AMLE6Ee834LaiDI3qO0jCYGvVZqrTbz40EShSbHlRbT4xG6vTqjQl9YbdPumXTqBn3dKoFvosPZb5tMzEWxunQGDeFydSDYpvHdXUYnxznezRENO3A7HHSrLcqdLj6Pm2a5ylCzSY+q0z7k537tVb79jR8z6CsEIn58AQd23c7c4iQ/+N7bRKJhVN0mJ58j0RD7ewLK5afcqOFWrdjsOka7z9Fxh8OjLPH8gN98zsMf/Om/QJ9conO0R6+Sw2YJkbr/Mdevf8T82tP0+13pWn3ve69z4tQJfGNjlAtFDKGj6lrZ2rzLqXOXOYrHufzc50iLHt/1m8zNj8r+9kAxmZtflDC2sViUXqtJzxjiC05KaFS9ViUcHCNfKZLevU9ofoFhvU6j0WBq6TTDXod06gCPN0K1kmVs7iTeYIAff/v/IzoSYHJymULuCK9ddOQ9NPIFKhadi088J6eOsWiIfHqbG3c22X3U5N3rD2WE9uOrFWw2C1euRHji7Dz+iJ0fvH6d8ZkYE14/u8ksHVElKtV4+dmzZMpldLMrXbGNfplCSSdXtKGpPX7/f36eUy+9iDoyj1rZp7b9kGK2i90XoFMpYBObjEIGm18H/wpG5hM5yLKFn6IS/1C8y2QXXnPOopoDzNAMw1YFtwBOFrM0mjlCcxdoJg9QLQOG4WnMTFzSz0U2sKM5sPqXUC0N+R2yu0S1ycBstoVmgoHNjduqUK4nsTWHuMOTNM0eHnGYiy4Q3/6Izau3KVaqXHrqRQ63H+ANj9AoFFk7N0UotEivIQaHXiw2F0b9AU7vFXq9LBaziWIPYLOKOGCZws67jJ/5Gu16n07hIa5ASMaf/dPLJD/+D4QWP481elKmFuy+eayCFWAOsbu89CtFTN2BTbVg8c/TyW4waAuug5eu1UM9d4Q9ehEz+zH+hTPoLjc/+Ys/50EizgfXkvQGCi89ewG31ufenS1+5rVX+dFPP5Au3WG7y3/8szv83j/5IudffR7n2EmMnXsUEps4p64w1AMUNv6CaGAES2iEnulCD0ZpHD9CbxfRR6eo5qt4pj145q/QzW7xD3/zH/HtNw10q4WnL4XxetxUOnWyezW8YRfjY34OD3LEpgLgdqErKrVmh8xhnpH5aWyOHg7HZ7T61H4co9ElmejwyktTbNzfp5QacHIpwl46RzTm5aigYXabzLhMnp8yeOpEgA92ezIdEB11MBUcEK+oWPoGIy63jLPWGzUqFQ2bzeTpc/NsJ/exKwr3bpusnHTKodeNj/JcfDZCLtFjd6fOyfMeQj43j/dzlI4NTpyfIXV4JOGBzr/1pI+NOLl584inn1gmmUmRzQ9YXQmRyxZZOzXG1oMsB4cdlpd8NBs9WWFaOuHlnfdTaGZfalvPPDnG8X5PbieeuhKR1QN/AO5vlakXB3h9NtmNP//EJJNjPg4OSmxuHDEy6sCiORgMbPgDJgeHBZy6n/hBFUXrs35mlGK6Srncoljrs7YclNWiB49SnLs4QTzeZPehANWGP3snVEQdY1peNI8OO7zycyf54Kcbcvv9u//k8/zVN+7S6HSlhtVm6KiuHhMzwt/d4Y3vH3HhyRg/+3NT/OTH/z9L7x0k6Znf93367bdzzt2T8+zszuaIxR5wwAXgDrg73vEYTIqiTLLKKrFol4q2Si67xBLLLlKUacmUbEsWKZMmxXQk73QJxwOwwAK72AU27+zkPNMTOuf0praeB/xr/+qqnZnut5/n9/t+P5+sjLC++rkJ9vaPCfjd/PC7eYZGXcye/DSW+sL1QQJJhadPanSbllRlCWq5PyaGrxUiUVG5c1Api8hZG7ffz/JKkZlJP/5IiPXnORn3bzYNXKaTbL4se5qRISf1nE6xaDA1q9DvhfCGbdIo8f47h/zTf3aFt3+8x9LzY2anEpy9LM4FG5w+l6DbMXEHQjQaTfRmlY6oAG12mTsRld3d23cLjKR8jEwG2dsv4HA4JYSqdlzB7ozybOGY4cEAgbBbphtL5aqsSawtdxid8DCYibEkUo71Cm98/TxOp427t9bpaX1OnkqwulLHNDsMDcfJH1ZlZVCosYq5LjZFXDZEvUKho7cIuIO43DqDYwMsLRziduqEghFstjovnhjkf/zjfX6QU/nMiB23YrJf1iT4t6M1+fhunQMDqkv/G/bJSxz8+G8YjUeoKKIGaEMx7XiUGroSRe2u0emqODx+FFWQ7v0ytdF3+KW5wq3tU9h8QnD4MpY9gCc2Tmv7Ed7ELLpexWZaCJqdkKqq3UNcgUF69TIOd0iSwx1uN4ovJutTHlHRarfxuMDwj2I3G3Rr2xAYRFE8OC2TnmbD5dTp+1J0du7Kw3UgNY/uz9Dc+Vs8VhM18znaO7cIzn+NfmUDrZnFlTgle+zN/FM84rlt9NDqdTwjk9h0EzP/MbbAPH2PD6NlYHMpdLvHBL0J+l5h+FmgL2LOvS726KxM4Vi9Lj5vn2b0AoJmUV/5Nj5HA2v0GxjFh3hCY3RFmqO+TGn/AMfgBTyuOvnVZaKTM5iGhho8hbvfp3P8fcmLCUx+GaO0RCP3jNDEa2iVLL3WEe7Bs6h9i46gdutlvL4gZuQi/dZz+roDmusovhHajilcPp3y0jsEZy5i9AxcWlVUv8HRpt2wQzeAW5gsVD/W4WOpimXoLF5PGr0nwL4RFMWBzTOCkkhgq+noxj5q3IfN6GJ1K5B5GQWTPg0w63QPt2l3bHhsJg6nhllq8uTj21SPd3GHhuirBmtre9S7fQ62CjzcMclV+nL2INIFB13w2KBtwOnRKBdmE6yvl3i0VuTKpRDxSJAHC/vMT6ZI+h3UdPH8r/FzXzzPX9xaIRKyE1A9ska8ubRF3XRKPlSjZ0pmSSrkRve4cPV0rl9I88NPslLt2HOobG51+aUrfibiKprdTbFYZTYd5t0Pj3nlSwOsLxcZHw6RGozK4VTQF6FW6/Jw8ZDPvTJLp9bkgw/3CAS8nLocJREOcffddUZmk3g9MDkZ5v6jAp2axeiYUGU3Mft+XA4bfbvOwV6dWNpJo2GRXTI4e9Un1d5ba00uXomRF7awlsaZ82lK+YaMmmfGBRPCJxdzjx4f8uqrYzz6uCireiIlIACM2xslSasXlxwBG1xdyvHF12ckfPY//t9PmZwLMRBTeXi/QjgcZHLex9F+B7tTo68rJDNRdtaLpAYUmT6u1ftMnnCT3agyPT+KwIIuLR4yMz34aYpyscOlFxKSbRQfjOO0GwwOh/nk3h7j0wmODkRdKcLyaoVKuUGn1+H8/LCs1j1fyDI6lZD1iPXlBifmvOwddoiHVeqdPuMDHmlDcXpiXD7vQbMM7n6UlQYQodsTibG2SKwToFhuSMhvIqGiGAaVWpfJyQGZpJs97ZWUfwGDXVmpkBr0sLEibAlpCWz96IMqYr43NxOkUaujaU7OXopSPWrKRHYwFiSVUdhabhOMuxge8Ml0ye52g/iwuIPEsOpOlpaOcLo1Gh3kXc/tVbh7a0+mDdeWBZdDZWLCw8RkgJXVvDT02JxuKuI+eSXJvmDB3fqn0/31lWPiKVUeHBoNndSIF5fNx/17O4yOu2m0FfkF73a7icddJOIBHtzZYeJMjLvvFbj+mbikz9ebltxARwIO7j8qc+5ijMJBB19Q/JKHODgs0ReSpX5XXuhFV8Hr98jIi/BCOkM6ZtX5aUQJVVYFdK1FLO4nHHXx1vezpAa8RMX2X7XLTfzVK1GcPpVHD/P87E+dI3tY4vC4LVVtu3tVRqd9JCIh7t89JhYPSxKnIMG7wip+1UmtpPHi6+Pcfq/A+kKea68mJcivlC8RSUXp9Xr84DtZvvTGkASWCN/y8GSc0lELxW7S7oqHkY1aVcPjssvUQ9eUlWiGJqNsPCuiBj49PH3yUZXLV8N02jYJperpGomgj2pLkz3Qcg2Osse89PIkjz/Zl5sqh8sku1dn7sQYG6uH9J0K45NBVh7XOX0+Rq9TY3PTYGQkwPL6Mb/wixdYeVaWKgoRubRZdubP+DnaVTE9XcYzKdlFffvDTc5MDtC1GSRjHtmjKR41ZP9V66vyoDc8Eeb5WlFudOotnVcujlKrC22Zyla2w5WLKYxeh1zBQrU7ZVT/8Xqd6+cz9FWdxc0Gx9i5OhyllsszHrAxPxXn0XadDzYa2PwO9hsqz3IK2aoJPQexuI2Xphx06h0CIT/FWhO34qLS1LHbbdJjKaBQnoBKrdTC6xM7WwUUi4OicJzbiHjstHSTXKPLpdfO0q216ZRrxDIRTpyaZW19Uw5Qctkj6SwVerLjnTqlepvJdJJgxo5DdbCxLXpoabn96rY69LQO4XCUmnAxZ9JsbW9TrXZ47Usv0erWpCpJAKdy+xtUqz0i8fuhAJMAACAASURBVBjZgypKq8PM3BAf39smEvITCfaZP+Hk61/9EpcuvcDSw29x8ef/CebBIfv3vk0ocZKnq4+xi7WVEuLocI2LV16mLcizingQ7LGysMK5i+f5m+99wIVTMygeQQcVvtAozVaDTkvoUVIYyqfQu7kzl/BGXdRLTU6eP8/i47vorR7RwSmmz7zA4gffY2hsjlolT6vTkemaPj08wSiCQ1vb3yM9OUe9VUWrVBANr4GpaQrZLIWjIle/cINnjx4zNhTCsrmIn7mC1a6yvXwXv82FEghy79ZHFMsqv/PvbjM84CXiBZ/Hw8TIEIX6oTykxv0uGYXGEeDZg2W6ms5P/uzrLDxeZvP5Uxp2lW43xP37eV655uXX/uE3ufzql+h7FPrHx7RqJdBr5LaW8WamicQG0J0JzHqFfnOfbvOA6PzP0jp6KhWPxlFOdgdNbwqlsY2miQS9A2d8CH3nIZZ3AMsbxN7MERp4kUplC1XP4Rg4S2fvOa3jR/hiJ3GlpnCFE3SL2xiVY9RgGDUoSM4Gtsoz2q4g/ZYLnz2HGh7DkZmmU9nno7ffZnFhidfe+Bp+RcEuExoe3IkInY4ds7Arvdk+d5J6ZRWXbxTFZ0crH0tITb+8im/6ClqxAGYZb3yWRiGLZ+gkzmae6uYSwbMXsNQh9MpzyagIxAYpF/fwuD2YagiH0pKHsXpuk9DEdXqtiqRtu1sN/GeuY0XHsJpZfv9f/C5v/3iZV167JgE+t+9+Qsvs86XP3sDW71Fp9bh1e0FOqH/yc+d59QsTnHrjH2LuPSL75DHh0Xl5yNesYZrH36K39AnBF74pN3oOu1dqCrXGDi5jEUfyZdTRz+OwdfnL3/5V/vHvfkRRs3j5lJ+JyTjbuzmSoQjFUg+NHgG/k7bNAdhITydIDw+z9OgR4XBIpnZSgwPkj7NUcn1y63tQ15mai6FpmnwO+2MBAg4/uXIVly/I3kFDBnPjSoXf/okMjbZGrqngMAxWKm1MS+FEJsD2XhlNt5EIO1BsdjSli8Pm5MaL43jVDh89KhMQdQtbnYmRoBwqFys6Xa2DzaGS8Dspddtsr1q47C0GxoLoOgykA2xsHxMPqPi8IYqlFom0U17Q2h1FbkoE7CeT8EoatVCJ5g47hENOFFOha/YIBjyYisrGSpXrL6bY267TsZrMjaXZL7blAa7b0Jk5PczWygadnlMyKXzRvjTwTE8NyTrb6kqZdMZO8djOy1/MSNK+1+uRcFWbbpGORaiUDNxxB7lsi7npAMWKxt5eEadl48TFuATm5Y4rXLs+SeGoSq3TwiNUW44+9bpJNtvl+gtR3nrrgGtXxKDXYvpkhKfPylLdZ+gdzsyPY1d6PHt2yMRkmvX1Y4YG0tQbLeIJcViN4fH2ZMf1b39wILW8QkvqF8wIlyXrC5sbNQbHQrz7oywXr8ZJxPxUSw1GxwWJ3MMP3lljYiiK4lAxO+J9FeThwqGM6s7MRChVuhSLTV790gwrj6rs7hW5cHGCT+6tcvWFcblwCIct4rGk/PlF/axeRdpifvJnLnLr5lM2V3v8/V+5zNLKDguP8syfSeJyCDWiSJD5ePB4B8XuI39Y54Uropcc4nivINlKp64kGBv0kztskci4uH0ry2c+O4besbO6mcfe75FMB8gdalQbOg67C5dXlxH+cNSg3XHw4OOs5A+I7rlAc0U8Pg5ydWKRAE6XJXuv6SHh7Hby/PERoZSHctliMAajw35cgSj/7e9vslxz8JPn7bS6KobdTq6sMz3g5c/ePSDpsPN884/o+Iao3f9rgnqNfmAWw9FAcc9h0/p02kc47A2UvlBOR+hoR6itPLbES/QqC3j9aRrldcKhAbq+YZTixzgiJ+l2K/QLD7Gil+SzW2y+3cnxT6GtvQqmYLSEEyidPH01hE0TIDA3/aaoPGXQCs8wTQvXwHn06iF2pxOPO4Zu6Z8OdRslyhu3iUx+Ec/kZyk9+D3sahBf4jx4fPQVi241D4f3MPyTRIan6NaP0FotfP4B2kYDl2KBO4TdJrSTdlT3OHpjWXIJBKegtfc2jsgMqDEcLiemLwm5ZXo9XcII1egcDrrUlv4KpyuMO3UDrXBH/v8Nmwuj2aK994TIta+heodoPf4DAhOvogQz6Ac3abR6uPxn8agVDMXC5h/HyBVQIi40w8BWeo7NGcQevALtx+i9JoaoL4jl3/A5bE6Txv4ukcQptN4Omt5E7TtwCvhtpy+B027LouObwNU54nDnPolzv4izvkVj+y628Xns7hSqUJ22sih9DadvFF1AxM0ylaNdUpmLEm5d6WxT21gkFI/TD57A4fbid3U4PG6SckcxI26U7g6KNyM5EapPR++7sdmDqLFRHN0sVleBQAbF7gV3F1NAO3Nrkneg2BXax+s0D9uEh/vc/c47CCHMO3c2yR43ODUd5ebTGnrDJOCH44YNw9ZnIGBjs9THo8LEMMRdTpZzOh5bn89dH6Fb6qI5OnTbYiEaotisygVIo15k/6gv01mr+xVmhxMsHve4HG3wG18/yaI8pyhMCCh3zM7E7AD/+l/elYtKUfkZHRSAPAeFckcalOavJPnkZpHzL6So1TsUDrpMzAQp57sUik0cqljWOfC6HDTqDay+nUxa1IWrjAyF2duukcoEGR6J8PjBjmRxiQrU+ISPT+7ukzvuMTwe5PmjAlevjTA65WFjqcbegSDVu8kV26iWk6/9/ATf+YsNBLRkcjbE/rGGE41wIszuRpVkJiC1ixvPmygBlWTMQXavKVOx5y8OcffOoUwXnzmboZBr0um1CUUC8rJ8/uoI735/nUKrzYuXBnny6JCp0wmpUHznxweMTgZIR8X7z8XTZ3t47EE63SajUz5WVhqcnh+Tms6/fXub8QE/IyeiZHer2B12OlWNgTEv3ZYpAaiqzU82l+Py+WEWlgpMzsapl1vCfEs06ZRJ6W6vi9n3cmIuKJfOLq8Hl1OwVFxE0sJqpnPzx0cUih1+6R/Ms7pUYmOryuRohIOjirTGDQ9HWVgocnImye52kcigUz5rC8U6ycEIxeMqUzMDfPfbK0QzQSJhG2avy2uvnebpQp7Hd7NMnYgwOhWi07QkaH7heRVd65NMKwwPJOT9tFzoYdk0UkNhWT8eGU/RbBlUK20J7s9mj3jx6jilis7m2hGCFZ4c8uGw27D92X+d6veNriTsrjzdx+fzIYrTGyuCbJsgmHSxsVIkPeCTYDXFbZcU3621KlNTIT55eih7DcfZNv5gkM2tYyJRL4qhYVo2rrw4zu131nAEhZNU5dK1NHfePcCiy+zcAOubeQmkabctxoYDFJsa44M+DnM91pYqRBN2LEvF65LaY3y+AKodJubifPzhFudOZejg5MGdFc6czmCqNulALpdEn2KKxecHzE5H0HUV0zKpVdocHzTxx3xMDgV4tFCgr/Y4OzXA6lpJuoSn5gOsLfaYnFVJJ/0cbbfwhLw0qz2GB4OEMvDuDw84c3GY9z/cYzDh4eLlJB/dzjIyHmJsJsqj29ucOj/EBzf36Rp9uXVR7V5WN48pH5n4fQpT037e+nGOz78m+oKfapOGhuxMz8XZXmtK5Z9QUxQLBZ4+F1N9O2++MYjNVFhZFhHuIJubRTzeIKMjbh7dz+MLBNF6ZZKJGMH/ogJ8/RtT/OAvF1lbKXPtpWFKBZ1ywZSqCtUlJlUd4gkvW7tF5qaSeP0WqUyUlaWsjHaeOTnEbvaIpWUNb9CFx25j96hLu9cWIFFm0xFGBk129gSGrs2Vc2ne/0h0Kh2EAw6iETgq9WhrHlJBGzary3DCxlHDRtdSOJuyyLZUNF3l0UGXv35UI9sXjfYAabtG0NHl7FSMZ9sl2cGvNWq0DA9OQyGWUmj3NHnIdDlhcjjBo6WSJHOK6WbH0ui1NIZH40xcPkGtWOLZ0gYTwxOEwkEWl5ZJJMPUmk1smotMLM5BscD1G3P0uqDRZunxKifPnMTv95DPFdneypEaTOCyO2m16jRaHQJ+O8FwnLIAxgTcNKoVrK5BqyW4A5qkOtvtIibxab/t7oNdKl2TU4NBNqsaMzGL/+M3/x7rnzxhaCTCCz/7P1AtPSfg71N8tszD5Se8/NJPUy/WcUX81BqHBGxeIlOTrD98is9tsrR9gNUsoehOPKE4tXqRUuGYockTeNx99jazJGNB2X/NDI8j9jy+UJiuYSe7s8rVz7yKy+eS3WC7O4DRynPnne8ye/ZlyvljbIbG0NQ0ezvbHO8sMzIyz5mXvsydt/4ES5CvMyNU83vyte5ARmpcbE4XNltXquWS4wnsvkEalRJqt8THHz/hh9+5x8NdjYE4lGsmOKP8ys+fZ3N1nY3tDqfODPDw401++b95gzv3tnj+5DmvvHiKjYMSC4t7RIIhbt49IhO18we/+00mzlwikBYEf5Xms4+pNEo0dosMvPiz2CpLGGICmh7l6PHbDI/Po0aH6RVWZB/e6lVR+n1wxlETQt9XQTtcxxWKY5lVjFobm2rDO3weq1mj0y3ij43TOHpOMDGFUd2no/cxu3Wc4s3oDkrGQbtbw6Y4MetFDEWEvm3Y7S5segPfwFkMZxxt50Pa7QMiQzeg36HeauM0crgD0xj+MGbuAMUq0GnVicy/Tm/3OZZLxzn+eTpbH6MXVwlOvg5ui152FUvRpKc9MP4iutGluvhDgmMvYHc4JVW+/PTPcA2cwTX2Csba9zB8SQIe8WxYJBqcQm/vYvNB5NRLrLzzI7799oc8fr6Pw+Ph+oU5bt16xutv3EBVdNZWtxg6eQJXp8Vv/V93+NKXT/CrX7nO1I0r2JweDp49JRodw+xaqL4ulb11vOE5zHgcd7dMt3JMq1GGyEnsdQGfdeGLqui2Bh8u7PPP/+V3+fh+hflRoc80ODWToNTsycjhqQtTbC0dyTTOdjaPJ6Bw5cY8yyv7sgMpdI6TL55l8/4jNLEBLtUprWVlImhsflpuQHfLdV4cdlDRNTqOAJ+s1/AZGv/nV0Nyy/r+YoN8rsfnrgjPuyJ1q7WOm4lhscWEelP0+DWGh0R9qEMiEabRbWK2naTS4mAmPl912h0nV6+FKZfqvP1ejVdeihOKKOSPunQ6Gkbfha0roikGiaQXxa3IVEd6MMbm+gH+oIDpdQmGoV0XA9s6DrtKZjiCxycuU32CwnFe0alXBMXeIpHqE0v6efpcDIItXnv1FO+8v4ZXqLU6KqPTbux2uwQeCT1WyJ/gOFciORShmmtSqneIxTx4PH58fot6Reg1+ywvZhkZiTEw5ufdd7ZxuNzSZmC2NcLhCBs7BQYyNuLJIQq5PH2rh8sVpFRocupshA/fOyIsBqFJGBkJkz9u8PBRjXbbkIN2r9croXynzk9x7/YmYwN+ynWTrtbgC18e5fvfKuJ29pk7H2B3u8Kp0yOsrRZZWSjwEz99gvfe3iIa8WNDbGx6hMKiE2nj6osDvPPuIRfOx6nUe2w+znPjtTEWnh6hdRUJC5494aTT8rK3eyxTfu2OidU3SKSDpOMqS8tdEikB7VVYWe3iUoRq0Yne6XDmyiidks7dx3vYFYuw38uJ2ShLKy30no7ebRDIeEkGQjx6VCI+1GdkIM2OcD57LS6+kMLhVNhYbkvq+MhohORAkL/51rI0H5y5kGB7o0y9/imYUUTUh4a8HBcMgkGLhPhbPy7gcvc4e2FC6rl+8L11qUtsl+DaZ4fZ2ixSOuqTGHKzsHjA9atJ1tdbhKOQGUyT36tRFvDmYWFMsBGwwZ3lKhfODXM+2ubWfptf+vM2vY7J184mJORru9BmLOql0Ony/QdFfuasn//0zr8Ce4Ctm39C0HBgT83QzD8mMnqDttCpioi+O4CtVqQj1MnJF7AZgkXVxSZSa00BvJvFLGepHK7gm3wJt1GiHz5Jt7iGXS+ipi7QNlVcrTXM6iFK+hqqvYVWKdJ3JlCaK6iJYTo9O15hY/K5MS2nvIC73B55ecewo9fvYGkBHOEpFGMPU41iM5wYrXVwCcaEB5w97ISgUcRU+qAV8PjHMJSu7NP33RPY3HForGETD8++hSM6QnP/AS6/H8M9gN6r0bdM+pVtTM1NaMCDYUbk+0JwtUSP3axto3qSsoqmi2jl4T38Y6/TaO5hHD/DO/sGZD9BGZ2murZCZPQy9eYh7vYG3uQk9aMjXMk0iuckuhiAoGMvL2FzRTF6beyeGIovQWf3HdxzX8NWPaC1/z7+uZ+jvPEjwpl5LJyYjT1sihsjMoIjv0y3soFv9qvYLRWjfYAjOoUlfqdaXj7b3NoGSuoq2sFtaX6KTP5X1Nb+X7zBSUx3AmdkhG55E9Vho6PX8AtN48AL9Kt7oFVQozM01z/EP3IaxRGmJzatdgdGbRPP0CV0xYW2dQeHy4fZrmBZdVyxOfnaeuWIUPokVvsImz2NIuoYRgtXMCWfV738Nt7xz+Hw2ekbLWyhGHSWsEp+lOkZwIO1dwfUCDajjra3gx7zU8rWyVcrPH3yMU+e5ik1bAR8Ecp7m7RbNgy/g16tw/C0wvjAKH/83QOuXQiwttOSieHxmRjzEZtMsvzgwRY/PRvin/zCEN/67h6ttk46JThqPa5cSPPenX0Uw8bp+RiLazUuX82ws9OiXGjy+Tfn+Oj9RbkQjWciVCt1hgai7O2WZYResDyOjzo47D2GxhLS4NGqdTh9ISoj4gIOlx5yy+He6lKXUKRHp+Pks58dYfFJibW9OlcvJ2g2mhwcdkgP+Gk3YHzMx+5OnX2ZHgjQEYyOusa5KyO4nQp3b+9IHWEwLNIAJg8e1YkGVepdnbOn/fL/FAwFOTwsEovEicbsHByKOoOXjaUK6aEQ7VZHVhDeeWtLMlvcHkO+TlzchVbb6osEXBB/2Mnmao6hETeGoTA6HOXux3uyOq51FKk1bFVExH+EwnFVpnjE6259sCHPpD6vwfCQF1/Iz8KDPF98c4qlRwdsHXaYn/FL1ln+SCMz5GViwM9RsU3f1EgO+DjOdkhmYpQrBRLJIO98/4BL1wWToEbuuMvsfJqbb2+htRUuvyiSRm2BwySS6XPnAzFUGeD54hFBn19WwuxWm0LFSbVd4+RsjGDUxQ+/s8ep05+qH1v1joQ+C36MSDofHlRQdBfTc36OjkzsXp2AqtDTFMlGuf6FcT56Z5dYyitT2R6vRTXf4/LFCb73wzWpGzQUBZfToFFwkBhWJftBpEttf/zTkX5fADdmoxztt/AEHdJJKCbWomcj4lw+p5dsocPsjJeRTJL339uUseLhiSBGV3zpe2QvT3hk3TaTXLFLKuNCE2RfU8Fr76N6HWxu5jkxIyaYHVx2L31F5/GDPJ//8oQEGnznu+sMDjpxYGdvq8KbXzvB0nKZmZkAO3tt1lZFrC/Fo0/2ODEzxO2HO9gNhc+/PMhxo4fNcLC7VcQd8KEqPdmXnD83zr/9tw8ZjLv52W9OsHvYJp9v0eh1GMkEufNRhZBf5eSZiNzWCuiKQ2mTnojw4YdFAk6DzLSX3Eabwckkb/1gF78Lrr6UZGQgwM5uXuokbt7Mc+2FBK2GRbNRJRD0Sgfji58fl3HpgwOd1FCAxU/2GDsxKDetXnsQm0dhez+H1+XF0HQGExFsDot6p0tLOIMLFVBdnLsaoVvTUF1hPvpwhYuXxskdN1h6XpQbEzFkSGX88gttaWVfdgMjvhA/em8Dv3DIApNzYfpd6Ds61KsKwaAd3bJQunBQ6jA4FMZoarLjozhV3KqHxwtHXDjtkzToExMRuTV4+90tfC4vF68nefvmIQNRL85Ah6Njof7RJQ9hffOIUMBOMuDjsNbALlRbqpO9rDi9uORQYGZQkGDtROM6bneIo2yJGxeGOKq3+Q83cxQ9MW4vVKhLZ7GX02MuvD0DvWfgDlj0WxbFlmABKBzV+xLK4lNsNITnVkFOx8QGSOyz21oLh8eFYfa5cH2adq1DodLkMy9e4DBb4dnzVWKpKAe7RcbHQxLMMTg+iM/nZeHRCoOjKYL+KGtr63i8okdtMTw8wHGhTCYVk1PmjfUtJqfHWFk6JCYMCf8FkibIuPV6D7/LidbvkUhGZDw6kXZQqTso7Rcp9jQergoqdpfJeJ+pQQ/nxv38/Z96g9h4mNToLJbRobC+imk4JfDl8e0PmLzyJcJhN6GQk9xulkalhtPnoNYx2Nte5tTcJVw0eetHt9BsGqOjZ+hWBcXUIrt3hC8RQbW8lI7LOBM+FFOTHbeeqcuh0vjMSV7+wiscrD2jKeKzmQwuV5xms8b641sEUwNEw0mcvjCN0s7fRYUt+Txo9CwUy8IfCJE/LLGz8ZxTpyblxPrsK9cwykXU2DD2gI2dh1v84f/3pywuH3FYEX84hdlTA4gkd3JmkFvvPJNU2tdfnsfmdPLh7UXCfhf+aEBG3t97+z7bu1Wmkj5SAw7+19/5Z/hnJ+hXdUrP38VhtmnrdpzKKP6hNPmV23jTs7QrW/JzEZt5DUPvQXOf5u5DFDEQSF6g363hdgiIpA/F0ihsfhd/6gWc8SnaR7cxK4f4Bs/J+Gkn+zFq+idwenXUPrTyCzj8IiHTw5WZkkkmrZolEZ+gWdilVN0lmBjFo0ZRh+dRGoeU81kcVguPb4TS8Se4Ihm80YuY9SXpT2+Wsrij5wimxtCKj9AqOZqWHa+Iig9fwRRu6MMHWHY7nuEbtPOf4OoH6IrDjWKTAzrPmV+hc/yYfjWH/9Rn2b/3fUK+CWLXvk59521cNie+aFAeEqsHVV772q8RDtn5hW9e4+aHz/nSV1/i8cfrZJJe/F4/C8tPePC4w5uvzfPytVmuvv55bANzmGv32F1ZJBkZQE2otLMb2NxDuFQ/pr2L6YxKZoW9cURZENZdEfw2HfX6V9j47u/xlZ//I7KWg7GYytxslFpbJ+b3s/B8m6GRJE7Rpa8LQE+X9GgCXyqAQ7zerlJutWkX24zOZQhFM9z+z3fw2xTScYWNikrAbjAzGWdtY5fRtJ+VosHugZ2A3+S3v+Dn3KBK0bTYL+lyk5QKOVg6bpOvuFB1g2TEIBKKUMjXyAw4WFtrMz8fY2JUaIWK7Ox1cPQdjE4Jd7uLQrmOW/GwuVnm5HyK5cUizqBKXDi4h8N8fCfH1FyEeqnNS68m+eBdASM0ZS9WkO4U5dMO4/ZaQbSnAQFOSrKx3qSYazI2FadYqEimiSvoIOj302sbNKtdTp4L8dEHh0TiQfwenUgixOOHh/zcL13iX/zGx4yNennzqzMsLh7JLrzYdJdrdTlEEHDgpm6Rz5qcvxZH6TtYfJTj0tUUltpne6XG1Iko9UKHTk9ne7vOtetDRGJOfvCftzh/LsFBoSaZA6al448EGUz5qNQaNLsa26saAynh/W4yf8EDdhedWkdygvp9G/GEA7vpJDMaZG0ji88bRO/aCaVUXE6NZ/drxBMeTMuSm1MBNbU6MDPrpN21WHzeZmgkwNlzUX781g7pQa9MPEzOJug0NLouDYeh0mh2ONqtEgx4aVQsXAGFTCYoNYy72Sb5vSZnrkV48rgm/doi7tqp2jhxNszgsJcffX+bTkdEb91ykB8KuAmn/bz3401GBiLExvpUjk08zhB7hwWmZ3zyeba91OHGqyGePqvJZ0a50aNW02QqIT5kEfSkOMjmJaR4cizC4GiCvd09MkMj9I02dz7IoTp13nhjikePxPdtkLGpCE6XnYUn2zRadsl5EAYDoatrV2wMC/NRW5fLAtH//8rXxinkqrICkBoIUu3qVMsa8Zgdo2vK98SbX57jYOWIv97U+LMHFtVinjcvRmWN7rDaxY2I1gf403t1fvmbI/yb3/9XWAd7bK3vMzwwTc3bwdn0YLWeYll+zHYB/+iLGIaJ0cii1/dQA2ms4ASO4iP6fRX8afq9Co70WczSYzoHqzijk/TD4zhUMSRo4/TH6Gpe7GoFLb+GI3UFQ7OwU0Jp7v+d53uIfLmJx2ygxs9g9qqY1R1c8Qm6zZa8eHudLbruARRdp9NaQ/VO4/JGae3dRLcMAsMvYbbFe/E5vcoe7oEvopvHdIo7BKPnMfrC6JKgefhILmfsoVEs8jh8o/TrOUwR5W8Z+EZmJYhQMSoYqh9nr4He7NJub+MeuIIvdQ6jlKVr6jitIvb4LIJtK5gAHguscFz+vNbRJ9htVQKzP01l6w5YFTz+CUorH0hgYjAyhpCO+7wqra6Dfq+E0xWjVXhf1sr842/SWfhDPDOfx+i1sLvHccYT9HtNOt0C5Fcxu1UCo4J9cARGFTMygZJ/LEhn0ligdPdp7T3E6x+GicuYLQ2n04WWfYDpHcWTOoHZXqff7KF1irKD3243cIanZY3Gclu0tz/AHR6H8HlsfhW13qTb2Jb1V3HOtLuSCOe40T2Q5jB34oSE5JmW0FgLJWKfXnmJYOYSuiOGrVNCaz+hW6zjCaZlvcDUDdTuBkpyjnouj8sflHDbaHiIfiKIqZmYgSl8tORCzKwd4kwKsK+BbrRxhWL0w6NgH8ZWfReZ3VbiWJ1d6DdoH3fwX/oaD/7gN/lHv/FjPn8pQ8NycJCvy7PFlVkvz7Y7tI7q/OY/mOLpky000yGZII8X98hEAkTTTra2myQjn+o45y8O0Crr5PJVeV46eXqYZqvJ4a5IDbc4czJBKORmbbPO0GCMUqnKzGyaWzePCYS6fOWn5/mP/+YBp06kyDfqeFxOWY8TKy1xobf3HfLutrZaxTA1vvrVE3znrx5h9n1ce3GEg80c1ZaNk6cDPH1c4sz5Edaeb1NuOpieimHrN+gaOo6+l6NKj73NsrTFXbwSp1rvUi8aspZT6xm88ZUxVtayPHmocfVKnFqlSsAvBuFN6uL8XuihODUuXR0hl83LxZxIWQW9bk6fTkjVtIjYi8WssC6pDhef3N3jpc8N0hWNS7tNDsMreQc9vYliqrjdTlw+E5tg14RdPF88X8h5mgAAIABJREFUJDOUxOW06DQ1DvaE9s9FLOWgXjdoVB1MTAkOQEUayXp9G/ubGq+8Jr6ba6RSQeKDFjbNJ00tlUqNaMwl7zeZkTDv/GiPYMTHcFqohUucOyPg7mKQoRNNeYhHVI4LrU+ZarhJD4klkE2mF7stlfkzPspVQDdZWWsSj9mQrSbVxsh0iE/u7XP58hhmz+DRgyzJgTBDgz6iafGZsvjo5iaJdFgCITdWalLXLdLMqbhXVrYvXY0zNzfIt//TIh10Ts5HcSkqtYqK7b1fn+gXy22pEZuYjkionjiU6N0e7Xofw7IzOKyyudSmp3flF66Ih22vNukYXTIZocZrMznmYGNLXNYHWF095OqVcR4tVOm1m5yaT9Psdnlyv8T1a2HyNdHtbTE1HpZ9vOODNh/dLfHijQEunIxw8/1tdMuG1+eQE2FRTZg+EeOj2wdkkj7yxRou1U21ZXLhYhxxxTss2nE7NWoVnUjKRbWqUyu2pdVgZUHj7AsBDve6xKMBPvxkl89cHKNjtjgu1HjlRobnizX2hIvyYgat2qHZ1smkk6xtFzE1i1QC9nIt4vEEQY8lNUh+t0p6KMz+QZXdnQ6qU/Qg/cR9Gi9cz3D7oxw2xcToiE1MhGqpiD/ow8SG06EzNRlmYalMraZwYlYQPi3uf1Th0tkMm0c1BDZpfFRM2Hw8uHfIxasjrC3sEwg5aHcVyS/wBgOSTr60XKJe1mQ9QMQXO22dQNDN/U+O+ezLA3x0d59w1C0jRGMjMUzNAFNn/vIAN9/eQbGcTM9GaXd67G818HjdjE37MTAl4dKyTBaWC8yOhpg+E2Z7u8W5+QTVYpXn6warq3kuvTDA5kKRtiZ4Dy4GUirVukW+2GVoIMDlc150m43cXptuX2N3A0anwzxdP0BruIjE+0R8Cmbb4NIpD3Njcd5faPL2ShNLt/PWQgszEaZVqnF6KomYd2zvV+Vl+7huyGjWXqEnASPzI05ypQ5Or0qtrREMJDkuig+XnWAyiDMEyVgERfVycLCLz+2VdPFWo04gEKTe6NKut+RQoFws4/N7OD4s4Pd/quQwDQOnR6FX1xmZnmR3a0cS2CdmR1la3KGRK5GJh4kP+thePZYRIr/dTqPRkGq8Zlkjk4niDphSE9Uq1xkZGmW31OLJelGCtwqNNsE+/Pe/9gUijhKvns8w8+Y/ot/bYPfOxwyOX0drH3J0sA+KB5tdITNzGrc3TWHlY5x+k0q1RzFXIRgP4vMO8u//9W/J6enQyDSJTIZnj1dpaV3mZodYWdrHsDQuX57n2eJz8rtlwjEfini/ej1MTU4yMjomKzliiFOv5MmMn2Z/8zG33nqLy595TUYFPTpYTgWvz0exVCEajktYY6deJzV0ko3nH3C8vsLZl7+KJqjml+ax23Sa5azcLPzjX/2f2VqtIMxvZ84Mc//ePlfPJpm5FCfgcFIod9nfKhANecnn8ozMnkRrN2lZBmalxI/er/OV6xF+69/9jlQjidiF1uhzsPgnqNFTpAavUGuuYFX3qRaOSA2KgVBTKvFcsUuUj57g0HcJTL1EJ1/BGUzSbgq/ef/v4EQagdgAjWIOp8+L2XPSLdwjNPUFeu0sTrsfI3ySXn0Le+khna5JKPMq7miSSv4Jjp5BX7yPXH5svSq1/QUiw+dpGk7c/SaKJ4EaPkHv8DY208Bye1BiY5jZp+iNPdT0JfTmPqHEJczOAY3jJzjSJ1HNHopux4ydQlUbNO//KaGRU9J6kpi6Jsm/DkNBby7R7zToJ0ZRtA4+e56mcxa7IOlPzWEVD/irP/sTtL7F4maZl1+4iEc1+Nsff8DY6ITcnh9tZPnbv70nlZBf/cZ5vvGLv4S91ZZKv2a3hdqs4ktMQiRFd2cFVWjSbEGoFlBiEfrtFpT2aBSOiV9/FdfgENrWx/z7P36H3/69e3jSPq6PJTnI55mbSFAoVlnaEV9uaUxNuI37uAJis2YwNjHM4d4B8aEhybzQDYsTZ6Z4dHeFlfdXGR5xoPiDWKaOItJDio7D1SNftNO1DHI9i6sZG9NBk5NJO0FvkIXNOtl6jxODXi6MRfjDt3NEPRqfvZpgN1tnbMhNtWInGnOzf1CUaauIL8j2fon6sYPROYNYJMzGWkO6hAcGPXJ4JzbVis3kja+e4sGHu1IjKXR+R/ka26s9Ts6GyFeaBCI+1pdKlIs6r3xumF67jSZ6lgkfO5uHnLsyxVvf2eXitSSlkvCI22Q0cPJUgrvv7XD9hQSBYJRCvs32Rp7YgAe9JUjlJrFIEF+gT+HIhsOvy3jn+m4BDBfD01DIWfJzNnMmxQdvb0nYkdsn4FcaWsdJfNBNt6FSazS4cDHFrQ93sPdtZIb87O/W+cmfmuXW+1kaNYPMgIu5EyM8eLTG8lKLdDxKKKMTj0c53Crh8rqlpeD1N6b43rcWGJ0eYHv5CJvDxBf0YZg6W+stzp6OUW106bUtInGn1OJ5nV76HidBXx+B33Db4fCwQCqapKdYctC6taUxNumTWzPVrhBNC//xMb/xz6+xt9PkwcNdzp5LEQ57ZS1AbEnf/KkJ3nt/j+M9k1/99etUS2W5ffvhj7ZwOXTOnBuVda/DwwZjU27e+VGBN74yKS8Myws9EfJh9qRXJm52N0vMn4tQKWs8fVhhMOWhWKkzPDoESoeV5SpnTsXw+HW2tizMnkapqDE+laRSLtLomAyPhBkURor7VcYmQzz4ZJef+MZJni8U8PlcOB0GB8ctqQwcHorK3vfmWhPTpskO8OBglHBcJbsn7oU9crkqQ4mg3C4lI1GyuSIzg3EerRxy+kyGw3yXnc08qdEUlWaTn/n8AP/LH+X5D4/tpI1jLp8PU6sqlM0WJ5IBdvUwH97Z4P/5rb/Hz/z6r6FufUBZeK07DRR/FE03cSt+DH+QvtgsGwpdu4rd6NL3pLD3imjNHGpkGKWZx+adQnF30GuH2P2D9HUdo7GLYnOgeBM4VS89u41+aUteiELJ09TrOfxeBZvpRImPomsNWqVNHK40saEZdKNKK3dIMBaBbp1Wz4WLKqX1NdqdQ+Kzb6CrQZRuTbIJxMC0o3ihU8WZOImtb8fobWO1u9jj53AaeXT6GK2CfN50dh8QOfHmp2kAAb0zayhtwfc36Qv9X+cAe7eDPTZFR1Nw6iWcwnRg02VCzN3tUO0eoJoK6sB5+mLjX17HnZqlt72DFUziimVorXwfh28QnB6M3qFQHBAYuEI3f4AjHMAenUMXIETFQbu0iEvpo4cy2G1RbH1R2SlDKI1Sy2IaTTq1HJ6pV2k8/Bv8mROoTg+aw4k/eJqG2SGo79HuVnFkrmPml9BtFqpWR41doW9V0PsWSmOLRm6NYOoEnaMN+g43gdGrnyYa8suQuSSQ4+i1BRyqIJV3MHWxkRb/RqSCtFN4gl2Mdb2i5uRAdQYxHBa2iuhI72I0OvinLkhQotD7Kt0suuXGbrax9AoOMTyKjFM/eAxiUD4wiTOYptNo0K9tYnq8uN0pDAGy61ck3V/VnSj1TQwzjhoMSUixYVly66xVDvEmp7BpWXx2L93QCLbOIZpIMXhG8EwM4ygfoI+cpVKyeOXa1xmbjtLtmoz4w7Ji/PDBEVbYjtdm5ze/FGBuNMKf39whHTC5fGWUe3fz2O0WhYKGz6cyM+uT8WzF1WVjscn1G5OSiF88NCVnJTxsEQmFqeb63H+6zY0XJzjcL0uF7PBQQPrgm02VcrnOxFhKJsNWlgsMDIaolJsSzPfF18dl1P3Bg0Muv5iSWu2bN1fweSIMxF3sHdVJplwsr1RwOu28/pUZlhePZQo6Pezl0eIR00MpTp2J8+D+GsGogMcWOHMixOCwnw9uHhNLOUkNCgWrxe5Wi14LXriRkjYq+bP6bYxkAlIl+Hy5xvVrUTZ2O+SyTSYmEgxPevjgxxtMTqXZ3i8QDwcl30N046JhlUZD4ajUxueGzECK/fVjZs4lufDCCHdvrdAoWQyOerl185CvfmWO7IHQhteYOOFH79oYm4zy0QdbpBJJ3IEuB1lhMXAwMTlAMGpQaxjsrxVIjsQ52q/h8jhkpdfhEPXMLlOzacmNeffWAV97c4x6XcOwDMkjaDUVwskAqmWyuHKM1yPqRQFMq8H4iTTPH++SSsRYWytz9nwan9/Oj76/w5mzcXY3CnJpff7KMN/7zhavvJqhUOjSafblMCidiZFOq3j9Tp48zDMyFpLVneMji8s30hxuN/GGVdp1jWQ4RrcvbEJ2uRjtGDqVYpf5M4KLl2NtqcpnXh7H9vZ/N9Y/OBYTHLuMc4UiQfZ394lFUqytH6Frbl79fARP0M+td/cJBEX8IiRj1mLafVxqYAjw2liQ5acNxic90hfdKOrsHhW5dGGYXKWM2VcpH9n5zGfj0m14+/YxX/36kAjE8nyhyPisS6oKqkWNSNSOw2Vjd99kJONjZ79OwGsnFOszNpak2YFE2Mb9x3mWVht85csT/NVfbPLiqz4mBtOsrJZwuxT5sIr5nRwcFPCFomxtdwl6xAfMYHzUwfKqiUO1USiKCLOK3usjfgkCKLW3X0dRYXbYw8xYgO1in/XlHC9/ZkhO+/f3mzKOqel97txr8M1vjLG5lieW8nDx/CDf/s4ibq8Xv9/NwX4Jl1thZCRBKGDy9jsFIlEfA0NejnJdNLElVPukhoLcuVlg7KQXl72PQ1HwKhZD4zHZ1dEMJ6fOe2UyQ+kLgGJRAjCcqk4+p5E97jI+5sQf8rMrqNQ9i0vnk9y9e8yJ80n8TgeH2TYts/cpZbpuEc24uPHqOAtPizQqdRmdzBUapFI+PN6+RLBUijYe3i9w7myQQNiDzTJo1mxs5+pMDgdIDvh58ijH+bkoDV1hctLG7rbGcb7G+EgKp8vFX/9ghcFkVE5Gr14Oge6mUs0T9gelszbXEm/akNSm6bqdYlVUAqr8T18SEZkw9VqVqtnn3oHBH7/fpCIuOj4/LlcPoY12qSZXZ8Js5HVZJ+i32zR7Fulgj2BwgEo9T1cTbXYfhWqHzKyouvjZPRZE0UG5xe/bFbY3dkkkEvTtfYqFI6LRpLxo1updGfk/d0ZEjNdIppISdlU6ymNTVO4/X+TlG5fJ7h7Sa/eYmsywvZKj2q4wOTrC/k4Jt70vN0OxcJiFx2uYMioexmlojIx4pedecOtEv1MAMo/KJbqGk4W1nqT0u4GJJJyedPK//+Yvkzl5mm6lhsvWwQxO0cgf09l9Rt+XplhrkBQf/HabyUvXqR4Luqu4DM1Rq9f43rf+nK/81Dd4/9YD7n14j1MnpljfEpyMOO1mjZGJODMT4yyu72Hrd7ly/gZ/+e3vkN0r8/JL80xOTxGPxVlcXuClGzcYuPAZVt/7NsGYiPbOsPz4I44PDzD6Nk7NzUgKar5c4+yVV6gd7tA36xzuVWn2msQ8bg4qDWan58kMJgj9/yS9Z7BkaV6n92Sek977vDczr3dVt7zr6qruajOmZ3oMAwsDwggChIRAK+0u0hcpFAppUQRCIoIgCEKGDRAadoaF2ZlhZpg2tK+qru6qLm+ut5l503t3MvOcI953vnZUlOmbec77/v+/3/PMTzAe9Lj73mfc/uwpd5/uU67pZMsNlmfiXDqzwl7+GadWz/Do4RZzcyna1Q7VRpXJVIJeq0650qRS6yP6QhdPz/J7/82vYncrNDeqaILf2R9C+wh7RoDxApR27oGpEV74vNxQmMMyhiNJd+uHqHY36tjGMJDG4/XQre/gjpxiqA8ZV55i9UQJx5fotvIIV9OwvottchW0JlZ7gnH7iH7tGdbwJKrVgTsQYdjq0G11cE2dhfoaFl8ARdwcdA3VNU2z/Akeq0FfCWK3hbEEo1BtoIqDcbcuL/DK7BcZiTioy4XNlWbUE9ulHE7fKt12Dqv4Nf4YqkdMjxtgltCtcQa1ZwRjs2j1Pi1jB6UVJfHcRYxBhd17T/jWd9+mXmvi8Hsl22NmIcnWWp7ZuTS1Zp5+z5ADsPphgb9461sYowCd9Xcw9TBKPI1e3cYqCPbjAYi0jt+LEkhRzX5G2DvLKOAj+/AWC7Ewzheex6KH+Zs/+mN++9++gyNqsDoVIul1Ua5VcXr9OKwKuqkz0MQlJ8LG00MuvHxaDuXube1y4niGQX1EwOfGHlCoV3poxTLFXI12q8cXX13mjfeL9MYarxwLsFPscmdPYyboZNjT+fKqjUtzY04GXJSGNn6y1adb7xD2jEjHgvTFwaVmcnYhwJgRjx60ufZKkmFPY3unwXMXF1jfySOA5eICX+12SSb9PL1dkF3Jsa7y4YdZvvz5OSr1MvmiiUMZM7+UIHvQpl6vk56aYHevzNJCAn3UR1BZG80B05MhtneaLB2PUq825GakUOgwsxiT3x+n2yDgC5HNNskXK5w4Pi+7hCIl1WyMKNZbzM+G2dhucmJ+go29LCgeqpUmlwQIKFuTdhS/20Eo6KVS7aNrVhq9trxIXrlyDLtzxK2b+2Rmw0xMhKTJot0dyQu/3hlJ0KwYyEylfLz7fokzJ3y0+xpnL06yt9Xlg+s5/sU359G6Aw72G5RyQxSbysqSl1AiypPH27SbVhxOFbfbIBQOoA1GtNo6yytefvSPB7z04jRHxQqCVNQdGLK2Jp6vz710jIMnAvipSQhru6Exv5iUYFzFOsaqiMEjHD/tx2Y6CYify708hUYDl+kgmfJyuNti8aSf2zeK/MKvnGb/oMz3/j7HF78UIWBzsbVXo9kzuHplilF/QKXVlhcsAS0VNqJ2U+XYvJNcccyjJ1lpffB7XDxda+AJO+W/99wFL61mH7/bx7ONBtn9Ll/9RoqD7BCXXaFVH+ELisNpgPu3S4g99uy8RyqoKjmDuaUgdqeVh5/VUOx9Xn1lQfrARwMDu92Q0VrTaaKOFTafdjj1XASXDZ4+bfPyy5NYnDbe/NGWHMTPTUcZml0JqhVD64ePynJBYQr2kmah0DBYnlF4YcHPZ7km//q7OjuVDhdXvfzO81P840aXB/fLWNQmbc3KVtXG+//nK1z7uZ+Dw02qPWE48siLlzhDicue4R6hqAkMlwfFsMpNsd0bQA+dxtnZoquLJcMY+6iG7kyhjGqMFBsu/wyjXgFT76HYgphiF+yL/7QG5/VgtDqowQxWuxNdL8t3lWLx0Bu78dp1uu0sg1pNwvkC8UmUkUlrUEJsANwOO+5IEgTbtfEIhztORw8yqK0xGlkJTi7T7TQwawf4kkt0mgXsgRh6J0+vtIti+ghkTjC02OhufBdL/CKu0BQOS52BcHvbwBmbYmB4UOtrVI/W8M9eQbWA2dqhWq7hj6VRQjOMqg/Ru1180TlMe5Ce1oLeCIfdlLouV2KZYbOHnn8XW+oiuuJCKz7Dn7rGoH4Tl3eWPiGa2x/iF9tAYVUpZLG7PSjhSTRtjHb0AKfHixo8htnJYvPNMhTeX0sPvfAYMzCHmjiN3tzB2tpAN6HdrOCeeQWb1aSf/RTf5Bn67R6D+mf4Fr6JqXehnUU7eoJ94aKAjGM6nBI6ODbtWBUvw9pjTJuoJqYZCxiidoSqVRlYE+jjPi4zhyVwWlbrhMbXGojQOfwY19RlaBWwjnWswSlapfuY7Rru1HFG7ZpUJeKPM9x7G3s0wcgMYLZKOFwRdMsYvV3AFEDZ5CnGjRxWuxt9rOEILDHUytg8cdTQBEa/htnaZ2g1sOkChq6h6A0Coj7StaPGQnSqA8JxL4NuAVr7QAKnu42SmmBu+r+V0e5w2EPQodHpDoiHHTQNG42OgX/Q4DevCmith1KvS2GvgdXrYHUhxq2bm8zMhOUm/tnjDtdemZW2sYDiATcoFitTGQ87W2V0PcBk2i55MKXCCNXWIxkPk5py8ebbh7z66jRb6w0iIZWxaaXfb+JwBAkGBI/Axf5+T8JHxZ/lC/tQLKasKwpb5e2PSnzu8wmKLY1Bu8+JlUkePzukXlQ4cd4HhrCeWcjti/tKl1jKQb1hYyqlsr5eIxTyUiprMnkWTdhZyEQp1ttk95tML3lw2D38h7/e5ytfj7N6aoKPbh7Sa41kr33xeIT1ZzV03UK3NpBbe8Mq6mYGEVEtKo6IJ52kUkHa9THDcZOuZid3UOfEcaFhN+h0oaeZeNwGTocwAiDJ/GuPs1y4PEVZpNS6A7qDEQfZHufPJSThv1wb0e4PWEj75GLvybMmybjCmdMxbt4ucnwlRrHYJpvtyuqcza7KlJGg6BeqGsmAi9ZgQDwmahNjwkkbndZIDoxFelhobFdPprh79ym9rkeaWhIJKxsbbZ6tN3jhOR8WW4BWs82ZM7OM9AH5vTaDoYNqrSQZLpGYg0hQpPE1hj2DfFHH5rZKDl0s7MIXcFKu1UnGggigfzLiYfOgJhPlNruXmWmFsarQqw2p1QeodjtO8R116li+95sp06KOCYYUNtYqnDg3TXG3jGp1U+8PGQx6vPDcArfubMuH4uxMhP39BivHvBi6k/uf5SUpuKcNqJfHTM97mZgM896bW5y5ksRrN9jdabP+ZMALXwyTSgf46J8OuPriMu99tCnBDDNTXtkl2dltUauJB6dCPOqh3dPQuzo+vwWHQ3RKqgT8Tpq9Mem4h6aYFI4HbO815JfP5lDQtRGd/ojptJ+j0pCt/SHJpM6F42nuPSrIqXjUH8HrMlg/bDI/6ZPdiYNCn9VFD9vbbWoVjWjSLZMN0ZSD3GFXdsTDaZOt9R6ppBO73aQ3hGbDlOThSMBE1wQE0E44ZOP6+wXiIqYR0VmZT/LwaZmd/QFTM05OHg+ytdMUQ2b2DwSR1yG7OZevJFHUPk/vi81KhINDUSUI89nHOa5ci3Cw1Wd2OYGu9Xj2pMjF5xPkaz08hpOnW2Vm5+P4PBbKR02On5lkf69Ko9RDVx2INGk07mciorK+0SEQ8hKJW3n8oMb0vIt7t6tSxxFN+KTmQuv8lFoupl8Pnh6xenwSn8/Kg9tl5laC8kNZPGgRi/nkJU7EbVJTHp5tdijkGkxG/dS6mrzkXPviMfI7FXp94UlV6Q7h/Y/LhHxWTp2KU8l1uHTJwyf3avQHBl+5PMU/fFLG4xTKKxEj1/A5PcwmbRQ285xcTbLbGPPocEhNVfh37w/R1DGvzobYzTZZmA1QrrUlMTZo1zDdPuqVDvGkHQsh1taPSCXtrDw/RTIdY32zwKDdo9LoSC3M0nIGr1e8LMYc7uUlMCg+kSCVnODtNz8kkQyRSsdZ39iXXID5+Xla9R5Ts0m2tzbRNPjyV6+wtbEtDQ5WU+Hpoy3i4QAORXhDDWqVDslkiLAg4VlU9vMlVNWONujhVk3CvjCH9TaXz8d4vF7AHU7iGIz44PEBPmeIYruHOdDIRJ385796gqX0DJ/7tZ+l9+wm/aMxashNOVfAMHW0sQuLrrG194T5k6c5+dzXOHp8m245x9zFU4zGPj698QbFQgVj6OXOp59g2C24LRYGuiG9r8lkjFA4hM3lp1urcO/BXVSbnU5FI5aIsnxijslkiPTcHLjcMgLt8TjRuk32ttZpVbpMLaTZWduh2+8wM5dCMyA1ucygXyW7sYN3Io7HEaJZKuLwWlg6fw5TrzPsDrlzZ5MPPnxCqzPmh+8e8MrzM6SnHIw1eXJkcjbGm28/4vjSAtF/jqxvb4vtiI1evUkkrFJpwC9/8+tc+cIJfJPTdAs16mu3CCVmGVgFdMeLGlWpPr6BYY7we5MM6g0UTwxd1RiWtnBHJtDtEcz2ETZvjGGvyeDwOuGTv8LAUBhlf4jvxO8wLN6l3zjCFUljmDYCqVUaO7exjps4Ey9iWMQmvk6jsolnYga6DrTKY5TgKsPaPey+JYxxDbEacYTjmEoYxibGuIgaXqHXaKL2NqXaT0RMzW6RvmonGH+Rdv5d3KE0pm9GqDkwNNDt0N9+G1d8ESVyBssoj6GrDHoNksvLqJ45Ggef8If/8x9ysDdiYjaAVbeQTqVxhizkNyo8y/X4lV/4Gn/77b/E7TT44z//cwLTk4w271A4KBJMzzI2NayOBM1ygUA8gXVgYLNr8jPQM4fY+iLnlsYXUrAvLKLbDL73J3/Cv/yjGzRbCpNRJ+dPeRj1DEZDjU5flzFeU/ROB9DttVk4myGcCbC7toMqeDW6g8PDAheunkQfaIzbAx7c3CbiVlleSHFzrYhd1ckkAuRyRfx2B081CzbNwr96McwrmY4EhH33QZv5pF0SynOFOleOR0HQ+3cbDGqCsuyWF9x793IoIT/2UZdIOEK52mYu46XZ16TGslpqsbQaxdRMOl2NySkBUNNZe1onGHGQilsFfYNKXrBnnISCCqOhgmJz4Hf0yRbHHIoXe9TBhcsZ2fF7770dpqaDBLxe8kct2s0+Ab9HXtiq9aG0HXg9FqyqIhVVM4tOPv7kSFbcFPWnB1qHXWfxxAS76xWaTYNkykF+r0O7DcdOBiS8VkSvBVegr/cp5XrEJh1MZXx85zuiKuPkGz+TolVpkj9qS3OKLlgtNhsDcagftkgmE+zvVUhmPGw+bGNYxpw8F+Vwt4Oi2PDH7FjGXY6vzksOT6dXpd00peJXvINvXT9gMuPklS+s8IPvPiM1HcRnd/BIHOIuptA0QZPepNW0cPFyWoIKr7w8y7f+8g7+oHjvOjjc6nPtS35KBQvrz0osiHpEdcjsbJSdnTq9TpulYwmerVWZSnll4m3YN4lH/TT7TfwBD+v3G0xM25lMe9ncaNNoWUgmDM5eSPPmGzvysn78mOB7dAkGAnjdQY7Kh8wtTHHn0z0m4z7ZX370pCKTgNmDKuui1++ykAi7+IVfXeXJk0PqRyYuv4Virk4sEcDtcnLn0wKfe22SSnNAcb/L4qowIPTpdUZyO3/3zhZOT4CjgwbLK1FqrY4E/Z67nOHx3QOSU0G218s4hb53LoZuG1Ettrl9q8jJYzEJVa13dZn47I3GEpZXEfryAAAgAElEQVTcGVpIuFwsZAJsF1psb9d5+XycVq/O77+hSqbFheU4Z1ImT7dNGqMar6xO8e+viwsC3H37N4m+/A2qb/81g2YUZzKFpbVHp98hMDmPxeKWf66A07nS17D4F1DK9+maY2lJUscNTN8Kqs2PPuqhGC1004rqjmPzhTHqexLSqog0VL+B4Q8zrO9gUcXnqU81V8ZiGZPd32Pl1Mtcv/UGyrDCFz7/q3z/rTu0yw84e/UV3njjU7l4Ee+DYWdMuT3g9JljRKemGdWOmI7PkH7uIoODNfCkGI+60lwzaucZ2eI/ZX7s3cUUnvLABKYthNU7ZmzJMGxu49b7jP0T6H2T3kjYMhxgmNh9E4zrOww1A91hguklEJ1DNxuyZ9w+vIcjdRK7LSmBhVo9Bx4/tsgCZnmbniACuD30Wznc6UtojYJkudj0PpZwgs7u++AO4p84h6WaYzgeSXCtx+mXEMT6vb9CnXkBpdvCIlTOjgiaTEfYUDOvQn8DCx5wZhg317BZFTSt9tP+fL2BK7WCayyevxUsPh8WQ3Tod9DGFRz+FfTWkYwnu+MZutUy7sgkxriHxSNAbQOUw4/xTD8v6yS9fhdTa2GM67hnXpXDlFHlCbbMN7B099H7WQlYw/BiGgY2Z5jhMIdpceIMLGJtb9LpV8ESwGr2UIIZLFYDrWtFDURQNMEU89FuZ1G0Mk7fvATkjQZVrDYXqlM8m3s4XCLBWIWhqLvqWAcWFH8Gw2FgCySgW6VXeoZid9PZXyc5N0uLDFarUw6WDHsI92yCf/c//ff88d9v8PqLEVxWF8ZwyMO1ElMTGQ4aTXbyTf7oSx563S77RStXz8Xl525tp8upeT87+TaXn4tTLLXY3xhht2sE417JFmk0bVJXLSwf6UxMVrnGxoCv/cw8R0dDyeHoj8SCy87yYoL33trgqKTxxdfmqNWbNKqG3LoX9wZywOn1udh4WiM04WIyFiW/W2Q/p3H+QkTaEDxhB8ePRfmb/3ebb3xzmuWZDH/2J9f5ys/PsL/ZoNuBM8/F2NuusrnWYHpGaHW7+AM26uURL38xTacnqlkFZheiHOy3iKcd9BoqpZJIeM9QbzQ53ByRLQmugErM7yd72MQXUHjuhQlUi4OP3tnl9Z9d5jvfecjifJh41M7ufk9qBG0eYbIycdhVXnxxCk2Axz9pYigjsjtCNz+Byxvg9vUtFpZF1cCg1ekwEYqjGz2wgeq0MpPysbXdlnWFSEqlWhtzeNDg1VfS3LpR4IUXZ8iVytSqJoszXjr9MW6fyt5WD7eoH2s2phbcVMo9yZM5uZzg6dOqZBhEYh4Osz16gwHnziZZf1IjHPdTq/Rx2Po4XAG5ODj7XJRn96osHk+S36ujmxohv4fJKT/tbpu9TbFIFHcglWp5iM0hFKYG+XyXS5fjjEYmT55WSfqdWJwKtbJJt9skMxeS1hyPU8Pl9WMxR5gWm4Qhqw4bY7NHeiLIzvYQyw9+Y8L0x4NkMm4e3CtQqzaYnQ/LC5M76CDgsZPda6JbLHRaBqmUm6dPiyiqA8VqsnJKANFM+kMRiLLz9PER6Ukvy6txPr2ZY3llkt29LGFvAm9owLNHLQzGTE7G0I2ujMPv7fSYSrnQNIW6iF2nIe5KcuuzQ06cDhMOWZnJTHD7szz95kB6VRV1RL00ZGHFz+MHLS69GOdgs0WzO5IO32DES60yIBAWQJCx7O7FkwG+/Z0Cs5Nw+lyYTt2g3Glh1Z1s77aYnbExEnoa55hji0k29hoc7LVxu1Wm0z58Lp3bT/tMT4oLmvAwd3GGDNJxP5u7RWy4JdgpnxXqFis+obZzOrENLcQSDtkFL3dG8mJ1VB7gctpIRhVUu4OBOeb2rQbXng/QaJhYhABF0dk+aHLxWEL2cW7fy3G0N+D0uQkm5RDCx/d++AC/P8iZ00HuPyoRdPuYX/bw5EGbyaQdd9hGu94jl+3g9ztlHHnncMDCvIuVlRA3PsjyhS/Ns71Zx2UXer0GPruT9d0aSythOVR440c7XLnm4db1AV7/mOOrabZ3CzKVYRmrVDsDZudcbD5sEkn6Jc09k/GRO2yyt1vH61fxBXyUs21+/pcW2c/V2TscyP7pJ3eKhLxeTq8meOO9nKSKLp8Ms33Y5WTaJXuR9x41eOVKgsNSF0xI+x2oqsZ0IkK73Sff6uN3ufm4VMcy8vCTtQYfHbg4k7CIAjdLaQHqsrC+2yY54cbtHWJ0VIYuFy98+Tjdrsn9B+vEwxHGQyuesMLjJ3ssz6WYmUrx3nuf4fIoTMRj5ApHLC7NysvtQb6GEExbLSbVaotQLMRMJi43VYc7Ba6+fJJstkKvbRCJuGm3uyQTYdYf72D2BEVgLF3fR8UeMzNBnE6TdltjIhGj1Wxht4uBQAeLU8XvcGEaDjqtEvFYCIEkqjTGVEpCUTlit2ZhLuPGbxnyr377Cl9/7UUcAT/uSILKxn18bj+arpN/9pBqP4zbYRKKe/j+3/+IX/3PfoNQJMrT+zeYO36JdqVAtSGqLzrba1scHVQolIskIyL67yaZmeXWzbssLKdx2+3y/4n4e1+8cIpipcSntx5x9eIpVo8vMH9sBXvQjkPEiyw+dp/dodvT6LZteMLC423h5OlVaqUSpeIuSyvP4QzF2X/8GTsbT1hcOUe2kuPKF1/HnohR+vRd/vJv3uAgP5TfddFXPrE0Q7PXQbX0OHX6GDc/3JDfyZmlNFub23hDDt7/cIeZ9ISsW6SCGr/26/8Jx770ZYxnD6j1DtH7IcZWDZtVMDjGslds1bLgnkU1O6i6C0s0g1baot85xK6GcU+dZNRpoli7lNfelJ5qR/wU/cM30AZdQpMX6I16covOeIyirdHTXDgD0zjiy3R3r0v2gD8+jyHgUYlz0lutBBawGW26Qx2n4sEcFem0DnGnrv0UbHbwMYGZn2ekrcnNvi1+gf7WX+PxZBhlvoGRvyU/W/SzOJQReOewqlGGgUmcrTwDrYTVlSEwn8EytvA3f/pn3L+zTjQ1KQE4bavK/uY6/siEBEx1Snby1Tpar8q1YxH+qz//v1Ass3T3PqRz9IxIwk+97cRsFaRFoDeuY2sJoGqZiVCQnvUCg8YdRpYCifNfgsAkb//VX/C//MHfcn1vxEtnnCSSC7RzR4z1AYrfQ6s1IuxRuP2kzOKyj8nptIR1Lq5k5HfK5VVwBYK4rbqkiN+5+QifS8Vrs1I9LNEYqjIWWT5oEIyHOJO080FuwMd7Bic9A7543ELKaZLK+NEaXW5tD4mH7Ph9CsrIglMdsd+womtdfvblDNn8QMasz52e4fGTp4xwcuJ4AlX4zg9zlIoWzp7z8fhRiVgiLLd85XxVUvgVxc5kzC0vxCINlctVCMdDGLqFVlu44z2UC00+91pKvrgHpkk0GOBgq8j2Vpfp+SD1aoflEz7Z4Vw5lmFnI8/xlSTZQgPFKjzUNnJ7Y2x20ekNUmu1iPjd+Dx2uqLsbbgkY8Xl1bFYXcRiAsrXJBx3oorOY1bjIN/gwrkJCdDtaiYvXFsiv1fB7vaiWhvk9q1Mzfh59PAIh91CIuXl6dMyMzNurKaFzsBBLKjIIexRToDkrITcXvk83dmpYoydrK4mefzwALdrjDYUG3gP0bCDemvI9KwAXGnsPGkxNHuE/XbWNlsS3idUXpvrVWYWA9iEKk5s9rui9jcgFApz59Oi1B9VC3W2NrtMz0TxBhVWTgY52uvyzlt7XLoSYnO9J4ewyUmF3mBE0B8kFFXY3WuQyUQ42GkTmHSSiXt480c7HDsutpQ9NKtO7VBsNy0sL/p4/vl5vvu3Dzh5McobPz7ALijcLgdBzxBv3MOzB3U5xBF8Fn1skUwD1S3czUGaBZ0hLTmEE/Dk3sDC5JSdhdkJCsWGZNIIZVY2V2dl2Yc/6OXtf9rhuefmGA9EGqVBbCKCVRhGLE6y+RLL8wmpWBZWCpEkEDH5zc0SZ8+mGA9GVJsd/OEAwZBJdrdBKOQnd9STvdHtvTaXz4V5cjAkE9D5wqkIf/FOjT94u0cg5uKFVZesSBmSFdQhFp2gVy+gD1Xe/PHvoyyukL2xRTh2lvG4xnDvJp7plFQTi02euOyprhn0dg7V4aNraLhNC1pjG0f0AoqA+/l9DCviEFzG4pzC1AbYzBpDxY/dPwfjLqq1SVd3ofSG1I5u0+256XcbJOeOU6+U2Fzfw+Zxo9gDclhttg9599Zdnrv4Is+/+gp/+ad/yNLp51lanOWDd94iEIqw8WSdSChOOJLgybNPOHlyjkAsydJMBn8oTrneZjLiwzWxjKH1sFn6DJpdtKGGXTHRS1nGyQyG7gZbn9qzj/HbgjhmF7HZo1KvN+q35fMiGkxgdYm4YgCtVpWmJIttAaPzmCEOFJ8Poz/ENmpiNXS5YFIDDmxmUOogu9l3sU4+hzHoYTNF3W0HW3BGXgS9c6s09/exmBVG7b4czhvWEYP2AcnMKTTPLPSyDHsKpraHXXcy9ngwe018zhh91YlqraIL4KHQElpN7Kaw2hYYu5ZhdAQjB3qvjeKyyKpeUwyw9Q4jZxzbsI4tNI3WLTJs6Ti8Q0zXNE5DpX90HefEWfrDHt5InPZRHlRRE02gCx24SCUYY/rtPIahYXf4MHwxtP17eGIZxlagWcZ0JbEoTlkhMQyhORM8KTuO+DGM9TcZqkEUjw2rLYRuHeN0TdBpF2Tf2XQpWAYmhgpaq0wwfR6ttis38Vq1iNMRYuhQsOheLNU1dI8Ti+bGG/FKyKDoGAUWv0E7/135zg5f+3U+/Ks/4/O/+33+zTeneLImFOoeKv0OdlWRaatv39rkf/vCBF9Y8vDmrQLuiEWmWR2a6Hp35UKq3x/jdCr4XHbikwoOT5Buy6DaKGE1HdjdcP92hZnpIOE43L1b5/zZSXm+SMYCcjlULIhtt850OoLDY8fUhiyenOTj65sYgyEnzy/w6EGOhRUvW89KlApjvH4n3/z107z344dEJjz4HGG+/aPHXD2VIOCPcFg5kktWUeF0ig11b4DDZ3C0O8ZmM2V8/c4n+1hNKy9em+Xx0yJuj5OdjSrzq2HJPtk9rNCq9IjH/bQGAowIFy6mefetTbn0evWVlNSYamNV3lccisLqGb+0CNlcCgfbdVSnQsjjoNocSXuZANCXS0Py+RonVyd5+GifkDPOa78kUsw53vmHHF/48qys8gqTXGfYJOgPyXNiLOqhVRUXdPE+M3n/wwOWhVUonZSVZjG8OX9lgu9/b51Y2M/cUoiPP94jM+UlGApiMaE/6OF3G4STITaeNLA7oVTuk0p6ZCoqOSGGXhpTk0FyezUcfh8rqz5yhR7dnoEx6HN8NUG3q1HIa6QzLmaXw/zo2xtkjrnpVEUqoSuuOQR8dmlH8gZ0Ah4HH36S47nnE1TzfTLTk6w9yDK97KPVHEnYYqVcI56w8fh+nUjcycpKirGh8+7bRfThgBMnvYzGKrfvlPmFX5xGFxrOv/uthFnIDbApHZKpCQ4PajLaLB4eAkyj9UT/VyeWdsPAz+Sczj/+UBALE3QaPXqag/GwzWQixPmLEZ48rVAuaJgWk8yUn6g4HFZbHB62qdf6hPxeppYUbr7b4NorGbJ7FXlhXjwTpt/ssXfYY3k2QbvXYGt/gD+g0C4PMA03x06D3eHnzu0SP/dzs5LamMuW8YRd2EyVTqeLXfFhqjqKMuTFFzK8e/2Q3KbBCy/EefzsSA4yrj0X5cGzPuVim6APFLsqtysff1rGn3CzMuviqDCQdYSZBQfHZnx8+4c5jh8L4wu7aB52OH7KKVUfB0dNPA4VnzVCrlagPRhyZiXC/FJUTulLlT75bJOVlSlanTqaiN+P7cSiKk+etuWUSsQ2xmOhhlLwOSyyXpCZDUkna7fdY3YxSqUk+AIDqvUxF1cCtMcO9KGG02bB4bGw/qBOPOORnb9GQyd3OGB5WcXpdpHd67B0MkJR9EF3W0ynvYTDNvlrIgkLfq8Hj8dPoVim09JwOuwobhd6syvhfwNNxFgy3Li+xVe/Mc/Gkx6Fw5LcNohYoykgHZoqibNT8x6yGwO+9HqKRtVkZIV2WcPmB78vKLuYAgS4kBG+8h7P9hqsHp/go092CDkDzC8E+fjxPmGPnVQ0KrcyqtPCydk4B0dtOQWjW2OroGN1qwRdFsIelaAyxup2kXA5sCljPtwd8XfbfT7Zt/H63IivXo7zd+8d0em7iEREzHHAqDsikI7hiYjLqB+rcPgOR3icBjvbRamQcZoOFpensApfdKVKuzcmHg+ws3PARDxIMBxmbzcv2Q6pWISjcl7G7PY29zh3+gSHpSqVYoHZ5UXy2RzpzCSWoYVarUJkIoJ92CNXaFDYbdDvjRn2xiSm/Wj1Hr6gWwI5NfsIi+6RwMZExMNwoKF6DEI2G3vywTLg9Ol5tnMV7j9u4RyZdKxjqVf7wvMzHJ92SNVNJuLm+a//IhZVw1I/RHeGeXrzYxRHjPTSIo/v3CUem8fiAJ97TDxzjNLBA4KBsCTo54sl/umH/0B6PsPuWp58Ls8AD8dPpYiE/bJbJipEgtafLZSYTs+xly9JLsiz9S1+97/+dZbOXGNcztEfdWhURce5zMz8aZqVQ/qdKonkDE8fPyCdmSUQjjPUQ+T379PvFQkHI6Tnj4Oi0S4WKDUM3njjOm99ssG9DZOLq3Zee3GVbKkuabSVwpBATKgy69R7PZzGiHJjSCIo2A9DFNXCf/ovPs/xz30FkRmrPbuBaotgeJK4vBkKd/4OazyDPziFPjzEMEPYzQo6fgyrlVHlAdbY8wiypui22qxB+u2HqDOv4kUcmnexW6Hbrkq/tG3mKuP2Hu3CPp7IDO7gJFr1CCVgMhqqOL1zDGoHOPxOtEYR1eZh5PIw2r2BQ01gnZyln3+E12lnFJ3GGFox62vYpz+PMrTQPbqBa/oK5N5haJnAGptlnLuL1RoFt5eh3oBujtD8ZdxTk3z6t9/nJ+/fYG07z0RmHoe9x8ykuEj4UT0mb7x3l8V4gPc/3ufqKQ9/+K3/G8PU0BoGWn5LVo+E2otmFtPvwNId0+zUCU8s0yg9+2m/s7uHJZ4gsbSEPTzBOJ/nt3/vv+P/e6PB6pKb51Yz9Pod2T1cnp9la++QYXMkqejOoItIMoov6Kfb6dAe6OgWnUahyuzSDHaZAOgTtKs8/fiAdmvAcCiel3EYmDzdrJJK2ym1RzzKmiz/c73tt86P+NqKym6xw1rLxqA7ptg1URUDn3PMufkwT/c6DMcqx2YcTCXCFMst1raa+EI+/GHBRDFZXxsQS2py0GRRVAr5Ae1Gm+nlGE63ScDjxSIGvcKOEzJRVatU3rYaA3k4rRf7rC4lRTWWg4MaxtAEm8lkXGyTBSA2iMsPnWZPKpy2d2qcPJFh/VGBQFAo+FSyG11CcQvZXJ9w1EkqIy4QKrdv57l0eVIOJnd2ClhxUS6Lzbd4L4mIeZG9rT5Ly34iKT9PHuRkRe3E8ThHlQ79linhuxOTTqmKFHWyl15NcnDY5PGTNteuJMlMB/ngvT38bi/xCTs3b+SIJlWW5ifw+kwaLRG5VEhNuNnYKHLxappWp4d95JCHt92DPqfOpiUDZGOzRuGox7lLfho1K08eNzh7LsTMrJ9CpcfhbpWV1TDF7IBANCShuoeHfUJxQZ8eofVNCvmm/P3uPjhicTEiO68MrNS6A2YX3IzapjyYOb1BBv0+q6tx8qUWw7ZBfr9Let5BrTFk0IbVC25ufNAgGrRy7HQEu+rgP/6HXa69nJI6QXfMxrvfzyHCR7/xX5zj3vU1hhY3Dntf6uTEZiu/WyMRcxGZDPGD765z7nKKRr2LS3HidMOTRxUJr223e4RjXgZ9K912h9NnJ2k2O3JgL5IUl587xne+dRt9qHD8TIhGrcLczCR93cbm4xKqTSc9Lww0RSJuQRAv8dJLc2QLFQ72+ywtRqgdDfAlVO5+UmX1eIypKRuf3anJzvyZBT/XHw9ZWbHSPGxz6lSMH97t86cfdlg55aN2UOHkRJKu1uagOeBnr07xB/9+HQHCP9r6U1DT5D55iNd2gMXpoV2u4PeMMQOfQx810fQODrswWnTxxeZpV+7isDpQPBnM1jaGK4luN7GpfhgK9U4TI3YStZXD6ggwKN/A6pwBq4ACrmFa/PK/F0v7mEOd9rDNyQufY//RdUr5NkelfVweF9HIJAPGLE5NsP70kK2DLaan0tgUyOYOGegqLz9/lXIxi9Vtx+H006tVqNUa1OptZqZTuENeDvb3Ob4wz9FBlloty8tf/SbR+fOYnXXs9jBY3NDLYbjT4IpCawOroCq7j4O7A622YPtieGNYlTrDyhHdfBVfIozA/o5VkRIwaPbA6FRQO3X0QBiXa5qhvUFv+wn2QBibw8fI6sFl0VH84sHQkJ8doY80rQ5M0e8fN8DrxebNYB2VUdWAhHCPRV2le0gwGEMzDMb1JuNRE1VelBVZNe0ISKttiC3xPKrRQC9voodXsRo9VIcDq9nAcE9g1HYZdJuE567SXv8A1RXAMnGaXmUDuzeIN5ihuX8ffVSXG3e7JyW13/3SLqo3gsOdwrSKqP8Ulet/gDt5HmvkDEO9jj+0hCYGPYaVXr+Gs72NY+oag2ZWVnWHpg3F7sdidWB3iXemyahTklFukX6SfBzXLLppY1z/FKv/FNbuAYbQMfoyKM4Ao9ojTEtIAoqH4yquyZewdItohTtYJk/jdkRo772D6YhhszSwK1F0/6ysLTh8E3QONmXEXaRKZy/8j7x8yUtf8dKsaOjDNqmwn+ZAMH68nAi0+KVFOyOfC1P10m70aVYHHFQ6pEIewmEXoZiNSnFIUSxcHQqxmJf33xFQOUilEwSCKu6AQk7wmEIuAn63BHaKczSC9dUZSyYLIxOtD7oYpHRHdDt9ZhcFENSJoY+p18RdwcnhYZkLV+ZoNWu4PVH5+27tdPHY4fyVMAEXHGbH2L02th7V+cYvz/Ot/2eDiEjnPS+WRBXqjQGnzwfotJ1USnXmFmMYw5FcVo76BjMLER49yDOTEfwyCwz98n3+g+/tkJ5WWVkJk5mJMOi2KZUG8v05kfLw+G4W3aIQj4sFZpVjJ6MkEm42nrRoNZokpyNSKSg4Zj1RU1r28endMmGfjQuXJyhVNdYeluUGXLx7S4WWrJJdOD8lkweiqvuTn2RJTTpIpz0YGFSKI4y+SfqYm9UTMd7+QYF4QiGZ9lDKNXn4sMPLr0bJVgT8tMKXXjvDe/+4Dd4+XrePcBh5Jzzaa2K1WanlhSLTkEmywXhIJdfHbrfS6vR59UszvPdGDrfdRWbRjkVXKBTbvPT5aT67naVRHMo7h0ix+/wemUoOxvwMxhpOu5f9rTbJjElQDPZDLt5/e59jpwKcO5fk5kd1LCJh6hPLBBEgGhANiLOEqAm6uPz8BE8e5rl3tyn/neLeqLqsWH74X86a+zsHPH91Do/PxbMn+/hdYXlJ6A+FRsdg0BeKGbcozrK51WEiFiae8tIs9wmEkL3BUmEo43VimvPyF2a5/v4BU1Nh8oclQiEf0/Nu9nYGzMx6GemGjO4aii47I4mEk4OdLu3egFlBdPY4qNWrHJU1VhbjuF023nnvgPNnggTCAQ4PmrSaPeweBYfTQrdrQVSmbC6DhVkvze6Qp+t9nE4BFtOYmY1IGrFqceH16mQPR6SmAhJKlkq76TRVVPsQq1Wh1Ohhjmxkiz3mp+x0BhYZzUhFY+RKHSYmLTy632N5yYtVsfPgaQuPOuT11yeolDQ++bTOV742zZ3bRYqVEemkSioeJF/tyR+sKMUpDoPVxSC3btdRRSTLOiTh91FttAnGXPR6Q1bmUuRLFSJ+J722lUKtLeFH+sggHFbYPuwTdlnYzytcesHB/RsimoLswMzNRvH6nDx4dIRHFAGF99UmDqTisugkPeFhOG5QrzqYSDvlQeDmDfGC8AghN163gVVxyr+vmIJ9ej0rv+TwUyvBwkKKcqdGwBZkPGiTnAlw/eMCl05O8Hj9EG3so9UoY8FFzG9w9rl5ynmNt97a4thZDwvpFDsHedlVHfQVqcbrCFCiw0Kl0ccT9rH5rML5c0GcLhdrWzW0oZ1IyOCwppMKW1GsAWIRhcPdIocti6T/+z1WOoM+Z6Z9WFSTG/sDfvxQ4V7fypTa58tXMthGfT58WCciiMeNLsOa0GpY+NwvvEClVuH2p+tMTMTxBlyydrD+dJOzl5YpHNWwGia1Youxdcz0TJpgIMj9h0956aXz7B8WOdg+IpmOyi8ulhGT8wIQ0uf0yjwfvH+dK1cucOPmffSewcqZKQ6yedxWC6m5OUbdrtyy9C1wtCt+bqqMWcXEg0BUYRwWJuN2+bI2NSftblO+3F0BhySSzqVCPFsrSRiJJxCgXhL9UB2Lx8leo0O7IqiffSICyhV08JVXVvnN3/0mXq8fPRhAP3yI3TclFTulnUf0h26OCgegWZicn6DarrEwsyJTKd1SRV7Ejw53OMwVyGcLkuj80Uf3aHYGXDq1yLmr53nyYItn20+4euEKpUpbfiaKtQoLqSirSxlmz55jYmqOj99+V3JErFaNyYVF+o0GikNFH4sDs4ohqggDk0hqgl53RLPVYHF6Bqvfg8PVpLie5cOHZd7+wadMTPl5sNuDUYOrl1ekljG/XyKWTLO/vyd7zbFUHH044s7tfY7Np7FYWrz+2nNcvnYNZ3qW5qObNIolgn4bysw1GrufMCxsYveEsAq6cuYqhj5kkP0Iq03BETjF2GJFNZqMu3WsoQXo5rE7AtQL9/D5TjPUDrE4g/RqWTyRJMNBG68vgi2cprp5G71XJXzqq+iVLK3SA7zxSzhtCkPhz3YI8NWAbr1FN/cJ0ZO/hVWt0dm5gUN0bTMvoIiwS6/MYKgzaKzjjaZw+I9hNEsM2k8ZDVSCaPoAACAASURBVEf4ImlcK5cxjg74t//DH3JzLc9rLx5jc+eApeUZtKGXrf09ZmZDZA8KPFlr8K9/75c4veJjeuFFVI8Ls75PN7+NMn2O0sE+TmOMLRoARVBorbSzNzAbRzjSV3DET2Dt7+NePYlW0Plff/93+N+/cyB1rq+/GCY1GeLevSytgZWwy4E75pIvxFjEyVAfc/b0DKWOzu0bT1g9syCf98OhTiyZlJ/Bmx8+5fjSPHc/2+Hlq5OgKGw/K+N1WDgxP8mdZ3k2uwPOz0xQqeT49RMOFhIObmwZTCdcqILy7HYRjTnlxclpdzMw+tgVO9OJIIbWpNhRGA8HpJN+Dg8b7B6avHZtEuWftWz/8Y1DTh7zk5xQCCb83H63zEvXJskV2jxeK8rL3te+Ps+DR3ke3W+xuOilJTZJfh82j0klp9NojYjFDcJBn4wFivpaMuri8tU56rUe9epIDrP9AZXDfYNwRNhN+qwsZ/iHf1jj5OkQguf66c0yZy9EJH24WhIx+yTPHpfkINou1EIijh1yynefx6di1Q2cASuziQQf3z3AF7ag6CqNmsbiXITdXFVCgbeEZjERoVAUsC2VxOQICzaOijpz8wJENiCaEArdEi6HTm5fbHyCLB738OMf7/Hl1xe5e6sslajHTzjY3qjg9vl59KjG176elqm47bUy1z53nL2dDqWjMsfOhtnf6LOwGkTr9vnsVpsLlwIMsJLdLXPp4gzZbItas8apExl2N1vyQFQodeTz9MSZOO9fP2BhIcyPfrDPmUtRgg4PkSg8elqhXhtx8flJ7t6ukBZKpJ5Cet6Lzy0SV2OOsm1iApzV6tBsGyhC3aY7OHvJx/6mxlG1zO6uwdKSnYunp/mnd7bkwOP8hSQj3cpo0MFq2NjL9Tm+5GdvX/QzQ1RbXfpdjeXjccIJO1uPm2gjk8uXpnjwsMh43Jdspb2dPunpAKPhEHfAQ26nyOs/s8pnH+/isjvRrGN2Ntu8+vlZyep4740sL72WopxX8Ya6xGNR9nYasvoSmQjy+L7wSUckHKpQGZOedJLda+MJORCUH2E4ObsS4/azLtfXW7xZsrES9xC1NMh1Vc6k3Twqtckkojy8l8fpNHjrgz/A7rtK8fr38HiHtPNF1Mnj8t0nzje6TWiApxlWN7C6/diDE7Squ3jtonusMdBtqP6o1OOawz6j1jqYs1g9DYyeqNMYjF0RbMPmT/vboTSDfg+nXUW3uKDfZOtgD5/qxRNL8/Yb32Vl8TSOkIiMV9h78pDMzBnyuUNszhDVZo1kNPpTFtTmU/m+WlhclCC/T65fZyqVotkdcOz4DNHEArntJ3QHHWwCPqYmGAwrLMwtsL/foT3cw2bzkN05ZGkpjdkbkFmZIZNawrQ2sPsD3Lt1SMjRZox4puXRhxa54d95ssNo3CeaiTMzOcVcqEds9RLB2BxWi5t+/QCt8ZiRMoXDnUShhl3UwLo9+fwdCvaRI4JDdWEOO1i6D+mpCbyKDVO1Mtb6OIQz2x2kn8syUCyEwgmau8/o1VvE5pdQvUFK+fuEnAks3kl6vUPG7QJatY3LP4lpdoS8CGvwNEZtnUFtC1tkHl35aVpIDS1jMboU3/23hFZ+Dmc0RV+ry58Jgl/iSuH02NFxoVceoE59Xp49haZYWBe6hcfYQ8dwel0MW0eoziS61pTq2nb9GZ5ACt0TwdatYnVMMjJHGKVHKOE5hgIqkX0TXU1jTZzBrXQY9nqY7mPY+jmMiFA42hhlP0INTDEe2RBNDFM3MDxxFEPoW2u0y2v4oqfRPWHUcR+9d8DQDEC3iG9yiT6i5pBHMQZYgz7G9X22P77O3Jd+kdDq6/ybq6f4s7sGf/4vV/ng1oDt7CHJCR+nZ8PkCw3efljj//iKn4kgtMwoe7k8TpsVmznCEw6RjHnI55pUGx18bgezc34e3CmDYvLzv3aOO9ez7O7XmZl1y1rW9lqPkT7mzPMJfE6VWx/t4XAL44tTwrs/+zTLp5/0uHTFx7GTfrIbCqp7TDDm5N6tHEvLYUmvd7rEcEmX0PATp+McrFVxRe0kwl6ZShbVzU6vLvV3R3sivehgatlOq9anXrMRjUGjKtgqVlwOKxt7TXn5XvtM2AIiHO4LM80Ad1QlnfJSKfbY3GxxbDXCiVMRdoW5RrCMFJNcwSTqNzl5doZQUOXR4yImQ1knXj2bYuNxkZHZZ3o6xVGuJJV7xfKAxaWwBKELEHRmKi6Be5/erfLLv3qax8925SA3M+HnycMK3b7ORMIlO/tC1xoJeqWKcueght9jZ/lYgrfe2iafFbBVlRdfSqG1hxQKGja3U+pWC7k27oCbfL5BNOJmd7PGZDrOyKqhVcYIAo4AMJ44McnakyL9tjhnC73nmNn5II8/q6J6h/gkc8XO1KKHn/z4kOXFGA6XztqzNu2m0MD6CXttCHmY6hCmriYXr6Z4fO+IUqnJi5dnyR/1JDdoYtpNyO/i5u0mr30lxK13a8zMCQW9l0e3qoSTKvPHYv8/S+8ZZVd2nuk955ybc763buUcUIVCIYfOmWw2cxBJjSwrjkey0ljWDMfLlq2Rln9QmllLnpFmljRW4IiZFMluNjuh0d0AGjkWUKic6+ac77nB3Lv9HyiEqnvO3t/3vs/D5bdi3FtLEfQaOX5mkOX7+zx+ZkxqnZP5Bsrl/22qW67lWFksEo7YCYRUqbs5ebZHOorvLaaZGHKQSdcYmvRI4Exso0VNbLof68fQrHH1SpoTj/lI7DYkrdGqqeSK4sJilLF+i0v4sdvE4wXytTajAx4JPDOZLPLSmk23aTTrFJINenptpNJVpqZ93L5Z4onHBlla2ZHghlyhxcIRC6ndDlMLUe7d3mM46iVdrBDyu/EHurIrsXFQplxqc3guIKFChWKXXRGdnPBIymQ8mZUKiny5jMtqZGcrj6KYcDvMBENWST0v6V329/LyQb+7k2Z80kMi1SS1X6epabzyoo9OCxx2p6wj3L+Xw2AwMDDgIp/OkSu3ZcffZLVjEw6XtoFKrYbVKpgIGnZfjX6/i1SygcVpkAOFar3J/TtlqpUqx0/0Ew4Yuf2oxOLtFBOHhcKozfCYg61lAdaI0KHJ7loRt9NOMKJx/u08L70kgDgVckmhAFK4v5jG7DSQEZ1zv51W1yAPOT6PRjJVx2U3YrMJtZyG1dElG69htFvwOjWp4xATSQHQMZhbbG1WcPkV5o8NsHI3SaXckl9jfFh4NLv0DXi4+sEu49MuogJetZ5lZS3HyLAJXzDIg/v7HDniJ5/qks4XmTs8wPUbMeq1Ji+80MvduxkiPhMWexvN5GRrPUvQZyFdrpJIwOysVzwf5QQwKTQrZhvxrTKf++wQS7tZHi3rHJ+0c+lGXKpAZmdcBI0lwk4fv/PDND9dhkGvxgsLNpYPdLKlJkP+LvH9JoWOQcJW7CMhzj49z8XXrzD/1Emy69vsbB7QFPGxbhuXxUKukGPk0CwX3r3Gs688IR/IhViSQqxIdDLE0oNN9h+kcDsNpCsqv/77L/Czn9zguU8ukFivcG95mdPPnCBfKrJxdw27AIs0OozNDkuVYCgUkhc5i9gaWpCpDEEa95pFxHiD8YkIBztJXF43rWaFSI+XrqKytpLk3LlZFm+vUq60sHiMMuokLhQup4VWrc1OVuf2/QLpmojgKdjaXV6Y9/P5j4/yxLnjdE0qPTMDdFQbjVwBI15i24sylra3lyTUo1LJ5qUicG01xfSJE7QFWbil0GnCxZ+9xtbOBpPH52kkU8TyLQIhL/uxLP1DA+RzSSwG0elKc/7CNqcfC/Arv/gl2p08h449w4Pb7xMKD+EP9vPowTUCglK9tiTpzcHBOdLba3KjUMiW5CbNGY6i1tpSE2mJDLO39SGv/eQm3/nnZSbG3Dz7zAlWN/bJldJ0dTFIaEulTH+Pjy994Wn+6q9/iNtnpZQv8GCpyB//u1/imc89j0krUnjwiK5elVPtlrWMM3SYSmwfq8WCbgzg6J0mfvMfpD4xcOJfkFl5S8bYrD1zVLZu0jG6sAcGqaQ3cISGaGpe2qLvaOxIBZc9EKVtclPf+RCDVgMtStcTwZRYRrEPSX1gae1ndG19dFtlFLsHQ7MgmQVO9zil7R9hCcyiOieoZzZh/wbuJ78icmo0kg+grqNSoaM4cU4vYHD1sPTeRf74a19ndDhA3/gwqUwOf0AjHBrj4fIq+XSMlm5DMRv4/Bde4onPfkaIEtk+/9dY9ATW/hPogvBNE13ETNt1PH4Lqe0KgbmPUXj0Y26/9S0e++If4lg4CiR46xvf4w//9G1WtnTGgipHz/iJ7dfptOqkGy0momHpLRaH67GjvZx86hDf+sZ5JmZ7sdu8XLl6Tx60/X1BQn4P6XSa1Q9XUTJFNKeDSrFLyK2Sr3WZHFTZSjWo5VUyHfF8VvnayQ7RsJu7m+Ji1qJr1OmoDhrNDq1qExHIHgpHSKSy5HQFn9vKzKDC7k5Hptz6Ru3UdeELb8juqDdsxOOySA1gLtslENRwu63kSk1M6KRSHZxuO5mM0OGaZMpgZS0rKfQORxe320+rUiNbrfCxTyxQrBZ499UNPvHpwyT2UxJGdPNmgmqlw3MvRbl2eQ9f0Cn1tUGPja6ljdtskP2+9bUkh2eDtH5+cFx8kGdvrcDsYTeHFyL89Ee7DA0aGRgO4fOYuXp7B1pWbNYKj9ZFlNGIam0LGQwnTgyzeO0A34CVTsPI6sOErMJYzUZGRwRTRUdTNEan/EJxzp1bB8wdjfDqj9Z58UVRieqwt1mTm7V0sU50yMujewleeG6Im7cTxOId+W/vdJqMTkZR2xWKFQM2c5mR0X5u3IhREv5jrcPAaJButS0VUKdOhgATb7y+x+nHwtBWWLqX5dBhJ8trJZw2nc3dNnMnwyg1E8uPtpia6eX99+LMz/vpHzaxu5WlUjbQ1ZvMnwjIOtjAkI1LV7ZxWI2cOzvOG28uY7Ub8Ivao9vF8qMYx46E2d4VOi8DmsFKR68Si5VJZ+u8+MqIZEScf2MDX8DGuZNRPri4SW+0l3I1SxejVHoJteD0tINbi2l5uBM6RjH88zn9vH95l+mZkIQsttpWWTupVppkCzrHjvVx4cIa+5sdRkfNnH6ql+98a5WXXxpiZTnJ8JAPm09la6PJ+k6OJ8+EuX89Ru+YVy5QypkOVb3AUG+EnYOSBHgl41XSBXj8eJBSt8m1Wy1qhgq/ec5E6+fwy1P/pSSHAaMuJydm3NxaSlBtq3zqpJ9sscHfvrrPsSkL33v1b7D29XLw7T/DFJ5Fc/XRqedRWl1Z7zGIRFS3Qzu/h2owy82sEjiCQdfpVkpUKg+w9x3H4Bqhnbgj3zXdTgOj042uWTHWytCtSRVWp5jFIKC86jC08/Li0W13UQWtvlXFYLVBdp/E0l2MIaGya6F5QxSSm3Lbb8WALiw0zTp6sSQH1OLiMnTsBA+vX2dnbRdTwIgZLzeuX6dptHJsZpZQOMyt+/cZH+vn3rVrODxePv/VX+bbf/8P2DwOLKrG3sEOJoMiGSJCUTYxNiKNQaIG12qDZlAppLPs7MWYnR/l0PQsa9u7HJmeYvHRIiFfEL1eQ1HaHF44jS/opttp4Z95Gdpb1A8eobqj6MUqBzsb3Lh4UWBi8fvDbG9vS8Dts08+SaJcRS1nuXh/lcnxEe5duU+9WWVgNEIqlqPWrMlq42e+9GXe+tkPWFra53/+7V/FbNK5e/8BL//CV/CFB0jvrhCIDFHZeR+93EANn6KeXcemmihgxq1qFKti0z8FTi+tzKZ0rCOWEZ02DpuRQqONYOyaOxW0njlaxTrtblaCFk2BCQxqldzOOxhMw1hCg+Q3r2PzH6JbiVOu7uIQmXfXAKrVj6ILmOsGBs8wakv0301S/Wc0qCiBWZrlojQStNwivanS1XOyAqEZpmRSzGyx0ihvoGb3qZttqKY+qbc2NQrgH6BdSqC3FUxqDsU1T1dpoO/fo5lcxz33cQzBIVoPz9P0jGF3+shs/QPRZ3+Vrat3GH78z3j6cIDnp53cWs+RSNaY73Owralceajz9SdEoq8mq2xzhwe5s5iQVeneiAO7147dYuDSlU36In7WNiuMzdgln0YscR47HeW1n21xaD6A12GiWCrJqvSDe1lZPZ2cdpLL1TEazBjNXRkBH5vsxaK0MNs1safjw+s7KIomo+ZHF6LEdwt4ww5ppekJmVEMBlI7BQIjNiZHQ9TyLd58e4fIUJdTJ4ZYvJUmnRMcFwOTIybMVhfXrsWZOeymUa2j622cQqlYaeMIaizfLTIw7OJA/DleMwuno/z9Xy8yNefD40Im5IIRF3txcbdzy+TX9Vt5mhWdF54bodissPmwIG0wPzu/xtiQm1S8KKsSn/6MSLNZ+OADkXiCoX4nqYyAKLeYmfczPuLj3fO7DAx5uSSSxE4HmqHD/HyYtbUEDrMdu1vjwUNRZzDKBIeoaIt6XaFQ48hCj0x5bazleOmT/bzzdpJr15N8+uUhmZC+dDEhIe1TUy6u3xT3lihWq0gm28gkWzRqTfZjRQI+D3Z3h+31Ck8/M4THZeftd7bQzC18XoUtAZ23QWBAI7ZaJ9jnwCIYZR0biYM8r3x6imu3t7l9pcTjjw1gsTb58EqCsTGnTNxd/zAhB8YvvtjL1Uspys0mEZeJrb08IxN+0qkaHq+RsXFhztqgb8jO2mqR0REv169lef6lXqmTrubBHzJy+1Ya5fu/NtrNptOMjgtNUpsb1w+I9vgolppYHR0G+10kE8LxLvQ3QbRujXJFYXDSwavf2aStqnzxi5Ncv7qL322V9HGn2YTeMZBKl5idC3Hzdgq7SSXcZ2VnR2BCG5KuuLGaoVSHkwtheVEsV7ocPR7g2tUEFktT6h+aik4+1eLQoQCxRFl26sJBG4WqRmz7gLGpHm5cOpDTrpGpHiq5qtRPiIiQ1oFmR6hPOvijfrLJDIGohVK8zuLDJg57k7PnIhgtTi6+v4onYKbTUqUzt28wzOpaXMK3gr12Dg7KPPfEkOzopXIqKw8E/M1OT6+DlUd5RkZ9ZLIV8sU8R46M0GrAhx/uSNjMoaNutldL9A6FGB4zUMg3WRVxjohTUm3FgMHjcFKuV7FajQwNBGkKZ+ejHIGoifS+eJlUCQfdrG+X5IXk5Jke9rZFzEolHHaSKVfkYTbSb2XxTk2CohKJOqdORbFYO+TzVZo1lY7SZGjEyve/leeX/+UY+XiWeLrJwGAPd65tSmXP/IJP9mcuXUkyP+2Vwxq/z0Eylqfe0kilBcwPDi/4UDpw+fIO4zMBRofsEgSZqTTkpTaRSjF/eJybt/fJ5ss888wEsb0CIb+V2zfi7CbqzB32s7dd5NTpKOtrOam22Nsu02wYOHrSKh+OwmYgUiY9PTZ6g1aKtQ4JQT1Wu5RbTTa3ajhMJiYnjESENWJTZ3LCydZqmkzFzLlDDrb2U2zlLfzNjQrJmsbstAG3DiNBK+lMlUQNCc+xOU2k0jWe+Pg06b0yB6U6k9MBGf9t6B1WV/L0Rl24rGZ5WG0I6Mt7K+QSVUxd0eFqE/YFSGQLDI/4eCSIr90GzbqCWtVxj3vwee2U9Tbj88Oo9Sa5bIVMPEV0dISLb11n/rEJGqUO8dguv/mvPs/9xV00gzCo5cilKhLOs7UcIzwUpi/gZPn+NrlcFb/bQaTfKV2swkBRKRQx20yUi3V6Rnp5/90lRqIWjh0b4cKHK/KwKyCUiVKHWsNKQ0iHgSdnnTx1uJ+jCy7OnH2SYNREp9xF97pprCWw9ER4dOMDNh48ZGjsEB5vlIpSJeT04ugdIRXf4PaFm1hdFrZ2YqCYSGViDEZ72NrPMD05TLkhKNRe3nv9ArMLk1jsVlLrKxw7eZzJ2SnqrQomjJRqVcbmTvHw5nvYbR65McrE1pk99Qypg03SMRFfNmOxO4n09mIgh62nn4OtLD997U1e/ckDdnfrfOXLx2h2a0T7Brlx8wH9/RFu3L2HvatI0JAwf/T1mbn0+ooEr/zu//4HhBdepHHjTUnTF121jjEAJgFbq1BOH+AO9KNqXjqCplqpoJr9dPQsRluIltKguPgm7v4FGf8z2L10OgqK4Dok1zBrNtpOB51yDktkhkYmTid2HduhF2lntun6J6glNmknHuCfOE0jv083OIqpaaRa28OomGhVY3RbNfLVNm5vH83kFWzRj0s4k4qK0WLH0T+H2Zkkc3ubV197iwuXb0oAaN/YODatw+0Hm+ztl/nD3/ssOb3LP/39q5gMKl//P3+J3unj6Jk9ip0+1OQdlFYV/OOkNz/E3zuI4phAKe+RydQIjQYobmwS7PfRmXkes7VF5eLPOPKl/8baQY2IV+MTz/VD3UA8k8XptFMolmTt7O13HxAJW5mYHGZwuo/VtV12NvYYGR5Hb5RoaWaaeglTR8FlNpLeKhLfyzJ8OEgxUUARFaSuRrlc58R4D9+9kqRmavPxQTe/fkIlFGjz9e/neeqQg56Akffu5MgVTHzuRT8mi4EHy+I5Kt4XHTpNhcERAxsrHbwOGJoM0NHb3L8dk2DVZqNNKlulJ+AkGU+yudtibMwhqfviAFBpl6QSz2QWRP2M7AeeO93PPeFTPhbGphlJFwWY1sSduzGiQRddtUkyhdzYxvaKnH6ilwvv7RPxmhka8RA7qMkKXjXXZm8nQagvgNmqkEvU6esJ0jVW2F4tcPzcKJValXffinH4hIVOwyZ1eU6LTeoJ6+UOM8c98h1J1yjrTKeeCnPtzSQdo4gfmjDoCv1jJjKJNi1EqkXF4WxLfsnmVhO318jIoJPt9SalVoF+rwtX6KNfXy6V8fU4ZQVtdMTJwaaAcLll9H76sJl7N9qEAoL1U0e48uxulTtX8zLavrp5wJMnR9iNV0jGxKHFJZ+5y0sJySISh0G9pvKZzx7hb//mCk882w9tlb29KnaPkfWHIu1glZHS/oEg2XwVo6lNtWTEZjFw6JCd6zeTGFQjiQMBLlXxeT0sP8oyNG4mn9HZ2+1w9GSYnS1Rs7Bw7nSU733nEY89P8LuRppW00Rfn8bGehGz0ywvPHubWabnQ9Imcf9+kYlZh4zlGlSV4XERPz/g2WfGWFmPcf1qCqvTgMdupFppEIr4MKoGSuUSVrvO3k4LX1Ck4RSivhCpWJqj5wbZT6TRGyq1apPRUdEx7XLhjQ2iI27qtTq9IbHU+Kh/2moJTWoej02jUldoUsfUNROK2FjaaFLJZ/nq52ZlSiVbzPLpp3p550qGr/5dHY+jxZNhA9drddoFldl+E167naGpEH/5V/eYP+rn++/9OcZYnszuMnZXiHrbT7uVx+YLUt1dRVXNspqnWmx0ulZq+bg8T6mGFlo9heI6IocjAozbbh+gNCroRicGU4hOs0Cz08LsGkYr3KPelgJajLYINPfo1A/ous9JaJvW3KdeU+SAWyRcum4PiiVCZeuijGp7whM06KIV43TsPXTredrCE+7up5m+j93okXF5waUop2M4RiZ59M7f8nf/71ssb+p85QvHUIx2zp15jHvr6+QKSY7Nn+Ev/vzP+OQrX0A1NGRtqFEQRQOVjfVHWE126RsXm+xTp87yve99m4Dfz/DoMI8eLKIZVYrFKqPTk6wvLcuzhggLRrxWjCYba1tJbOiY7Aa8LiMehxuHP8qbP7vA6Pg49XaJWjbH0eMnWHm0RseoE/a72dpYZ2RkSkacD588y0++/6rcwJ97+mnefu3HMjVlNrUkWFVcWhSjhYWFeXI7Ge4t3yTs8BOamiC28ZAvfvLjmOYfx9BUqB9sU0ou49CcFBq7eHqeZf/GP+EJ9+PsPyLj5h1nhHZ+F72wj2K0YnULUOgGNqMY9rkwiMVD24BWXKGuuehqLqxWG6bQOIge9KMf4YwexuTrp759ga7ajykU/qgO0qjS0nRMjTaK8aPYveAeCIuJ0PZ16rocireaVTRVQzN4acZvy0h5Jzwpf+7Fe9NgsmBodWga2nQre1itA7QEAFFR6Rq65B++iTF4Epu/n1buIV2THc06QHbjTVyaBWdkmkxhh9DsSfR8mr4jX2NqUMHn6mKzOHmwWuETZ8MkdDvfe3uN33vCwZcft3DpHkyMesmkE5TLCg6HkWyhjcOlkU9X8AbE4Es880tYHCKW7pQ/z7lyi06zQbXcJRRxSEuWoluZPuKWKTQB9i6VVVrdumQaeCxmTj0zyZXzixLarSkmjC4jhd0anqCZcNTKB+8lOH7cwdhohBvX41IXZ7ObSCdr0gjW1pt4ozayKZFKqzI+4iGXa7K+UeLwnP8jeGhGx+LQSB3UJHlf72q8+HSEi5d3Kfwcznzs+AC37sSYmnRIdfv6VhGlXeXkiREs9harqxUJxsyKanFd5/O/OEMpW+fapS0ODpo4AwKAZ5Swc69YBKrCZgDlVBOru4M3ZJPQ+Gqtg0lV0NUWO6s1nvxYmM2NAmuLVebmPAyMeHj//K6sOre1zv//TnDKz4HHaZPDg2ZZoX/EjunnGuNbV2IsnOvl7m3BNDCRTumy+l2tKhiMwihQl4Pc0aEgaxsHIjPFxmaDqUkLtWoDj99PNGzm1u0DkvE2Tp/OQCRIrVWjkG3h8ZnQjEIvrNCoK3JwJ5JMhXxDas+DUTtbGxViiQr9AzaZ8jFaRGXaIO94FosNn08s4YscJJoM99vY3csR9Fpl7bleqxD0OuRQqKO2aVZs9ASh+/OK68ZelkPjUamF72gVLIYg+7sH9I86SCQ1lAv/erh77foe80fdOO0BSWpfWtrC5RQRLicj4x4++CDG2LSTn/5QRJxNMl7h9Bgp5KqcOD5Atlbig1f3OfXEAIuLJQLBKk6rmb2UgsUiPshtshWNxx8Ps76ala5LoXXSGw25Re8X8ApHg8XbJZ56KcritYL0+547Gebd97YksKfbMZHPkb0WFQAAIABJREFUlCgUFZwuE067Jl31+ztpjhyPym57JlunJ6Tx9HOjfOufljFbTcR3qkT7HdjdDXoHgvzgv28zPGLn3NP9XLm8xeCAW073C/mM7KrVqxb0to5V9IzrYvoeoi9q5a13t9GbJiZnzMzMRnjzzQMOtssE/WLq2eVgp8jZ00HCQQ937+9jtnV56twkW7spbPYut65WiPbYpOrG7teIx8pSFxFLN1g4FKHZqPLwXoUnn+6jWk2zH1dwWGzU6mWCIbusS/jNLmKpDMPTXn76433mZz0kC2X6IkLdJ6Z9ORx2I+GwF2/IwOZaA61bkuoyUaeIBi2US3V6wg4ifS7qVPnu323T//NhzvH5EPuxnJyQZmIqmrHDuiCD2kz099rxeE0StCaomDaTytScn1vXYxw/2ke5WUPrGll5JLb5Gh6fBdWgcpDIMRh1USm06YiDTjVP0OtkejLE5m4WzaBJE0GrZOLugwRDEwE8FuQhUNNa9Pc6uf+oQq/PQLaoMzIa4L3zu0R7zQR7rVLRYlJgL14mGjGTa9aEtpdYpsFQWCWWVWhqBj5+ws/3Lqb40iwMTYV56c/3uZPWODPoYtjTolw3UC6mGRoLkks15SawppvI6ypG6gQDQhEi+qMu/MEg+Xyag50MvYO9ZHfL5DIlZiZ95KstLKYq3baVeLmCzWXDLJzlZhPikdgoVWVUNZ+vsZ3TmRoPEs9lCIUcRIaDbO/mObQwQ3+fneVHO+iFFrcWNwiIREZfkHQySU9PEH/Ih8fp4MIblzC7vFiNXWpFHb0ippE1HG4nLoswYrTxRIPYLAp7GUH4Vxke8LKzHcftjnBOmCKSCbZ2C5g6dZwOD+/dXqOqG9iKC96iAaWjE3aaeO6Ynd/6lVMM+sIoWo3g6CFQAog05vady1hNJlbXM7hcTpxeh4SEuQN9tOu6VC1987/8hTz0R6KDLMUS7K+uS2J/MNJDpZRi9c4m5U6Lvt4wHr9HahPVepHP/MqnGBk8ws7aEpV6mo5qIpdIExkYYmzyCPHNB8T2H2L09bJ9b5WTp89w5/ZlDp88SnBogmx2h//09W/w1sU087MjdNpZhkeDOJ1uLrz9iMiAk16v8Mnb0TSVdCJJq17mzTdS/Mn/9Sm+8Gufp56Jo1drNHe3qHZ1bOEZlPw+pWwSl78P1e6ktPM2rtAJGnobTRwszW60nCC9C3LtCI3SLrX4DVxjH6dlctPcvoQjMk27kkTvejB5gzQr26hGD5peo1ZeQSl1ZW/eOHSGli7gRzs00juYDQr1ShZncE5aWgztshyGdcXKq1VE1Z1oVhOO2cfRUwf8h3/3J1x7tIk7YOHjzz1G1+Tie996ja/8wnMU4lnMTif/+K230Jsdfu9Xn+b53/gNqlt7tIoFus4ozfQtvNFjVC02bCL6ee8irp4BzIEx6a9Orb2J3e3EOhpFHXqF1soyv/kbv80/vF/H6+zSG7AzFDaiml1kCyU8VjNNi8qDBwnOnRwh0N/D0vqmBByaO8IS0uBzX36Fvb11rl1a5sTjx1i+scrKlWXCXmGfaZFptgmFPejNInZzm0LOiMXTZe+gxUC/j09Otnky3GE1p3Fnt8FsvwABHWA0O5js8bAZj1OpmMhVi4wPBVDaKrfuJfnkK2Pkc2X2ditMzwhdZ4yx2T5a1RrZfIN8Vmdg2M3OZpZGXePQvEP67YWpRhxUnB6LfLeJapr4XIso88NHSSL9XrxuK9l0lbZuxOtTyKcq3Lpf5snHe7B74fKlCiZVZ3zGSkNvEgm4uHMvj0XRePKZKCsPc9icZlRV58134izMhvEGVBKJJrFYib5hF+GIhcRBDrfDjs0iuocq/h44WC9RbXWYmhSqPIVspiprCBfezPG7vzvO7TtZtrYLGA0ah+eCclO0cMzH0lqa/qAH3diU0NyJCS8/fG0Fs9HBkWkHzoCFpcU0Fotg6SBViMJQkDwoSr+52NKaLHbZ1a+VGswcFvYCE+kD8V5zE0+k6RfO+5w4IDVJZCrMHgpJe8rKehqxm601NVwuI247DEQt5GsKtbJCKpmV33v/UIBOWSHS32ZlrcnBbpG56X7u39tnba/BuTNuBob9rC2lqdfaGOxmUgc5PvHymEywXf0wztwpO+aOnb2DAsWajtXQwed2g80IzQbrazUWjvhwOmB9Wye+m5ZVjtEpDxvLKWLpOiaHSo/XLuOZm8s5JiYjrG/kqJcL9AyEKaZ1OooJk9ZAs2rs7xWkfvnsuT6pmdI0jY2lPP2jHu4+2uHUkRBHjs/wrW9cJRJyEegxUal2JZdJdH6qlRIelxWnw8DkVIgf/2iZcrlNb69d6i+DER9up5ndzSSpmoLXZKVvuMs71yo8d9zOY8f8/MW3U7y6rOJ360StCntNnZG+QZZWVwi6o2jtCn/3QYbf//wkf/Hd/4f22h3y2/eo0Y9LVWhJkJ0FtVWVQFBVaWB0DKJoZjRHPx2ti+oMUNt+gMGsYPKOoGKnFL+IoaVjjhyikdpGc4Vp5ncwGhUsI5+muPZjTMIx73KDQaWZq+HqO05x81UMFp9UuimuCemA79ZydEoJLJ5JedFNL1/FNHAWzWKiXU7KpYfZ0iN78JqIQJsdVKsVmi0Vf9hHqxCnTQWT76gcVGQyed7+5n8m4AsQy+RZXNzmyadP4xF2g2aHWPKAhw/vMjl1CE+wVw4p3eId7Ylw/r23iUYHSB7scfe+GGgf48zZs7z+o+/Qabh44eOPcW/pNrlkmdmFCfKZHK1amZGZORqC45JLcuP2PfRWh4DThsXUJZmvMT3Ty5MvfIqle0vUq1nsFgdur4/leysYbBCK9JOK7bO9vsfwVC9+t5/l1TX2dpK8/Aufw2E1c+PyDWnBshjsHJo/xPXL55lbmOMnP7yM1+diYmqM1378E/xmK1/706+h9PjQDEN0m2ma+5cxBB/D4tQgtybGFLTLIrbvxuyLgN0ut/1qR/CKsuih4yiFTfRiTj7zHc09VHMIQ3iKwv5dLMJqoCpSd9dSjNSyGyiNOoaeWdrFbVS9hTk0QD25jsGs0e26UT19dDNrdDSztBG08xuIA4ipVZEKc8U/J4dNnXKCmp7A7j0ujVldY5vqznto3gXMPsGe2JRnEc3chyqGAs4gncwdutYRuqUkCkKVFqJSXJQA30anQjg4hWHuaY4PPC4rxh8728d+tsNT8x7Ov7+B0+/l9YcZZjzwn77Yy+2NNI2qkeFxkYZu0mnYUdQK+3vCFuVAa3dptDX5mRda7Vy2zdCIj4U5H//4zYecOSsAeQUqehO70Uax1JGVj6OnBllazICxyuG5Q3znm3dlMlZYVYT6TzV2qDYbHBrxk0pnmT7cz/nzawz29smBtdsrYLSwI4eYJg4O6hw7LtLeaVwhG8VCk061w9CIhZDfSaur0dLrcimnKR2ZluyAZNk4vW6OHHOzvlyS53eRFBPwcq1t5uH9GF/+pQnaXRtv/WydVqPL2LgVi9Moqw4i6b2xkmX+bD+WTpu9RJ1Cukj/kI+15Qpen5GJKSeqauP6hxuMTAfQjBY0Q5Pvf2efcyciHDlp4dUf7WGxq8wv9LG6uI/XKSDVLoxWA51Gk0cP65KZNX3Yz9Wr2xjMBsZH7JKbEw46GZiwcftKBr/PLg0LVpsZj08lGglz/t1VxoY8xJJlkklxNnVgMbbIlRX2dzLU2xqHpoM0SjXC/XbGJv3c+TCO02eUw5Vbd+IUM20W5sNs7GSI9tnlQnlnP8/xEz3Edusk9uscOeXk3r2MTDYdOernzvUM9aoRj1/B7rAQz9cY7/USCIg6dA6v3YjF2aVZb1PvdMilmzJ95QnZZd3l2qUkL39ykKXlElazwsKRAOUynD+/JyHLTz83Qi5Vp5ito9z59/Pdew/3qRbqcgMWHXRSyHWpVHUSqSrUdPmgnD8VQEjUBPk8HLCxs17C02MhlSiS3Fc5csSL02/j0gfrTB/qo1GpUq6ovPZmiv/p1/rk18ulG9TrOpGQRXbS1jZqZBMZobdmZNSM3rDg8Jk4WC9QbjTp7zPyaLnMwrGwPDil0zqhgCoTAT1CQZHLyU0adKi3OvhcRvb28vSPhbn2wR4vvDJGfDdPVUA5hI7LasTh6tBodeTh5/61NIeP9rCyEsfYdRLosVEsikiii2anzerdEuGohUKhxOKycCKHsQnn7m6DhdNBkvtFSSDe3IlhUAzSXzkwEOGHP7yNz2HF7tRodTS298v8y9+al77M5TtJmSjIiJ6M2002leDwnJdAb4DXf7zM8aMDkpGQzdXktH9zsywPObG9OiZPh931BqNjDvl1xXZHUFQb1Sr+fi9rj0rMzTmJhC28+36SgFelfyhIvVgnm61JvaKwLTx4WKVUrUhYysiwmYAEAtZwWMXhrEJO+JdHXBQKOqE+B/u7Rdml8TiNZLI6qtLELy5pG9WPuqMoZPJt6ZtsiJh1Wailgh9RlA+78Pmd7G4WJEiv3WzSOyZ6eEmOHh7i/v0DjDYj0V7hrjazdC8pY5lTh/pI57Jye5PNlSVwsFFUJPHY53Xw9McX2N/e5mevLfPMM/2srNZJZ4RdQpODII/PQL2uYtFEh9ZIrWImkS7xxKwHi7nOP98o8YMHbXYaCmpLZcLXkvqm3UwXr0OIeg0kKjUG++00CiqlQoG9TI2ZUQf7O2WCPjuJWAWj287EtIt8qc5eqoKlqWAVH1CjInvXgiuhtlXZAdI1Cx7VSKxQwWo2oNQatDoGXMJYUavLCd64UDsVyhxaGJWTwKV7q5KyfvTELEt3NiTTYW8vJx/eRpNG/2BEdrtMAjTf6ErQzJ2b6zjNH7EBuh2jBDAJoObJ40LLCbFkFW9QTBETqIqBvqCbnqCLWLpItlzHa7VRaeTpHR5meStJNdsiXarJ/qjmUPC3jLzwhIvn54d45tOPYbdaJXeg6+qjurEldUHJ5S1y5QRVNBbOnKCwK3zDXXr6+tncfAiqmRvXFzFqJRbvpzl3eoGa8CdqBnRquO1+0pkEaqfO6+dX+ZWvPMMLX/qqnNDuLL5HIpXGZnPhDEewiMpRLEGh1WDmyBkunv+p3Aocmz+Gb6QPs3uEpWtv8Xd/803WtxQKpRIzc0GGBvsZGBrixrWbJBI5xkd6ySYLHCQTjE2OcfHaBoeiGp95+Qme/s3fpiXUieUdNFMfuiKUaW6a+U1Kehl7R6XlcGOyiBinRqucxmwWWxDoiNxX10yntodm9tCul+g0s9gjR6lVC5C9jmXik9QTy3RbTWzBY6SXfoAj2ENX/UipWEl+gGPqF6WOUBCQrc4xdEOFds2I3aWR3jvA1TeDIXMHYzCEdeYzXPyv/ysXF3fJpOtMHzrE1feXiG8f8G/++CvcuH6fnb0kNvF7UxWMFhv/9k9+i/DIKOXlHIqlSy22COIA0FZwuoMUUkvY+w6j4aPRTGK3BilVY/hHT6KaFGqVXf7rX36Lf/t/v4fZ22IsGGJ40ECzVMVkcFFTa1SKImVjw+Yzkz/IycFWrVHH5/WSK5ZoluvywigujqGwX2qF3BaVwlaatY0SmrFN75CXZl1HPK3EtkQ8k6/sqFhtXT4W1fnsmI2c2uThfpeIvSMPRi6bgVhWx2lUcYcNDPX5ePXCLiNhF+NDTlZXE7z07CAXbmbIx0Xv0Eo6V0ftdkimVDRFZ04kudZrMpHUbDWZng7S02Ph8qUYfX0B8oWCtFqMj9h4sJyWHfThAZcEDx1Z6OOdt9fk1nhmXgwxNKwGKwax+d0sk8zVmJmxEwpHeP3H6xw/3cvOdkJC/Z54aYhrH65JI0Sh0JJgJQFcFYM2ucEeDnHmdJAffGtFqutaQq8ZNlPXVa59cMCRU0IB5SS2W5bvlr5BKwd7FSxWjUSiw8SIlXyxgdKGvkELbcxcurbP6cMB7i+VEHRPcXAqiovIRIB4psCwGJYmSuzv1DEKjpnRiK4rtPW6rNopJjA7u5TjDSpVE8dOhLl7c5ODWAOD0czkpJd8qYDLYyG92xAOQmq6xsONEsNic9OuY3VpzE0H2FlvUCgXOH2ul6uXk7S7FU4eG5A/DyN9Hi7eTDAU1aQ28QffW8VvtzF82EKjKHRsdWrVNrubutTzhiNmdtYqTMx7eXAnz+yCh52NPHXdyJFDfi5ejqErHWZnAyzeTciBjtssVMRO9g6yzEz1EO03c/dBTh68wn6T3Ir5PG4ePNwgnbbRF9HoH3Kz+CDB9EQPPQNefvTdhxw+6cRmdshaSXTEyPmfxnnhpUEeLefJCcNSwMDujkj9BSUfZ32zQKWg4nIp0iu+vi8gpiWcRnFQDKDrGlOTUW5cW6HTMGOwdDHZNExWTda9bM42uu7Ha9eJxysMR1xUbCZSy1tMTwf4re8k+fBRl3/xpPiexkmVBA/IRMStMzLQw3/4/ia1Wpv/9n88xlf/za9T+vAi6Wye8Mjj0M3QFp31/dtYep6QUNSu8GU6hUJth269g8HuE8gjWoJDUk5hd4UpleMy2SVgzs1WCs05TLeRp9WqotkHaGeWwRzE7A1haOZlR78tTE1GlZZnmtad72AYOIoxME0z/0DE9jCYHFitDmqlJA1Fwxw5jKFSopG7ijkwQ1v4yzSrcPjRFJYR9xRKV4FWDsXXS2bxPgFTDqV3HrPdgTUUoFRK06l5cff0k3z0AWt336fatfHoxk3C/ROsrW8yPD8Hus7O9jJnTx5lP5H/aBs/OoeiVPBGJuT/SS2bwm4PcunGbc48cYrVW9fJFuucePx5TEqDpYeLfOLzX+DSOz/BbrFTbeoEevspJxO43L3MzE/z9us/RbWC1ezm5o0PmZ2d51Nf/Cr/+T/+JRpdHn/8CfaS++xv7+By+okdCECnT1Ym7F6xOV7BpJg4ceYEVouNN8+/JgeEx+cfZ2l5Uyp6BWjtYGcXu8NNpZiiXq7y8ivP0TN5mPTGPUyOHoQKwuSPYFb9vP2zf8KiKvgdJsotRUJ9Zw5NsXzjEprNwcT0LIdOP0NFb1DY2cLbPy7TWvGHr6OavIRGzlKr7qKZQjQyO1gFzNsyjNEiYLJFtKZg4GSo5mIYbSY06zQmfQPd4MDctlDL7qMFwpi9c7QaMfT0sgT90dboWkR2xCM6IOR37mHrFDGNvoJWTtAyW9GLWRTBnXF4KW0+xOiyormHqMVXMDnbtGoGzIFDWG026t0szolj/O6nPss/vpHg1z53klZ+h3y+jsluwVBv8Ma2qPk2+M7/GOHm4gFtkwG73Uk63cCk14n2mbHa7dQrXfoHrfKS+Po/7zDQL6wVCg1dl9t7m6pyb6VEvSBSz37JCBOLQtWkSUZIKOAgn+9gsLSJ7dTlwHeg18Cdh3mswsxmB6si3ul1upqZuVkzN29WObLgY3MzR6ulYDCIu1WAdK5NyC8g70bWl4us7xWYGPHTbNakMWR1McdTzw9y//6uBKIfOTqAqhbJZjQiUeTdqq44mR71cvXDTfrDLskwsLvscsN/6+YBo2MRqXkWnf3Erobd2iUkbC/5At2GgfW1Em29we/9/jm+8e1bDPf75VL04Z0Uv/tH8xL4XsjpHD7q4sJbAtCnMjbiJ59v0ul0OXE0yqv/vAGCyzXmol5RpC44vtdi5LCVXFKnIjhzEVEHMRGLV5iaMZCMw8ZelZBX8Bc8ZJICRt/A5DDj8xoo51uYjRo9g3b2d0sEwxbZ1Z+cFs9vI6OTBlaXqpK5NTnlZW+3Kt/Jgikk1L43P0zLv9OZxyNYHBb2V8rcXypw9GiIbEpQ/nX5fna6O+STXRwOhZ7BIMVcXaoCI/0+Cd9cvRenSVUOLcvlj/5Ow8M23n0nJu/lz39sgOVFAS7NyDqZ1rWhWouYLD5e/ec1+gcNlDMagQgcPhTl/uI+Hpcbj9/GnhjSv/EHfd0Hd3IMj9hw+U2890YSu9dEb6QrYwhuqQ/TJcTH7bTJzbDehHpVQzHpxA66+MIlWiULc3MmEpkqH1xq8vLHIgQiHt54bYm5w0PyQSm8vZvbBwwOiIOdAAHWefKFEZbuxsmkdTkBu3E9xsiIm/X1sgQruG1Gmi0Fo8EgdWdDYzYSsRxev5V6XmN8NsilCw9xuZ1SqZEu1GSq4LGnetncyGM1iUi/SioltqNl7HY7uSx4wwbq5Ra7e2XOPBmmkmvKqLsgs4rujPC0i0mXU2xSnJqc1ItS2u17JXnQPPl4L26nlUQizfKjAqdOjbGzmSCxU2R0Nii7PT98bVHWGJwOI7mC2Kbb6e3xs7qWwunQGBqz4/P08N7bj2R3xx+xsrqUY3zSxuZaTcbZnT6xyU9Tztk4csrB5Q9KDI6aGR+zcOl8hqdfGODh3T1UVfD7bNRbddoNA0NjLgkj6R30US4nycaN2Bx2zFqNWqPL9l6JsSmfVMaIy4mgwYpNjtOr8OnPzLC7XubNt3f5zd+e5PrlLW7dLvOJTwiaprho63LSKyifW7EiTrMdXRMDGANdTWdzLc+zz47z1qt7jEy5cVrM7OzHCEcDxIQCcKuA1+OUCqreHifJWIlas41PdNZRcEddvPGTFSJRB3a7RiYlHLRVqbt56eUom9tFsgdtbPYWR4+Ns7EVp1DpEo/l5FRP1AbCoS7BHpdkGlQUlUGnhtFqJN6yYCjXOOJVaZg0/vuNEoo9wLfvxSl3DDwzYaXf0qSi2EgUSwTNJuxuG0vrKbomh4xGxfdzdLQOJsVALS+sCR22Um1mD/WS30uS68Kh/oBUYjY9Gk6DAbvWJSc2b00BguwwO2GjXtRIxLIE/SEZT1wV0+GAia5qxetTqdKWbtb5o6Os7qRol4p4A33cubtCwG9heHyMutKhmS/S7hjIJ+P4Iz1Eo35KuSzlVpdSMo1BM9BuKDKOXCwWqBXbkkDbNRgp5KuE3RrJQhO720KP24LVaKPUrGExdeREvXdggIvXVhntD2AxKFy7FZcXe11TaRUrcjM31+/gV778LB63gfEjw/ijQQxdD8XddW7fvkkwEJGX9f3NA7zeAIMT/ST38uj1Omsrm/ijFlZu3WJ7Lym33QaThs1sZerIuLyce5waF9+/gdNh5V/9L38ktScr96/S0zdAMSVqFh2agq6eymFQFSID45SrBXJb21gCVqam5ySxWPybv/aH/573Lh4w3GfjC58+zTuXVtjeifPZTz7B7s4OXcxE+/0cxONcvbzFo806n3mxn6/9ya/hnzpH7vpr1PaS+A4/S3b7Ck5bD5rZSNtmRc8kaXkGUGoVGqU1bAan9BSLqL7mm0NVrDSyS1RyS3gHn5We6E5jibbrFLZmmWrhJkr4HOJB1EmsYvQMI25Y+cV/wmCK4hl/kmo1JZ3YDrOF9KN3sA+dpusK0T14D9/Zl0Hz8f3/+Ff8w3ff4ejcNLpS4OSpOSLBMN/9wdvMjvWimKx89/vv0OM08jv/7neYffHzdJNLlPYEpM9F2+gks72M3SB6twK6VZJayWJNYK266PUujrFReZDBfZRv/ukf8K+/fp1qF6ZH7MwsDNKMJ1jfLxMd76VREc/+fVw+BybVQrTfi8FoweUxsrKWIDIQxGYyEo/Fsbuc9PZEWb53j/JenZToQHZUpscCbKwIhZ6NkMXAaqImNavrOfjYSJlfmvfgd3R5d72C3+VkJ1mSw8jZSQtqRyWXa+MNWlh6mGN63MHSWoXZGRsbawLqKrbQBQzCV+/WqBXamFxG/A6zvJRpLgOjAw7WHxWI9Aao1AqYjHZpZxF6QqdNlcO7nS0dvSle2FbcoS6bSzXS5Ra9QaGCU3niqRm293ewmEzcuJQiGDXSVUwY2iISLejLBpaXMrz8yiT5QlZuZMSw9fJ7e7JypaqKjK1aBZtmN4vdZuHW1QQLZ2ycODbNO+/c5/79CmceG6RWLLNwKsjFt/fB2GF2foCf/HiJM6fGoZujqhvx2c1sbcUZGQuzt1kHo4ijeokncgLhRb1roFVrMTUt6PRpWoIYnu1i1hRUixGfW5E8na2dsmTe2BwwPuTn6qUkxXoLi2pkaMrM8JCTG5dLdAxtbOaONAQEwgLOJTYcdWYmLSi6kbsPMgyNOBgedPHgYRKjUaNQ6UhWTyxbIxFvMT1jk88hI10293RCXhXNqrLyEJ56XKNWVGiZrCQOshgtZmyWtvw/tttVui0xFLfg8zi4cGEXp8Ms621dXTChC6SyQltn5Knn+njvfAzNpmPuqmAwEYsVySd1zjwzyN5aGsXYwWHsyOphLF7AoJolmb2rtCkVWng8gkbvxmovc/tOiUDAzuxsmK2lHHfEgGjKi8tqkr7o7fUsc/MhmSAqZoWq0Cov8612jbaucPREmKXlMhfeSvDZL/SwvZ7BanKTqhRJx6ocOznEQJ+Jqx+kSOWrHJpxyCTgq2+tcuRwhGZFYTVb52OjCnEd/uiHHTKtKl85K3qyu2SbdqwOG0FDA5Pfyfff2cdphx/9xcsc+eUvUbt3QGKrJJckiq1HQtSMAqpm9kA7S7uWolOzYfR4UM0+lEaJUurOR950QSIXsNlCHrNvmlozT7u8i9HqkhtGi+anXNzALLq7bTPNxj4W3xSF1CZ2k0LLNkF99fs4J55G7Zhl97zeVWimF3EML2BwRmmUjRiqS5SbFXyhkyidPI3sHrrFj9XqBKObZj2NqVtF7wYxWVq0MotgCqGKapceR3ENkN29ghk/wdE5GoLvJLzyLVCtFozBcQ6uvorNFeDqu+9SLKRwhAco1NqUD7ZxOELY3LBy9z4TE5PMnz3BhxevMH1slvHRQyxevYrBYpEKrxsfXKKcybF4kMSmODl85gi5RJ6O1cXxqUFUs4EL77yJze3j05//Rf7xb/+WYnKDz37xf2Btc5XlBysEAi6MNjM9Q4f4yXe+gWZs8bEXPyurfKV8nqnJKX78wx8yeXSMcrbC0tI2zz7/HIVcgvWVLb7wxV/i7QuvsfLwEYNjo0QjUQIBBx0UlhYf4RLJyQWqAAAgAElEQVQK17j42TCwv3XA2WfOsvngGprmJTrUj9tmk0uk3d1H0nPfOzDE4PghNpZvEgwNUMpkiMf2+PyXP4vJYMc/6KBlGMZUy9LsNuiUSpRbZYJDJ6jnMmRTD2g1OxiN/x9Lbx4kyXneZz6Zdd/31dXV3dV39xw9J2YGIG4QAEHwJkWKkixLWpk6LFl0hC2HdkOxEfZK9ob2sB1rKTZWsmTSNBkgRVI8ABAHgcGcwFw9R993d3V13feRWVWZ6/zovxCBQASmarIyv3zf3+953MSS42j9Kh1LEqdRF2nu0lQ0HM4hGvUt5F5dcBc0o07kHxIDY5sjitStog7MmKlRXfohoWf+DPngJ7RqLaxzn0IrXGdgC2NT+oI7oIdHMSvQMVux1beRzEHqnSZuXxipXsBiJNuOneJbf/bv+JM/v8E//soQnVqfG+sD+oMa5+YjglF1a6PH3/1KEqta4eauUQHSCQSN5Y+EZpyVx2PCwLB2N4s/7OLhYoHzj6fQ+10ODxpMzxoDGIWb1w44fWkIp1sX97zrVwqcWPBi9w2481GDw2wXh1UiEfcTiGjk8j1Cht7TK9HXDTbbQMBYH9xvEU44CHktZPMq9VJHnBmTY36RCArHXexuKsRiNpwByO1rYsNs8FuMpEE44CdfUVEUlckJJ5mjDoWCLOLmyWCQltri2JyP194oEHDpDCdNuC1+vF6TSNU9/3SM5aU2Dx4VefEZPxOT49y8m8ci9ZBknYmxIMPjAX76gzXcvj7Lqyqmnp0XXw6zvpGnXIeAz4TSHVAsafTQSEQkcT9Ran2qqkoq7qNQ7YrvSnzO7C80fQYcr9noCEDz3FRQvG8YSWZVkvG6NfYyPXwemXBI5oP3Cyyciork7OiUwQEq8NHVBiePR/FHdcpFBSMyYfDUOj0b/f+Rgk5POQj4bFx+/4CLj6c4yldZWaozlHLhduhcuDjJa3//kG5N4rFLQ3j8PdbX2kyMuQkZvLoRF69/d52uJONzDjhzKsHyUpVytozda8Bye8RTJl78+CTdgc7P39nGbaTsZCcOb5/kkIeVtTbVfB2Pz82xE4Z9y2Ba9DlxYpjVRzl8MTsLx4f4/g9WOTbvEe/Iu9t1ysU6Zy6kuHYjh/Tj30vr1WqFM48lqZfqIkK2s10QfVtdbpOM+cjlFD5aLDGV8oke/8ZGmbExO+l0iLsf5gVQwe6y82C5zcIpLx98cITDLuMPmhhLuxgddYtIyPTMBLVSlUerNc6dHcJu0VhZKYmHtD/gFC/WD+9UiSUlTpwa5fLPVpmeSdHp1pFljUpVoVzW8Pg9gso+lnTS1zTcQRc2q4O91SImG+LfjaRCyJYuZrOL5UdlrLYBx8+G0BQzH13JMn/GTdDv5Oiwwv6uTHLYgMsZrTHDBW2hVFTENqVa0vCFbVSKVdETPP8xI90wENRNo5+zulZiciYgtr022crufpn4cIhwyDDA9HE6Dcevl+y2Qr7aFd9x2B8kOmFlUJWweg0ow4CBruOwOqhUO4xMenlws0RNUZD6GmMTLrFFr5crhJMeamWFtRWFE8fjTE7Z+c/f2uDTH0+RLdRYXmsyljKqCkM8upejr/WIhIPkj8oMjzvZWOkwkLoszE5ic7TZ2uuKC+e3f/ck2WyFj26U+MQnR7h9q8D6cpnTl/zoAy9qU6HTbjJ5PIbS6FIqKSRGfWwuVZiYcnD33hGyyYPFiGI5zczOOCkclWn2HIwkTBTLA0qZBo+/MMWde/t4XQ6OsjVOL4QoFFTyhwpOr51EwsHqUgmv30E87qJYa3LyRJKrlzewyHDh6RTvvnkgoHcGT8DYvkf9dpxhO9uPmqJDYzwUi1VjCqgJVVlDUXF6XDxYqnJuVidbttKoa7x0zkWl3sNmdbFarXNty8S3V7qErGZimspcyo1m1ik2m5RUK+NBG3aznUy5wVFT5VLKzWJBZdLrYjbV4sbuAL1vEZ/V5G4bLWxGfGa6sp1KR8VnlvE6TNx/WBV053jEjNdn58F6jvRwGDuagFeultv01R7HJgOUM12h/DI+g0HNjcaChKJuRscTvPfOR3QMlsBMnGA0wa3Lt5g/dYp2t067UWcoGaVa6YihSizu4d6dFUZiUbEBN6t2jrJZJKeVVqOFRbLh9/uoN+v01MEv+n2SYSazcGwmjjGz3N7aExrCTlfG4zFjliysrB9hdbsFuPOg3Bff/aVZmd/8wvM889TjtAprJNJxTFY/q/feJeoxvNRmLt9a5tRUjHB6Gq+x/c0VUFRdKJo69V0abYkfvXGN5z92Bs1kEl5sg2mws79Lq2JM1CN8+Zd/CbsngNbrsH+wz/0PPyA9Ncv45DhdxSKo9NmtXRqtCqF4Sty8xyaG8c2d5v5bP+RHP7rOT94+QHLamJ/0cfbMCOtrJXGvMBSBHm+ImzfuM2EMAxpw62aWv/jTz/DqP/lt2H9Et52lWVCwJoaxWAJCIyj7fHj8MTDZqe+tYB+aQ27v0Swc4EzMIDmG0PttutlbWJIXMQ26ggptahexDJ2le3gHpz+NUjtErR1iG5rFZAyQ/HOUVn+OyaFj8SWRWj3wWzi69j3sQ6eIn/8SFlOJt77/PX740xs4bHbGk0GhPd3c2eNgq8uxs0aE2fj/d9h8sM7x00l+5+t/hBQYpnTjp2jOANZWn7bUwhufxaQUxdCpqxQxTzyJ2bBJ7D8iljJjPfUquOa581/+OZ/6nR+T78HLT8aQDZJzuS6+e4c9SK2eF1wVm82oAKmcfuIka8s7BBI+qoUiqqrij0Zxu20cHRRJz6So7hdoVov4TXYKh0U0p7F9bZFOenHaJAFxLRpgNoeHSrXBF2bN/Itngny4PeDKSp3TIxbGEzq5usTqRodj6SDldpNHG20eOxWlVKnjdFjZ2+tw7mSUw2xJJIw+vF7huecCYqAVCSa4fHMDp9PM9GiEnd0iZquH3EEed8BKo6Ige03oDYVkOkC5ZMYit9nYazCZjtLutGnWOvhDZlJjUdROi+3VJsdOxLl6LS+i9sdO+tjaLIvfWTLq4CBXJ+z1kit2sDsgHo3TqOcxO2VKRwOsZjvxYRPRiIvXXtvk9EIQT8SEUw5w62aeodGBSAWdvzjJ/QdbHO108YadIsFmkSxEhmy0qjLZTE1c34mUicVbCuNpDx97IcmPf7wm7CMDRaZSU5hfiBL02igUa2IzMT8fp1TTWFrMYLXqfPErx3n/8j4fXC3xuc+GSY/E+dmb60xMRIQeVxtI1JsDXC6dviKRGrVTr6tEjPtMz0j/tenVJabn7NQaLiwWBcxd9ja7hBMuQgGZzR0VpatwfHoIT6DLo7UW9bJCsykzOerjsFhjdNRJoQq7O20unXPz+ntFLp0OYZb66JKN/qDJ3q5EKDqgWumSTBqcmS6jky6apR4XL9jZ2urxaFvDonWIjzmJuSxkyi2SsTDlbJ2xVJhy09DoZrF7/ELPePqch4+uG/803NV9AX3a28mRTIYZoOD1unhw/5BoxM1RQcfrlZma99Cuy+xv5bA7nDxaLvLyx1O0Oj1u3aswkXYznPCxtVIQ2svJKTdXL5dFj/fcJS8ri1WsNiuhsAuTrguSv6FJHtiNLV5RVCVmjkU5OGyy9PCQhflh3rmX4cxogK886eP//Okef3bNTtzR5bNzDsxDca7fyXN+KkqmkMEfiPPOtW0UJDaW/wY5OEVj8TpKCyz2NpZ6Ec0apNhSxO9WMrb35XV0uxNr/Alau29i7jUwRT6GZKkJ/7TJM4Y88NHNvoVj7CnU3A69zibe9CfoVgsYiLl+r4lqciBrLdS6ij26gKRXkTtgH52itfIjBu5xLDYvyv5tbCMzQvNmbR7Q1jtI9U0GqoYrmKZ9eBUtfBqryY4mDTDbvLQKG8i2GGYJJJ8NpV5DWb2CLRLBFz+JYg8JyG/34AGu4Ala/X2o7OF0RMUm1WQ44n2TaO0G/uGUoOy3ti7jMvvAGDbvbeBODNEpd+h1C1gsNlpHO4Snn0KzmdAqTWS/hNoyPpBBdvfQ3P0I2SSR399lZ3sPuzfKlas3CYdNYjDUx8325i5Om41A0CXSasWihsvWYGR0lKODbcyyD7upg9UXxeIO4TBC2OYWqqlHae+QeHyCxOQ0Jqud/N4Gdx/c54P3bhH2mJmaPyae3w6Pk2NG2m9/C1XT6LU1Tj22wO7qOkt31vnSb36O1QdrpCen2Xi4iNVuxzccxWv3Uivn6NbbDI9McFg6ZGN9W1S0zp45K2LxR5sH9EwDDjfWOHfxlIAXPvfCCww0O1vb96FrwmJ1MJBtgmhvdVj55t/+DdPTs5w6NYvbbyIwdkkYbmSzi24nh9vuQJN1zD0PtXYeh8OEOXkRrdlD2X1XDMylwn1M/hHwHUOtrWL1TaEV7wntoqz0kY2hQWUNW+AYZo8XSfKgtbIMLAbs1M/A5UHf+RnhV36fO298m5c/8195fN7HeFRHcXoE5T9qN5TcKb51ZYevP+/ilK2FI50mHJIolgZU9soU6irpMQe7u20ajT6xiBuMmklhwKUnRrn87p64p9ttZiYn3BzmOuwudwgPO5HMEocHJaJhD+GwlUoNgkYSaLtI0O8iNuTkH76fYfyYjB0LG1tN6k145eUYq0tVFk6GOcxWabVNxEMya+sKrqCZYrZFKuml1unR70n4gjq5Q5WZSTe37pRJT/uh38Vqk1la7nH+TAS1X2F7u8f0pB/dNqCZM5IlsLZewuEJEPAP2M+pRJ0WdrIqp4/58IVc1Btt7t1p0u91+OTLETIHPRYXK0zO+NjdaZEesXDy1BCvv7PBqx8/yc6GEenXsDl8PLiX48TxgKi41etdnnsuye07NUZSdsFOWFqvCiPbZz49JMDKme0OtqAsFi7H54fZXM2Javj4mFEZ6lE8Usjm6owk44ymLdy9WyUStQjlsd9pYWW5y8KpAG63ldd/skPAbyjAAxQKHba22sSHLcRCDlZWCgI8++qnp8jsZwxhBqFwiEa3RbeqEgobCYcykURA8NoajSaxuA/ZbGY/k6dwOGAobUDOq8J+9dXfOMl//dv7VGoD/uUfn2F/v0611ObunUMB3p08HqKc04lHrVTbddYetXj1s1OC6WFwhHxOG6NpL/cXq+zlWlw8m2BjPS+g7AcHTYYTbkIRH2+9vcknXkzTVZqEwlH2t+tI3/3tmN5tdXB5vGw8zPL8pxIc7nbYXG8JdYNBaDdUPUcZhamTLqGh2d1s4HDLTE+GRWeq3NCo56usr6mkxsyMT4YpFzT6WpPr1+uMjzuIBTwUmnWOz8QplhRq1Y6IkjfaFjIHZaanXKJEaHgyw3ELHuNCf9AVPkZJ7xDw+VH6Cnc+POKFV0bROgM2Dmp02hrnH5tge20LpW8imvBiM0wFh3UK2QEOh0wgbMbjtlOraDQ7HYZTTu7eKhIJOzk+lyCTywsdWq3ZFv/NcNrGUDTE5npexPZnFkI086rQArmcDoplFatJJpIwEw37abZU9H6PsbEwVqeV9z/YZGYshCti5/blLMdPhwlFPPzotQcMZIugNO9vVfF7ghwU6oLMODHpJ7NXY3jEx2G+g98jM1DNDI3YqRjfZb+HLptx2XVWV6tMTgeJJEwipvPRvQ6/87VZqrUmG8sFzA4rSrOHyS5TLav0BzLTs35kSULtyritPUwuO48eZVk4HRIqsctv7/H086PcvlPkKN/i4rmQ0DwtLxuR8jzPPJdEps/V90tMzVsJR+Jsbh/idDl56rmk6J1kdytMHjfUJIYJwYzVrot47Mi4k4jfi9Jt/SKeyIBI0M32Uou+qcPIkAdXyMXi4qEgcCcDHu6uZjkxE6HZgly1LF48d/cHnDofY3+9xNCQm6X1MifOjNCt1OhpkujNDZQu584neetNI77YJWhsJBxGMqlNOOqlagBWmhqZholGu85kzIPSVnjpiRG0cpF/+5McTR10f4C/fr+Fx+fErunEom1OpKxkDXCG4Yno1Dh1cphis8N7iy0WEhKvrxjwDwfHw1aurhbFtZ4pDajmKszEBvhdHg6bTaYTbjJVBbMHErLRa7JQa2oEAzYUVB5tlTg5naSY62AV27IOmm6i11HFtXxU0cTAzdArbqzm0MxdVN1GvdQWlY1GpYlVtjIyG6NRUYXbOJWMsbOfZzgZxu51kj80eAJ+Om2d3E4Wk0Fo1s3/A55lQpZ1lK6G3+8Ek4XNjSJ2W5+502PUsyXajR6JIT/trkJsxIPfk+TGlXtMzyb53o83qA8kgkGNuMfOsN/BP/rsMV798gso+Rx9vUZi7ikRw7v37oeiF2V2m2kpLS5eehaLoQb8/ncwW43P3uaNH/8c3ewUv3WDdjuWTFEuNwkFDFZQF38gRGx8hvnp40KPWCseUiweMegY2tEFtg/WhBqrVCngdZmFMSA+eQrN5qVeWOG3fuv/EFCqz77yBNfv3mMsOUy1XcPrMLztLcbGhsFl5kevXSdf1/i9XznLCy8/gTM5gs8isXZ7mYDXi81uEQeobkfB7gtjGbRRdTdmvY7sTdMtriAbxgTfPHL9QJD/FcmOxTNCL/Mh5lAa2eoRB9X27nu47TqaP4WqmdC7uohwNio7gkQ/MNSeVh/+wDD2iUk62jb/62//B24sbvPlz5zD7XFSreYx2W1kdmtiC2FUgPJHDeZHHXzxi79K7LnPYqveJndnBZuhEra7MTmHkdUV1IbRP7Ui+2S0rhnj9FHT8gydewU5epGjW3/LH/7O/85P73SZHrEzk7CRSifIVBvsb+VJpsJUu31kiypSMtMnptg5rIktvtHRtthNAm6kOSRcZqM3r1M8yjM7M82Hb9ykdNTj2KkQ9X6fyn6D8XE3lbYqUjf1vo3FnSafP2njnFfl7LyLny928RjGU1OH0aCdRwdWwu4+Ib9KvSbR1W3Uql2OzRkHT028aI77Q7hCPQ4zCifPRaiWuyytFJkcHaLdrNGqt3C43XQ6KlrfTL2j4nbLom/dqhhJKola24jFG0PxPtVSEafXxakzw6xsHDKVilMs1qmUFPEwfuvtAy5dGmKgtdBlE12lh9tqJ7PbITHiwdgqXHlvn+SwW3w/92+XBYegdGQM/2Tx0p0vKuL67fUUPE6jG1pGMpuQ+07GjluReyZe/9EhL706BH2ZncMK0ZiLnfU2UzMOrHYTPcX4ojQky4CtTBc7bXIZleRoGJdNQZJlJJuTg72qUGEavflSVcXntXGYG4ghiWE4WH/YIjgsiRj/ymJXaIEvXEpSrFQF3DWTKYqFgqGQXV9qMhj0mJx0UG5rLD+qi4P89JxN+I9v3Wlw5oyTVNLJ7ZUmU6N2CiUD+KQITk+7aXi2dbb2OyRCPvpUOXk+TvmwLeoTpVKffFXm5WeSXL11iHHObmlW3NY6IW+I1Z0qj52LcudOnUK1RcJnZW7WKmL0NoebertOqWicWRTCIRfZnIrLLomDeSxiY2WlyLlzabG5bNd0tnfLvPjcBJvbeaH2yxzozCx4kHo62X1Dh6xjkmVG0n6u3TzisTM2woEo71zeEosTr99Eq6bTVjp4zBaqnS4Wi51g0CeMH9VSh7OPpdndK1Kq1gi4nMSGQlgdA/p9M3du7ZFKGfYd2FmrEwxY0aQ2x2fTglNw80YVRavhCvq4OAoTE2P8x9eW+OOrZp6etDPqK7JT8NCp1BgbHyLsNOqEdv7zzw/5tSf9/NV/+3NU1Yy6t0tdl7Hb6lj7dhpGVDucxuxKMOi0BDld0owXsh5W2cVAUkRn2KgOGV1rsyOMxe5D1bvUD+7i9aaR/RE035CoLdikHDZdoWXxiWSeRWpgjQ+jVlWaWzdQHUPYyTHwpejn1jA5fFgSp6ktXcMTsGC2xdi/9z2GL/xjNO8YUruA1MigWhNI6iYQQdaLYgipdgt4Eo+jqVW6ht3PpKBWt1A0J5GRp2kfXsfkN/68NpF0sg1auEJzdOtVbHKXdnMPfWBGksy0CnvEzzxNI5NFbxmp2SBmq4WeKSTgwH1JYtCSkbUavep9lKaMJ30WqXZIu5jFkhrC4fZjsqdEjbCXzzDAQq9ZoXr4kFLfxsj0Y7T27lKo1lh47Enye/uEQkkKuSWKhSoLT32cnjfF7o0fMrlwib6cwNzLU23kseGhfbSKa/wcstyntb+GM+zH5hulXclgczgpFnbo1/tExk+wde8N7n74iGylTOVI4dnPPUk1UyASjeGLuvnpj9/D7wuitCt85pNfYi2zxkfX7iKbdc4tLNDs15gem+e9d96npxswy2G2l+/w2IUz3Hu4zcrqNv/0D/6Av//m/8eFj78s+BWLNz6kq6vMpNMkU0nyhwUmJ9LEhxMs3r0jgL8vPXcWq9dPWzVh6vdRq6tYg8fpWYLiWWrudRjUiujBYTq7rzPod0lc+hdUCvtoZgm5fge7/yxSYB716ApSrYAtkoLgCfTiKpInRm3/hqg1OAZGP17D7vRQyRpnBhf6+EU+ufAZpqeTtE11NjMKQZcTfdAmEY3yow/28DhcfPNrHjZ326weWnD0Srz8iXmWH+XpSzoup6FP9eCySFy5ckAqHRdb6zu3DtEHfT79pXl+9v01oXk8tRCi02+z/rCO1WojEJKJR6Js7OVEbN5l9RNJWLDIA959v8po0kIiZdRRVfYzGmfPegTs+N23K7zybJh7K1XCXhupMRsdoxummWnXEVo54/7hcpq49mGR4aSdS48lWdqosL7cwB93Mx530tIadOpWWuUOM6eC1Gp17nzUpdszXoBTFHbqGBGKeCjIyn5FMFWe+liCxcUq7aaKbNbIVfqcnA3QrPTpKgPOPD7M+soOmT149qkQb/y8QMAuMzRpZme9g9Nl48RclMxuThiuHD6Z7GELt90qgKnKwErMZxX3QkPfXq6bCYmktpWdjS7BoKGkLjGWtjOUNJhbOppsDAgUxmZdeARTQqHfN+HzW9lab9PDeJ46aKrgdBj3eDN+v41mx1CnG4kOiYmJoIHFpVJrMuhqqAMNSZJx242Et8E+MeE06TSafcGT6iuK4DKdPj/EOz/Li7qYUf9GG7B8L8MnPj/L2kqe7E6LSNKJ3WGhcKQI4OKzz41y+0ZRVAT0jkzXNhDnKCOhGEnYhCIxHDGi/C4BoU+lXXS7XWJRj3hOGsa6o6MqdpuFaNyGBROyE7o1HZNdJWTwTfYbSN/5zbjeLNfoKAYgKMrWdgVJNRMc1gh4bfzg9QKnjnk5tZDg7kf7aDjx+VpUy1YOCy2efnyYbL4sHtQpA3TktdPTTOxslxkeMw4vbUGVN/qJhtt7dNgpev53bte48FgATTFx+fohn/zUhOi6bG6UePmVad55Z1N4EOdmvXiMSVJOEd3NjeUWsmXA8FCQG9cyLJyNoQ+aFHJ9wkMuJicS5A4K+MMBVpeyQkM4nLJSb/XJbNdIp72cuTDGt75xh3jESThqE0AIQ4U3NGJsIssUswPSJ70YBV6zZkB/GszPxvD4rFy5tid8i2q3zZBBvlVVVrcKXHh8hMvv7/DUpSR3F4+waw5CERvRkSDvv7uERXazcClAeizEN/7fZY6f8OL3S5gcDkrZtoh+Br1OukaNoVAlW+iLLqUxQbPajH5tmz5OyhWVqSkXDotNUPqffzKOzS1z7WqZg50Wp59w49A9mKyqoJw+XCoyNx8gOuzl/kcZWoqE1aKJh9XQkA+t0SU+EuLReha/1UV6zs+9xU0GikvAB9vNBuVan/R4lJ2dIooyoNPSmBi3C1pxo2YMTfrMzIXI7NWxOx04bBqZXIuJWY/40R2b96GZJLbW2oyPm7h5ucXcKRcXL6Z47TsPxc3RF7SKaLBxaFoz4vayzuSwn3Kjw4mZsJiK5XMN+mYYGQlwtN7AF3OzVzxCrVoFqbTRagmaqMUhMZL0i+19s6uxtdPE0tcZTjg5yNcIeTxo/TYNRcPtclJt9UjGzbRqFuLOPsdmXfhsLv7LzQPeXWyD08VWxUa2rlLvtYnZrOiais1k+LR1HBGz2MJcmnIw49V4at7Nd67nCNstREbNVFoODG7Lo8O2OHD/0YtjvHsrx37XzpC3QcjtoFJqEg5ZMZldaD0Vt1PmwUZdxDDnJ5Js7+XFAdpusVGqDTCZNAH7WX2UYWQ+xPj8uOBBGN7juRMz3L72gEDUx71bG8zMjBBLhqmUStidNjFIGig9ymXjxdBEMO4hEHDTrqoUMxXMDhNDQ0EOdg6RezqHhyVxE52bjtBo1Wm0B+KBuL56SDToFC89m6sZEuNxvvqrL/LNv/kuvZYdi9dKrdjkgfGQcDtI6n0ikQFj/x248r/8q19meGoKZyxOa+ldLIE4hbV9drYPcEQTdDs1Ljz+srAA3Lp6hdOnz/DRjbfZ2c7h8oXZ2dnHZurz4mdf5sob7+J2BojF7Jx64il63QHVWoX4UJxS7oh2s0VkOC1YIUqtSiNfJTp9isUHNzl/coLw3BSv//h9Xv/eZW4uGxsGK7/8uY9RzGbpqDLv3l7m7MwQTz8xx/LWAbfubbK2pfLlZ0b5k//nL7HU7lC6f4ueNYLNk8SemkbZvYUqmfEYpN2ND3HPfA6pU2ZQvgXBUwx0WfSBu1peRBD7jSJSYBa9usHAP46mlLAYMUf/MTS5i1pawuwxhorzNCsFlPxVAtOv4Bg6wfqV/8hf/4c3ub9Z4+lnTmGS20JV2mt0mZtNUe+a6OtN7r/3kCefP8/nfu/30XKr5B/cJ7nwEtXCBkg1nO40nb4XpXAFT+px8tvL2M0DHAEboZFJcPnB6+frv/QH/N/fN4acOuOhIKGQm7v3DkRUfe7kMI9Wt4iFArRUI4FjJzxip1UdsLF6wOxcisX7a0zNpBieSGH0tQxa/s7qAVrWYBrIeKJmMfjrSTohn4Ww30+r02fpoENB7RN1mvnUGTcvxmsMp2Ms3StzbbvBCxciRN0urt7LYDFWfSabgZrAKTswW1tYdMg6in0AACAASURBVCv7+TqpWATV1mE8ZCfgDfDh/QNyuTqf/ORx3nzjIRPpBI12F4v8C1hfLt/nKFvnS18ZFSqqBx8e4Q8Y2+wBmaMW45M+1I4k7CDVWoNH97M4PDZOXUywdC8r1HgvvHyScrHB6z9e4qWXJzkqNEW8MByzsLfVxB/w0azVMBpCI1NB7n2UZ3rOLUjjzbzGyGwEVemwvd2iVGnxyiuz7O8esrqk8PgzftYeNInHgxTLZcPIyeiQR8CK6pUm1WpVAEwNWnqt3CWZdrC31iE16TckacydivPNby5xfDaKxz7AanPw0c0M6SkX4XhQqF0NeKg7otNu9VG7dtFbzRaLJAJeLBYLwZgRG27xmc+M8ZMfrqPqxoLAT3cgce9KFgO6HnRbsdiMREIVXXLh85oZHnGxdCdPes6Hz2PnrfcLQmH77HM2rt+q8eT5GJubRQylT3okJHSKx44HRbXjKFfHapGFymsq7eHND4qkkxpnH4/x5utFwaxZmA1w+2GOZMwlamanToa4s5gT1G27JOGwmXjtB0VOHnPx1NNecnmZvfUcszMJmn2Fhys1JiaclLJdfB6jW6uRGnGzsmmkDWUuLiTJHtVZ22xz4bwfp93Oo8UckYSTdkdG0lWaSp/nnhoV1ZOdnSbPPxtj+6DL1KSTtmIAPVW2NysMjfg4ODhEVhyMzYeFaahY6fDxl2bJ54psr5YZHg1QLDbY3u7w1a8usLy8j8Mp47SCwxXm715b5gufTuLERsm43+QUktNpvnG7wL9/v8rjYza+PGPnh1sq0aCFoMWNz9rjx3eLPMr0+PoXx/iL7/wVzfd+RlPvIakdgukFjnbXCQZG6Mgm3D2J/MF1AU/2Tp+nVzNMHFl6YlDdxRp7BtlswMQOsXmn6NfuCxuT2TNFP7eI7jI0aGOY5BK7iw8Jjacx2wzuAyxdf5NA2MPo2S/iSch0th4iqxoD7zEGgzKtShbn8EX62as09zfwHXsWtWpE+80023Xs5jYKFhx2twCEmrwJepkVPGMXBGhO9oygdw3FYAWTK4oZOz2lwkAxLBkNHKExtNo2fd1HKBaj3u1it8dplh/Sr1VwTZ7CJEVRczewhWYEwM1mN84OOXrdujgfuwJGetZIoNTIZzIEhuJYqlnKAyf+4WlqO5exOodE1cxi1bDboyj1LczGvSo4LoZzJpdL0Ma1fgnVAMjZImi5O2hqG+fUC8iKQdB/G7PZTnDuBeqZD2ns3MUcnCUwlKZWWKIvx5C629jKWczp51F7TbRWldjkGO1yCyk0hpkCuuRD0s0itbD24duUihWRpP2H777L+MQYI9NjZLbyjM8meesnb/D440+zsfuIbq3DC594iVxul/t3N7nw+ONUihmRTEmNz4kh8FtvvIUnFGJqZozcbpEPPniXZ158hfXVZSanhrDaIjxYvMXMzAy7u0dYrH0cHgNeGWBtaVEkcT7+iRcxOf0U9u8TcAXpJ86g5ZaxO80otNEGYUzqNiZTDM2VxOr3i/pHv76H2T2O3i2I86c1OEmrkMXWy2Kd/gyd3G3kdgWbM0gzd4hrJEW3ZGzRDfZTGNPEGE8v/DKLuy7+2Rc8lGoO3r17yLPnIxQabXb3VAF8/eYfTtDO5bnysC6AdEb15qDQZiRoZXwmwhs/fEg8FuDC4wne/tkuY6kguq1NNQexpJujwzrjc0GuXStBv0Mo5BQpzKnZAPVai0ymRbnaE4yS5Y0q0YCV1JiLa9cLJBOGstvPbqbIWNojYI/IJiSbjlqHw2wek6FW1DRKFRiOywSjNtS+JjTvNo+dTlOnqbSRVF1oOydn7Kwtt9jbqzM3EeLhZolA0IHHoQuAZDDaQVGM9GeX4zNOOqrREFTwhy1s7/Wx6Ib62YoyGDAUDZM5LDIxmaRSyPAPP+9i1jX+1dfHWblf4+F2hamUl2DQSrnSo1Q34KsS2wcKPgtYXDLNZk9oXA3Wz/mLPt54q0IipmNxGAy6NqPDXjq9Nt0aLG8rvPBsUCifKyWV9b0Gn3glTqehG81bCrUOk6OGXayP3lNwOCUGkomjjEwk3hMLihvXdvnMLxmMsUOu3ihy6fwQ+5kOSruO0+UWi+KR0RhH2QLDCQe1ps7BToOTjwWx6Q62t4vMn0qy+GFOsOTGJ72iImYYAb7wlWNcu7xGvWwkk8zEowHWNncYSw2zu12g0zeYs32GhyzMHUuJ5fLlK3u88tI4h5k6hXyH0wsR9rNdsiUjoe/C7dJYul+jj8rxubj4s733zjq6SefFT8zxnW/cZuF8XFhIcvt93r+e5RMvR2k3NaQP/nhUN/ohsfEgNqsxlcqLGFqj1aNV79LuWFH6XRFP2dg0CIQOxiYDhIfMvP39LNFxm3gZNaBCGxsVLl6MEox4eePNDT753ATZQoVaRSEYD+Fx2Wh3ilRyUG4OePaZBG/9bJu5YxGajRbj4xHuP8wTCDgF5EmXNRpFjaFRicKRAV4acPJEVFwom1s5AUQz/PVuj4NBT6M/MFE4qmDUguZPRnHboFzr0mprSCYjPuNhcznD8GiQ4aEQpUaDSrFFMCixuaqKl0tjA3HvRpnTFz0c7akcW/AjyRL3Psowf3pE+NDjcQMEqLOXrzEat/+CsD/kZW31CJfPxmc/v8A/fOsOB4cqyZEQ4YguYlOP7hY4fszJvXsqZ857SAxFWV8/wB+Refv1EtNzfvwe44xtF/1nXZe4dnVbEPVD/oDYhE9PRul3ugyPh0SXY+VBEX/USa9lwh2SmZsPcefmIa1mj6FUmHq7StjnYPtgQNhvIhJ20Gj0WF6vk4jbMfUHYnt+/okwsmYne1hgoNlYeVhibNoplCKjI1Zu327i8Qw481iCB3dzmE02zCYdt9clqPbdep/GoMW5c3Ee3a5QrurigGOkELwBGzubDXFQ/42vTfD+uwXxdzkzF2RxMUMk6sTnsgpHu/Gynoz6iCdstLpd2m2zqB5Eh6yMDQ3x/b9/wPx8GE/QztF+nfRUmLWNPNLARLfTY24uxtXLB8yc8FOp9tAUScAJjdqIQVXd2dHxhwyXqJtborYgi5dq2TbgqCBh0noMR2TuPOjxK58dYSxu4tHKBqWWl0xJpjOoMxZPUDSma04Jk6XL/NQ4pd2sMDU0TSZkXeUgq2GTDQWImXbPRdRmwBqb2N1mdgp9HhWs3Ct0OayZqA50Ij47spGzxMmFeQ/LuxWqis5YcIDb4qDRbGMxewQh3WYxEwnY2D2okisoxIcDKGoLzEa3yS1687GZKLsPDuk7bGJjr2rQrTYEEM3plEG2Uq8ZiZMh2urgFxNRTRfVHYMR4PM5yR5WSSYMdY/hDY2wuXSA3ujRVrqi9+yUDK2JQsjjo6X26fY64uF3mK8KfkMy4aPRUMlXumIY1VANR7pE3AtXl+v47WZefTLMb33uEuvLe/zGv/vngmBfvvtz8kdHSJJXTDDX1ha5+NRjVEs1cYhf3txh/cF9js2f59qHt7l44RiJ2Ah//Vff4Oxjszz17DMorTqh2Bi5/BYjqVHUjiI63tXSAfrAgNykCERj/Ph7rzEyGueVf/T7NPeWUQcqNz54KAjOR30LI8MB/A67GEyubu/id0soHY1QxE8+p5J0K/zp//UXeI+fovP6X9Jx+dAD89SWLxMcMpgZdUI2UAPTDDplHGbDdS0JvZ7VYUyhFcyOaTSXA4tkp1vdRjbZsdvs1AvbOJMLdItZqkqWZCSG1jOu0T6euRmauQpf+fKfsHHQ5uu/9ypTc0H+7m/+G3NTJxl0OoSDIe6vPqLW1pkI+/na//QiQ09/gV65RmP1GianFyLH6a28jxyO40ycEqYCTWlgdRiJKxsedxnb7CdBbXLl23/Nr/3Pfy8SSV/67CRTqTEu37jN/Y0KC7MJlEqLrt5DkXSUlgHzcxOdTNBrNzn1xHE+uvmImblxjg5yhOMxUQfLP9pA7xpWGJ3URJztB1lkl51U3EbEUCnKFhZzbVaPFBa8Fv7ZUw4GbZ2zsyGurZZx+bvcviszO2E3sDpsrLWZPB7Bjk72oEk4IrO61+OzL0Q4ONCp1FoEvRAftrO31cNkHojaggGglFQDKm1iZMREZq9Nq2Hi4mMREcG/fDlPT+mRGraLCOPCyTiT0z7WV0sYJeFOR8MfNOCFPbpVDcktMxK306j1KFQUoaIyzCGSpvOxZ2NsbtRJDoW4cjnDK58aE/Cke3dzhP023F4nuVIRtakzMRMTNYFBVxYqvvR0EKulz8P7DaYmjU28wuNPRPnL/7TGi58exsSAdsvYANQIOg3qsgFe8lApHTIykuCdDzJYTXD8RFAQj99/J8PcST/xkEvECZMpA1hpwWpxYrM3MVkd6F2bqJClp70ifn71yoFIcXl8DsaTbg4OahRrEomwiadfTPOtv10SXvDJiQi1ekscqNOjbqLRMEf5Bgunw1z5+REDqc1QNMjiwyw+j5+xSQv5oyajw1G6rT4372W5cNaPqjgE8T89E2Lxfk7UqCKxAJc/OOD4iRAyKmYzJEd9XHuvQLtrpDRkzLKDvWyVyXQAHSfLa7uk4gFCXiuFap3VNYmTZ1ykoi4OjyrcutVietbNpcdCvPN+FrXR59T5FHeNbmVPYaCYsLpMKKoB6PLTbrbpNhSmpkeoVRtkS30mRh1srR9Rqlo4dtKJVTYio2VmTgTZ3+yCucZLz8/ww59usLHR4/TxIJKsMj3hIVs2hmQVTp/2i3PPzEKUdq3H7bsHJCddHG63qNRU/GEnpSON48fMNGu6sCJ9dK+KySXz3OkYh+WagCqmA3ZS/93h/effr/Cdmz0uzJuxKBqRkIdit81EUmY45KKRs/FvfrDDH70ww//2/X+NurNKf+NDOqNPowkiuxmUI3TfSSSLWWy8TY6AAJdZbSbx/KyXNrFaE+hOh4it6qUH9HUzg+AYloEF2elFqm7Tyi7iHH6M4tE2qZFZXv/hd7E5/QI8eeP2FeZnT6K2jb6BROYwR9hn4VMvfxGrRyMyPM/2w9uMzD9Gp76FWq7Ql110GjlkhxO7M2mUZGkeLBKbP0cjp2BWt7D45ugPsijVOrboPKqSx2010zEsJ5ETmEw6ut7FhBWlUcFUW8fk8iOHLqC2d7BrRXrOeWzWAYPKQxTVjiN+AmX3h0iuGSSbH11rYFJ1bB4XjVoDVQdfwEff7EHvdOmXNpGdEvbIaZTcHWHQMfvCAgamK3X6sg1nMEkrl0Gu7tC3GVq7CCZDgdgzgF99HA4v5k6dJkZdMsag2UFTS0ixOaTqDoOuYXEywLFN9OwmjumP0+7pUH6ANXCSgcmg0dfoV4rIbhd27/gv1IvZe8jeKKrkweV347ZZjb4HP/329xg0tylWmuQ7OuNGlc9g//T6nDt12rhl0bPHufz6tzH7hzks7Ao2y1h6lvsP73L+1HkOdzbAncQddtItlAnH4/Q0hXqpjNUTZ2npFqfPnGf5wSOarRKp1DTj6WHylZJYQFq6dYZTIVzhYRzeSXSTFbldQ2muYnFMoKgHmC1erN4JlNYqct+F7o3Tq2eRKg+xRRaol7bxjz2NakAqlZrQFRrXgizVcLmSKEoeTddxuofRu0coDoXA+V/lo9f+nE9+5ae89JSLRgmcPsNqYiUS6FPt6nz7gzKP/nUUS0fjP/2og9Oq8uu/NcX+ww6NXov52RDf/8EWsaiVswtJrlw+pFpvMjYWZfa4AcEckMuUKZcHQr/ssssC9mf8poxag+F2f3A/J9JZ+kDDY/wGhjzs7arincWoTGxsF5mailHOtzFLPbb2Gpw9nWKgKexmOxxPe/ElQ3z3G/dJjHhxey2s329w+owPf9BCrjoQCexySSMesWBxmthebfDkk6MitdMpDjA5NWR7n6X7bTYONF541oPUN1GuSOyVW4IoH/RZRKrtzGk3lZyKhky5puD0WLi30uLUtBm3Raahy3x0q8vXvhxmZbOFrpo4MqDMkxE6aptOyUZdqzMYmFlIW5EdDpRumzevtvE6ZU7NullerzKWNsizA6oti6jTZTJ1JtM+AUZXBzLRkI3MURu/z0K7qgv1bijmRDY2/RZZaAutLouw6hhQu1rRTLZY5eRpo341wOMakJjwMx2RuLtWx25zsrJV4sx8kKYisbVbIxyQxEL70WpX2AEWJgPsN5sU9iVmpoyhrE8k8Aa9PqkxL71Oj/TEMDduZsRZ1kg1P/lsmr39HGtrHUwm41ximGB6vPzSLKsbO2QyXdwuE4lhDwNNpXAkMT7lYHO1Suagw8xJH26XRLmg02q1MdMnPhxka6VOdMxNqz0g7HSzly1QrSl88YszfHR1X5g0HBYH0ttfH9GrtTYryxXcPhvDQ16xtR+eshMN27Ai8977h6RnfDjMxmamS6vRQ9Oc9PWWiO2rjZ7YHBv6oaDHTabQJJ/r8KUvHePWh9ucuhigU7Py0x9t8eqnpykWm9y/m2M8HRbWAUXtcu3dLEPjDgIeHy5/H6lno9psIpt0Lr9b5eLFgABCxJNWtL6NnY0aqXE7ZrsVv9vFD7+7xqWPxYjEbCwtVhlK2anU+hQOm1x8MoGiwt5+lVpN4djJAFbJwYOlAn4bzJ9Jc/XyCtMTCYIxmZWHdQELy2wWGBoNiIesP2QTPc7hca8gKd+5miM5acfrkmm1DPVSk+lZrzAENFsdxicDxIa93Lu+LbRmNodGq9YnErdhc9kpZouYsGM2XsQaLSrlPmPzHrrNLpLuYtMYplyKIskmygYMqmrj2HHDPFCi2lSEUmdntYzX48bhMXovMD0TY9DXebiYZf64T/QSSxVFEKetDgedeoVA0JjYDUScs9XqMpoO0ayoPLhXBZPK0LCPhtLi9FyS5aWM0O0MBh0OdroCrJg5qlHYUwgn3ITDTq6+v8Njjw/hcMliI7C/U8fq7KK0e9jtbvGyVSrKWCwq9daAM6eHOciW2NmqEfR7mJ72c3fxkHDQhcfnEbooydoh7g9SqvVEBNJQH7UqA85eTCAPrGzvbjM3P8ntOwecPhcQyoyjTJnJaTfLyzUcbgszM3621joiLhNwerhyeZPJWQ872SZnTqZEhHprq8JQKsJhJi/gUF2lQyRipdWUqTR7RP3GtWbBHbJxLObmzsMcks2ADxox7w4BhwG1kag2NHFdNdomEdXx9y00JZNgShiKnqTfR9zXZbfaF4T9dqOGxSkx5rThtJl456jHwz2VaktntWolFYKjtgmzpBA36SQjVkFRP6y1MLdh4JLZz1aZnfSLG5HB4JifHeXe/UNBUJ1IhzkqVPA4LVx6cZr1vQyBaIBqsUvA52F4LMnaw21xeG10jQ5zCJfFSi5XQu1pTMyMs7O6w97OAbLVxuc+/wyHpRLFgyqyrOL3BlGMSkpPZ/nuMuFASGinDIVT2B8ge5QXDzJDU2J3msQL6MdOBzBrDt68vsnTzx6j0ehwa/lAdHxDZhM9bcDHn7LzTz7xPLPPTjF88gLdQolB8ZDs0jYVxUwy4CV7uMfcpWfZ21vh4fI9Vh5ksJqtvPzss9S6FQ4ODV/0gPpRjhe/9Cqx+AQrD24QDCXEVDzgjnCY3aNWKhCLJvCn0pR2HrCxvs/c8XGcgRHcRiRTHfC13/1Trt/X+PUvTaFoA/zBMBG/4cctkDsyVJESN28eEDL1+YPffZZX/+W/YXC4JAi+vU4es6pSLC7jDR9D0jUG3Q4mqwXd7affd2CRf6GvsqSewFw6ot09QjJZwGV0VRvis9sST6B39tAlk6Dmx9LDmKZmefAPf8k//cMfcO65cabGAhT3qsycPMvWw1ukpmdFF3B18Rq7mRaf/9yr/Pqf/oFIGbT29tGqh9QLBXzzz1B8+AM802dw2edpZ99GrrUgnKbXK5K48Muo8oDcvdf56q/+e5b2jbqHiXPHR+mWS+gmk6gAOX0eckdFAX4LDnk4e2kSs1tCMkN+r0kxd8QTH7vIw+VtEukAB4cF5KIRE9bo7BcpDQztThCHVRHX81DQhWw1ImwqdYeZ/X2dXztj4qsXHeKg8uGWxEyqj1I1VJ1tUqkIO5ky7a7E3KgVs67T7qt4rGYafQuryw3SaTu62ufzX5oXNamr7+dJjjjQBz0KpR7hIRuxuIvDTYV4Crw+F3tbKh67xspWkan5mPBOT02NsH9QoF4zVFxOFpdKPP54ioHe4/oHWcZGQ0wf9/HRtV1KBY3pGR82t0SjquBzOxhNR8SGwIjn5wstAjELNskYZMt01B4um4TT4yafb9Hs9ERqaWm5jM1sZWzWjc9pZXurLeo5I+MmzFYntz48ENFOIwFjceg4nTYkSSOdinL9yg5up4mxmaDoKa48zAimj93RJZpws/ywxtn/n6X3DJJsve/zntN9Ouc43ZPz7MzubE43B1xgES9AAgQkAiiCRcoSRVJlq2zaVKlk8YNcZLFcsqookpYKpgiSMAlRRLw55815dmZnJ4fOOfcJfaz3va77eebO7vac877//+/3PCdHiUTs0hbRt9nZWCtKFdap00f45MNN/AGNkZEI/a4u0197hxrf+Y1j/OJHK8wsxcnluuxtiQG+B10XxOowdnuHgQC1mRqj0SSNepXdbJOZ2YhMlt2/k5OEaKerjcsZ4M7NGmNjdlodQ9YNTz8+zL2bGSICKro0yvrqLgNDxDwd9FttAhGVcslkKOGQ9b63PygymlKlakmcE5x2hfX1Bj1D49ypSSrNLIYeQaNLrdgh5PYQiIkEQoxM5lOA0+kLQRl7r1X6lMs6E6NCrxaSCcGoH4JJQYvuUKw2JQAt4nfy4dUszz4zIu0GgaCNfsPg3nqNJx5P4nW65aErVxIqYB8uUdVQVD66Uubpx5KEE/DJ+wUW5oNsbHZx+VWWj8ZkZWdro8GlF0e4eaNKZr/D0RM+mRjK7BUY2FyMjfoJJfw4TDvZVo/btw8JGU6OnQ8hxEhBTSUYd/C9Pz9ktWLjCzNO8s0+ibCbB8Um3obC+JQLZzDA5oMMnz2b4vf+4SVsb/85OzWF8VNPU915B0Vz03O48PuiWP0eZq+MM/U4YNCv3sOF0MW6GGhdlMgC9u4upiOG0cpiCgBz14Y7MUGrsoHezOEdPkq7WKDX7+ANJFm98QGjR8/gtLtYuXuLE2dO8+arP2Zo/Ahnzpzl7V/8guu373Dk2BJPPXZWUrCTyUn8SSftQRyPz031wRViY7OIl22zm8Xr8smEn2kXTJs2gXAK/fAOPa2JNzCKYTZlYscbiaE3ixitHK7YPJbDhd2hovUVaaex6lnanRaO2ByufokOCi53EJoZ8I6iipe704NRuE/HZscbmUKr5+m1RUptDNUZBK1Mr13DFRSXMgslPE1/5wPUSBKbzYlPL9H1z9GtFfGrLdRokvbeXTzxJXqmjkPUL1Sdhm5haFV8igMjfJT2yg/xRGawhi/iMiuS4dPsdfGId3Nlm0F9T1o5PNOPSR22Xqtg9asYzohMdSluP0bpEFVcgEyDXtuG1+9FG3TRelW8Aw92vU++2WXymS8zKO1jajYcqQl61XWMUhX3yCx0S/SKm/hnL5DbeIDXNFHTUwz6XXrtLI/W1inu1fjg2i1CwQitXpPTFy9Q2cmwunmXM8tHSaUniI8ksVp9dEdPph9pmxx77FmapnBGODAcQVoPfwGeMJ7YLJaRB8ONzRNnoLclEd5uVLHUKOZARxcd9oEhgayq1UeNz9Os7uKydDzxeXTxNZpg/dhBs+PwWugHeVzTEQaRU3TLO5x5+nd4ctFFpaniC0LMH5SdegEo3az1+Gcnh5gcavHelTbYenzzK0s82Miwcb/J9IkI966XyWd1vvDlWQqlLF6PyvBIhDdf2SE5FGR0IsbIiJf1tQyphJNwIkq5XCeX7ZA7bBOOe+j0dJyqwonjSe7cKuFyuznMFJmaiEs9orDRRPyfKozv3S2xcDxCpzaQ9VZhC4gPqQS8ARkTXz4Zot83KORrPPHEUerNDiv39gkEk3SbDfm1hYMum9tF5pfCknd140Yer8NJejKMx21SqbRZmh/mh3+/yuPnQ6QnogxaNu49PKRcteFzWfT7Cq1+D7fPRb9v4XaoJFM+7AOFtq4TCsLrb9XxhhS++rkoD1bbHGZ1yV84vxDD6e6wtm5x5mhE1nyTYsla6BIJxnCqZQKBBNt7DbngC7kUzl2IsLvZojdQ0AY9vC4vh/k6HruL8VEHTn+A+/fy6H2L40tB7mw2uHg6xuVrNYJuH61mmdNnophdD7GUjfWNMpW6STDgkSnfta0udrVPPOiU71kBkN/c79ARavIJB7Umktkh4PFlceYfWBw/7qFRh17fwuuzSSW3okC50CU17pLV91PHgjzaqNHrQXwoIJe53/zWDHdvHbK9Vefsk2NS+frx5QMWZkKUcl0UL4T9XtrNJtFElEK+gd/noTfQmB4J8u5bWUJpD8MJjwQv50sGM/MuLMNOqwn1dovTJ0fkPV7RNJSf/7MZq1EV0RsX5WpX/qDikprZ05iZC8qHx85OkbHxBCrCgSpUFCFKtYLsG5SrOru7LY4tRcESUL4Wsaibjz/JEAsFOMw0mJtJEvTBQb5DOOohFLahiniHw8n9W0WOLMQwrAFOr8HWwz4ej5PUpEqjKEAUwnOrwSDIzl5FvmQjCT/XL+ckBEnQYB/ez0hInsdrJ+gPiHMlobjOnVs6o2MWpungvTcKnDrpkco5RbcxMhPhg/d3+MovL/LWK/uY/T6xhJNE2s1ANzGNgQS02BUVC0sS83/69xscXxpmcjbEyr2idM9viQPjhJtStY7fZSNTqBMNRPC4VSyHgi+sSjiF+D5hAds4qPP0c8fY2qiQy5XZ3G4wvxRnfj7I9kZVfsA0XZNQtTPnh+UG4OCwicPlot5oUSv2CIf9jAoYYFv03dP0OwZtvcydm32cdgvdMHjxq3O8+0GWsaEI+WoJs2/hcCm4pa7JlHaBVDLJg5UscIbwEQAAIABJREFU+/tV4gkHA9Ejb3bQuxZ+n5uZea+kffcNkSCyYw0MHE4bM7MJXvn5OseOpyXkMF9s41TBFH7RRz1GxlU8riA9Q9CwveT3S7LDOjoZp9vWuX4rw4tfWSB3UCEQ8LO91WRiNkBuv4JlaoRTYbL7XYLCKmDZCETsFHZNEhMm3YZdajs6XXjj9S1mZwPSntBrDKhWmhw9nkQ37Xz07i4ujw1FcbF4JML2fom52QTNZkMqGC3Fi8uls71fJx6Lipq7PMQMj8cpZ/MkkyH2c13qAhL432mfzx9Ps5Jr4GxquMNOSkWN66LX2uvz9S9PUKw0URWFXL6Ow+9mfjLMmhgwhMTBS6PaFttHhRNzYiPQ5852k1RCXDS7LIwG8TFAEyEecREv97i6P6DRGXCoOXmU7WB5hDPXyVhYxeseUKubUokZcfq4v12XfUjDMOWGPxIJUCs28TksadsQIJKJmRSGSyeQ8lAsdxmZmsDrd3H9k3tMTKRJjogo9RpPPH2WN177kGQkLH9XRE/b5fWxd3jISDhJx+ijm11GknHK9SbJVJpquUpuu8RwOkK73ZAPm0quRq9tkpyI0Kl3cQf80p0dT7oZHfFSzFeJJGKySy2iguDilbc3Oaz3ODNq5+SpMT53YZwnnj/DkIifGwamI8Trf/2nPPb0V+lXd/nwzbc5/dwlqQT8b3/zDzgDDubHZ7h06Vk++OgTRlIR0pNp6qU+qtvBvevv8/Vf/3163Q53PvwZFz//j2nXMhT2d7C73LSbDXmp3dvd5TOXnsOVPMZP/uK/8Kd/8QYzMyk5PBlLqygOH+sPNhmdGpVawvsP7nJ/rcdXLi3xG186y9gvfYfWRoZmdlPqp9ydHZoDjXBikfrO63iGL8mNGJk36dm9BONztDsaNLawRycwmh3cnjCmqWCZDXr1TRzeIUJHP4eteZN//a//A7ltGz2fnW997XFiQ2Euv/ex7GdreoNLl17g4d2H5IpN/uD3XyC0+FX6TYPC/dfRGhVG5o6gmSEUvU63ncM9vkzjMIPS28fRaZN87gVILlP94HX+5//jz/h/Xi0RC1h8/dIi2Zw4FJvEfGG5cS+XWkSTCVZW93jy8ycYmYixnytT3a8jVs3+sJ9mvYsOaN0OYTEAaZoYVQEG0lH9LpyiL213Uunm6Wou5iIqHduAX9y0MZfu8i8vxIl72ji8EX7wYZYvnvIwFA3y7p0cat/O2eUQhbI43Acx9Cb+QJwfvZKR5N7hwICvfWOcfsPk/r0yAZ+Hm3dKXDiXIhK3EY+GuXH9AJfXztziEFfe2yES91HI1ag37EIXzdmLUfxeD9vrGeYX0lLX2Ufn4e0GI2NBmZAbSgeoVTqS/ux22dnLdBmKu5ibH2b9QRFTGdDufuoe3tpqSsBst10nPRRlP9NlctKJx+fnykdFyc4Q3dGoLyATbiJ5MLMYplIWscUmu5k2qulhbtlDr61i2XpMTEZZudagUKri8ltkdnVisSBzy1Fa5T6VusYnHxT5nX85K1Nxhxu6jGu3ejoejyqhnrm8MK0ohANupmf9+ENurn2Uw+EzcTsdKKaTaqfGeCLO2EyIzfUqV67mefqJITwxk5HhMT548wGjYwG5tbt69YDx8QTVShWPx8P2XhmX6iURsaEpTga9Popi4AoEKB6WCIb9cvDSatSZm4/z1lt7pEdDmAMxTNKJBn10mm0sw8nQWIh7tw6YHEvQ0uqkUzH5vnj7kwPMnsaTTwyzcrfBpS/N8NGHD/G747S6olLlZmE+wsONFj6/id/l4t7tMtNH/OzsVtjc1rCrA2bH/ExMhXlwvyaTS198YZab10tceCbJJx9v09Uc0NfxxhUuLk/x5395D6dqceHMKPuHJWlCEKCyUrmO0+bA7VNRLMG9EEpFC/X/Z0AkhgLUG/D6Kwd87WvD9LQB66s1Lp5LsHfYoS74EVM+spkuPidMTwTJVluMT0bJHTRpan2ioSCxoML88RTf/y+PuHQygDui8at/1uJOtcczk34mIi5WV5osnY5j1vuoPjfXtzWsWp5/9789waXf+F16m3WqGx/hiA7hCiXpVfZw+xIYTnHBr8uDrWFXcBhgeDwMqg8xbWKQ6cV0eLB7E6i5dxn4Z1Fi57B36mi1TzC94+jlQ2wDk8DoMVrVXfK7a0wef57bty8TcLgJJSZ5581XGZ2aZHZ6loOtQxq9LJndPI5gAL/XT7uaJ+yLsZ7d5cLiJAsnHsccdClncyTTwwSTEerFEsXDMvFUTAJibZaoKT4iOvkUlt7GCZgesV130z48oNut4FWaDAYGihIFMbTwjdBrV9EHbYLCrmK30a8VMYMJvK5htNxbklhuSx2TCS5bu47qDqPV1+VFKjJ3GssKyMi9fWCTIxLLnyR37y8Zn/kcxvA01fXLuCwNTXBG3B4sqY/VUB0qA5tDVu+Edm/gcdNtHOANTNPeuYritxNOL9IXG8zULNWt93H2StQLO0RHTuMaO087dx+PUMQKpZ7VptOoYGpZDDG0nH0aWju0MxvYvDM4/AH572b0sth9E3QOrxNMT0pQqs9nYHU13GOn5b+9bvWx2gaN/BXctjiO5BTqoI4iqnWKSswzRa25hzbo4/Ak8CdSWO0m9liCTmGd3N3LHOzt88Sv/C5Wt06/9oDQ0ccw9zK0+kWcqfM4mvvy++1s7xJ3a+jqEJZexRmbxqyJIaAQOiSk6UZEzTXs9PQMSiWHN7nEwFTRa9exRyaw+0bk/9efOo7W2oFuEYcthumPYRlNbIaO4lbRBg789jb5e7cYeuZf4R4qMDL8DUIEOXLEScg/YDqR5kcfrHNqOsjP77eYsZz8/T9X+fc/bvDtF+eJxOv87LUKF8+n5e+v4tJkMmZ+LsbObl0ORv1uL8MjLnb2m/KSr9jbnH1sgZd/+ojlo0PcvJllfs4rDTlba03qHY1I0EkyFWRv74Cnnlxi61GeaksjFnFiGJbU+o2NOciXdLpNG+HwQD6zzl5IsLfbQ1Gc2NQO585PsrK2R2FP4ennp3n/7VVpAhA1tNFJP26vwYN7PQaDLl/9+hluXz+g1+5IRXU8bnH7ck1+LpdOREgEQly5nkPXWxyZT3L9ToYjs16GR6Ny6B0MOckVqty/W+Vr35jG5VL4/vc3pQpxcjRGv92m3KqyeCTFD/6qQGIIFhdC3HxQJBlzMmirwu7J6IhKvjzA6xHLfh2tC5G4H1VV+ORulZlhkYR1YDkHVAqfVpOFyr5YElVTlXT0U7Cu4vbIvy+t26PbdbG6WuH8ySCFco9IVEVMTJ02k2K5x1QiRnRowNVbJZp1jWBCZWcbnrgo6tcDDg66zC85KZZtUh+eHHJx406V0bRdKlTFgCQeDpCpaVJFePFpL52KKdN855+Osb3VEuEmrt9qMDPtIRkKUuqId5qJ3wfjwyNka2VeeqnBkSM2ludC7Bd69PtNAoIZ4uxz6+MuTz4eoWMYlCsDPA4bptFnbCZOr61TFZBvS2d0aoTDgxLTE14isTiHmzUOKy0JowyLxY3XQnn1d6etVrvO8FiAmfEh3n33HonoiIROmP02puljfFqQnTWSiRD1bkt48uh0ehQLDibHBKgiJOPhP/jLTZ59PIXdo+MOuChmOpw4l+TKx/uEgkG6fR233ZCb6iuf5LnwRIjb16r43C5sDpXpY37WbuXZ39c4dibA+kqD9FCYqNiI5vr4gg4MHdn7Ux1iQiMoqVUWF6J4Ym5e+0mOfrfOwvEghikUZz2WT42zv5VleiKEZVekw90XEhMzjYPdGsunxli5m2FseAjFY5HbrbK92WVs0sHoZJQr7+/z5HNpirkeW5sdXAEHIZ9DKiZCIfFwt0slkRia7O/32d+tMTefxu5o82itJSOYe+s1Tp5Jynh2qyX6foc0OwNm5sMYuh3T3iMZFArEIqNTn5Ime5rCwV6T0VEfLpeHWzcPWDo6RHrKz9rdEtMzQTbWxXTMR7VqsfWwyNHjMckkiAdDXLuTZ39X5wuX/JIgPTYblRpA0SW0KU6KpQb1ssnomIe+NmDu6DAHWzsE/DEZ8bLZNXyBsNwGTUwIn69CtVZhZ1Nj6Zhf+n1LJYPheJhHmyUKhSb/wz95jNt319nbb2B2fWh6k9RwhP6gS0xsTgtlcPkoZVuS8uwVQCrNQhlo2J0u/AGFsckhXn1pi2RUlRGoXKEut13Cszk04kEZKBw9mubR1iHKQKRvbeTKbdJDMUJhlXKxT0W4kl0CYKLJaFI07aaVh3xRKDPccsgQjIlokSlfuKXDDt1Bh7m5OKZho5QTikM3q486hONi6KBxWOkzNxukcNBBV1UWRt2yA/roUZdau0UyGmM4oUiIyNZBmxMzHj662eHYnErHcGGhoekG9aKGP2DD7hKRRWiUeqhOGyenA9ze1yRUzm4IpaJOy7Lx8WaLZDDCtbLFrR1DDm86liL/bJNuFyemffQ6TdqGA7Nt4I8JhkAbl99Jv2PhFAMfTRxEW/TrGi6PJZkSA59TQkdCUQEGcn0Ki9srsHxshmu3VpmbHZPVDsM0yefKjE6NoZgaqsuBXxgVbq/TK/f45m8+T6NaYeV+jna1idNtY2H5CLqmcf/aCiF3mGK+iab15BCiuJ0nPRWXkelQeEA5ZxFIKOR3a4wvjLO2UcVlDbixV5ORWxFpPnvEz+//j5/j1HSYscUplNgSW6+/QTxuQ2ccp9onk9vlnbc+YOXuJt/91a/TVfvc/ugWp84t4MQkOXyUxPAYxcIWDjVEpfCQgc2L362iW04sy87EwhG0Wp1sdpto6ijJ4QT2iElzc49/90f/mZ+/nmPuqItUPMIzz5xFZMZ/8Fcf8dknFwjH/Vx+7yMOD0y+/rUTfO/f/jG2VobDuyu4h8fwGTbya+/icMUJj6Y+BSkqAtp4Fj27ghYdR2lV8KQmwSigtyycwSiNZo6oL4p9dobNN37K//Unf8+VW01+49ee4MSRGV5+5T1e+nCXX/nqIvHUCG+/9gkH/72O9Z0vTPHb/+e/p29PUXrvj7ArDjzDz2EVH9B12AjH5mgfXMWz8BS93COqq5eZvfRdmEjQyzT4N3/wd/zxf3oVFZNf/+WLtHolNlf28QWczMwLcn6V7d26rCrEJ4aIxxzML09w7cp9gsEo2UxB1kMmZ8Zxh5yyLrR7r0B1NUd6yks4HmV3c5+erhIMOHG0O/SiPoZ9Hj540GO/3ebUkJP//HlRkXHSAy5v9Ai5IBIekMmIFJNDvty297p0mwrOQJ+JoTBr23VcDtGxcxNxI6ti0VhQqoHCCR9bD2tEY6qsuCVGwhzstOj3LDTLJBQwCHjdGEYAp7+Dx+mVRg6xHQ/HHLJDL2w0c4tpinttEhN2Nld7UtlTrw0YTvslvfiLvzRLq2ZycFiXVa3Moc5nLk0SCzt5/bVdvvTiNNeu7pAt9CQwtqsNaDQ6JOJhPD6DfLFHr2cwkvKRO+jgj8DOrsn4mJ+w38lbbx3yla+Oc+9+CW/Yjt/mQOdTWFExa8jtfkRsM9YqHOx3WVwMyfh+TxhKPKKXGOLlN/Z48vyYZIsUCx2iqQgu24DNh2WcPgE3shOJBtjfaRKLuwhFA9y8nmV80sH6gw4TcwF8ARdhn8LPXyuQig24eHECVxBuXytSyps89/wwN25nJIiw2+nhc7o58/gwP/67NZkYOrY8zO5uHhQHPp9KvWlIFa+osm1ttJme83L1WolUwo/N2eNAOJljcYZGHFIffGQhQSLlIZfpcvduhdklP8lQAAuDV9455Hv/aJn1lSzvXyvy1LNxagVFGoxu383TqSucfixCo6rLg7mpCe6NB19U4e9/9JCW6N2eikrIU6bQlpyeHeHb9rm59MURNtcbbO02ZSxaQJw2HzVknD8U9kvTwoULw6xt1Hh4r8XZ01Gq7TaNss4Tz4zwk58esDAbkSaY7a0yz35ugkq5Q1EOp01mJ+KsPCzTyPb4yjcnyWS6XL1ZIOB1ylirUDMLi9G9hyWmU0nevVPghRMpnj3n5v99eZM/uuFC9al8djFIwF6nUHXhEMpDNJoDFw82CjzaNfkP/+YEv/wH36f16h+hGS5cYy+gFK6jjMSxHBfp7r+BxxNl4Asy6HTkprG/9yGGN0JoUkBdV3B4RtHbu+j9LO7YY/QbKyiGhjV5AVurgr2RQ/V40fqikieWGX7skRTrVz+g2W3itbs4yGQkQDUQTbNyf0UevgUHKOi3eOHSr1CtN3n79Z/LhcAzzzzF5t4BvU4ZQ/PxwnOn+fFPfsbM0VN47QoPbl5h+eyTPHpwh9PnF7n2yXW+/p3f5ED43gddZo+eApcYPPqx23VIHYV+C0fvgE59F3t4UcaLbTYfDm+Y1ubLuNzD2IcW0ITtiTYO7ZCWK4Fq9Kk1TYKxEGYhhyPkxfKlGVR2wOzITbtWrxCeuEi3eBfVG8PSDcx+E3s0Ad0OVq+HKznLQFUp7t4iFl/AoYj0WA63rY85yGMPnsVq7GAZhlwGOYITmHaLzJUfMbL8JbqlA2wBD3aHn1Y/i031EwmdoFnbxuOPY7QeoWsD/OmTmDaVQeMQZyBI5c47hI48jW5roPdUbFaXQGiKrtXG3Tdo1YtYYkChtXEYHRSXIOaLjaJI/yrYXQnJ4BJLp0B0ksLmBxitJtEjL6C3RAqhiN+fwu514wrPyC1or57HNuhS2VvDZk/jHJRwBYLo/iUG9RKEwnjDo5Tu/IRIegRTQCX9o6LajtnpYHW2GNjDWO6ohOkKdoTq8TFwuFGbVQZBD/bgDJrQ+Dl1CdA1egYWJoaWwx1dAoeHbmadoNdHz1BQnRWcziG8p5f5vd/83/m7X+zyh/90nj/58QaTYYvPX5hmbbfBSystpmM6lybgyJiHOw81Zicd2Px+bl/e5/yFEbZ2qzI5NDMW5urlXcanEnK4c+3jMt6gyvJykFK9Sa1kJxJUOcjV5LZ66dQwjUqPXKZOLC2SqCYjKS/zRyb4m7+5zthkgGNHU9y8uiuThL1+n5PHRqi2O7z5Sokji14uPJ7ipZ9vcPL4JOGYSGxZ3LyW58nPjnPlnUOCEZUTF8Z597VVkimx7GoRDbtZPB3htZe2OX5iiFa3RzHTJT3pJh4LUyt15dlZLO8mRsMcOxpl5VFDnpuFvW11s8D8jADGN9nb0/jWry6zs1Xg1v0iEb/K6ZMJOUTb3mujtatUyh6OnQwScXtY2y3R7Tql7vTJM8Ns5tq8+vIhz30mht4esJtrYvYdHDvmYXu/R7umSsbR7GIQS/NyZ/UAv9tHLOrA6R3gcri4eb/ByJDC8mKcjy9niYj0ti5qiQqT024KBYuB0iXodUsY+bsfHeKyQXzchdUTTBmDvm4wPhInGrDzzgd5zp5y4Q+J2mcHw7KoNwZEAjpen4fbd2tcujSF22GTmmJvxE42I4YNA3TVRK/amJv34BIGsLstuai7eMGPxxGg3WvKxN6Vy2Lp6ELTxCJAaB49rG4U8TosNrecpIZVTizFKRQa2B1iWegke1Al5neSHndRKQnNYI9f/c4o92/XSaTiPHq4zWEZyZaLxRT2dzqSWSDYfId7bTwBO8rr/2LMajXEJkdMGFwEQnZ6bTu9gYAbDRHw+ujrfT764JDxMQ/ZfBfLFJ7cAD/62wPGUl7GRj1EhuI0uw0ONht0Ojbs9h6NmofJBY/0CD/cqHL8VIpWrY7AEa49bHL6ZFgSD+MRn7zg+nwu2cH4NH0Q5vrlMkNpyJVUNjbLPPPsMA9uF+UHcXY5LMmu/XaHySk/Wl+l1ejT1vvyQ7y/00LvDWi3xJSsx/LppIxqN+tt6RJfXc0zMx2mV9dptnT5cv78F5cpFw/Ilway8zGeFvqeBq+8mWdh3M+3vn2ElZVdLl8poRguJucDVCodnIL06XHRM6BUaHHxsTT7B3Ucbj/7mwVGJoOSUVCpt6UiIuRTJPxHUXS5ad54lCeR8JHdqxGK+qk3xeFPISnVHQ1e/PIpPryyxrnTI1y5lpGdkGTSQ63dRRl8ajjo1nRU94BSvk9qys9YysftWxlGxxLEYh5+8dImDgccXx5if7+Mzyso4QafeWGSRqfCtSt5Lj4+z8q9DC7XANVS2N7t8thTo2QOsuwe9PHaHCRGA3icNkRhpVPvMzUdYGunLg+rPrfKUNorSZW3bxcZSgnYiFBkOEhEw+RyFVBEv9nJg4dZUrEAnUEZp11AFTUZVQrGVe5eLzK7GKFRacmYcDI9hNdnkcnWUUSlrajT0yA95kaU2xXVJl3KsXiIXKFEs6ywtJxAscTQpsfCUpjMYQ3Vbmd8Mia7obdu7oBqsXQsRTTkZGunDf0+uwcNyV6YHPNQEXUMnMQibnx+F81Skyt3yrRNO8tHHSR9UTKlAl5hVFg1sRkd5sXDPSM2cmEZF6v0bNLykIqFcJoaltPP7fUsIbdKPOwlNewjV6zT62h4HKrcDO3WTanEm/T7MNwGp1Iqn+y3GA97aBg6r6+ZpMMRMorJ5TtVomEbdpuTsQS4TadMIrj9DirlMrpNVDNU2rohgUexgA9f2MmDW4cEQx451T/MG/hDXkYnvYQjHgKJMG6/n1KlJX9XBKSq2hU04w521c9wOk4ue8hhtkpsKIjH62Vmepz799fxuL2sPXjE4+eXicSirKyt0y93GJsZ4v71bTTNpDuwMRYTU2cH+UqZxekU2X1hXBAe8SBbGwdMT6dk5+7alS3ybZVKRfz88MzpMN/4/El+7Z98g377EMshgJgWPXsQPV/hzTdeQWvrLC/MkR4dpqEZ+CIJMo9uofjjuEThHAc2TcSnLVbu3eTiM19jY+sGqXiSgWljf/chyekj5A/2UAYdnv7ar6NX91nfrvEf//SHlEo1JmemSY/40bQBJ+cnefvdqwwPj9Eb9Ln6zjUee3yR3/zu40SmP4veKJDL7hF2W2iOYYzGDoOeRnD8LAp9GjtrRKbm6HUMDJvCoLODYyCoreO4vF2wbLz1xsu89M4qNpuHS599THqP791ZxegIvVmCWquCfwDHl0ZJzB3j9Bd/Fb2wRq+4QSu7hS85g2L/dAPpTUZRShlyxQ7D8zO4I8MY6XHM3C6/9vXf5+cf75D227jwmSSq6ebwME8qHGEr2yEZc8tqlojfeb1unv/SSbY398jkDZrVCsOzSUbHRmn2OrTrHTr1FkrDwG+1JcnX6VXx+T3yshxIOeVAdijkkrWaQkPlfrYvlT1//GKMZ0cG/OnrDeIBG8szPt6+V2RhLMGw2uPabp+hyABV9XB7TeMzFwMUKzrZwzZnT0Y5fjJCv2OTlaVevYepumkUmvKSfPL8OA/XirIjv7ZRZmbWy9KxSTY3czxabbN4LEooaPLBO0VpWhlJi+dHh1q9Ld3uvkCAcrEk+5QCQCeYKi5FpIG9zC0G+PidPY6fHOXK5V2OnxqSCa1KrcNIKkSh1KPV6UtQU8QPE5Nper0a128WCYXdRCJu7LoNnE6ZELtw/ij3VtZRXcLcUeGx54YZSUalf3h2Oki12uT29RZPPT8in+9rqwUJYj1zOsXBQRO9p7O52ZSwwZmZJHu7FdIRNzdXC/gCKuOjSXnAzuSr1MsKTmeb0ck0qsNif6PB+LSfSlWQ3u3Uag0JthM1wWDAJociM/NB9jKfWn0yBz2+973j/OTlh2R2Nb70xRHGJwL87B/WmV9OEA6rZLMWrbpQbTrk80fYT25czfHNb01JUO/qrTym4uP8hTAHG035fDJNi5HRKPvbJRp1FXdE9KFVCXrN5NoUcqK24eTgUYvhaQfDiSEeCvDfXBCbqUtIqZsA1++tyapJJdujIaDHizEe3j8E1Sl1qV/43DxrmxkZFRWO55HhMPlSH7cf3n0twze+PUu3abKzUeD04zN88uEBhVyHowt+DLuGR2yB+23Zjfe6IxSrdcx2m0goRGzUIQFbYtnQqBmMDgVZWLTzcM/GyJAHxbK4da3GxIIb+p+mwcbSYbb3W2QFjGsxIS0j5UoJQ1dx2e24RHzb6qNYbhm1Pb3k5+FhkR9ctpPXbXg1i5FUn17Lz4NihbAgUi+M8sc/XmPYC9ff+hdEEnP0b/4t2b6Hsed/l9bKB/T1NrHUPM1SAefoDHopB4MmpmXgsLmxBKTUENHgBPXcfamYU30OrOo+auwiZmsPpZVnkFzC6RvHqKygq368oTiD1j79Zl8eenfXrjEyfQzT5scVS+BzqezdvUGjVaPWqku/9dL5p9i+d5+N2zfxpcfJ7NWIR11s7+UIhl0cbu/y2NPP8fDBXR5uPeKbX/8qO3sFcqV9ZsemOHH+aT547y0i/iAP1zZx2DUWT5wju73G0flpuVTyJ1PgX4DKKqbTj2G2CQaSdEp79DtNIhMnaNWzGJ0S0cAwPVcAo10kNvs4dqXDoN5FEdtq3YZlj2NaTTzhIIN2Hr2wjXv6Keg06RbXJX3eZe+it9qovhD2SACRFe4XH2EFEzhdcbT6AVVB7bcPUAIz2AULiwFUCpjifTY6wqBbR/HFUNt9+u0smi9GNH6GZvYGyqCHOzpFr7AnlwxK4hR67RCjdh/L7kFxj6I6q2haHKW2ji6YMiPnMBGlfp1W4SoOw45n6DTtwi188Xm5KNGam5QPM0TGz6I5bThtgqZu4HU66BsqpqgQbN5kUN4idOK79PuHkt/kcMZwe21YWoJB8zaNdpbYzBM0aiU8BBiEVLx20ctvygGRV7XQvRFMpSEBdaLWgCYAaQH8wpPU2UENH5d1HpdiYAaXsJt9jM4edsWGojkwbAM6hU1CE0+i1+4wcCZRXWn05jVszQZKaBi7N8mgbcNtVWn08yQef5Gf/t//ia//3s/4t9+bJZ+vsZ/r8yhv8ti8TrEXliyG3182uXgyzZ99XCcZ6JNyeHnp4yzffnEc3bDx4cfbLC3GefutIp+9NE4i7ZTPqGK5KdPR+VyNqckRqf81DPGnvoNAAAAgAElEQVReSHPndpaDQo0vXJqhJgwrqxVS4z6wFBlF7/YMblwrMLvglWftgWZjbjEsk71vvZ1natrLuXMRul1xyczJTbkY5C6ciMvqjs8XotPtsb1dpZI3uPjEsFSEC5tScb/LpW8scbBVwh9wSevQ+69v8xu/dZQf/nCFiNfNhaenMbU2D9daNFsDEiMQdKvs7QgdqMrpUyPcuLVHo2YR9jlZPjbM6qYY/njYWNvDJlSPJqSiPtLjgqtVophX+cYvz7K5ccDV632euhBkc7dIPJlgoFnU6hrRsFNq61TVLlNuG5s14hE/saTK2+/t8/QTU5JJdftmidSwh8m0lys3cuRrBouzXtp9lzxX2RSD/exAmucW5zxks4asu4p63sx4mG4fuu02zapOeswvVbgiyfj8s2Pysv3jv91hasZLPKVgNEXqvc/ojICTl+T5bH7Wx+G+4GD1mZhwsrHV4+SyD7fDTabYQCC6LIeD+YUI164eMj0SIxJR+cnLGc6eDMqzt1gurKz18LssgnEn6YiTekvBok13oLJ6v4XX7eLcmSh7hbK8o7nsPlLjAWlp2BO62tEAm+sluuaA0ZGgHIqI6u26qKU9EadRM7l3v8z0jGC49FB+8c9T1vq9KgsnI2QOuvJhEPY4cLhVTp5Lcu3DAxSHIum3kTDEEz68HkVSkvtaAI+jQ6HQYfegI1/Iw8M+zpyf57U3r9NtGhSrBjG/C58X2j1oNA0unBvnk2vrLM3HpY6kLg5opkky4eberSoOjyr9jJ2GAEm5ZTx9YW6Ud995SKOls3w8LvVl4YDKnQcVKrkuqakgiZjCwzstPD47kUQQo99laSFKttAiU2hKfZYTJ72mQXLczdBQkGufbLN4LEmt0cXncLG73+PRdp1LzycxbdCta8TTQR6uFyVJslbXGRv3MDERZu1RgXhYkJL9FPN99tbLBFMexsSlLtPFsulMzyXZ3sxjxyV7okLz8OylGXp9jY17VYyBIVUU4jDpcvv4+MMdHruYln3U/cM62w/bxIZVth9Vicc+VaGdOBPm3tUK0bRPkqp9USc7mxUCXhsT0wIcUpJu5/k5Eb9sc/VqDofLyemzwxI4gSJ6XwOaLQ2HzYYvIPquB5IKXS5oklr56EEH1a5gcxo063ZCMTh1Zoh20WR1o4quiYGO6FL1eOmnWzz9/KSkga9vZOl0DCYmXLQaCnfvFJifj1Eu1fF6fcRiNkT6WWx+xZZJqys4/TZ5idb1LmsPyrJfKdUor2/ILUxqVGwJ/aw+EMCTqEwKBANe3n7zgGdfmOIwI36eLqWszsLJEG6HlwcPSxitPl6/k5BQJA1sNOsG7V5XmiDyhSbqwMXWfpnRWFReDIZH4+AQyssquZzo7gx49rFJCd7b32xQrnWYPRKX/SjxC/39v37A1z83RVtzyM3z6OwY2YMG9kGNpuFG9SgkPS76dpMbt6qMpJ0EAm4sRUW1q9xaKTERc9IcDFCcDhn5HotZuG0W2WqfRMLLADuVokbX6OFzhJhO6aQCoqvax+8J8FcbFa7vQKWpS7XgeDxAqdgl7lc4mgK3L0ChYsguc6UjovA+fKpOriguYH7GgwqtnsJN4RMNe9AGIv3xaV0jV62ydGKGzUf7zMzPMTee4I23P8Dj9TExMcrYzBg//a9vSW2YO+giHPCSHk/QLGsc7uwTGY5LqGIwnqJTqbKzvc/FM8e4+vEtmToRgEabVyUdidGu1ekagnfgk3HhRrdP0CMmscLJ6KTda6BZQS6vHNLXFdJuFVfY5HgqIIF0z108g+/oWfw+B9Xb17l59S4LR87TyG+hxseZmVjg5icvYbmDHDt6hr3MmgQdCr/58Pg8/X6f6+/9jFBslFOnn2Zj8yrdRodobJyO2cepNFk4e45yLsO1qyv87NWr7K+XGT0SJ2DzsHz0CLc2VqkWihw7forbtx5In/sf/qtvcvrSl+nXC5Rvf4gneRzdoWDlHqBVcojVrmdiFqWtM3CI7mMJV3iKlm3A8PgChsPkf/nu7zA5O4pbtXPl2ha68ingb+bIPELQ7XUE2Vm/z5nHFvnSP/1tTM2DWdigunkZ78gS3mCCUqaA3WGBMo29JWBJOtFzR1ECQbrVJi//tw/49v/6fXQTfvurJ6jWs2SrpqzMRIIC6DjCndUtFBQMm0PSZ8cXR2mKGKVuiNmZjIni1Fh7cMjpM0uYhs7B9U22dhoSCGl3D3AE7OgtoXPqMTHs4aDaZXYmzltXqpLU/O2TTv6nEwabTZ1c1cONA5MXnghx91Gf9VybYzGF4XE/O3ttvB637LQJKKbXq2J0xLM6AEaAVqvAxFSEvY0afp8TY2CTF3jTgqPHU2ysVOn2alQqKukJN86BzthEim5XlzycSNTB4oKPazeF51ihXrYxMeFjcibM1qO6nNL7PGLwV+D0qST3b+dJj8TlgerYiaRUkA668HB7D4sIk6MuKmUdf9Qil9FoNzosLI6QOWyi97tEkn4U0yE3otMTSTRdqOXaLBwJ0hIbQrvKxnqf9IiXO7cOCIWDpEc8kqIvVHX37mXQ+nap3RMAp2tX1vH7QvhCA6mudbqdFDN1UhM+7t5u0ek0+cJnj/Px5TUSYSfjs0mu39jH5woQFRyUZoeBpqCbFlPTIXa3ilQqCgvHE/ISNj7upHSo4fJ72dip8d1vH+et99dQRFFQN3A4TOoNRcbxxfbH5bbTqHSYmQnh8/l48LDI6mqH0ye8nH9smKtXhfPYidNpk5d6EZt+5ulhPr5Sx252CIejRBIDahWRzgtRyPapCcWp4KIoToZGYDg1zM5ujqGEj8ODBq2uyeRUkFyujjUIE48LjWOIUMSkUwcNE73XweEOcO9emYXJEPlqV4I2Rc0v6B9wsNdldCTE3bWcPBT+5m89wccfr7O1UkFXNJ59JiWtC5+8WWNkyiuThZtbdZZPDPP++zkmRrxMTUZZXy9w/XqPF17wyaHQ2mqFQmnAjVtFTp8KYbPEz2ShBmzYNIWTZ9OUyx22NqsYxqc/Q7NiSa7Q/ZUMY5Nx6dZudtzYzD7/6DMJ3t7Q+PJ/3GduyMe3z/i5uZmlYwaYTIcYtNvUbfDejQrn53y8dOUvwD5G7a0/o9ZoEpx9Gi2/hr1XZuA7gqHsofQ1XEEBL11FaQ+wDZ+Wij+P6NePPUFv7b/iUoMQHkLxT2PrlNBsDlw2DbN+gJ0BhurDNeTErHjo9+vYg2M4FBNdDAjEwT65jLOzi80RwXJ6aee38ArggsA2RiaxxHfRYePKzxleWJB/T5Vqnbdffo12z+LLL36FijC7dOu0q3UGNpVeS8EX8Miv7fbqTE+PyctNV+lKfpNr0CeWHOf6+6/y1V/+MkPTi/Jzarc0LFeEbn4Nm8OHLz5DXwxjA8fQxPY+Oo2tt8PWg00iiQSZgx2c8WH5fMzulCQBPjk0RLvZx7S72dnJcLhxh2gqyvTYHJ6Qg1JmC/i02qOoAyw9wPW7VxiOu3n8qV9i5earnPv8N/GEZ6XSb+fGj/ENnULRm7hic9DrYLm8sibq6OQwXVEUQeMbtGVM2qrXpbbXGx+lVt3B7YmgKD5pgcH0YA5q2M0eiiMlaxCKz063cIBTWBhUHad3EZoHaI3bKJ4E3qFl+kocR+MelmtEVuZsgwpeb0IuF2pb7xMcOS8j+r3sKrrqxt05wHKEsXujeKPztLVturv3JTPMFz2B3WagOmLYnDZsjUe0NDuKLyq1tkZjC0+rSN83isufwmhk8I4u0cpex+o2wDmEw66iBKPYqnmUycfQtj/BRMM1dJx+q4hDFe/RAt1aDtf4cVk9YSCsMA6sgYLRFXq0OKrdoF69iUtTCTz3LT7627/kW7/zD/zjrx3F1qvz15dzpN02FkcdLA97+MOf9vmTb9hYHnFxbatPwOdlYszN7l5ZPvP7JYvrt7LMHI8Sd4v+vsnAoXP5w305GLj02Vl0s8/K/Sphr8Ljz43zVz9aI+JzMD0ZplHXuXW/SSygc+HxRfKFDJsbQoNq4/SFWW7fEKBNL8VMn8WTfizdzc1be0zMRAl6BCS2x+GuzvBsQPa/t9ZrzMwFuHBxgVd+cQdv0Ive79DTDQldnRBgOssua413bufZ22vhsX36jJlbjHP5wzIu94DT50bY3a7Q0/rYFDuPHtUYHXUyMTXO6r0D5meDki3w3kcFLj4ZB93JwX6WUt7iwjNpujUnnV5Fst7Mvp+d/SqLR/1EAgFeefeQz38uQe6wS+Gwz1OXxijst/D5RGVQAE7tVDpdVu535YBbwM4mUiFarT6Gw2BpIkhLa7O/Zcoq8omzCTo1A9Oys3Q0zJXrGdA+NR+Iuplgnx3uapw9H2Njq8ad2zV+5RvTXLuZl4mjelUM+u0kosjzbK1lEguZlJsmy0dHePvdLdKRMK6ITiXTxeN1cGx5iGt3DkFCYn2U6j0GbZ2puRitVoO24CC4XLRqPRyBAXbTQWanzeSsh0g4BPYKTkvwYpzg1JkcHrDxqI/LpdKodzhyKkGr4SRfKHDsaJKVBzXqlT4jIwEJSNzeFbpzO8NDTvYPFaangjjcJi63IvlBx5dSOOx2AiGL1bU21VqLC+fE2aOL8oPvxKyRiB+bw5KU7NGJFI8eim28H5fdJamSoZjB7HyMrUdlIiEfh9kGzSLML/vwIOJxXbqGQS7X5GsvLkhI3cs/22Fs1CehPO1Ol1OnU+xstni0Wuf8k3F2HzU5zPQlyK/bFLHpCkfnAng9IUyrxUGuz2gqTKnewSPi9hEnIvNdLRp4hbqi00NRFcaHg2Bz8M6b60RidpZOTNIUlOumQSKusrHVJpH0E3TaWN+qcOxECgY9BjjknyeRCMst7Np6XXbDTWeXiXRY6s0ErEmA7dw+SKcS9LpV6g2bjJnYfSa9mlDOOaUxYWHBSblgUq+aUrt0/OwIXneI11++y9RcgKF4gFymJQ95C0fj3Lq+i9OjMnckxO52i2pBxGUjOP0WKzfrhJMuioc9ppc8+J0u6h0BEdQZoDM2kuDgsMDS8gR37uxjDUws3YHfrzAyGqBc06lW+rRbTeKRAF1DfI2IYrcxLAWfb4BpOHF4NXlwfnCzIyGFore5fVAm7PfQ72gcWYyg9+FAbN7RiUXDNKptmobF4XaDUxcSvPZykd/67Wk++qhMKAA+v41PPqxz/EQKu2XKasC5C8NopsL6ozyLSyPUsgaH2Swur5NIwIUzoFLM1ST46vEn56lUhSlCp9HTSKd9OFHwiZdnzmBgKOTqFVKxMPVql/nlJFcvbxGLRmS/V0zklpaScmMsOAetRhe3W2wcKzSbNgzdIjHkZ3xCTAGbtJoD/B5FPtzEoXqgDfCFPIRDAXYPc6w9FKqPENGYl0anT8AdIJ8pS5aF3eqSyWmynzs2Gua11/bp9wxe/NIob7x0gGcoxnxqQKOn0+7r6JrK6opwdgaI+RRSqTgf3s/gctgIuWwcZNvE08J5DdVal7GJIP2G6IppjCXivHQzy5dPRzkyGeanAu6lODg9An1bFDwdVrMu9qpt7jd0tioOdpsKYZuNuZhGtyF0jylajSpuDOxuYa/oyjqPgDOemvMTCnp5+f0CEY8N8Z875JD0/lK1QywdIDHmk9CoyckJ7t64jzMANk1lfnGeK/8fS+8ZJdl2nuc9p07lnEN3dQ7TPaEn35k7c3NGBgmAAGHSFC0uaFFaizRlMVhLtqllilqW9YOWlkRatCyaIgWDMAgSvAE3h7n3Tk7dPdM5d1fOOZxTx94b/jm/urum6tTe3/e+z3N/CbumEh0VDyVdMgBOnT/O3mZKAIWxOMUUu0+/qUk2g8vuo1RKUdwo02ro1Fo9pmc98tIccDvxhWxURZ9CbLiHbGQyTRzmDmfmx1jbSct6Q0szUezopAsKpxNmkiEHX/viGK988YsE5k9Tvf8mW0s77O6s4k74SCRP0ynnsIUn5OWxdLDByPQZUodrTM9eYGP1tjh3Ehuek9sNk4BSNut4QgnKR7ukKztEHW6Sl57nT/71v+T7f7WO0+7gD/7Vr7F05ybvfLJKMp7ErOhYAxZq2wUytTojYS9/8Me/j7neplEqYbLZ6DcKWINTchinGG3azQYuk06tV8RtRHEtXKCUesTv/+N/TqWtcfHMDIeZQ2annsDuh4OdI2rNOoOmxvbiPv/s97/Owjd+l9bqBxwu3yScTGIPXEKnSq20hy80Rk81o1ce4xIVkYVvo4Zs/Nt//Ov86z9dYb8BF6ZsXDgZJVcbkN1vEBlxo/XEdrhHrVgnOmxndGEcu9XB9uom3lgM1WRnYiLGzu4mHc3CUDzG4fIGeq0t9aHnj/vZy9Vkfz0WdOJxC4VYQ/qOF9PCp16hjkLEaPPPX/VwbiLE3zyoEXGpvPcwz9yIn7GEykG6T6taY24qRshv4eO7OZ6+EKTWb9IuCE6Jg+NnnXSyPUq9Jo0WlItdwkE7oYCTelk84wx0s8KgbcfhsUgujYhSJ2Murn8mooIuTl4M8+FbO9jsDiaPu+jXxSHRRF+r0euauHhhnHc+XmbheIzFByVOnU+yu5JDsQ84tTDM++9t4Pfa8HpdMo5fKnWkqeRoX+imBGnZxaOVCtOTQZYfFJg6EcFm0aRS0ONR0Tp9ghEXhUJT1q56tTZb6wNOnXHjiQidhFlacPxBSKUaOJ3iVGRjb7uIzWGh3ddkkkh0mhfOh+W2ppht4LDZ0Hq6rFB1qHPu3AS5bJPbN7I89WyUdkPA+0QEsc5AEw4FjWK+Q6XZ4vz5UUwDQ3YkIxGDQcvGzftZzj0xjJhyDAyV3cdFeiYTs7MBasUKp5+YYWPliOWlOiMjZsZnEmyvlGhpfWL/v/VFHMQE+6WvwXsfbRLze7hwKU6n02Bvp0VsyMz+YYdnrwyzm0ljUgIUjupyeL0rNHrzFjwuLxNjfj744IBWp0ksEpCDW/G9d3DY4eQZQWhX+Lu/3eDF16bY3y7Qqlpw+juEvD4O0nXsVpNcGsRiNrJZHbcTdg7rHO23eeEVoSTVScQDvPG6SDjZCMeEXrGHxWrh8tUZPnh3TZKk/X4Lu1nR71d44kKQar0nGT92i8HJU34aHYNiSqPT67G00uGbXxJcBxv5aoNjJxxMjiT5wQ8WicYUaVL67FqRl54dxxGycffugXxfhYMeWXNxemrcu54nOGohao/zb97O8H8u9hjzWbgy0qZnslOpd6moLl4+HWXrUY63H5T4re/O8j/82f+Gtp3maPkzOXDwT3+NTnYHpXIbiyeAZgoz6FQwOa2oriH6pQOMno51/AmU2jrN3RtYh57GZA+g63Uszjj60YfoWhNL5EmZvOvU07gj4/SLGTr5h9iHz9K3xDANKmiKHZfTJaGaIgpf332AMzkmh00mn3gP+lDLJbrtMmZbH390lJ4YEOSP6HTLDJ18mfLuQ370l/+FS88/zfbKJq6wi35HYXFpk3Pn5qjXSnR1jXpTZ/LEcdZXH9PNNeTZ5sTF05w4scD64ieMH39ZAi+7pVW8E09JTofN0OlXVtDcs1jbadqtIrZgDLslQPpoF61eYnhynuXtfbTugPTuI3QsclC9v/sYi11UOE2MJIckoNZqETW6KtlimWdefEb+3sOjk8TjQhdo0K32sVlV7N4x7l9/n4Vz83zpG1+i1iwwfvJFes0jmqk8bb0g00Fi8OP0TjPoibTMAMUxgU9pM9Aqwg8g3+/tfofE+Bhdw0R7dxXFFaHdaqO2CzgSp+jWtuj3W9jiY1gaXar5bWxeL1bXBP1GnUFrE7snjDV2llYpR7+2gTl0DIsrSje3z0BF1sFaxV0c/tPo/TS11R/hnv4qmjOKuZOVr43QfrYya7i8QzQHZTzhc9DKUG1m8SXO0crewqH6GLhiqIOB1BQ2RVc/PI0dE+3DNzGCT6G6x7APymh2B712CaXwCFNkAeEX1So7GPVdqagb+KdRDA3FqIPqkf1+q9mM1e6jUy1KcB4eD93SEWbFwFY8wLZwFd2W5Pj8Vzl+LMyXnhmVOk2HA5JRDxaty61Cn/FBiz/63hxHTZ0P398j5FY5dyEu+/zFouCyqAxPuTCpLR6v9Dh3KsjuQZNspks0CmHBTcoXcXoCbIqklkPh1Nkk926lpVXthefGuX79iHjASqrYwdAMrj43wrUP92X1SXDYwkMWNh7W8MbMwsdAraFw8UyUbKHJ2nJF1jtDITPjx9ysLbcYEsol1USlVMFkFsM0E7PHY/S1Hneu7xKK+vG4DXkuvXglRr2iy9ST2HS36kg7V/qoRF+zks23uXolwVDcJdXt3f6A8+ciNEp9avWehOOeOT9Gs1FFNbmolAa0O3WpWu3TYnkJzj/hJxF08XAxzex0nE9v7WGzWfje907x1z/cJhiwks6UyaQ1nn0xSdDn5ievr7EgrAk9XRrPhP2i0tLk581msWC3qhSrLWk7c3vF9r2A221ndNQpoXymgYnDvQ5PXAlICOujpSqdZpVzZ0Y5LFRwWs1Uai0KOYXnXhxlaytP0GOmWumyuV3j1MkI6xtVBoaOYrHTa9d58dUE+xvCJGDi6KiK0+EkELTLeP7Kqkg1K3hdDpkgn5qIUat16fVa7G+KJYWLp674WVtrs31QptoUC01RKTezstJmesbGUMwpAaSZnMFQxMu9xQzDQx5GklbJExCAVZEiFRrJXKHPiIAY+13cvnPI6IiNnV0zQwlV8tBa9TLDUzFWH2XIZQ3CQQunF/zspzoof/7dkPHaK1PyAm3oZiZPOFm+lUe1qCyci/N4JYtdFbFuTTrWx8ctEvzndNkkyXJvt8b4qIfFxazczB/sNUhXapw9k6RW6RGP2eTGJJ1v4vfZcYqJY73PyIibTr8vJ+xioys2Ly89N839pTRG30Q06aFW6aOoOt2mRjpbI+hzUal18HpNGIKeX2rhC6jYbHaGRwT9V2V3V2x4zWxsNzh7JsHdz/flAzE6pnK00yM5EsQTbFMrW6WK6dSCGDXZsftMZPMtHj3M8+wLY2QPMjTaDqbn3Nz4LMPlZ8fESIqtlTaxpIlcti/fkBa7IadXL4rJ1b5OuytAXB150QxFXBzslDh/JcLjZXFwUfCFzChaF28wxP52hjOX5vnk42XpSA7H/TjcCov3M0wdG8amNrl7J0+16uC553yEwh4++GhTDgDKdaFWEhFHhXa3I1+npQdVRoZ9hBJ2djcrBESt4KDJ+LiHeqtF0Gen0dNpFNtEo0Gc/j5K10KhXOHsExN8+PYOU9NemYaw2614vQ6ZQrh9o8qFSz5Gkl7SRy0JAhT7E4fLQr1qYn7OxecCXhW2M5RwopgEiKQqlVVGW1zuarTqPXq6oDR7+OjDNC+9MoxJTL3KdanRisas3LyW49LzcUrlDoebHRlj6mkdJkeE37qNzSK6OwOcTge7OwW8bjOdviJp3N2OUGR5uXu9xvS8j267RTDmodPs0G+rMl5bqtTwC+BUoUmr3ScUtfP4UYFwyMXcyTilUomdlTrOgEhLxFi6m2FoLMjBfklCM0Sv+N5yST4krzyZkB/kltSL2HlwM8f5J6MMuj0+vHZAfCTEuqB3OwzCbgvhsJ96q86xiQg3V/LUmj1mkz6p+RCvY8vo0en+rCpwcFik1jS4OBtiK91gYtRBqdBmcafNsxdiXBeuepvQjDnwqxbK7S65gsGXrkSkU91ptzJscfFWrsGf31Spm5A0ZJOh4TDbZcw9FlZJeO2YdYVKu0Qy6qVS77OTa3B8VFQbahjYOdipcOyYCwUTLbG5VSzY/KJX7UT12hkoJkl7HU4EKeTKMiLbFhBNQyO7m8PqMstawMyJcUqFIu5wUMaJl5cfc/7iPCGrTqNnY3lxh6hLod1ss7RUJZpw0mk2sOpmxsaiqD4zjVIdl9XG1k6RMxcm6dRqVMo1GW3fzzbYSg3wOhSOJaxcmgrx8188ydnXnkcTN4yBGHIGyO0tYsaBrqU5OtgjPjzHxuNFTjxxiXa1TE34fgYqQyNz5DObtLsavlCcvce3mVt4nl6vIbtz9ugQ77/5E77//Y9o1M28/JU53nl9mRMzw5w+n2Bnu8TO7iEnLp7k9Tc+ZUgJ8B+u/V/U77xJtVbHao7hGrlIJ/WxdFTXUgd0qilCJ87i0AvcuHadP/2PH1GoNfn7v3SVOzfWCU8m6RsWjE4Xk3nAex8/5ukLCX73t38L0/AUB5/+BJtDdKWdNNvg8gofbhml38Ru+OhpWYLjlzDGPJQW/45LV/8T210Pz1/QSQYcHNUM/IKgm8pJ+I/bppAvapKV8tSXj+FwiHjZHueunmJrK43bYqMlVEHVBgF/gPGxGDc+uSn1WyGHm3qvSSDoZWunLGPSwigjajxdh5NSz8bBdpUrc24uhHSuzFvwA++nurxzrcEvPOeXUfljUReb6S5Om8KZeR+f3ElhMtkI+R2k83UCNjOjoy4GRl+m1lYfN/nKl8dkp15M6+MBJ36fj36vLy9kO/sVxsfdjE95KRzUeLxS51u/vMDdOwdUsmXGj4VQFZu0Pizdrcro4FMvxNE7BlurLUJDOpmUzqXLo6yspxm0W5y/PAWYePvNDcZn/LitFsncEE/JYNSCxaqysyk0lGVMip25EwGCYSeVaoVGYUCu2OPylWEJhl0XakO7jdnTPyMyDw17KRYbEqTUqnexOhSsZgFc69BrWWUnud+DSMwq44ai8uB2ubh8dZSf/HhF4LlYWBjinXe3mRmPU2rUOHYswubjDPER8ZzsSoMJODCbhF5KZWWzh89rZW7ei93hYO3Rgfx8l9MtDgpVHE4fPr/OzLQAKBbxegwsJjeegFVe7g9SOQzFLr8rjk07pcNawCKfuDTCukjStTUuXRpD6/ala3pvp8yps0Lh1mFT8BTiTnKVtnx/nD8fwuEw8c5bZRmzf+KSl6jPx4OHeeIJF6rJJIfMdqcTu6+L2lcxWyykiyoxg9UAACAASURBVA1cZoUTp8bY2xH2nzpWRZW8nAtXXayt9PH6VGkZ6jbFd7mCydTH5rJJjgmGzjvvVDh3xolJEGI7Gs+/OsPRYY6djS7Dkw5K+YasMLab4iAfIBR0c/dmTkb/n7wUJV/uy0qlarhJHzRIDnnIVSpkj9qMzwQYjlu5daskfzeh1xsf8+KwKpTrA9k1jccDTE7Z+ejtXXloe+61aX76xr48U52YCvNgfY+w38r/fU/jr24aJBJtnp/wYJg90h3et/eJBC0c7BR5bx2+/z9/kW//3u/QuPYj6vkWnvkn6RsOjMptans7RMbOogeOoeglMCKotiLd9F1s/jO0u0fotazsx6v2IHr6DUy2CbqKSHu40atpLL4Qer2PEp7CbNRpl3axeqMMSnl50RRRWnOrhskVoFnYwazXafRaeAXszuploOv4hk/QqBQx8h9jix/HEHWj1GNCp78ptWmmbgebG9qH2/jHw7TablrNFnqzitPjY3P9Ee3iJl7/MRLTc2TTR/z0xz/mtVe/TKGwLpXQ82cuy42xMECptgBmtwu93UAxiy6ygVlvMrDa0VtlLJ4E/fYhNtsUWncTiz1Gq9LmRz/6czz+ELGRCVxWJ7s7u+QraUYT44SH4kTDo6yu3Sbk9TA5c5Y/+l//JR67lb/33/4On3/4d0zMHOfOjU+JDk3KwR3dFrHECIXsPuVSg1a7R6/e4JVnn8EVUBg685xkBzTKh3SFHjaxgNXvxGw109Pt9PceSIOM6h/GPjpNc/06Ww9vMToxh2tkCiVynObSh+i9IxT7PM3UXZw2OwNPDLM7AeUNOrk1dO8YJrcPh+qh2sjQ3fqM0JywPhjoagyrWXy+xK+bp1HTZVff1G/QV7pYLTYUrc7AmwCthWqI2tUjPLEZBkaCXnMPh7VPVzMwzAG8gYBM6Q7MYbRuA630Oap5GFPkOIpWYXB0G/PYV9Gbd6UlqJ/bwj/2JAMxlNr4Kdb4GfReDmv0KZq1ffTCEh5vnJ4tjsnswdQuolkcONQW1dQuWu4+noWfQzHZ6O9/iuEK4B46ixru8szZ32az1ecfvZggk++QM6lcjUZZyqU4KGis77V547+LoHQVbi7VeOWVERbX6hi08Tv9vPv+ASdO2GTF6MFqhkTMIxNfLjsSIDs6GqXdrbKzUcEfs7O/VePcUwm0epX9gz6hITf7620ZIT9/IcHGWolmu4vbZcJkstPrtul1Dbk0EwPRpcU8pWKHhUtxttfSNOqCqt6VAEW31YfdblCr9ykWy+iajcSoHa0H9c6AiSEX9UqfzYMaJ0/5ePywRiDowBsa4DI7SeeFxK/F3FxUMl9sToPv/uIp3np9l0ypy/FJO9hE1aDG8TmxNDPjCgpoNRTTQp/bZXjEJy0rdhSORBWqZabTFrR8g9lTCW5+ts/McS+NZp94MMCjRxkMMVWy9Tk2OUrq8IhGR+f4QpyHt9KSqdBsNFnfrfL1rxyXVd3MZg5f3E8wbObm5zmmJt2MjUXY3s7hdFjp9ERqwEZ8yCmtY72eiYP9ikxr5HPVn6WEDAWroeD0mdlYqxEKOrDbDJpdYSYasLsxkP37SNBHpiQi9iHKtS6f3c2QCClUmyqJqIrDacVlhmpPAOuFlc3OcMTC7maLgdpldjaGXyyFmhqPHxwSHwuROhQ8PY16w47b3CcyrPDgYZPjMy6299scP+FjZ6vCC8+OUihq3LiekWwAkR53epyMT4o7kwC425g/5WdjpUGt3uH0+SgfvHOE1ztgdNxJJt2h3VeJBOwEQlaMbh9v0Es6V0F58zeGDF3Qxg8rnL4YZmenhs/tpN1tUqmICrZ4U/mIDNnwewcsr1ToCwp02IrXo0jfu3AS/9w3ZvD4TCzfKVPv1QAzkyMuUukmwZiV9UdNTp0J0ag3SB2YZNfwylNJqSkIBhxShWDQkqRiq1Ns9n2Seu/1ufEFzNLvKJQ4z7w8TnqjQNcwGBoOce9+ivOXA5I9MNCdhBIOPnwvxVBiQCQapNvpEIhYJQDN6hjQ7TvoNFpEYi5MAjoT8VPNV4gOBVm8X2QkaZOUa/E7JEd88lK2vFSSl2GHHTKpCkNDDsolBYfTRHLETLtnpl7tUCi2GItHcIVNMrJfLvf44pdOks4e8tc/yPCNb05RqVWo5XWOn4lLn/Bbf73JV78zhYrBu+8ecvq0n7L4/lUaYHJwbNon6xaqDh9/LC6Zw/J36tY6tBqiL6tw6vQoKyu7WM3iQy5UiVHyBcFsiEkloNPtYOFcgjd/ssrZi2MySvz5x7ucviwmfgr37x/w5NUhttbzFCsDLlxwS+d8p6Hh9hg/Mx0M2ej0NOZmgty8dSC1imfPRSjnW0SSgghdlf3g5Udpnn52gpVFMTHrEQiq9Fs2Fi6FONyukyk02Fyv8MpXhtnb7dCs1UkOx1CtGntbNTweK26fmYlkmNWVFO5QkNXHGZLDDtmjEgTlp5+a5PW/XaHe0nn+pShmk5dep0Orq1Ev9FHMHcx2J/22IFtnmJgZI7WXplDscXLBTyDgJJfp4PGZOdhvcPJMiMx2j8agzNSUnxufluTDpFqzEAiZUPoG7X5X+pMjCQev/2SdqYkAvqCNZqPF8uM6o2MBufno9exMjqscHjXlwfelV2e4+9k+/YGZ0XE3q49LaJoJr0tDcZrxe2xsbTcZHnKgKbqEXAoo1dysj9v3yjT6BlfPW+g27dx+1GYkMZB9O9EMEhUY1WSQSXc5NRvkwWYWl81FX2kyEFNFn51Src0Ll3ySen1yyse/f7cKXg8/fFiTTIQnx1S2C33i1j7V3oDZhIN8XdxnFAlQ03HhVPqsH9YYGfbS6egyRtnoikrPQE6wlx/uMTYSotlvMjw3S7leZHpmgsPNNIoVhuNhUtkK6483CIYChCIhMpks8eE4yWQcUQ7b3trD63agqFZq+TJOr4e9RxlKlQIWoUtymrFbNSwDF+VqldHxCI2G2OqaJADo7PEEj5Z22K90OTwQww4T1Y7G5WM+FhZ8/IPvfpWR0+eoZFK4HQFMgxaHWxniQxFuf36PFn1mpobptnRUrUX8+Ck++JsfceXSVUrNI8QrrpgdpPeLsg6hOL2EEgEsgSH+x+/9Ju98dsClS3PEwzY6XZVuo8D48BhlilhNHv74T+7y2eu/S+zMBfKLt/Gb++R3tjBFJnF4YuhGD4fbQTOf4ZPrd3jnk0ekcllGR8NMT49jUeH86Xlurjzg3//vS3zhSQ//8FdfYvqpX8dU+oRCZYDaM2PYrdjdflr5fbrpNYauvEL5YB93YhJraJheN8Ov/dpv8+O3Wji9Pb764jTpbI5oICLJvQOLhVq1gbnZp9YTnP8Br/3Cc+xmUlhbJtbXdzl98QwHO/soFoNA0Icj4Gb78w0qjbq0WSTCbhnndVlNuJQu97YbuDETDKt8vtGgY3PxcrTPF+aDPH/ZzHs36hyk+kyMKhzstRkf8aOYDRmnF3wJQ4Dp9uosHIuxtpGVQ86J6QiryyleeinJ7k6NXk/DbjNRLHaJBFySxjszH5Be9WppgDdowRm0E/fapKa1Umxi9bgxGX2ZwtjZq0tgkeBNdQd1Lpwfp1Jty8/QwNRH1OQCfotM52TKDQnIO34qzM5WjfvLFb7zzRmOskVWlis88WSU1HafcqPNmfNxDMNg6WGWL33lBCbFxI9/cJ+JqSDBkILWExaJorSzRGN2VLPlZzYYtUsw4sc8EMNiCwPNQbHcwmrXOXV8lB//7ap8RkXCHrY3ctTaBtPHHHz2ibDK+JiQUf+CvJSKg2G3a0I0NG7dqvDiy246JZW++NuxyUPVhWN+OuhsHTSJBR3MTNj59NMi4bCotKlkCgazkx76gwHpUg1rz0S+ppMT26KAk8kJJ1b7gHoNtLYYxpgIhNyIU2eprMnBdqOq0O50GRgDWQWcm3RLS8LmRgazdUBB2BU6KtGYA7tdYWNVKNwG2Kw2jIHY6vux2vsc7JWk4io54cDoK5jtqgTC2l3CcGPB7dX58IMsk+M/i0LubvdZOGcne9QkHhtiZzdDPtdn/qSPiZEgD5Z3oWvl5Nkhrl8/RBnojE+G6Q86xKJebDaVH/94i6efj8meqNL3oJgM3EGF3cdVfHE3VtNAPouEScnv9ZA6Kkt9rRgyaD3hsHdQPGwxMeMjk+rQa/YYHnVRauoUj5pcfirB++9lWJgNYnGprK5liY0IO4yF2/fSTJ6KMz/pIFfW+H8+zfBPX4yxUc3zmz8eEPIptKtmXr7kk5+7x5sZSimV4bEeb93r8kxc5d/96a8yduEFmnv3qCwv4h89g2ELortjmFol0Ctoql3SqE1aF8Mxinb4BlbVizZ2DlMNetVbaNU1fOd/neryTTy+nvy8DQYKsYVn6LV1tPwdHC4RDbNRTB/hHZuiVRH/rOEeaGjWYdyjY3QP16SdRlQEBoMaZsr0+l480UnK+4tgNAiNL6DrP0vadZQQvdIWtLZxJy6AoM07Y+iNPM7YMFZrEKOXxWxP0O6WJLSv32tAU8CCC9gCs+iKE6vLTyu3TT23hN1zEs2oYzW5aJtM6MVFrIYXJZjA5BxiUFlBMftQfQl6RxvoRhff8Az13AHFZo23f/gm02dmiPvH2Vq7jycaIVuo0a9VGZkYwpMY5fP33+PiExfwxZKsLS7TKpc4zOwzM3uW3Z0NJoajJCanadaqlDJ5zDYHPTF6N2D25BT/5t/+GRZD4Zd+8asIANITly9QrFZRNI1Srs5Bdl/al2r1Knc/X2L6WIxasYE9GGTx9gbf/vZXWbz7kIW5KC9/7zdoF49wWN3UK2k88RG0Sh19IJhTAkZYwBsT/ncv1VKOgNeOGgjJTbq4zHcrD8nupBk5c4l+r4OWzlAuHmG1jWD1OujVdzF1hTlFpaDVGRuao5pbBmuUvuLHY9/FcJxEtzlpb36K2drBN3KFRrkC7aysRXRqVVyxBTrtEtZ+ASX2NPqgjqqr6LVHaO0C7pHn6AjAYLMlIbQ9uxeL4sDqE9aBDFo7hz5wooiEQ2IE4T/rVg4w+8Tnt41OC7/4m4J2rKee5Q+++ff4Fz865LtfDdDP1egpAaqtFL7YEK2aTqnY5F993cL4TIxbn5RJlatSExwIujl9Tmg7K6hmKxazqO0F+fS9I3lOjcUsLC9WcHlUTpwKo/cUut2e5NaI74bDwwKnT0yxtZmSS7xTpxKsLdYoduq89uokWxtFWXOaGPUSH/OyeDPD6JyParYtAYHi7N9pOsjn8iTHPbJGa7XqcnmXT7eIxMXw0qBdM8nL3vCYE6/VxcqG6Nk7adT7cjgdTVp5dCeDy+PFYXESivVZWRHnvSBHRxXa/R6vvTbC/Ts12u0eJxYirD3KyJTd8y+NkDvscO16Gr9bVK7CjMyEWF88pNHU5dKwWCqjGH5GJiw8vJvHMMw4/CJ1AifPBVh50MBiM+FzmyUvIZttovfEoqpNtijuah5p0xDJrGZ7wPC4yt5WV7JQREVAwNQ3NhvUKiJ1qHN83iWXghaLmXfe3+XyUwGSUT+bm0J1rpI+aDExCXZLkMXVFMbAzIsvjbC7XmLnqPmzulWtKhPBwoRQLvUZnXAQj7m4cauO3QwdmiTDfiZnozxaylGvNOTrsrPXkOcn8Xe7nWbKNQGfNLG3WWF0zE2za6fTrBPwGeiGWeods+mGXJA//cwQH3+Qwu82yQGLxW6X9UoxkBbGJPF/PnMszOZqnUAQml2dfEpj/oRLpstufJJn6pgTi2KSfANP2Ek908LsVjEbKobdRDggzghZpo9ZUcxulLf+kYAA9mi1uwQDAmQnfpjGYNBhfi7Cx5+Ii1OH08f9qA6VSrrHuaeT7O8WSe/28IRMTE74OEyX2d1oyTi906ESiLk42i1JeEijbRD2q/I/JBi2cJRqEo97yexW6WtmZuad7G1p5Is12dVoiviL0P4EfXISL9yswtvu9pvp9QwZXRxNeKmI2CIGc7Nettc7HOabPPdiiP2dGju7ujwEnToTkWTN//wXq8wd98kuxvZ+kWefHpPsgWq5K+Nt6XyXJ68Oo6OTyzS4dTMvIYG5Sof56SCDfk9OUlRxUBuzMhJ1c3goKgFIVY+gQU5MuzjcrUrwyrH5EYz/z0H8xtvrDLoq58/GiYzbWb5dJhC1cLRTxVCEs1kwEMpcenoSp9XFgwc7YNLp11WSk3ZWl5qysxMdsmDChccJm9s5zlyYYGrMxbVraczi26Jvw+nUiA67uX8zJZ3QVqdKp27C6uricgTY2a1htbRwWq2SH1DLaZg9fZplhXPno+wd1dheK+MNeHHZYH+3TjAmaNBuFh8V8dgdHD9jY2Q8wFuv7/Nf/zdneXAvR6VY4sGdGq9+ZZJ8roLdpUooYyFTZu5EnHyhQSHdlImIYNwlSce9eks+wEQ89sHNtPTF+yJOVN1AtSjSWd+otjh3Ncq9m0XcAQejAnCxkkexWYgN2/A6fVTrda5/mmN+NoZiaeNxu2i1dJpNASXryIjM0IiVQVvAoHx88ME+Lq/Bs1eTMr3iDTnZ367IbunLr87ycPFAdlOfezFIPj1A03pMz/nZW2vhCYqBT4zv/+dFvvSNMR4tFomHxWa5T6XYw+W24/RYuXc3xfioj0hI+Eg78jBs0k0kYlCtadJC0W1rbOw0icZN3L9fZX7azd6RYCeIPliA1RUBwHRz82GDoHOAN2KlVekwPumTSq6bnx3S0M3MzdqolgymJ6I82s1T72pMRFR2DnpYXBZGgkJz4+Tzh1n+ybfGuLFUxe3UOZN0cOeox5/cbZMtG8SjHg6KLVweJ0qryomQimH2cZAvY3OZ5TBLRN4GqkrQYkPTe7QFG+FIHJbdeARkaS3HxHSYrtHA4gwyfWmEjXu7DPptBhjMXzlNtVyRXe1+p8fd25vMz4/QqHdp1EpcefGKjDCXswV8cR/tWp3MblHCQ0yqTWoeBSVdHHwOcy0unhni6CiF3+EglPRSbekSZFrJNzAZBrpJZeOgTDYvKoAKYa+Nn7/q55VLk3zhl7+FZWKM9uERWmqJw4druIeepm/rk93d5MT5Jymm0/L50lEGTC6c4vZP32VyfFJSZa99cE0qME+/8A26pRX+8s/fwuVOsL6X5tGDHaZnvFx98gq37j5gbyPHyadPsf94javnj/Mr/9MfMjjcZnftPYZmn6NyuI/H0ZGQnp9+vkRxv0JRy/HE6QUKubb0B5ebNTYeZ0nXCsyPhvid//630NwRqUWzpQ7o++JYnC2M6iEmJUq7f4CqTxI+eRIcRdBz3Pwv1/ilP3yTdEbhmSeisqKVSrfJ5DVcNrFlH9DoKXKjp5manHryBHubGUZnxiS4rVqt8cSFE7z/zh1UVWH01Jys1miFAvWdAo1Gn/FEgp1imbG4m8OMoNS6Ua0Kd7Yb6H0Lx6J9fumSyhcvxviTn+YoFxWunLRQqyvYHKAaVjzuAVpHZTXdRG91efKJIR4ulslUW3zx2YSMeIoYnyDahoMOUrkWdx6WOXvaSa2m4He5SU5YZQqjUtN47uUp3nt7S6Zzpqd8lKowMx1m/6hAqz4gNCKeJSo3PqjxxJN+mlWRVjLwheysLpZw+czMz3np9FRJj4+FXIyM2fj0k4zsPKYONAkSrbYU2sKbPeaho+g8uJ0h4BH1JS9nzie5f30bQ1gTggbtJqQOenz127OsLOVIH2Z58tIUGn1u3szI6tI3vrHA3whg26ibgRi6tZuykuaxmGT3UFWc7OYEBd7OkTgohX0cpRrcXmzgsik885QTv9fPtY8zxONWzp/z8+ZbKZ57bkIyAKplhc39IgsnI3S6fR7cq8tnmMXSkamoaqPL0IiAD/Yo1jvEPUJn56BU6uNydZmbj/DgXhGXRwzpB3z+SZXkjBPzoEOpOGB21iMPoufOR1h+kCaZDOIJmCk0mlg1u9wqhmIW3n07xbHjIUkqNinCzqKh9wUozoo36CafKVMp9Tj/xDBLS0e47X50RSNXahH1uiWkWFR2ag1d+p/DfjNTExGwiTpdhudfm+SDd1PyAPWd/2qKjXUBoxW63Q537xUZG3YzNROU/djpmQB/9cM9HCYYm7OTO+ziT9hROlaZYvAEbbz4WpK/+E9bHJt283ijyLnTw9y7n8boaiQnvTKBoVpEdUR0RE0MBiKSWUbvwcIZD2aziwcPU5JPY1NMtNoqTz0T4wd/s8FU0kRiNImq6zTKdbl4WN4pMxK2cFizMRo28/XnAvwvPzziP37WRrfCyVE7mTK4LBqPDjr82vMTqEEHf/HDZV46pvIffvxnGKFZentp2ptvocUCWKxJ6XCvrX+Me3iWvmsaq9mG0s7RLK7jCk6g9WvSzqA4hzC6Axy6UIM1sIXOYjh7DNoKNrsbxWEFV5iusMS0DqkeLuEffR7VapIAMuvQKEY5R+koRSe9jOofIn7159GyjzArbhqVfWgPMNopOj0dR3SEVjEnQczl+iEutwulIDgBdozAPLgXMNrL1DMreL2iXljF6x6jXk+htFvoNj+ucJx2Y492o0p4/lt0Nt/DsHrQLTFUo4onmkBrlOnUU1jt4zQbRRxuJ1p9D5M5wEAvoWNF9U9I4nqvdITJ4kHtDTD7nHgDMT5/44+xO8bYP9ynkq+SnJyhWG3IwcOg3yJT7EgNpkhclutZvJExnILvkz1kbO4MDprcuXMPxRAVmeMs37rNwuUzDA0luPvwHs9cvsTG5iaK1cPh9jbJ+KjkRVmcNnmmvXf/AQG/0HUGeP6F5/j08+sE3Q7W9o+Yn0hILadQKt++scLSrbtMzI9z/vgxJi+fwG/y0GuKz1mVjkhP6U4siTG6rSoBj0qnXcXqHqKeK3OwfoNQYhJfJEyvIUCgPVS/m4jdSa58xND4afK7D+lkdrGFpwiMTqG3Ggy0Jnpbxzl9iU6jR/PxDzB7wphjV9Dyewy6h3Io2dcthOMj9NtQax9itfSxOUMMzEHUXg+9c0jf6kV1JFDqVazeCN1eFpPJI9V+AoJoGtglY8DsGMFqdaBpBUyOAF2h3dSF2tEmBxPNWopAaIJ2+YjA6ae4/eABT774+3z7QhCTy6Cj67KbnvCZePdOkceHLX73FSu//Qtn+KvXd6Ta1qEYZItF5uaTPFwskgiqHF8IcP1zQfwPySWcsCs9vp/Dalc5Nhdk/zCPy+6Rhq2DoyJf/tocN67lmDsuBrjijKiRGPayu1WQvBTdMMkK7eZunW9+/SSffbJLvQNTkzaufVLmxVcSeIIO7t885NLlCGsrFdY3G1In3u92aTUMCnmNSFQkND3YbBqFQh9L3yA+6ZSVBa/bLpOlQh9XyDewqiqJYRcP7mU5fTbMxFSCt99cxbAqeGw2CfSNDTtlvXp3u8fP/+I826sVDtNF+kaHk/NJPvpok2jEw9zxMF6nmZ+8ucPsrJ+JCT+p7TKZcpdY1C6/dwXV/9wZh1wOX3k6yepaifmTHlYf1wi6bTg9CoFggLu3d5g5GSd7WKHRGRAOWunoKpmDOk63SjTikPBHnYFk3YiEyvKdFCfmoqTLdUaGQyzeTzE55ceiWnCHxWbLYH0tj8lmoV3R8IdVRhM+LHaFhw8KeFwuarUejoDOoKcS9Pox2brkjxpSw+4OmkjtVrEJ5lRdl6rE1L7ByJBYVllpNjtkCzamJhxopgatro3sTp2peTPaQFQoq6KJwvlLcbbWGzxYzvHyCwk2duoSAG0WgMWDCnPTQR6tFHA4HTx1OS4VwIt3U5w4HZa1jYWzQWrFLkMxL7fu53jly+PcvrbDS6/MoqDy0ad7NBpt5o/FqRZrpNId9L7CE1eDpNI9lL/59WHDZdWwue08flBkNOkkGPVw40aK6Qkvjb5OIurn8co+4yMBzCYzmjGgXGmxsV4jErVJCv0zTyd5/fVNpuZ8lPMdpqfiZLNVzE4XW6sHhGIKdlOUXqdBIGbFbNhZ2yxRrja4eH5Yepz1jkK91ub5V6dYWjxAMbxYLA0yaV1q70S36v6DA15+YZx8QRwy6hQyHSxOMyfmwqTSRVaXugxPm/G7vMyKaPpHWY4yLb76c5PcuV4iEFUZn/Ty8G5Own4mpz1SMTeUdIBJ440f5/jOr0xSytVY3SgzGFj58teT7K3VyBREB1JoJDpSv3GYLXG0X5Fe+lKhhdtnkjoqbSCSEUIr52GgmLFoVhrthny4pPeaPPXMEBsbIqIugBA26fP8/PMc557wEvI5yOV1jIH44Hbk5kWARhx2M4VsRwI4Zk4EcDsEOVhna6/K9LioNcAn7xaYP2GmInqfKYPnX0uysVVla6nMyKQTq0VsV1w8Xspz/skkqVSVBzcrjE64GB71yB6o2W7C5R5gEf5QRaFQ7dGudrA4DNKHTVwuJ76InUqmw/RMmJt3t/DbfDQGP9PkMXCw9GCXp54Zo9c2s7tblApEAREJxz1sbZWhY6ArBhefHebDn+5IAn7QL/rGPZpNCMXMVMpdpubCbK0UOXkuIqfDn316wKULCXTDQtBn4/7dFFaPQa/pIBob4A97ePwgLTfUbpdZxoAMxYLJ9DN93uhkkGjIzY9+tM7YuIdBR4D+TDS7GsGQhW7fik3t0moOcPosPF7McuxEBIvJTCZdJRL18/B+hnOnJ8kVCuRKHZxOpL6jWTfLKOcLL0+wv9tgcTnF6YUR4nGb5AhUK33CIVVYf+Tk8vSZAIcZQUC3srnXY2Lczvp2WbIbxAOrVm/S7ymyH5ocCuL0DFhbb5HPtxkdceFxDWh1LZj1Fl1dWCGQMd5yoc/5eRvbKbi3WmR+KiA7WPl6lVLFQtzn4s5GnQsLDi5HXSxnqowHBcUZ/vJGkc8OHYwn/dzfPsLl9jFs73N5IkSuWidbN5EqNKVhwO0wYVXM5Jo1PCJ10G/gGKjUNIN+24TTYZFqoEKzQ8BhkV3HybNTkvDs8PmJJyPUqlW0ARQLNWIj33patwAAIABJREFUUXYfCVdsmEJJUG6bhONhBlpfbsZF4sEQisWtPdS+wsx0kuWlVQI+j9yaHu5UJcOgr5dxOz0/o9mKeKFmMDIeR2t3eLhTpt3QWSso2PUup497+d1vP8XX/v63wGNnkK0ISQXNVJr9VEVSbtudDkrDwOQSILIJzHaFSjFPviy83A08/kkJYpm8/Cytwi6/+p3fQ3GbOHVmkrDZTVdTJdFV0Qa8/tY6AX+Tf/rPvocvOoxLd5LdXSI0OoXFZ+NP/vDf8XB9i2e+cJF6SgzqBuCPs7u+xuHjDENDAV798pM89b1/Qnf5U+qlCmabC2evy2BkmO7abfLlLO7IkIzTBi9dxW7pcu0v3+BXfuen5JoaCb+N6RGLBLNVygYDcemZDVEvdckUe4QSXsxRhUh4mEA0yPbGOrWjMtNz0zxe2WFmbopOr8bk+Dg33v4cowKpXpOpcIBkPMhmNke11OTlhSCphs6Prpc4Oe9iTPAbQha+cNzFXaGsOehJdsyleS/jIRdborpi2FjaaTOVdEiQnMNtxS+UmaoiPfXvflTm6vmIsETR79mIJBRufFaQ7t92RyReTJLHMmgPGAgdm0MkmWxkchWGxrxUi3UOMn1mxn08Ws0wM+OnVTVRzGh89VsRHjxsUMhXJXH99Z/s8+wLcWrNDjabTSaZPvsoLyG03/rOhFTAbW6V+MZXFihW69LPnKvqXHxyiMf3y5IW/YVXkhxkmtz+LCcp/WuLhww6NiIjDu7dz3LieFw+T2ZOuTg5G+eTjzPoA53oqFPq+NxWl6QU5/Jtcuk2ly7HJfywXhFwzCoXLw6xtl3gxEycVKbLg/tlLl6xYxORUUMcSGpUKzqBiIVMuieBokNJnWgwzic39nAMXCRHnNI0MzWnMp70YlUNbt2tyqji+TNBuXm4c7fB0GifvuHncKfCybMhYj4xyG/hFyaEXodaS8FrdRAbsaL0TNy6l0JTTbiEbtQCyTEPM5NxOeAWvINCrsvVqwn5PBODWLfPLtNUsWhARuvF8Fp0WXsd0LoGZquOYphYWW/yyitJqQF+//0Dzp4ZoafXqRU0TFYxXM4zOx3i9NkYb7yxTbOrMDVmJzaisrKskUqXePWFMRwOJ/t7Nanam5qw02qJn2EhLQwBtQYXTkc4yIgY5gTZzA718oCLlyfZ2cqhmiEleDo9k3RSO+wKdoeKy28ms9+VG8PnXx0ndVDD4zVLm8Dnn2bxBwb0uhZJF7/8bIzP3svR13Re/sIIjY6Fz6/tkBxzy8pipyqc0HZ8fpXFjao8RItVbzlVZlGz8qdvlQkHXcxIw06H/ZKVgCNIoXKANlC5uTLg4jF4+87f0S/uU77xDqo7SKPvIRgN0um6UdqbKOYgNluPVjmHVt/HHptCdZ4ApY3WLdAsVnD5Y5hteQwtiCU4xaC8g64Lm4eCZvOQXn+IU4BgR09J20og4MPvSfLX3/8/JLtofm4Cm99FZOgUWjvL0q2P2NnIcvXZ54mFLfiSx+S5wuG2YFgiqKpOce02aiCKo1KhOajSVhKY/UmM/Co2W4e+GsTqSWIz9WmVC/TNqrQT6cKp7TRj6vTRrENQXcfsS9IRALnyHmaXG7NvWEb/i6lVrDSxJ59FqT3CsAxh9ItolT28iZN0bQm65cfYDRW8CWkwMBkWNFsQh00sVrwoA4NMfo9evUy725Uqv36ugsNhZ3VrmdkTV+k109z57AbRoWMcPz6PPxym38rgCkRJb6/iH7/IzuNl3nvvbc5evoTH6eTugyWmRqM8XHrE/MkzdHplLCYnu/tbvPLS13i4eJtQLEollWJiaoQ71++TyVaZnp/l9PmzZFO7lGoddrY2qKar/Mbv/SYf3fycW588wKL3mJgf5fHdbewOK68+f1W+hulOiZDbI6Pi2ZzQ1BpE/T5iw36ONrYlhV81t9lYy5EMC8NXkq998+cwOx2YRS2kqeNIHKe2/xk2bwK720q7eIjeD9PtpvCPzaL2XRwsvUn0xIt0NR29uo3S79AzWzBaeVyuMRqp+7jHn2NgtdHZeQ/F5cXiHEERAwVTjUahiN+TQHPO0Nz/KaFjX6bda2BSmuj7OwxMNUz+CZRWTgQZ6Tmn8LkC1A+uYfYPYbLZcUxdxKrlGT77DwibnHzz5TF6uonrSwfMRk0cljQeF2HCbPBHvzzKQWGfAQH21nPYPAaXL81zb3kXm1VUE/scHNZJDAuThUYgKpZKeSbGgrTaCpVmCYc4I7ebUkcutH+mgQOne4ChD/B6PXS1Bs2ySRLoe5rQete5/HSAe7fKEtLdKLU5ed7Lh28LWHOfC5fGOEi1+OTdHN/4zrhkTIRCouY3oNcxsNi6VHI9mj2DiWN2LIrKzU9LzJ92o/cMdrdbTE172D7soLc6zM0H2d4pc+b0ONc+2uXYvItcro1qVqWJwDSwEIyJXrtI0dh4+CDFiy9O8O4725x/Moyim3j37V2++MVjrK4VuHWzzK/9w2ke3S/L1HQi4WFYJIV3asSjNpmWGh73ybpzrWTgsBlSk1eu96SyeGbex+5qiUDIwsZaE3/ISnTIy/rDLIrFQjAyYHujz2tfmJDLqPUNUa2qMHMsLk1aek/HHRNVFQt7eyWsqpOB3qWQqzF7KkC7YZPmu+/+6gmuv7/N3lGLZNIta2JikFkvgzOgsL3d5QuvJXnzjR0iIYOpqSA7OxUcTqHeE0wyQy4bz1z20mqqLN8vkBxzojU1OTj0BlSZ2Hu0tk+n1ZcLj1DAwsnzfrnEW1rp8uLzbtptMwe78MIXfPK9+skn+0xPO9BUC6vLWUIBt2Tpidr56IhfLgHL5Rb7e025SD59xsfWZg+bXSM2HGBtsShNPs88NcRn1/Js7lb5zneOs7tdoqO1mJiOcrhVR/nJr08aY6NO3n1rlZ/7+ikKNRHXsLCydkA+N8BqszM95pVO5GZVZf9ARCNUHGYb6XKHSNiKJijxETuHqRaRqJlcvsFIzEWtb6WSzxIP+6XyRwSKFx/mmZ0XYJ0S2sCGYSApuZlsgbHJMW5c25JAtmeuzlCpNWm3dRldOdxpsHdUkb5u1RgQiqo0O6o8oAyPOOUk9NYHRzz5/AzVeoN0psLUeIBHS2k6TTMmu05EuIxDdtYXq1isNk6eCqMNqmj6gH7XgWrtUcgOcAUcuGzW/5ek9wySK0vP9J6b7qb3pipNeYMyAAq20WjvZzh+hhzOiNygnV2tdrVUTCg2giGGREVIP5YhBblaLkdi0KxIkRpxOBzvenq6G41ueFtAAeV9VlZ6e/OmvSme07+BHwVk5b3nfN/7Pg/dXpWj/RbzJ4O0dSuZ4xIjkx72NsWX3cXVXxxx5kJI9ukdDhv/9O0VXntjhuODY/bTOsGIW/qMd/cKDEcDrK6mcTv9RON9skcdVIvgKIhuuuin9GlUVUyqgcMplGcWrEKvY7WxuVFiJKmSGHPTbZm5c2sPXYfnnkuSSYstvZdKpUQoECQ65ObO7W0iMb/szCydj7N8IycBUrsbdc6eG6Ld1/neP6ZlBP4Ln5/hycq+7NXWqzX6hoFfwP7qTVLjEdYeFDj7bBir3cnjm1vEp1wc7PXk5drt/VjJN38yidVS52BXo1gWvSUPlVIVm0PEwQzcqgNfxMFxtoRqEk1gC4ZJITXi5taVI37tt8+QLVR5cv+ArtnMxGSQ/HETp6oKfonsWVYKbSq1NtPTIlLUkYAUq7dHKh7g/t2i/FIIh/PdO0ekRh0MRX0yFnr3YQa/x06u1Ob67SZvvuQgGHARGxZwRAHHM6hofXJHFeragDNnwoyMePjovTRjU1FqWlVOr597QSgYS2SPyniDNqknOXt+ghsf7tBoKni80NDarN3X+Opvz4PS4ub1AguLYVoNnY3NOp2BSao3JgW5tNQlHPPQaYv0TV/aN+anfXi8Vh4t16hpFdwelwTbrWeask8morSxqJVgUKHTFW7eDopiZadY5RMXk3zrnR1Uq5PJuEG5JiKqdpm+OT/pZuuwyfaRzuvnnRyVDPI5CPsMeoaNnk08fCqkogYBr4uNozrvZR2E7FZWs012Kibc3gELUVWof+V3ctLvQmtpDBx2CToRDzChe9S6BspAwWr6uI8voGv2roHJ4eXJ4yOSIR/Heo221SaBhzNzCerdHlNTKa5fWcYfVgkEQty/tcrl505xeJjD6nLSbdaJDQVoCLNIvkSnWSM2NIxoqzlsBrn0EfkNHUfAgaU/kKmFeMTPRvoYh0VB7yhozSaq04fTbKFsaBwctqnVDBR1wETEx6996QQvjfu5+JkXsHrdlNd3cIbGSK/d49FHd7n0yS/Qa9vQtQyaoGX3HQwlhlG6CleuvsflNy+QnLrEf/pf/pi//tZdvvjpedxOF2ubB/JiMHd2nGvXHtKoGvzZf/g0z3z192g8uMrG5jr/7z/8nFq3xezsKI6BCW/Ax7UH2yj9JnG3h+EhO7/5P/0nmVZqHN+lU9WwmtrQs9FulXEHRinmS9jtPYJTZzAlXNz8iz/ny//+F1S7A85dGsOo93BZOuTrTdlRVC1C8VZgUG+zlTPwJxy8+MYsVamUyRJyeHjxM8/x/k+ucLBT5uLl03RqRQ62hdXEILNaxh+yEHC5eHgoeuombGqPUZ+P1ZxQBcKZhJl//VqEWjHPQU2h0ezi8LhptjucGVZRvX1+8E6HsZSF8WGoNm3kyhrJoMp2psVMys7dh01SUVVWkwZWDxur+4SCTibHkqSPshyla8xMujksQ0dr0Wq2SaaiMt7/dK1MMOjglZeSfHBln2JF49y5FLrWZmIuyt5mWjp09486vPTyMOViF4/DQafXIZ9rYbUZdMSl3Odla7tEcjTAhQvD7OxprD7a4/TZOO/+PEez0eLsRT8PHhZJJkViTWF0ys/mRgWH6pDwzbGZqDxg7G6VicQCOEN9br1fYG4+iqa3uHOzzOXnfVIVVCtZWF07lENWwSu5dy/H+XNu1p7UpF6zUNKYn4tKLa/FXCcaDfHzK2kW5wJMj4VktFFAC7vNDtFhFbPdwcrDIvOLojqRx+428/qrIzx4mCYcNnNwOKDRghfOB9jdaZKtNYj6POyka8xPOal3uoS8Xo6zLdptndFkkLffzfDSi+LdrbMwE6LXa6D3FMnsqWttmRwTz6qNjS7lZguTpc9ozAFWL9s7BWJRi1QemW02WbuzW80SBhoJ2qkUmzS7VlIJD51uFRt2zC6bBBOGvZArd8gXOoyNOLFa7PLyJfRwxsCEpnUZm7Dw4x/n+fwXUmQPBQG8jWpTyGTbFNJiMw+p8SDZXJdhYT3oaZycSvCt7z9hIhXm1TdC/N1fr+MOiYuuU3JLjF6b7X2NqNtBasFBYV+TkK2ZxSDbBw0ONnRsjh6JREAmD4oNneGYn6GEk3JZ2Dos8v/HExCbyC52q4XZ+SAPHuV45/0iv/7Lw2hNJ42yeA/ruL1u7uw2iFsVnl0IsVEo8KfvtThuitRjHCWTxRNwc6D1yGZrvHk6hh7w8lff2mJpUuX69T9DGdjI3ryGo5el7fLgGHkOJbNO3+7FKLfpmQUYzYs5vkCv2aBbWMPiDNA9vI1JXLDdPvp6AZNvUjrsBZjUKO+ROPkSO+u7fPT2T/CF7RiGmaNSmYPHB/zq177M3vaOZInYbG7M1j6+wMd/J+hLoOtl1jee4ug5iY1HGJ88xZV3vkd8YoLT51/k2s+/zfPPnsMXmsITdGFPTGHpOdC1At3qOvWDfRxDi4j1sUKRfs8kGRCa0cViC+Hoa5SzawSnv0i39IhWdR/X0CmahU16Awve0ARaaZNet47HOymTVGSu03X4sAXPU3369ziGLqD6opJ7YAmP0anuMcjew5l8Hd3oMOg0sPum6RfWcQbNWEwhWtYoA6NCv7CM6hvBNHSadvq+7LO7EhcZCGbK3l0M0wCjXqNnNvBFzmBxKRw9uoJzaJat9dvcf/82w9NnyB4f4PMGsQxUDvbX8QQDTJ2YJp3OcLS3weXX3qKULqGoPQ4Ojlk6/xIPrr0jq0M2uwOfx8mZi8/zn//4P9Lv1lg69xIWl5lyusr0/BQ/+d63mLp4jtnRBA/vP6VSqaKqHrR6CafLycTkJD/5zjvEEyO88uYLbD18wE7ugK/8i9/FZOrw03/6LhMzM9hNKt//2Y+4eO4cVrNQNOuU8nX8Lj/+qJvrv3ifoVSEucXLVHOrDHoNTj3zGbw+G1ZXiH6rSbe6imvyJcyKVyYH9No2g/qRjEm7gvMo4SW66Q/o6hnMwWksnQqGewxK2xhmE2ZnDBsD6qUHuIcv0emqdOoruKyi6mRCCS9iqWzQOnyMJzGP49wlTo7/KomYDZ/bT7vbweM3kReayUSA9UoLLdfhR/9djCfrOo9Wyvz6V8Z58rTMxkGX4YCFukQuukikzMTjEW7c2ZdbdNHjL+V0zp+PYnf5uPHhFsNxL1qzSzzplsC8fKbF5AkPt68UGBq14Q86sfUhnRPV1AFOmwOzmF5YzaytFIklVQyli1ZU/pndM8qH729gcVhkVdPnFiyuPia6kl9kFnF6v0p02MXRYYWjwz5+v4mRsTD5ShGbYqWnqIQDZq5f22c4JmqSMY4OSpTLBnOzER6vZVGdJhJxF6Vsk7pmcOm5JMuPPuYbiAGA0EvXSl1ef2OWnd0jMjmNuUk/itXEg+UqFqXF2TNxqlWNncOWTLEZ3QETEx7293UWFn1kjlrMzgXkUHR/GzRNDJgTH19UW01mZ4KsrosEcw+fT8XqstDVBZdIITkilmperolI+1yEaqFFYtIh7XG7e2W87gCLJz2YzVbu3DrEbjfjcLtITtkZdKzcurHF6y9N808/2JBn7djQAK/Dx6DfwRewChsrqw/yhGIq7Z5CKdfh8itJrr5/yNxMlNlFN+1ml5UnVVYeFPnCVwWAviN5Bp/5nACRNrj2YZ7I0ACHJYDW6zI65uLm1SNCURenF5P84he7zJx00KyIGn6NcZGmP+xKkP6ZeT+37+flMvPchZAcmh8c6ZKzJqohL72YIJfXeHQvLxBEnL4Q5/aNAv6AhR59oiGLBEF+6rMpCVoUy68PPtqn3+pJtkImV0X5+9+KDqZGhC5hH6tJdFWG6LYaZA5qjE6GJNjjw2u7TE56efq4zonFCKkRJzc+PGRgsTGS9FE4qmO2K/iDdtqNNqpTpV5rEh8J4PFY2djIye3C2pMKTreC2++QLwNxYcsc1rGYBxQrPUkcN5QOAa8Tn9fBk7Wc8D5IrUfAJxRj4vLv5HC/LFUGr76xyA+/94RQxEl6Tyc+ZiEWc9DR7BK2Iw4UbjssnBvh/t0cqw8znL0cltOsgWHH4qyyvSJqDFYaelfS2OdmIqxulOQWeHbMyc5+g3jCjTvg5L23tzh/ZhRNeCVV4fA0SzhUXWxLLgyzupljYjxCLl3A7LKw9kRsINsMx6xceHaUn/10R07Ivv3NZaanAljdBptrTWoFnRffHGFvtyT76SI6kz4UblkrrU6dU/MJrl3PEg7bOL04xKMnWeqVFifPBOV0zDB04slhuf3odpGxwYHFJH2V+7s6dl+HpaWUPHgKv/zpMxGOy1VMhoXJsRC/+MUaQxEvFqedntagVDSRKZY5ezZOs9LFZO6SzmnMjqVkRePRw31CYZd0IIdiJm7frMreTTAcplzKER0KYberOO1mLA4z//DNp0ymfGDt84k3Zrh1PUNeaxCLOqTKrlrNkMtZiQ/bcfgMWnUHzaouuy+iG41hw+E2IWwuIiESDjsZdG0sPziUaRIBXslViwz7Q+h9nY3VNtNzblkB0Gs9Xvt8ih2xha8KREpP6pQq4oDqshOL9tnY6nHqpJdkIsLNa7u4fTZKJZ3RUcF6gHqxy9iUm0qlK8mtOAbsr2u0dIWTJ71SvVVr1AhHh1hZ3iU1EpPplKBfkYOmhqYwe1Jshwayr1QqVHm6Jsy+FhmnmpsULIE+qsODP2glU25wen6Yu7e28XjtKIpCImyn0zdYP2pwvF1jfiEg1T3rq2IjZcPl6JMrt0kl7ezsdUkMOxiOqhSrImrVlN3OpfmQJCOLfnRRU3B7zTgVheV0lfOLfs6G/awcHpOr6XzxVIoqff73dyvYTH0Oa12Oaw52yyIO1iNgVegpBuMhO26Xmf2CjtVsIOCs7Vof1WowMRZn57iMx6XgdtrZO6jIaFe7JqJ6DhlLM1ndMu3RMrUID4dxBT04Iq6P4WaGQbdQkxPnQq5OOBpCK9UJRKNyA3pyfpLb99c+3sC53LTqogJiI3dQolXXqBZ72DwuatU2k1Oif9XH2VHoWJHbxmQsSkNYFlSF+6tlaY5omawM2zp84aUEX/uXb7J0+hTE4/S1iGQ0tNIrZB7fQHV5iU8tUdhfo9NsEJ5Y4Mff/Hs+//nXIRTlC5/+OukSvPnSNCdOJTna3JMe4Eyjg9nqxFJt8PXf+2XOfumrfOO//XVQY7QVyGUO+fJnv8Jefpdvf+c2n3xmjNMvzHPi5Kfodo85fnwDs8eHJ36O6u6H+JPjOM0xDteuEhJprLOfpH3c5Df+1df57rUWEVeL2SkPTtVKy7DLjaNJb8itTbPcoql0iafi2MNmQr4AxbqG0hrQ7DSoCTWqzcXFl2fYeLTLwGxFPyxwvCvgZ03OLk3wcG2XiUgQq61NNdcmIza2A4MTYROvLXkpHxUpFC10FDupYQU3Ol6rjVy/x3DAS7napKEr1Go9PA6FibiJXEP0qcX2t4Xf6qKga0SDfl5/foTv/WAdp9+CWxw+hFWh3mFsfIi+tcvy/ZKkCA8PeeSBrte2cHiUZ3E2hMdvY3tTkPjdjM1Y2HlSJ1/SUExWXv3ENP/PXz7h1IIDj9fJR9dzvPxygp29ImMTLrbWaphMYghmp5Sv4nKr9Ls2ogkrwzGv3AqLtbDFYpGx2rnFMDce5Fh/qsmD1+c+OclH19MMema5WXEIFZBh4x+/fcTnPhuhkG/i8CkE/E4eLWsobZF+EC5gJ+tPq5gt4rsU4eTJEP/43R3iKZVowITesFAstanqTVqawtnFEC16hL0+tvcy9A0rq5tlRuIBkqM2dvdLEqIpNHniIvRkJUtDt/HMkou7K2UiHmEU6NC22Jkd95I/zlGs9KUFZfOgQ2pIZWrS8zGMKO4kMeLjMF0lXzTw2AQEyiQ34YLNEYt4EYpzTe/h9cGH96sMedw4nAO5NRdLhHbTRK2pU8rCmdMBWXXbPywxPRuir/fY2m1RFGrTUTN+1StTFV367G7p0hzwxV8Z4fovjim3urz8bFRAocke1EjneySSAZaXDzk7F6Hdg2ymTjwuFKyGPCQb5gEOq5v9dE7yETx+lVNzEfYzOU5MznDj9jo+l6g6dTnKGMzOmQkHRBxzn9GxsOABy3PLo+VjPIGQtPNEIiZy+3XmT8UplnQUi2C36Iwkg9R1Tfq6zyxGqWoahWKXr3x5gkxaI5tvyWHN/AnBGKlx+0mbtz4RYmVdp1kr8JuXJ7iZa/Fvv1niZMJBwGkwaPexh70SDiXqVaJnvH/Q5oPVKl9908d/+dm3aK9cp/rg+7inP0vHLJS9B3QKV8EaxD16GeNghW6rjNluwuwZo2e2Yeop9LQtLO0u1qElOq0C3bYNTyzJ0yt/gdU3IcGXfZfK8o0HNIoVLn/yl3DZ3Lz38++SGp9AdQbYXF5m9sJZfHaxgdtlZHSK7HFaLBNpFKpcePVlNnc3aObLJONDNFs6609EYqOM3RliKDZEr92iXtxiau4sbbuZ5y5dxB5YpLhxHZtb0K27mNvHWATsdODHqOzTbVdwjr6I0i9I1pMyMGQSTXGoOGwBaNYw3AqWLrTKabm57uolzN4kVq8YyJvo7v4MNfksfYsNdWDD6vBKnlGrsg22hEwaZNeu4p+7JJkxQi1Z2LpFIDGDxdKHgWAxNbE5PJjMMVr5d2gPbDgi09j6bSqFOnaPW2D16BkVbBjgmsZmadAp5qSTPF9p8LOffsT62jqp6RTxcIRmU5dsgSf3l5meWcBkGfDg4SOmpyfIpgX4bCBZWSOzp1l+cBdLv8vU5CRDk/Nsrq+jmnU80TBHGwe0DBNDATcji1N89O6HhCNxIpEIDb1MKBRgdGiUnY2nrG8fMX92Wg6YtEqei5cv0q3DBx9eITk9Q0QVabIuP/jpdV575UWK5Sw+j4datYTWN5gaOUWrkaer9Nl+usXZi+PYegFOXHoWLX2fwFACZ/wSJm0PvbkvTvtYPHM0Dq9gbtSxjT2HxSjRMbslPFucucVmtZkT74EJrO6BTN7ZQ4vSaNTcuYI1tiBj/6bIKLo2wNnaw2Qf0Ml3Ufx9/LMv89f/4ff51//bIb/9VoD17UM6ihe9p3F+zM1WRmPt0Maf/IsEr8/0+OMfH6AOHCzMCGCona2DPiNhkQo0YVEE7kzh/IUUP/y7bQJJwTSz0266OMoVsNAlGI7KdFpTL3H3nhikqkSTZlwOFdVsolrXpedeDA5v3txlbDTI8uMy588Oy2EZdjtemyqfUflcDb9bpJeqOANmJkaDtFo9GnqPblMsiTRCMS8rj/K0an1GxgW3ZSATxB6nSkUzEw4pNDUNvWHG7euhqj4erewyNhaWdeDQELLy6fbYaWoinRrg7Z/vEnCrmNUBbq9IeAoafo/5pRi3r+3KTfv8YpSjvTqxcQ8WGrR7YlifZmw8KJkDH13dZnw8Qqct9MIfU/v3jurMzQYkX0kkei89H5ODi/d/msZitXPqjBfQWdtsUsr1SI4J85SfRqPKwhkfxxlDgqhTw1beff+IZMJONteW76ficVtydoIhn6wqPPfKKNu7VaqFGtGoiOZbqeW6NFodRsfsTJ2IcPX9PRTFJocv924X+cqvT8oztqgd59JdObSwWuDGtWMmRj1ywy86Bz/7yRG/9NlxTJYm2d0u4biPD36+y+lnoqw9KjE946Ok6cREh1sRsH1t8Kj1AAAgAElEQVQXB+sNcoUik7Mj3H+QYSho5oWXJvjbv3nCxct+9IaNQlFjIFLDph4ur+AgiOFNn1LGwO61cvnyCCsraZYfl4gEByRjYTpNGB11s31Yp9PVZaJE6TmxWKoUqgMuXRgiV9CplPsoN/7HhUG6kMaBys5OlVx+wFDcYGIiRrEg4GQe9K6CedDk8KAFfTN10XOcdTI5meTJwwNJHvT5HKw8aXL2QkBu3t97d1+67X1uhzQDzJ4KUjouoOkqPtHl11oMDXtY3dZwqQM29jTiMfAHwug1TdKUy1Udq22AVmiTr+j4fV65TRmZMlM4HtDUy1hVBwf7outtxe8WSiEDpa8DhoyWaL0O1SK88sk4+YMmj5/WmFvwSpNAZq+Px9fn5u0ciWEnFpODRrnB2IwqVTXCPT+WdHLrbk5O8M0mm+xv2p12CQZ6eKdCYNjKUNjG7mGZoUgIm33A0YHO5IKLGx9miQ/ZOXdugr3dPMsPcpw8G5Jb7e5AoaObqJdapEZdsl/r8fjY3asSCbix2rvoXRMhv12SK8VUUWzErVYDv19EoxvUawO8IQebaznmRSVhL0eh0GNC9MT9ZmwD2D/U5NRx0O/TasDRYQ2f38rUbILHj7Zx+13ypdczddCLOqmpMEfbNV58c5S1+wWcAYfsm4nNhkh2TE0lqJSr1Cp96Qu1W4S+riBZBuLhPGjrsoMViStsrrapVVtMLYbp603qtRaqyynJr1rDwOv3fAx69KoYFrF9DvDB+ztMjYVo9toEPT3KRQd254BYwiZBUHaLnfW1DOGEC6fNIx3PfaVLbMiLUxWNbQdbW8ekRlzkq10JaXr9E9M0q5rs3XdN0Gn1mJ0J8eBeRm7I3/hEkgd3ixSyNc49IyJFYqp2hMPtJx73cnSYYzju4iDdoF4ZsHAqyoNbeV54dYjUuJ333tnG4QxRLVV59vkR9rfLsmcqIFhjM272N7Kyf1hMV0mMRrD0ddbWyzz71jhaoUr22KBRbvLyp0a5dr3Iz39S4oufC3B6KcHqRhql75QDlg+vFuRmbTjiwx/u0WiYsDkHuO0Ortw8kD9ryGZit9LEosLVK7oktr71Qoq1/X2MvgVNt5ErlAlG7UwFbVQNOE7X5PetWjVoGnCUN7g05aFYLWNpdHnzxXG+fT0tLRijUxF+/CDPO49N1F0OLFaDfkd8piXeOJmQ/w6nqUez36egGzRELz8kQE4CWNjHaIpnih+Tw4xJbPG0DkqnQ6/vYDtbJRlzylRPKBFEM3SCsWGm5+LcureCzSkgjB6CbmFKKJDdS+MNeHCpdjmUE0BEu9eJzW3F4bBQOazRqmjs7pZlxaJ81GDgtBIK++lWBN6uw9p2g0//0hRmxcXyo1UioRgbeZ2dTANNa+NX4KVzPt58fpLPv3mJyOQIzcwhbd0i+2f7exUq+SYj52bpVhu8/+5VvvyVL8kqzZ/+H3/J3317RXIovv67b/GDnz7A4guglY/otrs0C3VpXvjqV55HMQljR1EOO8utfbZWynzuS89w9twFhsan6VYatJpHOBUvjXYLeyRGc/uGBCwJr7r33BStY40//7M/53/+y2WaAxMvTHqw+lV21/P4oi6SCQ+PnzToN+qoPgtDsShm1SA8EafTbuG0OFh9siE3quHhIMFwgMLegWRW9Ktt9p4ekyu0GIn7cbk7tITj3eSQAFRH0EJTt7Jb6fLlRSdvnLBQqOosr+mkok6mR/hYMdS2Muj1GIupUiuXzZlYWLCwudeUetVKocYbr0+ytVuldlTlxRdT2IMDbt4ts/OkxuyCm8WFBMd7DdqGhslsY2Haz3e+vcrITBC3w0671sYdtrC7UeOZ5ydk7cgmDAErR5w7M8zufl0qX8MxkVAyMTTkwKQYtPsGbU2oQ6s4fWH8Lni6WpWxypdfjPHwcYn50xH5mXtsVskw2d3KMjWZlMPz9a0DpqaTrDzOEEu4iAwFONorSH1QwOvB4xMR8xq7MkXnY3ZCpd+xks438brcTE0NuHlLkwTo554XpOK2jLoL+0K9ViMQttDWRfZiwJlzIZbvFHC6LOQLXQmdmhhzcPtmgUvPxmWM1+kQmsMBu1sl9rNNxpIBfF4ByVPZ2dZJl8py+z0/G+LJQ2He+NgrvL3f5pmzQ9x7cCQPjx6PKpWp40k7essmu/Y+b5d0vo/FbGJhPsDhQYNu34LVNGBsykSjrmAYfd5+t8rCnF0O+4f+2XX+9s9zfOqX4mSzdTptQyq6MscNTp30cPVakXjYT2LMK/kvDg/cv11i8XyQ9F6TbqtND+i2+5xYHJaqyNXNAnavH9Xc58oHBV5+dZhCpky/P0DvKwyFbOwdNLi4FJHVpXffS/OJN0ZIHwsmhWAdtXF7PGiaTrHwsXFocSnIjdtZ6WYP+M14/X4ymbI0iYxO2kiNOXn/x8cMjakcHpXI7BokRqxcuJDi0YMC/pCTg1yZly9MsHOU5fGjAifnwhgW2N1pEA6KIYSdre2OTEGcPu3h/qMyqtnDcMrMrWt55pe8LI36ZDrij75d51v7OZZCKm8sDPO0qJE/KtNXzfSwErJ1CQ1N843vPeQv/vAiv/MH/57ajY8YNBuYg3HJTxKgPqvRRy83ccWHaStxio+/gSc0jRq9BOLiWtvDZJjR2wNsjj4mEbs2BvKiWc49lQpcp/skD6//iMPiAeHoJI9W7tAzupw6fQ6ryS4B0k+2dqlVMmQOjkiMnGPxVJTrV+8TGxmj2S5TygqdtB+tkgWbg0b+mBNLZ2loZQ53MkzPzxFLJKmXjwiGEqzce4SWT1PuNDi1OMOLr32a8PRZekaPxvEBfS2PXj3ENXqOQV3DKpzb+3cx++JYRUogPCuVmnQEm+iAvqD6O8bp1LdRFBMmVxC7PS65GG6rLlkzNn8Ae2yJXmUbfe1HmH1RnJOfolM9hvIafUcYs9DVBWYZqF5auXXsvSIEE+hdN4NmWeoFzcnTODp1qdEzKTGaQuVntmDvqQx8Udq1PVp9t3Te241tBu4Upp6dVvY+du8Qh4eb6HoDszKg1e5znCtgUlTsbg9ua5/1jVWeefmTDHrIJNz+3jGRoJNaNUNq4RUJ0Ht46x63PrjPK2++iT82zN/81V8wNTLM4sXTVGoKUyNJ3n7vqkxXbm8d0G8MmJ6bw+hqlGplEvExctk0WxsHzCyeZnJ8iO2DHcEWpdHT8bndvPja83xw5QrNapvh0RO89/YPOLW0RLNeJZ6IgMlgc3WP0alZYrG4hPrGE0OY1CDVwgpOq59G5g4m2xC9fg9fbIq+1QdGnW51j241g2f801KJXN27gt0RxRDwSlXF4juFxcjSUoZweUbola9K/oMtdIm+0cMbHaJdM+j2j3DPvEX98F1Sl/+QV5dsLMZHcdgHrCwf03OYUMUQvtzjqxejvDLt4sM7B/TtNqlePDebYH2rIG1XwjBSqmmE4n6uvn/M6fNBKmWdXK7D7IwXOxZWdzKcWRpnfTVDOKQyUBwUSiXGx/zs7VXwO8U4vInX6cUbsHL9gxwvv5SiWM/x7k+qnFjy4DCbpeGmVNQJR4JyM37mmThOu0H2sIPZ1+XmO1WCMTvPPReXake318n95bKEyu2uZ+WSaWwyws07BwR9Cod7bTotE6dPO2m3DdJHhmS9VCsNmuLymLTJZWBLM9HSNfLlJl/8lUXee3tHgiGFn76ntNEbPeIJD+trGgunBIivjMftpFasUm0YPPfsCIcHIn6v4k8o3LyS58JzI2yuZmWCz2o10e1aWN/cJx734bL3Jeej0xTLZKuszzUyHRJTonKjsLaVZXYyitOt8uBmGotDAIIFu86Jx6dKG0xy2C8ZC4m4F6tqJ7MnkmdmnL4GgYCHe9ePcXqE4UKTSvjl5TyvvTwkbTSVokEhr0k7WCCgytqxw6pQr3SwuU0UK8J41Cc15qVSbtBsdGm1LMSGzVgsVh48qHDpUhzVbmLvsMjCiRjXru5z+twQtz7YY2o6jmrrsr2rkRz3ihw0ZrsqdbmBmEdywsamBWCxglMkHoIiTWJIrazb5ZYJ63y+iNfnkX8mBkk3bgqV/YCRSQEe7jA25aRcKDCwuGRK2mQoUq++vN7g3Dkfk1N+jnebFModvIL39cN/Ex3UKtDpGFx6McL2eoG97R5WS5eCmBAMesTiLob+mSQb8bm4fiOLN+AmkXCwvlaTEXezDZoVTXbXXIEA+zt7MoJttds4zgoaLpRLPZ55Ns6Pf7TF5z4zLfv2d+5mUG1W3vjEKHsbDQ6OarJTKEBB9+8U8bkcOJwWzl8e4dr7T0mnO9IkUDrq0tDb0m9/8UIcvaWjN3Qyxy0isSgTUy5++v0NFhYS+MIOTPS4cXufkydCFAttuQX1+Bwc7wvd3QB3wMLEqIjotHi6onP6VEwe7g92qjJ2f/eGiMkJRZIHTxjShwP6LeFNbmNXzbg8Hgn/E50Lj8dEq2nD6eoRH4rS6OhSi2GzW5mbipE+qtLr9bh/JytfSosnA3QNMztrdSanHORKdTxuD/2OIcFMwbiXp/cyfOrT49y8kZOKkoDbjC9qoVW3Ybeb8AUVNrfrDIVdjE66+fDdHMlR0R9UyWV1xqf8LN9Py4O8027BoVrY361KNZ+IEYnNYTLupFM3U27VeXC3wgsvhei17VQqNS49N8F+ukp6q4DDo5I/bqCYxQM8gMnckgyI/R2NxKg45LZ4cFNEQQfyszQUWFqKUi63yeY09p9oTJ8KYxo0qAlWQakvf6aZOT9tvcPuRpEzz46xuZ0m4AuSiKusruRoN830FKFUQXaEhPJLRKlEj6qY70kFltap0azY+NRnUrz3XpZgsM/CmQDX3xWUbIiHzVhsNpqtPgMxDbcLw0CFCy94qNfFr+SAfFWHXo9IOCAfpnXNzOionWJe8A98PF3J8PJrKQk27Bpt8lkzbU1chHoyghoJi0uUzlufj/OT72wQHw3jcxlsrFWZmRVxphrNdovR4QijM4IOWsUfCtFsdthcz3DyVJyhhIeVBwWy+TIWh5+Lp4KsrqUZmFXG4jA8GuHKlTRPnjY5tegilfLS0wc0WwrRlJm9zRrT00FUZcDPbu4Rc/hZL7ZQ+x0SKT+mVgfFbcNmEswDEaIf8HC7xKkTfjLHNSptlU6zx9yIj4N0VjpOKx07zy+pKM06hhLkzlqGhWmVoEPl9nqVn+/Y2a5Cu9ciFPaitzSsHTOxgEV2gLWGjifoptFoky12JVMi4rLLmpA4hIecZrweL4VqHk2IClxQqHXlodlmtaP6XPI544l60Kp1emYLyckUhZ0MzoAXj9NOeueIZrNFaiSOVUE++K2qBa3Roms4efj+fSwCaFgcMBRScHjtDLoDRpIhVg+PGAuEJWjse9+/xdx8Ak0zuLuew9o2U9UMmoqZ1885eW46wa/97ltEkknqxTXc7gmK+S6d8j7dvh2b34U1lyP4/GfYefA+X/uX/5HzZxJk8g2WFuIUqgVMFh9Bd5iD4z0mxsPYen1SiWk+/btf4A+/9nWpffsf/uJPMA7SdAoFDMEu7pnA7cJumaLT2aBXq+NIDOMZ9fPw7Tu89Vt/Lqsfp2Z8eO0GhrmLzemnmK+Qio2TzmzjcrpJjIRl5Wb2goAhaXKTvvx4j4WzU9DvoteFgjMsazLbdzd4fCsj4/3JmBnVbqfahGp/QMJvIeC08O5WDbfVwkKwxeemHLjtNt5+UmHYa2MqGaBeFnWnFv6gj+1iFY/ZhFUxqLf6xBNO7tyqE/CaOXc+SLkx4MHtEjNjCouLcVT/gP/8f+7y/MkYoZEex3tQrmnyMz1xIobeVigUsixMRZkUcerlPKbugN29CvPnkoTddj58d00EyTh9ZhKbU+cH/5jh878ieA496QV+vJynpcErb6QkZDQ4FObJ+g7DwQDOoIn0VpVnnp1gezPDxnabQb8lv8s7m3UmZ+O89/4OoaCA3gmdlUJwyI7bLC7fDtbWj+j0+7z8ygiP7+TZP2gwNOykzYDRES+5wzrZnI4/qHKwU5feZwGDFGBPq1VHGTjl9tHhhlK1i9Kz0m/1qWg9CjmNM2f8eD02ymWxdfCidA06AtDZNFPJ13CHxGFGbOYdbG/WpabPrBjsHlaZGHVTrnXl+35+TmyY7BykdZLDVtZWK9LhbVZh0DEIRwek0+D2qfJCuf20yNTJBG6HlWKuhqL0CQ9ZOdgXCRcz1VKPdlPn5DOjNIol7t7XUZ0dmSSs5NuYVBWj3cDlsZLJdpmddFOt90lnPtYCC7Xw/eUawxFhR7CR3m4Tn/biEdTvbpuddFWmMmyGIiPQYwJ+e09wOiz0zHXOzKZYflrCrir4Y4JDVEardIhE7YzErdxYbhAN25ifixAKO2VsU6vpkgg9NuPC71TlM79SVUmmYCgZ5Mfff0owGKJcb0p41syJgBw8fv6Lk/x/f7tKMumREc6jTI0PP8jz5qtD8kD3o+9uSqBvKhZheT3LRNJFoajLOGcgbCPid0nd1+panbZqZTKmsjjmRCs3+f2/znJVM1iaCJBwCRgj7Odbsvu+kBrGZzfYqfZ5f7nAd7/xKV7/2u+j37lJdmuT4XNL6NUBreNlzE7x7B5gingZtE106lu4w4soVpWOVmDQb2Nzj1Dd/xCbdxhLr4rNl6J09BRfdIR2Q8VsruKIjNJ3OFi98mP29kucPHOBvb09TIMimDwUcwUSE3F6eo1oZBb/SIKN29e5dv0Dzpy6wNTJBdbWthgOhdjZXafVMtPUylw4f4F6q06rIeo4hxLG1dPt2ETMWRnQb+tUy03Ov/IChaM0qrXNwskzuMnhj03Jd5/WrdFpmmR8uq1vYwst0TjekowomiUMewCP1Se3e3qngs0RQvFF6BaOaLUruC0mWoYbe2QMvbKJUT8mNLpEtSVSUx3pWBcQuQEuXPFp9JVfoAQjqN4Jup08NPO07XFcXmGdOpYwVrOphWb4cHlUmbjU965gUQWBfpJOY4/A2GVqe9fJP7lG6tJn6Ft8mKr7tPtN/OPP0c5v4oiMMVCFWk+np2WxqSpauYRraIa2XsThiNDtZFH6IkliBV8Ki9HB1DmmbdhwxZPsfPhN9p8eEE4Nkc0XmJs8yf3lx/z0Zx/y7OmLbBY3GBmaZHQ8zuHuAdnjXaYm5qSG1mQ2eObyBerlOj/6zvfpWWFh/iTHmQOZhur1bQwPR6nVWtKItfb0NmdPz/GlL/8WV9/+oeQHxWMxafO4ceV95k4vEYq6mYrGpMqwj0OCvs3BcQb9Kvr+HWwWKx1dwx4+TaeVx+yKYO6WGNBFsccxRBqoJyoLTrrVAv3qDo74KdoiyUsTgqdol59iaXRweLvkyx1ip1/B5uyTnP1NyQ06OxYhnc/xyRdOcG95l9lhMw8qNpJdE7/xqiIVbIlYkFKxQqNto99rMjYdpdXUqDcHdGstxqfcvPuLAlPzAS5ejPLuzw+YmgnIYVKrqeByCn1dHYfHzN5OnZdfG6XVhPX1IqmUnQf3s4SDXt54c4x33t6hZ1bkYNpvj7KxsYfNZMWw9ogPR3n6aIexqZjcCou+eq2o0+0MCIUdPBXnFKsVv9dNbwD5bI3nXhiVS9wPPsry4qUw+7kKEbsP1WORC5H9TJN0ukbIp9JqGZjF0jNkkVH7VqdDyO/h7sMjBj0TL74ohlEN6lUds90mVDlSy3n3dl4q4U+d9/DejytMTjv51d84xcM7edY3dqSlQVjLHE435XyDcNxEKhri6WaB196YkAkDofnLl9pMTgZwOtxsbuzJuH5nYGZk3M4P/6nIr/7amEwxfvTBPkvnUxznxPneS7PZY3u1KNMBS88HKeaadOoOfKEup85FWVmuUKto8ozr83koFWqcupQkvduQy9qD3SKDvptAqI/b5+bwqCarG9ffOWJUgH8bA1x+hZmpFHfu7coBqd9hwhBk/o7B9ibyPT09r9LTTJJb9HS1goU+i6cS5EtVWu0WqdgoT1b3USwmnn0pws139ogmYxzs5hkZCcoE4NF+nfHpCDeu70rVrQBOHqQrBKwmFp7xU60p0tYX9vsRyMOBuS8tP6K20e+08fssTMx7pK74o4+y/PIXT7D8cJ3FC0lZf91dG7C6mmN+Nsrn/6s5fvT9RyhXvj41qFRr0m14YjYg4X8TY0HCQyqVWhe9MaBaKXNwNJDQl4kpH+1mm76ukBNbiaCXTq1JT1GwOPryF3Yi5cfhclGtdNCqLfr9nlQpiQ2kOLiMjVtoFBWerNdIphycEGqLYl/G/WJhhZZuJlvuEA0K1Z9fxvGFHi0YdrC5fcxRWuPEdAqnq83T1RI2q0vGMRZOD3Hj5gGVYg27x45LdcrJvero4VDFwdmMYjFweb2srx0R8NsIhkT82k6tXsCsuKk1GvICIyY8kbBbauvyaZ2v/vocNz4q0RR0U8WGx9NlcnYYk6Gzs90ge6xJWny3ZeH4qEQ4GqSr1NGbJsy9ActrZc4sDbPyIEMw5JJVCI/TTOZIxxcSWwafBMbdu10iHBvgtNhxBiwMRVxSX+EV6xzFwsZmmtF4hExVJz4kXMQ6voDoJRtUyxrj0yG2NrKShjk+GuXdK7ucmPUwPjJMvlpm9WGVkQkbsURQ1irEhUmQR82qit/pkNt4AQnZPDhmbDTC/m4ZwzJAtQyoZBTikw4JbRNd1sXzoqtTZmutSjhiwmzxkElXmTs1LH9nUnE3qbE4f/NfbuH32pieT6EoZaoVmJ2Kc/fhvgRhra8cYPe46OhN9JZVWiSeuRxnd6dCr2uSFOwPrwj1YIeJcQ/N0kC6gA/SbcbG7DxZqXLqTIxYzMLy3X35EstlxEPaJCeUE7Mqh/tFahVDJACxqAaRsEtGWSfGvQwn7JRybbwhF+Vck/VdHdUurBAjHO6WCPr9tPoapr5ZOqxFh6/X69KqD7DaFGw2EePqywGS6E8Jfd/ps36MTpfVxxVGx9xMT8bR2i2Oj+sMRZ08fCy2d2aMro1gQCc6GuT21Srzs2YWFsLkCmZ+/M4GLrsNV9BJv6sRCjkR4ZZAwMvAJOwALgq5BpFROysrVdwWMR0RusIA3qgq/dcO1Uo2X+TEVJxWrcadHY2AcKR2e7z7UGNqGE7PhchkNBkr7nQEjKnL6kZVfl9sfjfOQYtU0i0VaB8sV0nGe9isXhYCfXpWM+lGl2GXlaygHXdNPDrssdkOcFAsS+3I4bHGhckYVb2CzWpjPuqTNQORVco0dMaGgvS7XSyBALfu7RF0W0iE/BSrTVomhV5B5+L5IZZ3ihzstBkfcWMPCJqrn7ZiEBcaSYuAxVkpF3MSxFQsCjhcEnN3QKZwzInxlOw89U1dvKoPa2/A7Q8fUauCM2SjU2szcyoJ7RZP1vLMT0clcbmv6xR6Zklpd/l89NQAt2/sMDsqni9u/tUbI5x79iyzC2EUw4TV0qZjDvP4g48YnU4RmHgOm73Kn/3J3/GTHz3gtbemUS0O9rbzlFs1HLY+Y4k5lte2eHT3WPbc//Sv/ggl8VVMB39N5ahPt5nBEEorcwDF7EN1NOlVy7gnzqGG2vzb3/kDvvHdogSO/fbrszzJ7krAm8vtptMdsLmTJV9sSgjPxHQURyogadYry1tyQDJxIolFUIdNCsWyhs1sYm/vAGdrIAFsLhv0rFb6XYNQWEXPtRmooHVN7ItqUNhE3GfjKwtOnpZabBU7ZIptfvlikIOCJocx3a4qO8LTiZBMT+XKRYb8AbJljXZXYXbCSaPYo9ZWyB1X+NpvnOboqMLN68dkiz3+m393kqvvH0h9p9Nrwue0MbAoHB0UuXg+hT4wuH0lIweO/+6/P8cPv7fJ6nqJ8aTooasMj7upFBuk00LT5qdSqxLzefCGPOztHEqaebn08Ua2XlfAYrC2WpQdxGBIgPIKPLjb4tyzEfyOPpV6m4jYEIdMZA4+viCHwkHqFZ17D9ISaiaG5IUcaM0qJ07EuXnriFdfjzHASa/ZZWc/y/z8CLs7RzLGqNUNzNY2kwLqJ5ghRhfVJuLddvLZAcGIjV6nJT8nZyCAw9rHsJh5cDcrB6WtOjI55XbYpApzaNgmN0+b2zX8AVVu2y0mK+l0ldmFGBYRJSwIbksPf8xKpy62Di5qJY1gyC2HBavrRcZSIjFn47vfPmDhnADSOtGqbSyOAWNDLlZ3czhMYSanvewfHkt4qclhJeC2Uy10aPeEUlho+7x4bDZ+cnWfkM8p4/A2i8HTtQanToUpFSqks0Kb5cSqurl7P834iJ98psHkdIT0bp7kiAeT3cK1jwpMzHgxmdr0NRW/AG2is73dwuV0YreIYW6NFy6FaPVsEhD13PMJfvp2htSwk9R4lI+ubuJyWQmFbDxeKfHlLy1SrgmNU1fqICuinlDQCfpcEhq7sVElOWZmc63FmSW/HJj80z/sc/5ylNu3D3jmXIrMUU16oafmIzxaqVA4Fs88ld1dXWpza40qjx+1eOHViGSHHKZLDAUFQb9GudRnaNiBvaPjcbr58rfrFOotLo7YSYpan6JgcylcvVvjV58XarUyP73X42m6za1v/gZLn/oSlfWbNHIi+mqXm/vqUQW7pUPdLNIxHqwColbr0A+NERK1oF4P8o/pmH2YVTdmTNjCk7QaBfTqMS53GEMR6+UY7f3bDKxdIhNn0QtZrrz9HWZmZhkePc2T9RvMT5+ho7oo7W/jNDeJzV1m0Gqg2Nz0+2XqxSLB5Cj14yq+WIi+IeaNOrXMsbykV4sCaFvH7Qtx9Z33qVUr0nyUGB2n3MwwOzFPt6nx9ts/ZeLEIkofFmbHqOk6F154FmvtmHqngy0p+uI3P+bbGAMspiGsrr7UBbeqeQynT56POqIm6g6gaHt0/SP0q0f0qgfgSGH3OOhX9jFsLkyhF6Fyj25ti64axu2botfYZmDqy0pCvXjIoNfG6Q6j1WvYLQUwhTDsboxWDdUZodc5ooeIRgYxkmsAACAASURBVKsoRg2cfpobN3EOT8r4s8Mdo3Z4X9wmMDwniMaG0RplOcCwW/u0dBOeoTjV/A42l4voyBzpO1ewBiJ09SrhhFDn6ZidTfRSU36enu4+lZaAt81gViqo/hA9rUnbGEigYM9isL16lycfPeLyC0vcufuIVz7xJoVsmXa7yOILn5aJyUFpm8Mnu0y8+QW09Ar14xLlklBNFpk6t8TOWob/6xv/N1/7N19ifXmF41yJodgwdx6tMhQNk4xFiKYitIsa7oBV1u7GU0OgaATi48QS5+laLWjpe1isfsxWJI9EtSoMGlnsiVcxSrdp1bJ4EycltJlaFjWcwiKi+9rqx5WL4ZfobH0HizvCgACecIpGbQ+zzQ/FbQIvfYG//V//gN/7o4d85a0Ava6I4Vtln/2F12b5SFx2//lc/ee/NSwNZ+9sdlmaHFDWRfrWydlTQbazbZ5eP+aXPpvixp1DziwlJQB2Z6PFK69HuPlREYdXpTPoYzUUbFaFVMrHw8d5RlMxdvfE5daNJ2zH53DyZCXN2XNJ9g6zuMVGtq9w/UaB3/mvz9HVNN75YJvLF0bkJbJZMWGytwk4PaxuFrHZegTDXgm4FqYdMdjT2zrHxxpjk14iQRcP7qQJDDt48bl5crkq1z7alc94o9+lVDCwqzB9Iii30UKRd+36ISG3F2/MRTWfk+rCF1+d5cnqJtWKgjB8lsoD6mVx/3HjtlrJiLOFWAZaRbS/wfGOTur/Z+k9YyxL8/u855x7zs0531s5V3V3dZzununpMGFnZpe7JJfkUlpaFCjRoGVRwbAABwGyPtgSZEMSBEiyAdskJYoUqaVJMWzm7MSemZ7Oobq7cq66dXPO95x7jPddfRpggE5Vt8553///93ue8TDZUl1Cmjv9Pu16h1QyQatdxxPRqWX6qMKuYXQZdCwcbp1eTywWnXKJdrjXxuW2c/PtCb78aAtzqLF8Mchnn+VRVUWChk+fijGxIMDceclosQ0HDG12aYER1Sjx/tverkvQojNo59wpwXwx5JZ/ZEyX1dlh3+D+wxKxqFsO+DLHNb71y8t88OEu1apJp90i6LfI5lV+7W/O8fjhEU+fiOGvi4nRCDt7RUKCgxSISrVwvlDlwvIIOyctDnbzvHljnhcvj+h2+lx9Y5o//P11rl2bIJHSeHD7iPSYD4cb+Q4cDmBxwc/RSVWedx/fzRJI23nl3Dg/ef+YXkdB83R57+05fvyDQ1ITTra2i5w/G5c2u9ufVBgZhSuvpmWF/OSojDfowGl3k4q7cQoGTrGP7jKp5VsMdQXlg/9hzqpXa7QEYCzlw+nr8L0/LbJ0wY3fKXzmgmZokC30OD0bZSStUa7A7m6JVMyF228nl4dSu0yxMOTCUoKXuxV6XZO5iRBfPCpy6ZSdW29N8Sd/vEmpJvREURJheLlRxaZosveYnvThsZvEYnYGpl3+5V+9EuekWGd3q4cv4sNt66HrNqkMevm0iOK206t3paZCqJuSqSBGsyGhYcmUB1PQiatdKm2FmEdnfDogJz7xkSC5QoP1rRbjSTed7gDd5pLxervozlumTB6khZu9J4BpghRfkP7yk8OavKyWcw2KlSbXr09KGI3ocQqCp/BFP1mp8Jt/Z4lHd8UEVhArFY52DNA70nEvaJ25ww49o43P46NZ6/HKRdER6bO5W5cdq1OnPDx9WSEsgEFlDX9Ik5o/AetTsbG1WcDpDjIx62R/t0kyDW6/HzH8rDcrUkNyuNMiOebGbldoNEUX08WO+HUeO4piMDEexqaqiCfuzupPY+5CtzYYig3SgDtf5Ll5I8H+QUM+KB1OcVgSqYIWIXEptYZsb5e4fDFKp69SyjWpNE2+cn2UT+8cSj1HIObjxcoBsURU/n1efz3MX/7kgEjIw9vfmOZgsyGHRPFRhVJBxNEbkoMgppgv10vcvBRAcek8eVxlcsLD6WWhXtnCbnMRTHrZW68yMMQmvisViNpQk/7mUDxCt9kic9hmctKDoqocZhoyBi2SAalokqNMld6gSbkyJBRy4la98veqihyU4cQbGDLomjISLW4x4jA8O+6hM9Tp1rpEEkNqjZ8q+La2Kww6JkuzEbK1Bi8fl1i+GiKVTrL1PMdBtsnli0ls9oFUY4nhxcVLEakK87idnLmYJJtpkxjzyM5RyOuRTAq0Pr1eS9LKpxbG+PijDRk3cjlFp6zDrTcnePYoy1CxEY962HxZYXrRz+LpcR7e38DmdBIPiigrPH2Wo1JzcP1SkHa/w+qusC84ZFwWVcWlKDxZLzA+7aRTU2n1+2wfGpw9FaFWbRF1O1BdQh0EY6M6lbyJZWpUmm2mUk6+/3mNKws2JsZdtBoDCr0AhlHntx70GNocNJoqVcMkFVSZGPHQqvdJ2iwsDxxl24TcDmyWKqf6hVYLu6bIi329NiQUFgA5g6DfT9jv4PHKAZpbw+924/LYqLcGeBJBHC43fsEBUT1YZguv5qDdH9DKV5iYHaeYF9Aog5GxFE8fbzA/EyGTK3G0VpZ98ojXSX9o4A4ECQRsMs42MhXF6PZlPFrEYLvi56Nr8XStSKms0LNUPE6Vr1wN8YvvzvP6KxeYvnyF+s4WitVGUzxkCwX+3//zT3BF3Zy7epYvP3tBK1dlO9PgV3/uBlWtyXf+7EtOCgqV8pBf+8VJ/s63bzHxjd/AONogs75CPOxmd+02M2/+dewjV3n2vd/j53/zX1Ip6ZweseMIDDm1MMnh/gk2h0IgHWPt/pFMIF154wynLk7w7Pm2jPodHOaYHE+Leh2Ky8bQJSpDQ4a9IWq3x97KAaqp0dNM5uJeqkOVWsvAq5rSCV0fNnmeM/lrp11cTetcnHXwHz4tsFcZ8s1XIrTaQ86MaXy6UpbkY6svkhg14qNpXrw4kV02ESW3dJOFCY/82azWLH79ry1wkCmzsdZBUw1JzBUgMH/Aw+c/2WfyVEjaUARkVMCLxFBsZ7tBIKThcIrPsiGtIiJGigm9wYBk0oelW2yvdQkF4Pqteb68k6HdrDNQhhJMKn69eOGnU0H2D4sszAbQdIeE+Glek4DLSaNusHjazd37wuNro9tu43J6SE8ISrONo0xOEqBNw06rKpI0Kq8tRyXd+OHDDD6fhaZ7ZHRzfM5JJKQhQtyFis6jxxm+9VfnZAT9gw9Egs5DKuWhUm2QmA7z4k6D5bPCpuHC7hyQPVBwRxXWn5VJJVzML/r58KMysTikEl6p0ms1DEan3OzsdKiUhJnHJd3C+1tlFpbirK+WUHWN9JiIo1eZTPtIjXr45MMsP/tL0zy8k+PooMHEghPVcGMoBgp9Oi2TsC9ArlonGfUhHo9i8+8PmOxt1bhyeYKh3uVgu0MkpnF00GV8zIXucvCXPzni8gUfFy6P890/3+SNGyNsbDTkIajd6JFIuuXmzOuzk0y4eP7ikMvXZ/n0JweS0xOKiFimTjjkot0w+Ox5lsl4kIVJF62OKUxfaLpBv62hOGwM6FDPqVSqPemsvnvniGTcSzTqxBSH7XsHjI2HZCdUsIHuPcxy4UKY549zzJ1JUC93aLS7pJM+eTh8480FXq6eSM90Li+2fB0JgiyWajLafft2hrERjxwqiKF8MOqiXupS6akiHoWpmpw/N044pPDBhzsEQn6WxjX+8n5NwnKvTvfZqaj8zkOTsAu8QT+H+Sbz4x6OMx00r51Jn8X2QY0/fd7jq3MqP/zy3yI0LpU7a/T7xzhCcbrFgqRl674gg47y0865qmF1ihilNTCdqLG4HCSq8UsoAqrm9KG08jhsboxIHE0JMKgcoDQ2GAYnMXt23GEXjewWNiOLJ/gKjcITOTCwufyo1Ry9dhabL4lqt2T/vVk5xDt6EbszQffoIxl5RRXRbgeNfg5n6xBX5DVa6gDd60evFSjmnuNy+wmf+gZK95BStsT7P/4+EyNn2Vh/iMPnJh2LSs7HcGDj3//H7/HzX7/E5PQICxPT6OPLPPv4T7l8+SY2vw+z3pR0f0d4XA4AdLcTzZmQmkNLJOBsmtwIW7U6hsOLHowiYmjNag3LYUPt5ukeH6En5nFYoiKRo18py/ewwz9Gu3aCZXeD3Y9XdMaqDQa6D8MQ1aIiNj1GdesetdpLxs+9i6WE6ZS2ITqOS3XTLR8gHKiKUcObPCdp4XprlZYSRJeD3yG28HkUu06vvIEncZ5e+SWd3Dq+U38FamsUnv0RevAMkfk3/8vAWCS58ngiIzjC05gnD2gJGv3IOVRDJBE+whOeR1v8OYa9PFrlITZvBKwgll5jaIU4fvBnOO09HLHX0BwB6hs/xjn9Gp6gi4FYsoVG6YvolDdC/vmP8TviDD0OdJu4N6wQmbhMwOmg0+ihOUwUpY8vsczg5Bml3TW8k6exaxGqpTW5WPM53CiaA0MVVqIodm1Aq7iP3ROn39nHHr9Cc+8uXgVMUV0R2/XdhzhDY/QdLrRGXg7SPGOvS223YhTpesdw1A8IjQjVXY6pK/87i2kf33w3RaWislfKMyKeX7UhP1pT+Zc/q3JrQuew0kTTBIesQnIsIPvzl6/GuP3hES/XSvyNX7/KT374GM0pNMw9Ti0ncLpV1l826HVbJKIedLfChauTNGo9/uT3nsvhcTHXFhsoOex0uJ30ewqtTpNWVTy4TL7xizN4VQ/vf7TOxEyI+7ez/MxXpygUa2TKbQJ+G5sv+8ydFolXi6mIj+2DMkNTYWTEwelTU2QzFdqmRV3okG0mk5Mj3H+0j1O3CIZ9cmAWCXqwOgM2d5uk0i4Uh8CsmmSycHrZQ6PUo1Rp43DZiQQdPH5yzKnTCUIxL6tPToikA/I8dP7iBH/ynRc43XbOLHvJZ4ThywBLk0wokX4Tlb1nTzM4tKFMpu6KKqahMDT6vPXuEne+WKNasGRNbP+gwq1b02RydcneEqmJ9LhLQu32trvMn/Jx9bUUt//ymOSIJvWqk5MTRCMivTPg+YM6i4su2m0bn352wNe+No5l6DzbPCQZDDAU9pgfl3n11QDTs372tspY4ufftBNPCbZFnq+8PYpiE+8vQ1rT9vbLrK8a/NpvzGIaAz7/OMP8opdeT+fOZ1neejvEQUbAr5t4gz6aVYN6s8/110fZelmS/LB8QVTe3bidXh7dO8awGXSaiuSric/8mdMx+kabYnaAolj4goIz1iOUdhOTS4Y6sYT4WakjEvuvvpfiwScH9IYqQa9QCzsl36zZVCRE/tnDOpdfH+Ojz7Y4Oy/SORZOV5dBT5itbIyOKWSyCsr3/9uUdXTSkBGq8+fC7GyU8EbFAUYhX+7jcLclVMDqOTi1LPrgQ05yBkO9jddjJyg+SENLJghGEgG5TXbKWJ/QmbkQSQZN9XKYqeB2m9hMJ5lin4sXUnx+Z5+rV5Ic7DZw6AbRpJcvvyzhDwmQnQ/BJKq1nChqW/ozRUKhWG3Rb4sDuI1Coce7N1PkKl2Kpabc4jx9mmdm2kujMaTXs+Q0aHHeTa1m8GilLLfLs6cilLNtjIHBL/7CFB98eMLKZpWJlIgy+bl4Icyff3eLl6tD3vpKjLhX5yRToVCzaDc6vHVrQuSLKdbqBHxe9vYKzM2E5Qb7MCsiohoTM3459REDhXZtSCCq4bALgn8Wh9POmUteuZGOBm18fLtIJODDUkQ/Ok650sYpYMmqHZfuITFl8ud/doTPr8q0hFC9iYfsSbbCr/2NS/xf/+Yey2fGaTabchNSqf70EBwM2HF4VRoVhU6nLw8wE3NR1P6QVq9Dv6vTapdxuYOowybTUwn2DgtyQnhy0CKc8rC8NMqQLutrRQl5PNwX8dsBfnEAHiqohsrs1E9ViiJ+3igrHO43CMZcRKM6xZz4XDg4dyXE/k6bw/0+9WpT9k2zxy3q3Q7NriKVVu1Gk431Il//2Wl2Vmu8XGvxxtspTo4FxM6S9OQn9074xjdP8eRRho21Bq+/meaVqwk+/ywL6gCvV2F9pYlmG5Ia1/F4Q7x4lmHpQpjCgUWnIyjhGorakkOVQg4ZpyrkqzKZEfAF2do/ZOFshKDdxQ/e3+GXfn6eQtZgc6dCSMBcWjZcTkNO04Sr1K4iu9FXr0yzun7M9JSbaDTFj374gpuvjXH3/i4ee5D0hJOe1cfsDVBsguTZliYHxdD45JMdrl5PU8nWuX+/LC/li6/E0ZU29Hw8enaCgp3Z015sSheX3YPRt1jbzLE4FyMU87P2PCN7rprdkh14wSIQm6SFcxFJN68V+vgjCrGwV4Iug34Nj/CePhckYRfnTnvZXG/i8NgoFdosLoUoNAcygpQ5aaN7deoCHGeqJD0aTrdGttah3DNJef2oelvaM4Sft2/0SDiLLI7E2aqYlFomB0JH3+px2LXz3W3R36rTbA1I+WyEoxpKS8Ex6Eg7QWPoIOmxaHUd2LyCM9FkNOJBdTnZOykyEglJ8Fq1WKLVMiUULBRxMuxYeGIO9KgDh9fPQEQCwy7slkq31ZGqn621Dd545wb9wQAbIkLexCsGfrEwT1fWKdZqNAsdCYqyLI2l5TgHuxUMRSUS0NEZ0OtYslffa5ZxhZJ88eSQXlOn3rIYKAN+9Z0Eb701y+unFpl+/SymNoGtkee7//4P+fDOS56u5XHZBc8kRDLi4rXly3z389v8/Nev8clnL/jXv/0cj0Pln/7aKf7m//1bDHayaJ1VrLBGtxvgrZ/7hzx8XuHa2TCq1iKVSlGrN9jdLKDabeiWXWor7Z4hmt8lacqpcT/1bI1QKk63KrqaQV7cfcpRtsHZCzPUsiYbK7uE3QqnTo9wXGxSbbRFP+ynrndNI1OtslNQOJV08OvXHGT2GqzW+owLzZtDo9LucO1SmP/8/jHYnFw/HecwV+co12Ai7SYY9shoZSiuSWhRo+Fk6bSHXrVP3xoykkzwfGWPWEJ0BEV/u0Y4JOwTQzmkGkv6uH33kL/y7XM8eJjF7LR4udFgcSnA1ESEu3eEwigiQYudVkfWhERNK5trUi0ZLF+IY/bahEWSoW0jc9jljXdSPH2QpdboSuPIxfPjdAY1NteajE+GyBw2iSWcEtx6R1zwxoPodjg47OIPqRQzTfk19wh46FEbzQcjgsB80CMUVYnF3LLbKBRBbq/GwhkPD7+scu58Wm6AhJc3PWYjnxHU5yFRv0YgLi6QqozsxYIBLl6K8entQwLRIDdu+Pnj/7RJr2fjyqvi+VgkW2hzZjlFNOTgxfMsMxNJPvh4X5puTp+L8Od/ukY0YMeyWVIrKgB1imWRywtQmkq70SAxESR7XKM/cKKqTRYWkxK0pthN+dz32J2Mz/r5+H1RzzI5fz5JtipMQG72tkVv0S6VhT4xTNVMmagaSXpkLHZuMSrTUjvbRcZGw/LrcO/uofSWT8yHabY7bG/UCIRdJGNeyqUslbqdr31tjru3DzEwWJiL0eo28YsLR77EtWtpPvzkQA5qzp9x8/GHNcnSmZzwMdCc+P0m7bJJsdKRLm6hE85l6yTTdtqdIVMTftlfzx6bUodYrTZ4+bxBKKkR9jpp9vokE0Gcuhi2WpLjEwi6OFyry2eq3a0w7ItUjI/bn2Z47WZK8m02NtoYRk/GmN/9yizf/2CXuHhv9Pq4dDu33k7xcqXKh1+c8N4bCemBt6s9FsedfPpS59f+KM/8iIsZq4V31MH+VkeS9EU332E3UW3wxQr8xs9P8X98559BNsfxl1+giHiv10Qz7HR7JTTPApYnIIci4hLbyW2gRW/gcvfpd3sM1BbD/afo6WW0voF4kXWcUbRKUT7rh3YfisdHv9ZB2f0U19QcQ0eS9skKjuAS6virOI0Kpd37EjKmuxJSb6d7QwzKVdRoGnu7QXbl9wnO/Bydbk1SuPumjYAvRbd9RL/TxeH1YLVKqL45VLNJv18RpC9oWTQ6OaLpM+jhMf70d3+X7qDG/Owyls3JxuYKmb0dLl59BRxBvvf//QVT01F8wTCXz53BbLbJNbt4E1FmJ9OYXXj65Wd4IwGqtQHzU5NUe2LVbLH96Bljk6M4XCHKtYK0Z0zOLpIWXCfbAM/omHyvKZrBwHJgV1W6hUNs3jjDQRcbTVo2L/Z+B1voDOogJ+rpmKab6vFneDQ7dscMZatHZ/9L7FYX98hXGdoEGb2A2jMYukMo/R59oyG/DohEmccj7OYo/kWor2I19hm6nTBQ0EKn5VnA7PVoHb7APXkes7CGYeo4Rs5g7+VoC9ZB7QAt/xgzsEjIr1OrDzD7dTwBUetQGDpTaJaXanGN4dDA6hvY4/PYi4cUj5/gmb1KKDRBK/MEZ2xMDs7AjuoKowwyOI02/bEr0CjTOfqUQOoGhtqRn/VmZR0Cy6hmi36rj61Xp2c0cMTO06lsM2zW8U9dorLxQ/TIDPbgWYalh9hdYVmTah/dIzhyEyU1g7H+I+q5NYLLvyChxqJ2iaxkuDE8AexCV4eHXuEJvfoW4al36a7ewf3KTexnLvCt89/k4Wqdm695iY0l+PxBCcUUHKI2uarG37pk8C9+/TTff5Tn7oOq3Gi/dnaCUj7H+JyP3FGHF6sNfuYbUxzu1yTTKhb143bb2D8Q50c3x7stTl2Kkh71kdnrUTypU2tV+drPXuXpozWpFr/x+iz7h3mcdqdMWvkDunwujY36+IM/eMHVKyMcHVbk/w9HBGhOp5Br8vH7df7uP5jlhz88RhsMGFuIUsi0GB93sbff4CTTYul0jGDEJSu/4gzp9bkYdETFLIDHq1OolFlf63LjZoJzSwkKhbY0HFTKLRYXQxzu1eTQOBaP8vmH+7i9EI/5aHR7smapqCKZIeqIPfpNJ6bRwOkNSLPAXuaYmekJfB6D58/zxNIBgXRkfeNEpsZ0h6gyhMlkK6y/6PLf/U/neXqvwOFhTQ4woimNiUk/j+42SCVNls4nyGdb3P2sxJtvj7D+PE9fVUjHAjx/ecSlV8ZZWyuROWry7lenaNRLfPRJU97Zjo8GhMLizCcSeE2uXB7l+EgsUFtEYz7yuSa5cgebqUuDzLWbU5QrNbJCSevXqLWEXnxItdZm4XQETetRzAxxuF00WmV8AT+RsJ2hITJTBpubXUqlDokRFb8nQKPWIBJyYYnEqT9Io9mXCbLZeVE37kk4+OVrcdYe5Mnm63jDLp7eq3D+okfW+RyaTjztZPe4w8vnfUJBi5vXguSKJk8flfn5b03SKDblHcTrGJIYjfLscYZYxE+90aPdHTCe9uDxC5tEm4MjU94BBdjcrnoJRnVZL1D+4L+KWLGwXX5Q3v94n6BPk53nx4/rvP3WCAdC7+RWmBh1cZTvYwidVrXK+HiQk6Mhh1URHdYI+h0Uqz2pPnjv7XmyhQqPHlfwegT1cEj2aMjSrJuLV8J8+ThDs6rRHLZJRzzo1pDV1R5nz3rxhVV5UFsT2/m0Teq7xIcrMengo5/k8Iuoelil3h+gDHXGknayBYPREQ/HJyX8LieeiJdBR2yjIXfQkv37q1ejMp65W+hSK/ZkNzmZFJfSJqPjOrOLbnlxzGV6TM4JR2QbxR7gxfM6r95w4VY9rG7UmF8Ms7mWZWEuwc5+Fo/Li9MhLipD+SGOpe2Svn60P5Ruek1xMhgMBBiW2+8XGJv0oGMxORrnxx9vc/5ihKjPQavfJR0P8uReHsXb5c1bi2y9yFLt9mnWW9hdAXbX6qTGXKRHPQTDcLDTwOX5qTO6UGhhD4iEQpl622J5zvnTrUrTkFuGw90Sw6Gb9LjJyEiKg/0Sq6sVls9FafcGaJaAw9UJeFXpZhcpg2ZniGH2mJ0N82KlyPUbE/TaBitPs1JbNzURpdlq0u1ZTM74ONrp8WKtys/9Uppstifu47jd8OxFhVQ4jifcY3+7JoEk8aSdza06iYhfxnGFBip/IiZUFtdujJM/aVDt1Fk+NcL+boH0ZJTxtJuffHREKdeRMLDF6TArG1WKxw1m5kTtxMVnnxzgdfk5c9ELqs7tD/Y5ez4sY1KW6cAYVOkpOq9enuDjj3akYuvMUhiHayg7r7sbNdbX6nzr21NUCy2e71aZTYZYWS3w1nsTfPSTfamCnJsK8dGnJ7x+dZTsSYFmR6ffreENBJmZ9pPPNmT/6NqbU/S74oXbxx/WeHSvij8oKgQWVleRcSjh3q61TFAt3KqDsXEHfq+Dzb06h7sdRibsvP2V09y5vYrH46NcrWP1LaIpr1SHCJXKra+kqRUH5HN9+TMYjfsQ5wRBS+7UO9S7OoNuG91uI5fpEBuJ8s6tIB98mJVAxDsPj+VmYHLGSaczoFLQpF0iV+sz6PcZSXsJxoVib8juXo+k0Mzdz8tBw9SYRq4wJOz3sDij8eOHOSotN2+eCvC9RxVem/DIz8FMWCGQ8PP5s33aA01emI6rbj48HPJiv8Jc2oatp+IPOsm0+0TtGi5T6MFU2jY7Kb+D45OCrMKICfZ2pkog4MbjUCTQS6dHvaHStJy47QZmz8QTc8nK0sTyGIrNwpuK0+mqVI5PcAtC9VaGZDrEa1+5xP076zRabW68fo77958xMxpna/8Yo2FxtJHBZleplES33pLskWKhQr0+wOfw0rUaXF0ewe3w8tHdHep9k4O8ga1tsDzj51/8o2+zeGsZz/gynY0v2Hu6zR9+53us7huc1Er8wruvsjwXkKqgf/Jbt7l1aZHDk0N+9FmV7/6bX+Xm3/1NhieP+O1//UP+8b/9PoO2wmu3Rlme9nL//g5OET9tVeWgttbpE0sI04roTY/hDXpptwc8ebgm4+MCprl0doGh2IDpPnwabD3eolvpyq6cN+whX+qCfciIgICicnys4XYNsJltfm45xLcvDfm9T8pU2zZpw/jmtSgTky7u3c8RjPtQ+qKr3yHgG6ArbsnYGKg92i2LiN8uN7OpqI9Gs4Jdj3H+QozttRwffJLj3HKSZrNLekSnWOpLOOXsrIdssYumWHgCNoyeAvBsMwAAIABJREFUTUI7Y0kHIX9ARvU0j87HH+Q5eyrO2bMh7j86wKH7mJrxcXxYlwe1oohoT4WpVbtStSYgRMeZBmPpCH5fH7tHvNfK5AuGvLh7nEPZSxTgUzFcMwwFbwA5+D05qMk6UCziZeegwfnLQeymg9/7/XXmTwV540aSg0yTzz4pEgyaRIJuUmkvLaPN3vM+C+eCbD2vSQje3/h7l9h6ekK51ieXraDZHDK25/bpPH9a5eq1MMeVBrurHbwu5EHJEg5dO4wlEnz22YGERRmGyq13JnDZhvzoh4LrEGR6MikTAXc+PmDpfBxFafLsfo+Lr3ixOW0ohkNuxj1eG+dejVLMtCmXkVu0UMxGKh3ji9v7DKwhZ5aCEjI1MNuUcy4q9QoaFvXmgHMXo0TDcOdhncxWk8vXkxTzXRy6RSKVYmf9UF6+Bbjzxz/Y5Z13xljfEcObIA/vFlDE0DYexFCbuHAxGCoy9bV7WEfXNXq9HouzSfYPy3zxcZVw1JSKJnGIjkXcrK0WSY15KOYMKs0mTs3BzTemuXt7gxvvLPDswaHseHZFOnFGDCEcslO8e9jFKeBitZ4kcEeTLtZWm/S6fTlIFoTriSm7VBYLgOT4pE/WEuwek2ZlyMWrUzx/eoLNggED+gOVxVNjeF3CmV5gqOnMjkZpGEN8qsqnXxyzfDrBy50CjiG8d9mL2x/gv/73h3y6C++8EkXvZjko2okGfAytGt+6PMbDvRw/ethk0HJze+WfMHs6Tf/uAwq2BJ5BR75HBvo83fIdzKN72EfeRvX7cVhd+p0Bul2lJ8BbxWPsqbMoRpd+q4ZTddEbVLCLur1nnH7pALP5FIdvCptvCtMdxqruSBaLqIQ6EkkUoUI92cc7dZXO7h0sbwz7yDKd7QcEklMY7hD9dgm7adDoHeIUqr7IPL1BmXpml+DoJDbLz6DXRHW6cJoOVr/4VwTjp0m8/rdROw36ZgUjeyL2WpItJZg7wZEF/td/8A+plUTNMoE19PH6u9cYdPIcbB/gjYQx223GkhN8cPcDpsfHKR0XaHV7kpR+8cJ5RlMxfvD+xzSbdS6cWiBbEMrSIpquML00Ra1QpFAuY7NcvHbxFfYzu4zPLOCwKdQKG0wvnJPf44WlZfY37osAKIfbW7zz7b9Ov1biP//xdxiJjeJNhon6k/Trm9LWEh19i3q3iMPs0qpu4vMn6FsKDptLcqzomZiU0d0+VPdZ+vUjqO4CdVkRMHQ/pqrTP76P6vDiGLuJ0arjCDoZFrZRUtcx8x/KdIeWvIBV3MBUFTRh07FMVM2P0T2gX80SnHuLcmFTahnLO09xhEZwCP1pTzxjh5iqB280wqCjY9PtdLoFer0c4dAkg76N9uEXmP08rugpaWkye4cM7SFs9hiqOcDwiKqDj87hZ0Tmb1I+uotXCzPwRrHqDfTQBDT2aOaf4Z58E3d8hvbqx9j8foa9Dnp0hr47xuDln+BMXEB12Kiu/BG+pV/BlT5P9cV3cLqjGL4R1Nw6jpHz0vZg0wb0qwWq6z8iefoWxeMNRn/5N/mPf/9/4Tf/3RO+/cYSYVedrYzB0D5kyq3z+/fz/LNvTXA1XmP1uUnD3mHK66E1dLC5X+T6NZEWsPHw/i5ziwFCUTebKzVGZ9zMjAe4c3efQCwkHsUY/T59Q+jJu8wvJvjw/WOCCYVXXonw+Wc/pc+fPeXnJFOlULGkcU3XvWTLDX7m3Wne/2CDRCKMW9HY3qtKNpbH6aLUaLCx2iSR0InGnNJ2RN/izqMMpxbjGKYYDA7RbAqrzwTE1sny2TC5TJd2p87YZIjNF3Wm5+Ps7pRIjwoWS4mp2TE++vyQxdkQiZhdcthECtAfHdLtaIQDLvmO63SGFHItWa0Vtd2xqQj3v9hk6ewYIb/J+z8+xu718Au/NMFPvrvJxGxYMgniSZdMHyeSYvO9L5QJknfz/HkZyxhKrfv4mINQ3MOLpxU5wI3EfJw7n2Rrq0Q86mJ7o0ooKqDsdjlUe/y4hNctUnsC1GdJhtHWep/Ll+NS927Hzv5Oneu34vz27+xIkO6tryTlAKpc6jEQcOcxBzYjRKtfJCDOD1WTrlInt2/n/BUfrfpQvg+7os42tFOtlYjEdLK7fVKTYiGh8+KlqEh5GJv2Uc60UR2QTgRodpoc7TW5eDFJrtRn5Unhp+/suQgbq1UmpwPYHZYcHghYuVgKR8N2PMGATPKtv2ixuZkhlQryypUYv/vbK3zl66N0q5rkC5hWjanFJGurNZamPOTKBse7VW69laTXUzg+bOAJatIa1xeDxa6NUlVAJL2cORPgd//dJvNnIgQ9LpTf/6sxKxrV6BsDdnZ6LMy75DatXFfoNBryoYg1xOiZNNuqdNvfuJbit39/hXBQZXIsLmPlimbD57ej2cQFpcDMpIenq03p1BWHf+jxYrVLd2iQCHtodxukRr0YbYXLr4b59NMDdOxodhgadjq9AbPzbjbWmiwuePB5XBzt1Bg6LQZDjVTci2K1eLnTY27cI6NgwajCzlpdAt/m57x88aDA5fNRnq7nmYh6pFrp4oVZ1l4eU2r0iXp97GdqMqaimALiFGDQU2nVVQZGn/llO/t7LT7+vM57b4yxvn6MP+wk4nORGnXy4H6FyXEn8ZSXzEFTRqZrpaHUFm3vWdhUQWeGw8M+SwsB6eu0VKH2HHByMpCqvmTIx+FhjomJKD2jLzWGhayJ3alQyLfomgYOy8Gps24JumiL7k5hINVmZ87Fef9Hx7z3bhyXXUHXHdx9ekw65mF8Os7BtojH25ia83O8l2FmZpq97V0ME0LRMJVSk6VTMUrVOtmjKm6PD7tLpVptoQwsDFQiUSet2pBqsyWngk5nn2jczqcfF3j99Uk++fEmFy5N0lNbHO00efXaqATYuUQboTHEEv3eS0FWHuVo5LvS17kwl+T77z9jYSZMNB3ke39xzI3XA5w5m+DOp0cMbOCymRIUVcl1iKXs1FsKu6tVTp8NMegOGZvxUC31+YsfZFg845OUUMdQ4dpb8/Lf+vBxgXyhz2/8N5d5fC9LNpNn+ZU0K0/ysqMqevZf3jlk+WwCh8dk+2VbbpnGplxEAl4OTxrkD9vUOj2uvz7NQID+9CFrq2X5EBf9faF/9Po0/M4A5WpVquVE17de7bG5KQ6jCXR7lU7TSa3RZGo0Kh3lT9azLC6mOLXo4ZP3T0jPuqCrcnxokJ60024K9WEfcKF7od9s0e4I72mcVq1GrQ7dbpMLl8akP3z1ZUV+JqNpO8eHLQnR8nkExHDAUa7O4oyPR49LpMbcjCWDuP0W3//+EdMzDipFhcXTdnJHJr2Byeycl3t3ckRiLhljc/p9krPRait02jWcAbucqi7OWRSLNhyaQiwRkJeWStsg5NApNVUWpp3Umm32c22+cjZBs6WxWy+JdCR7a13+6jfiOBWVvVwbfdDm7KiHjkPj7/2whGYEyDdFVE4kB3QCaLJ7LiJOzqFFwCNiTD2sgUlraNKzOxnxu2DYpdnsMzB0qSCzOnYKvRaYOu1eB9OwkZwIEh4N8Gx1k3NiO788SaVY58kXL5heSOPQbWxv7eHxh4mHQ3JafeZ0klK+jNEU4LUyqmKn1KgyFgrSHyrywnu4XZZQ0lTKy6BUpNCyE04H6JoaK8+PqLdBSNa+fsXPb/ztX+FrX7sOiTTV9af8m3/xb/mtP9jh8mt+umWNo1yZi5fTNIstNio1tEP47//Ru/xv/+oDtoomr86HOD/roq+nONxdl45aj9eODS97O/uMTPoIzkxQrpaZGJ9kdW1HKjxL9QbRVILM9pZ88SoKuEVaqNNnt1gl6LLj9XvoDrsseG1kq8LkYHHc6tPpGXx92c7lpBtKNfI9J8O4xSsJp/w+/vjLKiGXSXoizovVgtz0K0aHkZiTLpo0TUxPBmn3etJha1N1ckWDN1+LsbtTZ+6Mg/yxAJHpTCTcvFgtsXgqTe5QKKQsWdHa3WsyO+2jz4BuzcThNhgMPWSPSlLTajPgG780x+0P9zD7BprHTTpqZ32/xLCj4vY7ScTEn9un1uhRLra5dCZGsQRdc8CFSyGOj1rs7FRlhWBxISZJx0M6xFMRnjzOEhW8CLEZqPRwBcGlObGJAVXDlDwZUa2ank6zu5ul2bQwB11qTRhJ2iTEs5Lr0e0qjE7a8YfdcushXNCRsJOZRTdHhyKp05Qv+K7Rp9/s0621MRwuTMPEpgwwLbec+ot36eO7JX7hl2dkVSWc9EmCvNNjYlkDzp06y9raFg8eC2VuApcdabLZPzphejbNwUYZ3aWxt1PllStis9fFqenkKyYDsyrfw/Wcie4f4veq2B0+9jbFEDtGq9WUCSCRDLhwMSRJ0AKUOT7hIuL18OBphmDYRTyqMxwO6DccZEtNRkeEF15lc63M7KJf/jcUdBGLh3H4+myvNUglggRCpgRhHh21pWpYDAcqVUiN+cgfiOfIAMMUdOch/Rbk88IEIw6FbjL7ZTmwLJYanFmekJWS4902utOQBhBd0SnXssyfmWD1aU4mBstVuH8/Jwcr83MhPvtwn/OvRKSp6OGTDH6P4AJVmDmdol015EDN7XZI68n5yzE21zpkK3nmJpOS9LzyTAwnnTR6XQnjnZmM8pe3twm5XBIoHAn48ZqGrDMEQj7e+3+KOAJOrqZMTiU1/uxBkYmwF5vNpD/sobp8fLHS5GLU5Pvv/xP09CLZ7/0FXTPD2NgbZIuP0KwWHv8s9c4xun1cEvYdriiDyiO02BmMoQ2r9JJ+o05w9ha9fgvLbGLT3Bj1Q1RFpVNr4py8LLv7vbyokIEzscSgXcHolPGIWoBHwyhVGVgl2bt29HblhcfyLKJUntBrZFDib+OylWi0sgRGvkEr95h+9QXeyAKaY5R2bRtVXFo8IjmmSEifFl7CNvRQ2PxjvMFZtGSabrmE0+vFqlew7Cr24Izc0LVONjB1L19++iXf+YMfkhwP8+5778rkiNishiJRCaVuduoUjoWZIcYXDz7j5vUb8qB9cngsrUhnl8d59myVYNSHZSlS8Xd4mGFqek5UojnOFylkSpzs70nw8Rtv3CCZSPAffud3mF9eYHx0UjISVh4/ZXJ6jvMXFtndOWF9/Rmq4sQrYqyGC7fPzfyYSLvMoAROM8jsYvMGMc06w2Ybu95A9U5iBkahtE5/WMIdWMasVmVSQ3d66AvtoQOcniTNyj6W+Lq0uniiKSqrP8Iz9XUJxFT37jH0BrC0CEa7gGpzS6NA38zhco7Sr+xj1A8kSNefukk9f08yRSzVh+6MMqjnaYvvh2pgj80yKByghOZR2lmsxiF4JxnqbpweH2ojj+kO0s3voakD7COXMTtFzPYJ7tgShjDeFE/Qpl+RYEmhkjUdTtq7T+Rl1eUJMTQb9NUgRnEdZ2IG07+EzShjdRqYZhCPZtAxClieswybT6G5z1AbwTOyQOdETCpXpQawdbxCx6YQn70FnQrFJw8Z/fb/TG3tj1m68E9ZmtCIzSap5oRaGI5yTTTdJWG0G//8At/58xUGXhu57ZZMkwU9AwybD1VvsLbW5OypJJ22iWbvYKLTOOlx7rIwN23x2tVZ7j/ZIOBz8/SxuHDbSab9uL06R3sNiictXAGdRDIgjSm6ohIVG+rukEqrT8CvUK9AIOrF6tex2/2yRqk6ehimJX+fi+cTPLxbpHDcJznmlCkZYX9w+l0c7dVZPpek3W5TLPaJx8WzY0A+22N2foR7d3e5fnOMJ08yOD0q1Xyfar3HO+/OsPHyBI/3p2yves0imrYRCnskk+Zop82t91KUchYv1454++1pnjw5JnsyIOBX6VsGDkVhelJAPU1KpRwDw8mrt1JsrBxLHsvBURtdc5BOifRJU7JbAoE4GxtHZA7rJGIBLl9L8mKlgkvTeblZwONXiImEbknh8kUfx9mOZIyZ3S5+oeNt5tGMIG6PXfIOSo02X94+ZnHJycbGQGpZF6Yj+KM26Nj5XKTNwk45NBh2Nc5cDPDs0RGK4uSNd8e58+UeDLwMbW2WpoQNo8lxvkEwaGd6Jsjmak+ysXK5JnMLCe7cPZEMNo9H6GC9zM+G2DvIs7veYXLOLU0GorojLHb1piIrX4mkh2ymI7+fsXiIlYeHDBSFMwtx4qPId+nzJ00uvyYGTg10XWHlcZFvfvM0nz7Y5dxCgtSog621Ak9WavJ88bWvp2kXLbaPc6TSYZl0VIwBr70xxacf79CsqSTiHlRjgDPgoFLtY8OSANyTYhflh39/zBLU1Ga/im4TpFIDc2iTW8aTfJdx4VgvlVk+laJnDvjiyxMUwyKRjIDT5NRsmNXVDKW8yde/MUGuWOfxwwrhoC47KcKz/JOP68zNqpy/MMLLl4fkMwavXU9y73GRFytd3rjhkQ/LoN9Fy+gxngjy6Re7jCXdvNwSHmAX3UaT8dE4mXyDQrHN0pKfakklW62jGENG0i6pSTne7XL2aoDcSRu3x023ZeHzG2RzFovzLu7cq4sbOFFfn1pHZySpMpFM8PD+HjPzCSr1NrliU2ophDNYdFVE3Ojy+ThPX+boDVSK+Q6pcR8jAfF1alNtaVKXMTMd4cWzBqbtpxuGcqVO11DJ5jvMTQvarw9DM7l/ryJTAumkODDacDoHfHZnIIFGV64GpFqiU+nR63UJRpy8dWOCh0/yTE762d8uUumYkm8Qi/rIlU1y+RqXlmdptwRIqEki5WFtvUaj3ScuDrx5g9deS0mN3cnBkPkFTW7OhNZx2O1JQuf6bo1XL4Vw6jrZfF+Sp2MJjUpdgDEElTvF/sEJgWCU5VNRnjw5oNTsMhEXffMwm9sN6s028YSP7Y2K1FD5Q058bju+oE6t0uGkIAYipuxftopQa7Tpd4fSOzoxM4pLH8o4kMvukKobsV3KF9osLaSwu/pUin0Z3Rya4PTC86cVTp8Jykv3xrOMjGg73EN5gRebtI31Cu99bZz9bQFM8ZHLVeWlZ0iPkfEw+1sVoiMBgr4hO5smNl1sfNzcfygeQPAr3zrDX/zZBuevuJkajfHk2TF2h4dGvcPERJjjg7KMwqXHNB7fLzI+GSE97uTFsxKXLo1Lp/HaixrplJ+Xq3kuXR4nfyR0Xm66vR69tsLYZJB8vi5jtE/vnzC7FJQd8LWNAhNTYrBhl+yHRk3F4xYayIH8meoP+7jcbnLHXXq9PrV6l+kJN6rTQWa/QnLURSHfJx5yyMNQpVGS6hfx2b1xI8mjtQyxUET+nG6slRidibK3fszcXIyjbB+PPpQaPHvAg9epoqkWKyuiKiDglV75fcxlB9TahuwoCV3YWCzM1n6B6fEQDrvBxk5XTo/dpkK21+GwYPGNK36CvjCrRzkCNotMtcfl6RBlVfTM8nz1Qhy/X+He84x8HmT7Th5sNKjaRF9PI1Pv8YogaouXXrWOhiEjtIJmLaKQgpB6fyPP8mJSRlpPRJ97JoHRNVh7eUIopDEQsxWHA5fTieHtMzo/LS8YYX+A/e1jckXhMY/QHnZYf3LMxWuLlE8y6A4f84tJgprGX37/rgS3dZumTARMT/rJlYaMpiJUCicEo166tbqA5eLyugkFIjxay7GXa9GqKxLQdXrcwz//xz/DW199j+37T1jf2eTuw0M+uLsj9Wo+TWEsqeNIjfIf/vApqQkvYyEdq63j9g/p23VcliqBpqmkj1K9y+vvXSY0EubZvS0iISd7Owc47KKDVuDqzdPE42HuffSY6kETzemj3czhtqlUTRseh42osCQUe8Tjfp5k+jJ98VeW4ZcuhDjMnvCf7sDihMZkVGUy4OHxQYlm183UpI1GcUirA91BF5dryPmlGIVsjw+/KPHVd+IUcy15wX3jzRTtQY9B02B8VsTH29z+qMCp5TCJEQcBjxiVIKGw3VaLoerk2RNBrnbxxlcX+I+//Zxz50YYGXGzvleWoMxWp83m8xpjU26uXh/hB3+xQ7XZYzTuZ++4zrvvzFCtVqUpJhTU/8tLMMxJocH0uJ97K3kuLcVZXT/AMiN4gqK7GOL5ywqVnAAXiUSNiGzaefm4KA/aF86KpFNbwvl0vS9jjeVGk5vXR3j25Bi3L8DSQoRnz8ryUl6vmITCNkIRN1sva9RbBqmUnXDYSyCg8PhJAbPrYHROx2YKm4CX1edFluaDMuIfCQWx+wfsvGiwtBjhow92mV+OytRGPjvA7bPJueHWVp2v/cIo9A36fQcPH+5y4dKI/P48fXHE9evjrL1oEI0MWdtsc+PmiPyeiZ5hMh6SStvXr0+ys1OS+r+FJXHh6DKwREJE59mTgoSnXnwtzZMHJyQTQkU4RNcUOt2hVEI9/LIiidvvvnOKz29vki3VWJ4PMFQE8LctDR1bOyWWFoIyQZYvtPB6bHTaYlMRoV3v4Qn6qZRqDLpdoiMhHtzNcOVaXMavj4/b+ENuyrk88WSMoSm0tG5+8KMMHt3kH/yPb3L38z0ePNhjciwhFxACxqfZh1g2hbWVBlPzPnw+OxvrBTSHjVgsSL1QZ/ugw7XrIprfR7d5OD5qU2uVGElFJfhNvIOvXJvkxfMKIyMeqrUG+9sChOUjHHTj8A5Y36wxlvBLKrkz4CTssHHnWZn0hI5dD9PNVnnn7RA/fljmX33aQbE7OJ3WsRWaRCbGqPWrpBx29jNVSpaLL7arjLuGPPzsX6O6LUovSmDryioK4Xlsh8+lUswdn8UybAxMC80ooeheuscPMFQNT+ISlhbGtIq0T16gDdtYahTV5UF1+jGbJXx6m+rAwj/2CnY9ROvgAbrDou+ew6zvQfMYd2SSHiq4x7AGGs7hLp16WaqT7Q4R0AphCbOAJ4CuRzEr6ww9GubxCXo0hBZ7herWfbx6EUfiIu2eQXP7LtHlb9JtbdM7vod36iYO5ziDfptedYtes4IjFJGXbTF061sBQqkxBs0tdp4/o15RefDsOe26YDxNsrO5yaXXbzA6lmJ7c51SpUwgOsbGkxWSIyEu37hOrZDjwZN1dvcOuXT6FIGAl/31TV598xYnhUN6jTb3Hjzlb/2dv0m5XOGzDz/lwrVr1Io1rlxYlpDb9Yf3uPnmu9SaVfbWVplcWpAGg5WH69JMJSo9Fy+dx+kN0itmWDx7WX59msVHuMPT9Op5hgPRcK7If+9QaWF3p+l1a7K64XK5GTY6mJ4YaveYfuUIR+QMhhgkaZP0qyvoRp5mvYBj9G3UQZthP4fDl8QwNIa1ArbBAV23i26pijeclilLhRZ6r0nfH8Eu6lXalEyHtfMP8QbTNGsnaHY/qtcuFbCe9KJMLQ6K97A506jOCJaQbTeP0WLn6ZePsRlbWI7z4HdgdQsYtRyaJ4xZ3Ub3zyE+HP8/S+8ZJEma3+c9mZVZ3nvT3nePN7uzfvfudrF3hwMWOAjQAYKCEgAJJEMEQ8GQFCGFIvRJEeIXKUiJwSADEkCK0AVhDgdhF3e7e+v9+Jme9t5Vl/dVWVmVldL7Duf7zmx3Z1e+7///+z2P0q3QLD/Bl1gRehE0PYYaX6F38iGuyAq2K4LVOmBQ2ceVWcQaaNj1L1CJoKRvwMlnjNwTeGJZOo1zOdDShQ3B9uKijyeWpHlURfO1CM1Mo2lBFmZ+j1HYwY+em6HS6dEZKcyn3Xy5bUgY7T9eVFCdXbpmkMsXghyXoVUusrlv8Q/+4CqPVo8xzB7VotiyK7icHuxRA783JPk0m+vnZDJeBoORZMbMLfjJ5JKsPjolEw8SzfkoHDbJzfjZFDVNTxBvwMmgU0fVBIh7JCtv7VaTi1eyEqothn6KqmB1HRIYvrk7IOwzpVnNoZpMTGelGWrQN2VdunzcZPnKGJVKA1uxmZmJYRoC4N6nWGmxv9PmD/7BVf7qxxtEU8JqEqZa7HCw1+PiFXEWilPIN1lYirH6+FwmyYQaV9QSvM4Rx3mDmfkoe0+ajJwGmbSX/JGF7hMPgcJFUR/frchkXXIiTdBlyUqX7XDIrf3xmYD1zkhO1vrGuVTRLiwIBpnOR59sMzmeY2T1SKV1KhWLk0KflYUAq48bzC3rbK8OWZjzCKwPiiaWkDFpDXPbCn/982N++dcnGNZ7jFQf7X4Hh0PF43DhEQF0TUFRXOxvFWS97zB/xuqjOuGQB7eq4vKo6E5d6vJWbuakRtalOQnF3aw/KHLxZpZyMc/JvikTp8dnbWZmwkxMx9jbKEp2lEiuZydi2MMBB7sdOv0Ok7kgtVaLSCDF+VmLaMIh/41cLoTZFzrBMAf7FRLJkISHHu6KwZLF1ZsJdjYaZFMeinUDlztAMV/HGlnMTgeptoZkIkE0p6hiB9jbKzEzH+GD94648VySWn6IL6rQbIjzfplsOoSiPk0HO90uli6EMY0uu9s9lJ/+fsYWW8SIUD9YI3ngMg2heHMyNZ/iYK/M2oaYUPYZn0gw7ArAmsLsRJS/+eszbj4bo1oecnpeYuVCkt3dBgw0Jlb8zM0mOd1o8MntHS5dHmduOsrtO0ccHzZ547sCjmFIHYbY3ovDS7cP5ycmv/W74zy+J6BcQ8anNPLHqgRSTC6p1AsqhgWFcot0WBAUvRhmS75ovS4Py0t+8sUuX3zW4MaNABeWAvJhevv/LfDrvzZJvtnk0w9r3LjpJZ2IMDCHVMstQjHodYVL1St7adtnA569EOK9z6s8ezkove63XpzA6Xw6BDF6Tt76bgpTd/EXf7Yro52JqE5m0knxvCcNCKJvcXI4pNE1efW1GB/+/ByP1yPNAi88l2Rjo0k64SCb8WNhcHhssbducPmqD0uxWJyPMLJHfPbpKYOeE6fPid9tS3jcyXkfB+IS6OTLuwXiYfHmtSmWbWZnfKxvtLlxKUXP7PDlwzqLkx6uXI7weK1Gu6HQ7Q2xRw5CiQFm28mt54M8uleXCYT1vRo+p59Bf4juRU6uh/aQ/lBFUxSiiSCl8xq6Vyf5A3MWAAAgAElEQVSdCMttz2RMZ2E5wd5GC8U3JJn00ih0WLyc4ZvPjnF5VVJxv/TCCy/3xFSIeNzF4UGdl789Iz+g/sW/3uN7rwdlxOhn7x6xtOyVh9JmW2Nx1snVZ2Z45293iQZUZi6EONpu8NxLM2yv5+l2oKf2KZ4iD+lep4jUK6QiHlbXC2iKh/iYwmgQoNdrSZBk5dzg3t2SVLThMunKoUqE997Z4ZVXJ5ia9PPN7VOpnjo67eP3CvuAC7euEA6PePCgI4dTYsAjahzV7ogrV7J89ME2l67G6dRtWi2TcMRBpWyyclFQQ0tcXElw+3ZJXtCF0iqTC7G0HOTrr4Sv3kUk4cIyxJzOZl7EyH6+zjPXs+ztl6m3VGZmAizOhvmrn+ziDw154dVJ8qcGnZbJ2mqd+QsJ6BmYVp9wxMf9RyXGM04WljO8++4hp3mbZ294yU1GaFQq9OouGoMWjbIqfdoXb2Xod02pyHuyVuLGsxnZW+o2FObm3AyGFuu7fQr5FsetAcvJMM1hB8sakY6E6CtdiqcjJqe8tNsj/LrKUcvgu1eSklT86WaZ+VwSVR8SdSlSGVmq92g2Orx6JYupjPjsSQvFdHHcrpIM+vnBjQRPDst0VQ8/vtvlq0MD0zniUiaBZtnorh6aaREPabKmkoyHODqsUjBGXFtJUirXOakazGQiGG0TbTSkOhzS6yhMpRScnjBf7Z+zcCHGysoCpdI558U233vtOp9+s0Gz2iI+nqNeLaNaQ2YmswSDIZ58fQ9bEwNKk3K9gdftJZXwMRhqOGxT6m1Ef/jq1QlK+yfMXEmxv1Wmr6mUzg3Wzk0mvDa//qtLvHzzIv/8j3+C3VEJBDz4Ejbb2xbLi0l6zYbsdXncCpXKEK83TLXXlJtoRKT/5jK4RNzaolzsYzmGzCzN0CmeMT2/wMlJiX6lSWH3nGBIwxjY1M8F7T1ArWUwGQ9IVYytqzwqm+SbKq9MKfzX17xUWx1aik63MWB20kGto6H0BzgZ0Rw6CfkUSRMXnLOj3TbzU2FyabeEgor60Ug15OfzwPQSCqnMX/SxdrfF2Lifg5Mqk9kYjUZHpqUEM6TV6eNQ3ZiNDs3eiJnlALqlS0pvf9iX8K1ipc3MRIJqq8mgO5IHtGduLPHpF4fEwgpd05LR2qvXvaw+qjAxEycScbD+qEu7PZQR38VLSdoVk0KpgYZOMKzzzK1x/u7tNVpNhYXFBD7vABFGMU0Dze2mXW2ycnWMRr0nIahet8LdL5rcfD5Fp1Wl3RaXLzEkc3JwUuR7b1ymWi9y52uRELGYnxFDPJ2h5aLTFwqmCIYhgEt9jK7K9KRLpn0UdUjhXHyet+QgQvB0PvrshBeeS2PUFToOg3ali+1y4xzwlPsybMj37N2v8rz27Vl2dkrSJ1xtKPi9CsuX45yfmexs5BmMkJuNWq3N9atjsvY07As939P3V9/sU69a3HouQU/UWXaaXL8ZkQDgTtPgwsUMP/3bAy5dDjI75+PkxKDXsqS6dHI8zmBgcnQklgoqqVRADmdzmQRn52ecH7e4eC0tK0qpbJzD3bocYo+NCzaP8DCrFGt9JnMRTkSyqDKQB9on9ytcuxWlXO6jMJDKPgHfLFRtmo0Gi4sJ8uUuiXiUtXvbfPv1S3zy+TZLS1FZbRO6pHAowOFxhXajIdVjNqLfP2B82k2hoEhIldiwHOf7eJwaN29F+PSjAq+/nuHhoyaTOS/OoE4oqLH+sMbhWZuluQwu7wCnblMotGS0MxQWaikHB1tNIrER9zcMhn2Tt34wR/Osizuk8v43df6XrwbcWokzpvV5cNymNTS4mPIycDikhaXfNnh7rc8LaR+fP/lfsRo2J3c+JTU5R6t6itEtEnnm97BO7mIOI7i9AYb9Av3CtqCbQHCGYe0If2qJvsOPbXVxuwIM2iU0VcPpT9Br7KB4smjeMINuBaVjoHpHdAcunGYdKxDB43BjDWw65w/xJ1fotEv4Q1OoAT+11X+DL3QZ58QNGifrhBILMt7d7dTxTDxD4/gX+FMvgJ6gf/oLPG4XijspLxkOpcPQl8KWX0sePTRFMH2Z1vEaQ7HpdQqwq47l1hgU94mkn5F1vla3TCSUwugcEhy/gSvk4uE7P8Z2iBtJn7UnJ4jCcjSS5KxcwKW7eOG15/m//8//i2vXb2IOTB49uodf1ZmeERwe0INeal1x4E7z6OvPmV2YRR0MyM1MkEilOd5aE+l6aqUuyUQWV8BFu1Kk1qhJB/wvf//bPH64JhkHutvGpeqomBzsHrK0cpOXXn+FXqcqqzWWpj6FDxoG7ticvHBbrWOcgn0QXkRxRXDYXYZ6CkfnHLuxjtkoYScuoLpV9G6boe6l2zrBHb2FZpURRFehCTUVC4c3ioM+RuEYr1ul3euSnH+NXn2PbrOJK5jD7hyBM8vI0UN1OJ4OrFslfNFxPKEpeYmvd8uEojG6+WOsdg1P7jqjYRWldYSpR1BUN7pZRk8+S+vwrwnmvsVQ0bFaO4xUUXb1orv9aELT3DjB40rgsHooScFoaDGs3UXLvYTaFfDrfbr5h3hT4tlwMsy8jK+xT7/fwJVaxOocoDvEAMumUzgikE6CFqXbU3E6m7h9PiqFJjG3wkgL4cyN8U//pz/iX/3pOd996yrnR0cUCjY1tcGcW2MUDPJLMw7+iytO/uK+UOX6JEj03kaFm8tBLNvPab5INhUgkQ2zt1WUNRSvK0y10GZW3C2OqiTSMUKRkaxnfv7pOXPzDjR8snIoEpkixn982qLfEGnLKK6QycbdNjMrfpxOD8e7NakOffmVWerNOttbFcIRwR6xCPj8eCJB1lcP5eD67jcNnn8+iT/u4bMPRVLFLx3xLq3OSNdZvd+m3ujw4svjJDIe+VkrrA+hgMb2Rl2y0Z5/Mcnj1ZJMUdfrAvCmcXIodN9TKIykKs/oWgRDbiJJlYO9Lp2WzUuvigRtgXK5K1XVghdRbwklqUYqGaXWaKG5hACvhdULEIk9BUCKCvHu4Tm9gY1bcWDZAibu5fbjU37te8tsbOQlD0ykyBYuhaSSXOmPUNzC3lVnZPdZWojLrvzh3oDFxRSffn7CxasecokAxwXotUvMTSbpj7p89F6dq88l0dQuva5Ct90nM/EUjCv4aZ6QYNq5uX4jTDzj4pOP8qgjFbNv88yLSX78J4f07T5vvpmi17PZXqswPT9NvSxSvUEJ/222+7SbggcCF5fjWNqQ25+dS0Xn+IQAAfYJJV3YHZtStU4imZDMsdPjNobZx6UIJblIW5sS+NdpC2baU5h0qdal10B+DQIge5TPc/36PEebTw05jUYNS+ujDj3SlJTKRgmFhhwdGNLocLjXIZMMcXByQnYiSbsuBkZeWjWH5Fac5atcuJDg8WYd5Yv/btKuNwX9sc6lKxk0ZUj+vCsP6gPTwyvfmuH9n6/JbqzL7yThC1KqtuTEa2Q7ZYzM7XZJ/YGteLh8McTakzJOp5OAJ4gxrBMMCKKdB59zSLPVpdTQUG3hJBYxW0Fa7qM6mwj0u1BkKC6bQVfFHAwZKm0m01E5Dd09aErqt9jgihf3wNJYf1zid//eDEd5eHT3kNmpKPcfN3jh5Rge50BOQ766P+TGFUEJbqIpOtMrWUmRzGYFOVKXl7BiQUQ5+rz2apKzksnDJwWmkhHGxnUOD3qkMk5OzwcSoiLSDppriMfnl9qskdHlte/M8vnnJ7K7evHmOHureY7OVb71coTV7Rrnx4LC7CYSVEnlglL5UKnamMMhX35d5cqcn2dfDPPuewUy4wqdboBqoUoiFaYnfKOLDhj6ZKdDwMs2NlpycjU3K+KYPQ6OBLRNHOhqBINe6YmMio512UB1qLTKtjygtMSwxSXI/30ZFVesIPcfFnj92zk298skQiLykmR3u0k8YrG130GxNMJx8fD2MMwRz7+Qpl425NY/GBQvMg9Gu8q0mIgdt6gUFH77NyYl/XTvoMjKhQROt5t8oc2DO2UuX/My7Dmpt0ymxwPcvVfgrd9e5PYXx0TC4tnwsbZ5yK1ncnKDmMoG2d8v4nC5KZy3uHA1yfF2hZnZFO+/ty85BqmxAL2GRbVUZ+S0qeVtcuM+ojGVL7+q4vQIyGWCrtGRNHCB7phcCOByW9z/pkg658Wri5RAjZffWKCUL3N2OCKchGqlgaJ6yaWdUqcmKNWCrorlkoCt/HGd4ahPtdRn+VqGVmUkvdjvfnjK7/z2FNWKzYefHPLqcwnqbfU/XOQcomTLzmaDH/xwka2HO3TtCOm0wsxkikKpTv6oh6o6uLdaYiLrZn4+wOrDBqoH3vj+Ak9uH0kPtT8itmo9Ge0vFwaMjbvJZcN0xMF9syD9p1u74jImlJsuzks9FMvH6uopybifH/3WHF98fcjxQYtbLwpia1NuVANhGPTAtgJMTIqos4ndVQmPxdjdOCKZcGDhIl/sk02JwYjQWja4vdrGcik8vxzg0aaBovUZqQFm036OjqqUjb7sll0Z87J6VOe0ZZMMBhiZDcazITbzA/xelecXveycW/JinfG4ybdGvLoUpNJo0TA0MnEf//yjPAc9N2emit2CuZzCtDBndAz2iwPmsj6mUz4eb7ZxOkHx2tIVHYuqEgAnIomRiE31vI8miO7TUTZ2jhnPxfGGXVx9bpkHmydoLp12o4VjqEgwXqvZ5M3vvcSDB9uowgJyVmB8PCWtI918C0MdYCkqE6ko/YFIv5jotsnMTJRWecAQE12UGlxJTk7zFGuG1NVcnA8SiQTY3C8S1p34kjpG3UT3iRqDQi4ZolAwyB8VmFhO80s/fI7tvR2Ods+59fx1qdQMJYOcnZyiqD5WLqX57PM1hoctem0Tr19cgsJUT+pMLcalDrLRGxF22HSHCo8LDl6c6vPstJPsoEfQ4+BP7xu8NOmWwDuro8qoeN1wYjmHksjs9TslCXkqG0L1aTSLTTRdmPQcFNsDpnIRKs0q8UCAVq+Hz+NlasrPB+/t02rqEoA3MxuhOzContuMZ4I02y1cQuco6LVuE5fbAbbOxkadb78+zvZuCauPTHPEEn7OTqoS9CZAPGIYsLwwJnVTitfD3/7lnqz2OJUh5ZrFpcs+af1ot6HbMTAMm9mFND97ZxNzAN99M8P5scK9R2esLAcY9FRCcfHCdnC6Z/DSd8b46P19/B6da7ey3PtmD4/Xh1uojHo2ujZCcWrc+6rIMy+m6HXK9Id+csmgdPe2y0Nq3bpkR3j9Nl98VuP6sxneeDPHN7cP6FQVLj8/xjt/sSFBc4IurYhxb2fEd39llo31cz75RFhbdKZmEhztlYkGA0wvBmWibGfrnJDQwKFyuFnD4fWxvBzh+LjGyXGfW7cEFNSgbwzITQo+Qk8eDCS0VnTER6KOPODm9Qym8HpvnVMtGyzMRfF4FY4LfcZSCjs7Jtm4n445kImWZq3PxGxc2lf8YQ23FuK8JGCHKb7+dA/TcrJ8JcSDL89JZAL4Ah6iXhf5Uh2nG8RpKl8cEo9Bt2mjhVy4bFUSsJ9/LkOjAzubNWk3uHwjxflJWRpcrt1IUBELgZifcsOiVGlQKgnODtQaFpNTcbmdimc89BpdOg0HN18e58mDY7nxOjsSZxsHdz+r8sJ3RBWvx9p6i6WZhIQ3jWcClGtDaQ4SIN3xGR+TkxmZjLr91TavfGtB0qtP98RnpricquiqRa1m8UuvTrF7JCqSTlm9Gw/ajKd0/u0dk//t7oi5MHx7xsHOQYlcdpLDkkmxUiHpdzPwa3zwdZV/9o+f4z/7n/8+bG3z8LMvGZtcJpQdo2qA1+ejdX4M7Q3cyRVsxcIo7qD70zhjWRqHjwlkb+Bwh+nXH+JyJrC7HUy7hB2+hC3ORL0WmlPBcqfp984JxKfpFzclfM6bmgWrit0XtUAHRt9ET0+jtU/o1joYioZfHE0cQ1zOLKY2wqqfyP66K5TFkXsGZ3GDgXnKQPHhC8/Rardp7v4d6bnnGAYnoHrKUBxJUss4Th/SHQ1xiQheaQtDgJD9OZTkrIRVqvRoV/cJx2YZdFoyAdYmiFvtoodiuL3TUtenh7Osv/PHPDhqsLO9R8hp8723fk3qqg2jgdkSCVEfV77/n9DM7+C2ziUoOhSPcLixzu3PHxCKhQmnxjg52kW87lPxLJtbGxi2RSiS5c79B9y8egXt/6e33/n6Cb/zX/4Odz77kg8/ech//B+9wlgmy8T8BX7+138pOSFXnr2KYyS27waaZ0ImUbrlQwJjl6RFYXj4EY7sy3J4Zlbu4vPMYykNVOcEw2EdZdhECU7i1UYYlTzExtEajzGVBJ5UlmG3iqr7sZpVrPYIy64RTl5moDdx616Z4EFJ0Mp/giv3fTqP36bdPSIYn6bTEmnIm5jdEtWTDdzBJIFMFssK4HCMsJqnsh7Qp42iBdGsKs1yAdwZ3HodZ/wGiqEwbD+WCxbx/+HNXkPpl+m3ygjnozOcgFZDJgNG4SQj8wzdkWPk96IZikD+0akeEln4Lv2RC32whVE7QHdNSBil2tcw6ct3i2BXiEqBEpnBLjyhXjojdvNHGGt3cYw7iF79Ln/2P/59/vt/fsDLL4zLs+dZqcSLz4yRcKr8u2+aKD2Tv/n9GAeVvlRsasDqviGrArqmU272SEW9bKzViad06pUBCysR9KBCcd9gejzBwXFNJnFUwdAXnCnVZDCAZM5Nq9ql3xWLVQOvx03prEZ6KoJLmIkaA1BHhBM+dtcLvPL6FPduH7G1NWRhxYlL9+AXZx6hcgsqsoInaiCClH96WOLZ53McH/aJplRMwy2XVrdeyKCpbrq9BpWqgPSNCEXFWdXFxFic29+csrASlKDb4qlIWrm5Jv6e7QqNlqhQ+XlwLy9rCsL2Jeq7x4W6NKDsrQu9oYNIXKNVUylXOswtxqlWewT8I56s9ojFNOIx99MBvRjEJlxkJuKYoqO/XUd1KQx6fVI5L6qic3Zmkk46MQyT43yVb31niS8/yzMxLn4SGrZpEU54efjoXC51FhdybO6es3jJS0Xc12yNRrVJMOFjfjHM//On+7z4YpJwRChhLanG01UX5WaDcDRMpdhm5UqUSlF8/S1S40HJ/BLGpHhSJ+jTqVYMmcROJtPsbZaYWgxyft6QVdkLVz1srrZ59dtLFPIFktkwRydFuRgT3LGzkzKpcR1d97G9W5Y1vBdfWqR01mBt/YRMMkIi7eX2Z3l0v0I8ECGSU9jb7MhK74vPjZMv98hOBPE7PPz0nSf4nAqvvr7E3/zVNrdeiGA6nax+VSY5qbO3OeDmjSABn4P9E4O5Ka80iQ0sS8Kqy7UBYzNB2uXuf6h09DHtAW6nk0bFxXm1iPLeP5m0RX8kN+1nd7OGPbKIRwOy0yWUdSIOWzkZcO3ZtDz07u11SWeimEZdPpBCmZcOe0lNhPngg2NmJp1Yqsr2oxqXroqOY5qvvziVlMSrz3hplA2pDkpOe8gfGYxNO/no3So/+L6ApRnyv/3s0zMJ7VtaTvC//8s1VhY0GQPfP66TFLHWkzZzEzE0r4P7d/aZyE2zubvHWDbLzLJD9jDEwSOgaQSjQaIxjbbo9tcGGIOWPOwVzgTlEzot4Vd3c1qwENnys9IItzUimtVoNUckIx4uXAiwtW/SqtXxiYmcy+KFF4X+4jEN0c0eS5NMDOTW3e22JAyw3LDJ5JwEnR6m5gWEryp1XKJbLQiTRnNANOWgWRziCms0m8gtzfykj3LH5N5XTXxhm/l5N3ubPUlzTEQdrK3XyeQCMua/ul4m5FEYDBzEkg6GPZ2v1lukAxZvvDHFwwcV7j5sMD8pFB0hTg4GtHodFheCPF41GDn6LM360bxe7twpEglYdE0Fe+DA7dK5cMHPliAzBwP0Bia9tvDmistmh9FwhEvo+jrIXq3YzA37Cs2+zdDokh0PYbeHzC7F+eTTPLprxLPXJrjz+IjnL03SGbQoVsXX6+Dzzwt4/Sr2wMfiolMqGG/fLxMLe+gKN+ZCTG4fDrfPcQcUbtya4f5XZxgDk7HJEOenXRRHn43HJt9+M4btEHpIqDdrnJ4KDYqLS9dyfP7BMYsXwhTOG2iSeKRyvGviCVqsrKTlZiyeDHF8UiXkC8lJrd3RZORyf7fN3Gycx6sFbj2bkpHzd366z5tvJvAHPbz3swKZtMbkooevPi5K6nVTpGXcDi5eHeNgv0RFHLpNFadnRDXf5aXXZqnVOtTawtRQl5Tr09Mq+eMuS1fD5PcMrj+XoFjvUy10WV5KsL2TR9NC/Oz9I954KczQ1iQMbH2jRjLtl1v33e0uQoCleVVySY1oJEG1XqNS7lMvmWRnQjSqT6nP/VGfgO6kVmzgDoaYmgpxsHFGOB2QiQKP00nftnFYQ8JRnePjDqvrPX70oymcipPb949xWRqBhEduXW9dDnJeHjGZ9pEvC6KzLXWZ1d5AXnDzZyYiGTk/G8Khi46fgIeKS3WTFxazGEqdw2PIxXU6fYug2yYR9tAxBlRrLRyuIIFAgHK5zK2lBF89qmG6RyxFfdwpDPi04eHDtTKuoULaKxj/DmxT6BV15rJjnJ2cy4m332fTqA1o9wdcviLYCkMKIibq8HJ41pX6wVqlj6hyzS8lCURdqH6X9LsvLGapNgbsbO8wMIYEfC5U2yKQTsuNZ7deIBmK8vn7d/B7g2gBL6eHRWn16Pb6TI2HZKRuOhXGUNpYAzcjdYDDqXOw1yTlt7Ecfhh18IcCTOYCEiZTbjUp5ftMjznwxIJo0Qiaw8nIelrlUVxu2o0eE7NJzvbL9DsDScLv1Dp4h0PGU0maVlMCbEQ0MJn2YYutvxbiw60KQa+TN5aH/HDaT77RYNhXaQ8GRCNu0mGVzQMBgwxQbnVp9nXeWIny3jenFFoWL1xK0mp26QklZ1l8TzOyw/xgLS9hgK++NoVtDvjo0zMuXkoTDbjkkGt6Ms32/hm9joNKrU0uE8TstIlmApIhcnpU4Td+8zLvvr9HMiNe7JocGm+Ii62CZJhUq232Dzpk4jqmpUkDjYC6TU2HZbrkwYMiV66lmJ0M0DNM7t4rYdtO/CGHtNaUi/ArvzZGqWJI5olXF53yHk5xaRtZTwd2HoXHDxq88d1JqucVdndbLFzMsrPZ5NrNJIeHDepyUKjKi0P5pMTEQpL1tTLZlE9WUKJjbk72e1y8mOHs7JzCicrcnEYsmaKQP+XBWod0SkRDFVxule9/b44//8k6P/ytC7zz01XJeJlZiFHM14hlg4zaouPZYe5SnMePSvRaA2bmktTaVb74oMNv/ChNOBzgwb0jTMOJqgyeRgQrA775ssL0jJdMOsr25rE81MfT0O9apJJejvPCtmMxFM+/UAluVVm6kMFW4MHdBtlxm+xYhIPdIqO+h3DCKRMEM4tJaYHpNTroXoeEEmn6gHJtxIWVMDtbVVTBNgkqWB0R+YzwwS9OuXk1TCwZ4fS8IpNEC/NZ2an0aMI7rTA+7efu7QJjWV0OLR4/bpIbC1EpdiXsMuD24HCNSCbdbKx1uPVKCpfm57NP1omlIpwcNVA0FV2xyY15iYTd8ue+f1JiZjKI26kxvxxja7OKZahcfSbF7S/z9DoG85f9/OK9PBcXAhh9kbaZ5+0fP+LCpZC0AhUqFjdvZFAsi11hhggrXLkS497XeXw+N1snLa5fDuJs2xDU+Vcf1/lqo8/M9IB2WaQ5VLI+N5ZjxLAy4qVXZ9nZPeHuVo23/+1/TuqZm7T3ijjzoifepqsEUO0MtnOANqrJVIbm9RFwWwzUIMpIJMiKKIEYnvAYtaMHaEYDl2OEHV2me3aX9v4vyL30j+ibbTyhOGblDKc7Sqv0mOjYNfqtNopi0Hf5UAd9CVkNTy/RPt7AYfTwzt7C0gzUvoVhNRkcb9FsVgh4xQBF1JTq+MaXQdgLzg6xI1MYpw/wxt24029RO3wPrZvHn7qMA2g3z/FPPk9t7eeoQulm6ww9DgLjzzNqnTLodhl5xzHLq3g8Kmpwjur+5/giK7iddezaGYaq4fJmGfTquCNR/PEkI0cabVDidO8BmhYlmpjg7HSdkD8izwCWZuP0JbArJ+Afl8phs3mKb3yewfkRukfoIoMMq1sofgG409jfW2Pl2rN8+dnPePzgEVZfYXwsizscY2v1PnMzS1Ldu7u7jT+cQx21eOnVl8jOXkTpN1EVwdvxoDh0VLtLzyjiCsxgle6hepYlIFU89wPEJv0MLTqPZdUxi48JZG7hCadpldfwTb5Gcf3fozZ96GE/o0aZwPRVrGEJb2Kc4Uhl2Ctz+skneHIpPvrgfeYmLhGIQCp3DVUrEx6/iKWnGLZqqGoPo1nEH5nH0gcYlSq95jmu2BTdoyfo7rCECbr8YUYjAbi2MAqP8USX5SLNoVTQ62X0iedQAhEG9WPJBtCtCpZvDHdiWVaIWvn7aJGLuAa72J4JrEFPcgBc/iTdYgE1FUEb9OkcrhKee5mhK0tz9218gTAOdwZVU2js3sadmsDtClHef5/03C9R6QzxtA6JXv0W7779x/zuP/yM+asBbmVCfPn4gOrQzVvPRDmqdflw1+ZPflllLO3gs8cDltOwXbQJ+zRm5kKUKz1qfYuIxyUZWBcvZnn8+EButcUSJhFXSad9dDrC3GKRS6XY2N6RfAjBcNk9bLK4EJaXXnEGCng12kaXcn4o49qCiXPvUZ0//MOL3L+7T7k6IpuKUqm2icd0RvZQRuZ/8uerRHJuXLobq9MlOeZn9VGJ2fkJqRY2BWdmZMoKZyzk49HtI175pQke3RNnaq9McvXMIRcvZHj377aZXwzSbTnwBoVlzE3+rCQ7+9lJlwR0z04E6RoW7YaFJ6BKftLcip+BIdJ5BsGoC7drhDlS2Vkt0jc1Xv5Okp/++R6vfWcMW641LE5OBEPCJdlLAa/gavT41htTFM4GaNqIWs2gVuvhFm0mRVMAACAASURBVGkWj048FOXspCANSi+9NM3DO2cMhorUsPuj4nPbQyg8YnOritJ388yrKc7zTVrCSmXazM6F2VyvSeuMUFY78bBwTXDOuhQLgslV5eolwSBCgvje+tEcx9ttvrp7yvTkU9OGBL4aApIeoFLtMehDqVLj4nKW1SdFXvjWLO1Km16/y9ZOi6WlJIf7HcrlBqmUWxqjLl+Nc7hZIZ6OyArd9Zsxzo+HNPtNymcDbjyTJJ4Is7NfpNPsyoFNJKHRH0C1WGd8agKzU+es1KDX0wlHB3SqLtpGj8sX/HzzTZOVyzlSaZtu3WL/oCvtBSsXU2i42N875+oLCfJ7TZo1NxPTKmOTGT79ZA0VL+MZP96wwv5e6anV5Ce/n7JLxQZJMZXBJQ+0tj2k0RIJAE1G1OcujLO5kadSHRDy6jTaPbLJCA5Xn3q9R9/QaDdNdM+IbC6MN+Dj8e1TxqdDxBJO6oWB/CF53QNS0QCNXo9AUPT72pRF5y0WZ/+gQCjmklGQUNjJtStZ6dsVvYVQSOfqzbSMKR3u5mk0dPwelUBIZ+h4GpfAIQ6Hfan6WZr34/HprD4WnvcRqYzCMzem+eDnootko47chKKCHq3Lg2Mk5GZ3vcGV68IBjuxgLy9lqJfaVLuiv5+kWmlxeFphLBvhrGBSKtRlRNSjW+QLBtlUBH8YegMo7VZYvDqGafb46MMz5hZDXL80xkef7pGIu7Ethbv3C9y4FpMXOBH7fLDaYWerxbPPRhgMbTq9PnOzOVZXt6nURDREp2+atE2bsZSfUrknL9UH+ybfejmMFvJxtJnn8uUx3v3ohIC4nPdskikNx8BG2Lx03YHP15cu9fc/PWdywiV7TaLP4ovY7D1pc+tmjJNaT/4cWj3hyHaRTGsMbJPtXZMXb4ZZX6vIS1Or1ufgWMR1LeYmfFgOlUbDIOTV2DsZMtIUwkGLkNcrFRQLczFOTxo0al3KTZt0OkxuzOLe4y7VukE8rONzOrGGBt5wgJ3NNpmcG49jgMupSXjTxJyTu9900X0jkiEvG5stQklb/PpKpWSnbZDP93C7BKitgcclPuS6TEyK+KOCz2mxd9TFJ7a7F6N8+XWRiTEvQiAjunGCW/HFV1Xe+tVZ7j46kbTpP/onK6yv1xkaI44Oqrz44gRKwOZv//0uYxNe0ukQ39wTfAQvqbiH4XDA/HSC45MKd1Y7LAmK/y8v8fF7h6SzGntbdcJJQQJV8HpsCWsU8S116ODK9Rirj85wqi4KjRa/+ZtX2drI89nHebmd090a4ZBb6qCWZxPSdBGO9TnYGkgPatDnkHCqzd06k9NebMOWE8xWx80rr6XZfFBB8wofa5rVO0W8UQdDQ6AMbIqFlow+f+v1LJubZSIBD9lcUAIN3d4+45MTfP7lntyUP3c1wMcfloklNVn9+PC9fa5cipFMB6lXDVodg/JZn47V5dJKmnLNJhkTnIUA0aiX05MzNoU6pTci5Rd08Sh3tmqopgNv2EYdKFQ74vMmJKFa4vfwynSAR1sG4eiIckGhbKqkA6aEM708E8AQK12fzjerPRZyDkqmzk93TT58YuEVz1DSzWJEcDdE8sWUKqW438IZFcmENi6XCO5BY+CQDttRH84KgkDtotkRPA0Xar+HayLI/NXrnGyfPe3udYayozU0DS5emJdwtoPjM0Kag8xEhs2tPV57/SVWH2yx++RIKjqFhk8Mm0RMWETCReFD1EVEIsjj0vF5dZrVNpqIvRuK1DBmxmO0Bh2uP3uN2HiAne1TumZfDh18Ik5W67Jyc4XiaZWHf/MVXo9wxjuYGQuwV6xRyg9IZPykoi5OSjVuZMN8utnAF9SJqQNeGHNwYTLE5mGD84KDK8uQzXnZ3hvg0EYyfje17OR4v0Mk6GdEm2QihMPSZKKiXKuxtW/w/e/MyZhuVbwsOwMmpxNYjLj71RnLV9JsruWlL3t2aopuu8Wd+2VmZwKSMnztZprt9Qr1sgA0eSnWW/xX/+gKP3t7GxsxgBGHEkUmJtya6NEFUGwnh9sVvBEN00ACPG/enJTvgbff2SUY9KNrA6llE13raqGBadtcvpqTGjilr/NwY49+c0ByzIfP5eb4qI2qWVy4lJLQQtEDr9VMCYq9fiNLUejy7KHU5ukeByFPmO2DM3K5GFdWYty+vY/i9suo3+R8mg/fecLI9dSUIX62In6eTup0u30ODkVU3idrZIIK/vXnx8RSXhYXvDhVL4mcj89+sY3H4+bWy3OYvTaffrTH9EyOTrPMRCbDSG+xuirqQEFODjsouCiWq4QCPgne6/RNHt4vksvFMTtDIjGNhtHluVszfPGLNQ4Ph/zKb81QOulRqXdRdI1IVAxjakTCIdY26ywtBGTqbu1RnvR0iOJRE3s4ZPlinFbPZP1RC6dX5dJKiHbf4slak2FP1AjSckD8zadF4mkfV2/Euf3FKXMzcWHTZYiTgdESyAJiERdGr48v4GZkqihOqDYMivk+4ZAL3eXAHAhrQ4IPPyrw7e+E2F410QI2U7kwh/vC7S4ScRYRr8r335rm3b87JJ4IcflymEeP8mgOD91mj+yMV172jwp1Tg+FCipBrdDhyVqLV15MSoDWxas5Vh8dYdgj/MEQDrNHOq1RagqFrKhsJRl2e5TqBpOZCKW6hTM0wof6FDZpjSTRe3oiyPLMiP/2T9u8vdXGK/q1STdV0RHVvESTGr1BVw4SN/aQsNO/+cs/YC43yf7dj3H7x7DaJTmQSlx+if7hOvX8Me7kFIGpFaxmmU7jEH/uBSyrx6j0mF67SHDh1+lWD2VE2GFP0G9vYXsD+HwpHPYINejHbFlsPPwFTo+fUCQjhzb16jnlVhWjJbS+O1j2kOnlixxvrhIJ+chOLDAcGswuzON0NBlbuoZlq1hqGM0qUnh0n+SFlzn5+E9AjxC5+T28zij104fy90XzTcpnvtvaF+h0VCXIyDjEE1+UveFu5Qyr18DhCNBt7uKffAltUKR3vonDmUWNjeFCAU8As7lFt2bg8wUZWg3QYyiDAkbjgFjyIobRxD32MuWHf4ruVYks/LZks/TO1nGMzsE1ztB2SA6Ey+/FMj2owx7GoIZD9aB7g4zsHsPikQQ3h7IrDKwBar8pe9pD19PaqDAeKLqXjnlOeXOd/bxBu1xkbjzC5Td/SM8K0q8e49Rr2J5L1PZ+ji8xi0d1MxAD314BJTbBqFnC7p2haikstYPbdmG5Iwy7HRwhP8XtTfLVMxkxP9uusrl3yNxkmtnli5wUChxu7Mrfn4bRZ3l5gdsffSFBuR7NyaVrCxJ4fXxW5sXnLxKLpBjaNj6PTigZZiQQWWEn6qiHbdko4Um5EVVabfkcBRZfANtDp7mDN5bFLBYYGjZm80gS+BVHGtHC6OY7qAEPiseL0u6jW03aaAQTF7CFbeB0i55SIqSG6AyHjNpHeDPPMKpXGQUFkyLLcPtnKKEgmjeCbYm0YR/NM8no/GNGrQbqwg/QlT5WfZvw9CJHayfkrszgEGrR7B8ST7u4GNMIZsN0GzXWT1usTMX4ZK3DH76Z5TczT6uEfr+Oz+PirNiVMfudwxbptIdLi2I4eYbqUskkFJ57eYXCeYn/41/s8p/+To5YxMmf/Js8r3wnRLNs0WwZJBJuokkf+eMKTkcIRRswHPSwha895qHabOG0XWhem5OCiU9zcGE5xtl5i2QqKM/HyaSL/sBJ0Gtxdtah1bZwuz0sLgV4cP8UxfbR7tUALx5dldpSp8PJ2sMzqfqdmgny+I4g/vtpNtoUq6KymKBaa2P02oxMXdbthJXq6rVJvvxkB38gKHk/2XEfH398iq6rjAtotVnCrQRZvJLgvfe30DQHKxfGOdg+Jp4R2/Qa56c9lpdjdPoaA8G9etwnN+2VAD1d7zEiKGPo8wtBioUu65sdkmnxPXUzMZXmwdcHLF+K4/GF2No+wzSHeNxOUqkwd744ZnJB1Egcchjh8SlySFzLa5RKbTIpJxNjYVoCUl8T1ReF5QtePvpZges3ExwcVgiGBXvGolZo0RuMaNVNpuaj8nzw8GGLcrXJoki3uXWsgTjz1cikI2SzQllcZXo2TnfY5sHtGhdWxuXQ1DT7lKpDvG6bdlNh+VJAAgz39mrykj42pbOwEsU5cGCpPRz4cDgd7Gyf43LpzE6LQSk0Gj0K5QrxSJi9wwoTYx66dTfGoIPL4cR2GiyvpFlbK7F0ISFhw+//4pjF6SjLlz2YbYWtrY7ktZ3m2ySSbjmQFH+i0afqWZEA/uSjU37thwtUKh02t0qk40Gp81Te/odT9vS0hzMBNBP/oGJROmkSzwbodofoti198Ko94m/fOUFz6Lz8UhifX2V93eTaxRydUYNKySCVDlPJN/n0y3N+4zfGqVYUjo/qXH02iq4GeP/nG1y9nJYqE0FNP9vrIbJVv/KrE/S7Ku++t8f4ZIb55QC/+PkWbt3Hj/7eZf76J/dlR2tiJsG9+/uE/F5GA5uFiwkOtwecF6qkEm50F7gCOqbwSzdHpLM+dE+fkalwdm6yNB9CsLKfbFVkr6yQ7+MLjhifjGINRhRPDUJRjZPzHueFLpeWBCG/RTTowRwKPdOIN3+Q5osPz4XZkOy00EMMmZyJ0mv22dtqS+VHwONjZNncuVPih7++wu5ekdPzFvMzYQxjQCjqwKn7aDXaNFtDuR3yRIU01sahmZweDUkK+JfTI6dkqUkvx/sCWhEhk7LYetJifDlEo9ClUYd4TOHg9KkuLRIRMfU+e6cdrs67OC6MiIV1+WDsHQmQUUQeSg9P2rz2rRwffLBLyC96SQM++EWL738/QjLu48OPSwQCGoqwEOgiIpui1+9JYEk5XyeTCXBUNohFdVyKk0TUxZd3yszMBHHYPbb3h9IzLy65Owcd0kkfSzNOjgomykil3Tdk38Xn80iCea3UwifgKsJZjEltMEQxYD+vMJOFUNjNw7U+Pp+BIIEIJUfY55bJgVpFoZhvsHIlxKMHVZ5/PierJncetHjtpTRbD0qSzWDZHgmBeny/Sjrjlq76dDwkVVjHxy1024EvMEK1nVx9Ls0vfnZGLKZICIvZceNLWDLm5vaLSVuDq1dj8vIptq22onPjhVluf7aJraioWp963iQm4lQ5ld2NNsXikKXZKJrTFo0YVh80ZNohk/UyUk2GHZULF3Osr58wHOn4/Qr1ch3F+5TSv3TZTcARRPX0pJpkdbXB2lqDF59LEk0IbZYAJGmUK235zDSKQzZ3GkwK+vB0gicPTiQ8cHYmxdZuiXTaKzdUmugjjhw4HBqtTgOvx8uTtSq3ng1TrViUqgpafyBp4PXmkGK9w/M302gOB4OeMF6UpJZNwFIKpxUcqqhAOEmNBTk9blCtdvE4bUJhlUQ0wocfHsqD+cZGmUg4Tsg3Ymenxf2DFhcXAwzqqlRodrrw3tcl3notzu0HVQm66w466JoPL25KvSKXpuN8+rhLNjDksDGSBPmMR6EzsolrJp1Bn1g6iD1w8z/81Tk9WyccVml0dAx9xIRPJa07KbU7xH1uKiNTpg0yCT9O1c1+vsHMeILVjRIhz4heT3hwn359VmBINBlnbDZD1x5IwKPo0HW6BlPzEyhqj4XpaR5vHPHo68dcf+4SA3NAPOqjVm1xfpaXsJdUyIcmAtuWRb1h4Ay7WLkyJmNjaZ+TuiG+935efv0Sd++tozjcmO2u7Jgapkp2IULxOM9UTMRSH+EeiQOQj8JpE0sTvA+bQdvGn/KTUkfoao3jgYsHOyMmogPeuuLhSszBeCzAjz8vcWHexdxYir3jIgc7Ay5f9mD1xXS8TyIX5euvz/jhLy/x0787ZGnawh+OMzAtdreFms2NU+mTzfnJTMalWu2Dt/d55laK1mBAr6tLx7XwvYtoZSTqkoBJX0RYJjySQZFMhxhZKs1GDafLye5+i35nxLffzLK/WcPsqITHxfZMYX29RCoZkjaKWFIk16Dfa/BktYVi68TTOqo+YmYyjjVS+elPd/nWq2kcmiU3MwcHDS5fj6PYXnrdIef5Hsmsg9OTKgPDi2HVSQXDjDCYnM/xxSe7Eh7k8znJZHw022JY2mJ2NoE5UGTKxTQHTC9G+fGf7RIJKlx/Jsn8Qpj1rRrtitj+dfB4PIgj7cuvT/LNV3la7T4hn4+ZWXGBsDB6Os1yXWpW19a6vPz6lLCB89fv7HPjcoLctMbBehNPQCd/3uPm5SwmFu1qjZ2jDtPjMQlBjHo1Wl0b6WV0uLj5bJY//3ePWbkaZTIX56vbgtavEAm68bsDnBc7T5kI6ki+Z83RkE5LGFVdaEqLYFIn5QsTzrr57KMC6Yy4vJsYhgNVMZmci6A7FD7+tCLfd6IOEQooeH1Bvvn6lJdeSWOrNmdHogrilhv4pcUY+bO2jM6K+LNQ164sZ1h/ck4yK9IFAUrnbRJpjfOzPke7fW7cinFyfM4IARsW3XWNeqchQYCYFtWag4kZAegq0e0MmFuKE/U/TZvFEg45/MtMRBiOhMbRx+FhhXbNwdS8Wx4QI1Fdkr7PD0ts7rR4861F6pUmH32cJ+BQ+L0/epZ//S8fyrrAG69MsLvfpWM00UXPqKUQzXnZP67xqAD/za9EcHs8/OCfnXHS1/mdF5Os750S8wbJhjQcvg4bm23UZILVeyUcloDS/lMceozm2hecGzoOO4GPQ5ShF693JGtRsVAS0xWmffARwdRFLFtBtw0scWGMTuIwDUylh8sY4fR66JgNXOEJFHFB7pXRXG4effI2uj/D8cF9AuEVxnIBtnYeS2aNiCiLRcpYZoyhYdIxbR7cu8vM7BKxSJAPP3wXa6iRS4cZORSu3FjixoVXaBunxLMJ9NDSU4ifIS7LdRqFfYLRGL1OA7NdIpiYoNduMPr/WHqzILnS80zvyXMyT+77Wln7XoUCUCgA3ehusBf0RlKkmhRJkZwRJU/YkkaSQ2OHx47QXMz4whEOhzwXMzETGkkOTYRH45FGorgv3Ww2G92NBhqNtVCF2vfKzKrKfV/OyTxp/3/7GrgAqjLP+f/ve9/naVlwJM7RPP2Avn0Ih6WBEpiib/FidVkpbn+CLzFKTw1L5XI7u0r5dJPg5Jfo1g8wbCGikRmqmQ+w2EVybwG9skq3Ukf1x2gXM/hGJ6nvbIA/RiA5h1E7xaKK75lBX7HgS8xg5A+lpUmwkWxmiUbTJDh2gdrhCka/jCf+LN1+nVYuhdMRQgsEsfYUWi4L1koVXW+gOoKU82uE/AncA6Mc3v0p8blX6PYU8ls/J5h8CbNdRDdSaL55OZDUGxls7mFMRZPcIlu7geL20iqkcKhOGp0zTrc3cHu9tEwrmXSOucVF7t+9iycQlbyaxUuXxPGRP/+z/8jCzCiRgSTLj1c4f3FMfo6HJuawGl3eefenvHz9RXpWlXu3Puby0gWymSzNbg+HFRTFRSabJVc1mIhEWFiaxePr8txLv4bFHqDaqFLe26VW2CMYSZKYnEGxi+FNFsU5hhJyk7/7Po5gEItpFRRDqQ7HKNEsltFcHZk2MhsNFPFd6ZpYveP021l6ah8lEKPfEsstO/X0A1wOP13PMCghzNIDXMNXae19iqH0sCc+h1ldo9/z06dO2OFFef4Kf/DFf8Z3397hSzfimB2do3KLuNvL7kFR6u/iXp3/5eUQt1fzKCq4nG4a7aa06Vy7mpQpPNHNDgTtGEobvyPKWeZMxvBffm2Ojz7YZmrCw/Fpg431DosXPovs19sdvFYnh8d5nn12mFJdp3SmU22K+l+Py88PcHRcIX3cIRLq0jPsuENOquUaVosV3WhRq0O308UbtNLqqMzPudBUNyfpHJ6Im/yJTihqIxIWi6qCrGF6xBDM6BKPBihXBbneKfXdNz/IMTRgpW/VCPvb2KwByWUZHhe1NpOLzwyxu1Hi6CjL5LSP5U/LjE97sDssLF4ckJXrpwJcmnRLPlO+bMiUqmm0WXlc5tkXgzg1L9u7aa4tzfL+rRU0TWydvegtkZjusXfYlme9UNzGf/qLdSJhN1PzDva3SpKH5g86MHQb9z/JsHDeQyLup1RpMjkRotHqkstVJB1/OBli/JyPXLrE0+0Kb7wyysCQj72d4md3kmxFDl42nhaZnBSJvCyHRwbziz78Ho2z4zr+QJBIzIIiTFWnBapVAR1vsHgxIbkzxTx0ew02npaYnonTaNUZHQmQSpfpmzZOTsTfDUsQpGmxY+1/lr6IxN2srxdxCR21RUHEon2hEEc7DfKlGnMzUak0j8dE5c3P5k5BKpvD0QBn6QYDY1F87j6HR0Jv6Ofcglfem3XDxvhskI3Hp9JgcJAuYevbGZvxsrdVkgOFgaQbDI1Gu0Vmv8yLNyZY38rLivzSlSS7a/uUZEXBLgfsvqCFbK4vTTAipWD58R8m+qVqg7DHT73WkKRP0Q3HtOLwqHL6dbTRwu7p43AqJJOa3OLlz8psbNUZHXDKTa9mt2J3WAkGFNo1O1uHJ/g9drrtHp6gm2yxxNVLcd77RVpuKGfOucTon1SmKYcH81NCA+SSPaB6TcEwGly6IgiuQrvlFE4vCcCYnAzw7EuDbC6fSRDgsABGaE729ysYXYNY2MHj5RIvvz7IxlqeBUF23ijRanUkIDAc8/H+exnpXbxyJcHRcZ2+KTq9PQqiqkQfr9fgxo2LvP/BU6nyEV7JSrlLqVKXnfVcVZdxnePDgrzA+/wqqkPB53MS8qqyHxOMCm1fm9Cgh/3VHC3TRtAtqO9hNtYO6bRs8osoiOcuu4+nGzkJ+BLwvH5PYWOtJBVRQfHhrYg+v4e+pUq1CPVSlzd/fZSPfpXiwrMDUlF2dFRhIOmjXkFu0C8sxTjcy+MNednarAl1Oq1Sl0anz7e/Mcrt+xmePm7y4ithPF6Dp49NCa0Qbu2xER+NZgev0y770Q/Xxe+oQ9dQ5EYwHNF4cC/LxJy4aLg43OtIR6fR77OyWvks7mi3cXxaZ34iwN5+SU4xWya4FCtDSQiEvJIavbJSIjnipl0XMRnQrIbcDG1uVCSswzSsxPxOsgXhwlVwq27ytQbtfpeo10mnp6P2FLwBD+tPCpiq8G2rcrOuKm46Sgu/w8Hte2WcAZW5UaHiaPDajVFufyy0IQEJRhT+6UZTJxS2EfDD1lqNp2tNXnptlNPjM5oNE5dPHIbcdA2RkulTqOjUC3DlcxH5wBMk63DQzWlOgNn6ctPsdFq5fHWAv/vbFSbnPGSP4LkX4zx+kGJ42MPkVJAHD0uUShXGxgfIn1VoVBqyu9Op22mJ7YgidHtt3EEXu1sFxsfEFjXN6HSUTruOogovrEUOGQTteSAmVEF29nY7khz7zHNDpFN1Cvk23oCG1+HAoTlZ3T7DpvSxanap8gyFncxejLH8aUpSwwUcK1MoMzPoY2unwshECIuu8PNfpfjql2eoVgryMH+c0jk8rDM2FeBLnx/myZMMa09K8mHZ0oWntY3XEaCrtkjGrbz3iybf+M4on95Ko/Z0ps4P8eDRCYtLXlq1Jo9XK/KC7fJYUbQuw6EAtx7lqTZg6byX7YMqQ4N2BoMCtNbDamsyP5pg4yhHpakwHLVyUlCkkzsadjLv7Ult563lIpcmkuzlyqTLHdZzdn64U6fb0VC1Pgl7j3NDDjS9x0ZWJx50UBDfA7tKgz5uzUrY55V2j24fqhUxcbZRqtZ54doELcNAdTgxrIrsp4diYXY2V1AEEMhmpVKrofb7fO6VJTLi8yyMDTtC2waPlw9447lzLC/v4rRp8rOWyRQJiZfWSASH9lmsTjwjQ5HIZ1s+QyVfrMt00dHyAR99mGJ+LEAsqHDWqNGuKei9LgMJN7tHdUaSLkJ+F7tnXRo9kwuhKuOaytKgi4ZLlRfik4Mefp9JMGxh/0An2zC4OOFmatzHzTsnWG2CUdDHa20hxLfDwwGyp0WGRzwcHXQkFNRht1DM1blzL8e5i0F52bK7Wvh8YYr1U452FJ6/Po7FUkZ12cnt6EwuuLn5Xh6TPs9cEVF9g2ZTlV73n3x/h5kFsS1UuXYtQSHXkIqeo+2m9Oba7QqZ0wZj40LvVcbrFn1XJ7VKnnA0xMCAyuaW0Jy6KOXKRKNeskUBJ4qxtZGlVGzIrYnPq2KxWiWvRQwwBIm53bExmtA4Pq0xOxVmczeH1+WjWGqRPsszHPZhqAaxqAAq6fRMk1KxxdBQEIFD2jsUCTc7rZYFv1/j+CAvTRJ2r8LjT7PykCSUTqZ4VlgFm0IjV2rh9ToIhzUCQZ9MTMjLnWKV9beRpJWuSLG5NHSlQ6fRJ+R1kTmpYBHDzJ0mM/N+zl/w8Zd/ccD//CfzPH5S5CzdYnRaoZLr8ODTFucuOqSJRGyc/O4ghbqomNQ4dyUp46QP7+6QyvSZnrUTjbs52KpJjkj6oEU4LkBOKnrbzmEqx9h0jKATWq0eT9Zqsjv/T74zJE0z4t88Nhb6//uiFvJZUato4/OKIY8QcnSIJELcev+U80sDuBxtNMXJzmFRVloWrwzKzcrIkKDqm5xkGwS8KsGom3ajy/CIn/ffE9C5HpPTMaYmXfT6BrubBXlot9r91MoVUPqMjsbY2CmCxeDcpB+n20che0piNCo/azd/dio5M299a5CtNQGmqjA/HyF3VuGFzyVZfVJje7/Ib/+jIdZW6rJiMjMWl+aRAZuVgXE3q1t5ud37+jU3s4sx/vpelf/+X58QmwySsBWZDblY71g4Fwzw6YMM05NW5qdn+fO/ecJ/+yWVP/3eX0HOIH13C8WrEo6Pktu5jS3oQ2kp1EtpnMl5Wa0wg5dwNJcxTCe9nh9rv0iv38OhDaAbJbq1HRT/OPXtOwSvfFVG66vHT7HbBS+ny/u//AGf/8Z/x/rDOzxavcdgco7X3nidu/c/pV4pE02OkYzG2Nxf5+Hde1y5/hK6Xqd6kuP66zcwlXRlgAAAIABJREFUa1UK1Toff3SLhQtLpI52SAwP48DC4MQsc+fP4QzFMYSxxdFGSDX1hgu7UqOUPabbLGB062j+CzjUJihRLO1duqpLaog14bsPDNA526LVPqNvH8E/sEDj+A42Wx/TasfsWXG43NRLm/gSL8tBdquRQXUlMDtpNCWCrlVRTg6lws5QDPrFAyxaGO/AIu3UJ7TMNnbBOzD8GMU7qN4J7A4HnZLQ+KZxjY1j052IvkLfFqKy8TN8Q9NyS9/t1rDpfYx+FUMN4QkPSwWv2jnBOTBOq1iiXqrgidhRVA/dXpBu/gH24Aid3AaGTcXnH8MonmFqAqoSwybUmc0qVrcDd+JZ8od3CEfipI+z3P/oPS5eeYXDncfsHafxeqOc5TY5d+4Stz+6z+dvvIhvKEEpn5dO+lopi6r0JeDQaqhYnaB0O/gCXg7SRVbvrbP40gUUvUupUKZSMbDa7AyPRzjYT9Nu1Oh3ejIZhU35LL3YsaCEvLSyeUYnkmT2UzJpMX1pkXZPZTLuZfHKVVo9F93mMfX0Dm5fFMWXwPQvYFMaUM9SzW5j8QzjjoxTX/4r7JNfhJ5Qtx2g2CNYulaUgUnKB59iKawRmv0ten4/tdW/xTk4RWX7gNDYDK3KMYnXf4Pv/um/5rf/19v886/PsXa8RsMIEHHbEfLYn+zUsXU1Pv6XQxwuCw6BT4KSG90+/WaXg5SO2auzcHFADohPT002t0tyqCvi7eJSqTfsMlXr9dqlOjoy7KDTaRISF9d0ienZJPlGieppj/BgAK2nc3paw+kVS0GR/sywcHlQLgF2ttKSPaB3VHFclOmfQNRGv6vJCqIgw1v6dhoNoZNDLr6wNYnE49z/9JDLi4NSl/fOO8c8f32AeNzHg3v7lHLCxBLkxitz3LpzwL2PU/w3f3SVvc0Ujx9Wicb7GI0u0ViCn799xEuvhDGFdSdfwu12c3aqkxyw02y3cNrdRKIm9YadarmC26URjou0XosrL0xx61fr+JyfndUcPjsPbmcYGgoxNeuRqbl8qYFV7dKq2VA0A7/HyQsvjvHeTzJ4IjUWF8e4e++IctkgEfNwVmngsdrJHFUJRPy89toYH36wh9uLPOcaeovNVYPB8T6qxS5rt0+fdvn2P57kJz/YYGjcRbnU47nnh1h7eoLVoXF6VCIU9RIJumnrVY7TPWYmfJioUmm+tnxGtYY0uYkkw8BAkF/8cpdQyAqmXdYhEqK+d1KTpjexCDGVGlbDL2sdkYiI1ft4/MkBQyMh5ua9HB/WOc03JLNtYjLKyWmFTqMjrTNjo36cHo3HT8pUsx1CMR27LURi2MP2hkh2NEkOhOj1DMoi6ei04fQ62dnIywSdQxHJEINa8zMOg2rtSPi0wy7exTUqOZGCczA+7KDVMjkrdbl8ycnelsHOcYlf//K0NDysLVew/PCPBvqP74mNqMaXvjLKj767TjgWweXoUqt+5rXuW3ukMg2ifg+poyadTodg3IFLtdOzmjy8W6CPytikXSpa+oo4evfRVAvtjhVbv0u3rzA55sHlNLl1u0S51uF//GfP8OnjQ3Y2mpy/EJBKBbOn4vRqpNJNLl4IcpwuonedPHc1RF+10qgWJTRwasYvN97vvZ/m+gtxigVdUhWdbgd6w0B19dl8WqHTbmP0YHosxKtfmOX2J9s8/rTK+Iif2JCO1enl6cMcU7MBPDaLdCu2+03sdheHhzXmZiPUym2plui24NnrY6w8OpLKoFq7QcDtRdVMWk2d5JBX+qdTBz2yxSLdpiBXm1y/MSzhco+XxXbVgtspHKEBGXURXklBY94SF/6QJqe1hUqFRNxJp6UQ9DspVEtyG3OwW2ByLkky6eTD9w4kuM4p9EK3yyxe8dEyegQ8ovogLAN+bt8vk8s2eeXFKKWqwdhYjHu3cjzzrJXbD+oyqnqSrZA5MWS8ff5SmOODAoNRH9mKjmpRUXoms3N+jjNViqU2HreV126Mc+tjYULosrJRxusTF3eNwYRPUkk3N6tYLC0G4n5u3s4zOW7h0oUBtnfLpM9avPnqGD/8/hGlWp+JSQ3FquCy2yidNhidc1LKK3x4t8AL14PSNjA1GsLttrC7U5bbhnK7Rt9wUcjViMScDMbdhOMKmxstdPq0yh2mZn0c7Zexe5xUBPXWFqBl1KShQnAaOh2HJMYH/J+ROMVGfmTYzqMHHTRNJ5wMMjvp5iiVo150cv6Sj1sfHWPDIVWFi1fDmH1VUlUr5Qoz0yFqDR2ft4/eFr7TJlPTEflvGByOcJKq4g1YeLycZfFinGDMx4e/3JP08cVnRfwJbt3MMjnmYngsSL1mUKkWCQWDcsvpdWt0dY1iVUSTO0yMJRib9DKSDPIf/uwRU+d8DA75+C//zz6/8ZURbKbJ6tYp154b5xdvH8gqxPCIwkmmTSgi3Cg10id2GXs92m0SCVrkpTO1X2Vnr8Y3v3WO45M6P/9pWsLGLl1KcHxQIuDTmJ0LsLpaJl9pcWEujuZqS5XJxkqWtZUcvrgbn8eDQ+1JX7bVbsfrE11gL3pHqB9b7Ow3mBwJYFr6rO/k+PpbCzTKbT5+cMzwWIROzZAT2J7AuTQN4sMR8tkyr748xJ/+u11ZQRAx/qenHZYuRGnk2xTLLewuh/w9zyRCnBUbtNU+1UKfZ+bd3F9pcHnKxWa2yeUJD0arj99vZ6uoc2etyV8fKDgsVi4nbTxOFRgM+Rl1K3K7bRhdygbMxJxsZ8sEg6Kj36NhdCmUesTCNvRGE6tqJzISolarExnw4wgk6DRK0m/faFlQdEPCVDO7R0RiAxQabYZG/Bji0DQc486dNXq6iWrto4qt2tIUH37wlGDUQygcIugL0NQrOBU7tVaHo5UjGdleGo1Sabcotmv09B6azYPZaxBVXDTpkzd0oqoFf6jLjzYMvjOs8rs3IpKBcCJ+1j0VR7vLyLCb9XSbUq7NxcUI6UyVs9OmHB6US1a8YeFn76GpVrqGwf6+Lj+bzz4T5e4nGRavDRD2W6mUe3x4O8NwxIlTDFFtJs2GeLYLqm6Z5GAIq9Xgwe2CJP+q/S5HmQ4vvZagkmuQOhKxYIs0qMxNhRkY9nC8X8FUDVLbQk0XwOZx8/hBmqtXEnzw8RleN0xNeojEguwfphgaTHD33hlzI14yZw35Lts/qDM14yJ13KOrd5icslMsa1SrZVm9Ghj0SD3h9k5VEnVdToVbt/K8+voQu3tnDMTD2Fw6928XJXV+clqwcyoo1jZGx0kwqmC0uhzu93n+utDrWnhw95SxsQCBgIrT52J7JU+1pXP+QoijvTITU1GK1aa87Pp9YUJ+ldWHx0wuDHKa6uALQlsYSoJeYgk7lVoPvQW7h3kWLkTZ2cyTSHqo5VXGp9wSRrS9V5fpCsF0uf7cICv3j0VzgsRAAM3Tp5zvyk378IiD/fUqxWqHmXmXPGQ1i1Vm5uPkyyrHqTzDQ066LYNHTxpcXHTJFNv6dk8aFqqFDpMTMb77vR0uLIifl4bbqeOJhlhZyTA3m6BTFZCnAs1mH6dDZXjYK+uG9XaVx49K+AJuBqJeAkGD2Zkhfvb2KnMLQVxqRKpgQzGNbLaJz+7i0XKKpcUB6p2u3JLMzCdkFUFUCcbPeVi+U+P8xSDlcoNCAQYGHGxtlHjmcyEyR3X5nRWd12K+jN3tYmDAItMtgjty4VknCaef2x+fMjoVYHUrx+JiFLva4jhjcv+THF/5xgwupc+jlQwjU3EcqiGHonW9yw9/keblF4YJqiZ1s8wbSwn+w0c1/rcf14j5VMaTdhJODa/X5HCnit7vERsOsbxe5+i0zr/8nUn++X/8P+k9epfU4RmB0CwdixOPtUJHc9Pr9mVvU7UoWBoZOUTRXCG6/Rqaexq9c4pdwN5aIk2Rx9YR9aYFurVt9Noe/dAVaJ+hN6q4R2bpt9oyTusX+uWWjdPMIfmTLInRKRqFPQzTjTfg5P133pfVlYtXFim2uzy8e59oyMP41AKJuINmQ+M0f8jVq5dYf/KUxOAI3/3P35cXgqtL01hMi6w5jc2fp1HZIzk0yuClr9PvVeiUGiiWptT8VY636Lt9Eq5pWiJ0GxlMo4FqE5HwCKpZwhDQ6fBFTNXE0iphdw/SOH2K6vfSa4oUaI1aKY21doB78bfp60VapyW0wQnMyhFmR8XhMdEVAZ20gw2Mck4CaL0jz2MUD1C6VQzfPFrHpNHZxWNPYgjteuEQxdKl752jcfoRjvAVTL2EXjvAHr6EzdRlglZYyJ1+L/VUCkcwjNGoyvecanNgGA6sZgotekme9fTCBq5AHF0MbE/XCM1/kVaniFkvYLO7wTsqNXpWd5hes4HVqbH66BPeeedXLJxbwmxXCQwt8MG7P+ULX/kGbquN4/QaDx6tMjUxSb5SJeH3yKj/z2++y7NL12k1yrQ7Nf74T/89//CX/5ZaroTT7WTm4jk2ny5TOivyzOeu0qiqeL19aRR48NEdGnoNl6IxNTvNhx/d4XMvPsvT5T0cXo2RsXnsji4/+bsfM3V+EqdV58Zz1/EEYqjiZ2exyYRDs1zCOzRDo7iH1R2jvfUrHP5R1EicVvkMlzNM1youem1ZiexUtmWdVR37GubpJzTy67jDg/Ts4xj1DH5Pgk7/FDU2jcsnKizf4vrVODNDNqpN2DvKMiLOI24b37+j82++6eCcy+DHd6rYAwaDkYSs31nsTei4MFWRfHFKrkjIZ2d3r0Aw4qRSNhmfdMuov9j0i1Ss4POMD7k5K9SljWdrrSoXIheXghyu1+kofV56cZhMqobq7LL1uMbEjJdMVjBxJqTKe/lJDp/PJpeiAiq3vpImFnVSLNaYnx+imK/z4GEWV1DDqVhlZWxyMi75XYI1EE2G5WBm7ekxNpu4xIp6tEZPFSkzBc3qpt6sUszbsPt03nhxSia5VaVGrS0I9mHqzTatnhWjZqXbqxGMOli7XyI6JLgiFjwesQj0kC0VcVn9GGZTwnJbtRqReISdjRITsy4JihXVAqvi4vRMVBo8aHTlefMg3WD7oMxzlyKYKKw8zPLlty6xs7tPvgAT0y5yp2J52SE6oPDwQVEu287NBNjeqxCO+FheyTM2ZsNhV+g0VOotjZ090e33Ekt6uPXeIS+/Oce9j7dYuJyQd0lB3dd1XTIbbE4nlZMOsTGNetmg0+nKlIEYZpdObUzMOTjebeLx9hidSqA3LBI23K7qfPnrU2xvl9jf69AuF5m+GJEGM483TEosu30eBhIap9kyrZrK8JAPV1BAWu10O33qDZ2dzRYuf1+q5QW3zWE3GB4JICSgT5azzM65OdhoYnXacTiQz9jDdEUy6oRB7eCwxPh4jFK2yfRFHzffT1Eq9pg976SdV7C4hcXOJk1tR0diqeEifVQhNuBFs4mhqIFD8LTKeQYHY6QzTSy3/9VcX7WYHO2dYrVp0h0pcZhKl1bdpF3uMzAtNssFFs+JaU2a0ZkQK3czXLoSZ2DYKYFM0xNhCpU6xzsNwlEvc3Nh1jeOOD2r07fYcTtVto+6vDAfpqV2uXkzy7kpl+z9xyMuto/KEso2EBabnhqG6pKTjKvXJ9h8eIhAeIciTsYH/WxslHAGoV7sUinpTF8IcLxX4jBVZnwsRMCp8fNfnnL1uYDcFCg262c0yHydo0yR2eGEjKD7Ai6pIhSX2/Pn42xv5IhG3SxcjvCLHx4wPenlVCiHhDlgwkYp38Nu06VXW2z7xAdzcMiDP9Rje0XHEEDAKS+bGzmZLsjncxgdTUL7jI4qO35Ws0+7Z2P+fJgPf5nC4VF4+ZU425slcmdN+aBqNA0Gx3x47AIGpUkNxwuvjHLr3W32Tjp881vT3P0kLV3JIn2QL3cJB52SNOoOGtx5r84XvhgmVahJMN7SQojEoJ3NjTIb+2XGhrxYTCe/9vUxfvmTDblVdNvhaKeI5nbx+c+P84MfbuJwwWDCT9diysud2Oja7OLf1+PcVFySOyulHh6/xtpBlbUnFV5/MYDFpnH77hmxgIB0DRD0+tg6znF62hJ4aZKjbvZ3qoyOOijkTcJB4WHt43cEMDVDRpCK2S7b20Lt4qTeqrF4IUana2LpKqRPysQSDmIhD816k0zWZHu9yte+OcraRpaT4x6/9oUBCbs6O2nhjTrA2qRwbDI6IRz2YhKbZunKKMepurzgpY46zIy4sWiqHNp88kmR3/kn5/jFu0+lweDNN+b5yY+fylir4FccHKfkdNDs67RbKppgFGjiS9aRSQUx7XV5VE7PGlLN1qop8nf++F6edk/n2vNRnj6qYNHaJGI+2m1hczMYHIqyt5/l7LQtgSaCKi/o4guXAzy+l2Hp6ji5fJGzVJNYLI5h1ijkdMIDghqrsbta4vK1mOzhdywtrAjwnE6npko66uz5AD/83iGqvc/8bIRoxMLRgU5X7xIIC/5EnVgiJGn95bMawxMuPrlT4+IlD822iU3VcDmskuQsAJtr62mcXQ82T0++cMpVg0jcg8ehkkrV5OdF0Fyff2WID94/lEPFV98clxPey1fj3L6V4tFKldERj/z5izjmzm6OQMBHMOGhkNEJReAsW5K0W8XWxu9xUGoY+JxOTrJt1vYrLE37SRVbaI4+cwMDbKYyHJ6pzI/bMLs6Hq8VxbBzUq6jCYqzx027b6Gqd3h92k/HqGEoVnJN2Kq7ufuoyt1KC8XllLCjaZ9k8nFxOsDBQYlOT2EsZuWg3JeHW0V4t31iINTBrHfR3KoAH1MoNuWmcvrKHJlsWtw/8IWCNIsVEkODHGQyTA2P0Gg12Nk5JhCMSLidMFxUW3VSRyeEQ0E5eNo9PmBhYZL04SE2i5+TdBprRSHhF1sjlY6p0u0YWDQFS0eo33ocljqy7vD8uMrTVEcC7v7kCzHs9TK5tlNudj/ePWZxJMbykzOuLIZZ2+ngdvSYGPSyf9wArUu9pZJ0amjertSn7h00yZbqMglz9VJEDj7v3ckxMRvn6cYZ8YiVgM/FyJSTjacC9jfC06fbsuuWHLF/BvU8LvHsc5Ps7hxIcq5wAjvtGv1+k1sfVPjm7yRJn3TY3yhitfWJRwLcX83z+o1RyQnwRmA4FpbJr2K9w/FegYDXx+CwVw4Lyw2T69d9LN/P4w36uPHyEI9WDmS1TPyeZN9ywInX48fpMLn7SRmbZvLFL05Qa7akq9duU+ibOtmsytFJFocqKgsWKq0us7N+Dndy6D0Hz16L8ejRKSqm3ALtb53Q1K2ShJwT6sCZAfYOT7DbfBh9oaz1Egn1UBSFaqlNIBZgdfmMQqnGN745x82P0hQzQgEYZ2Utx/RUkJ5iyHeQqetMTkU4OKxIw47V3md7tYAj6KHXqTM5nSB1UCM0rBD2+tjZzNDvO5haCGBHYWen+tnhIFWnVW+TSIjnukGt3JdcnexJF83Zp1DWuXFjhE/vHGKIxIHHZGzEIQ9sG9tCjeTnNFXh4vlh6s2SaGSTPuzSV/v4IxqRUISnT/Zx2u3MX4hx+9YBU1P+z54jpkm1ZZFU5tRRAUxFskFE51UM/sXz7+CgKZWrkaSG3+Xl6FDYfUZYWcvjdpns74mYZE+eNZ4u14kMWkhGFG7erJAc9XDjpST7R2VyuTaJqI/jVAN6beYvBqnkTemU71k0MocV6tU2BgrWfpfJ+QDxWJDVlRMScQ+tZo/J81HKpSqpNZO2WZXnjuSIC0VxygHy5573s7pVIlfrshSG47aHf/XzAg6tT+5M4xtfclHLNah1XZxlisxMhBifmef//vv7OOxd/s3/MM7r3/k9GpVRqlufogT7tEttmSTsu8LUs2fY2jnsczfo5M5QLKd082cYognsHsImYr/NEg73KJWTbWweseYNQquMqolt7Xn63Tb9bgmr5gerB6OyQ8vm4eF3/xxffBYtFMZot8mdnHCyd8DC9ecZTCbomh4saoX5F29wsvyAn373PRxOjVKjQTF/yOtvvMXuzh637z7mm99+E5/TT7XVYWt7jVde+QLf/bu/JRR2cfnZN/jw+3+DP+zk3LWXmZ9IErlwhfbRBi3VJsG7vVaLniK83VYsfQ96t4Gp16iXyjj9dvl/cloNyqfbqFoAhytC9ehdFO957INX6eVXUR0eOrk9upqKP3aVbnmPdvmE4OSFz8wf9XXCkWfRjTO6Zgt310U+u4lv+CL53ZvSzR6d/yJm41imHsX5WBXP16qVXvcUxR7FHkxSO9mhfvYUX3AMR3IBq6VBO7tLRwnj8gaxGCKBIhzhceqFPdyBEZS+FbO6T8c9KF3joopg9U9iNZu0WjtoviuYpg59GSJEsxsUdh8Snn+V8uYvcdj6hM5/UX5vu9USlVqB4+MtylvbdP0uQp44ptEhdZJlMB7BG/QzfuEy/lic3N42BztrkiX0wbv3JGNHcKYGpue4/f5NEskgw4kRAuEkP3/vezgMP1/62g0efHSXL/7mN9lee4zH75O12PWnT5gcmebBky1m5qd566uf5+7Ht7n5ztv89h/8gdwW33/7R3z7X/zvWEtpuqLe6h2gVXyI0g1KQCg46dTz2IJxFFNoVgfpN7do5g6wDz6PRa/Ss9vpWVQs+T1sQ1foV46pZjbwJhfoWz1YHDZoVQkuzfK1F/6QD1fLfPXVKNlCWy4CL4p7SbXKQUfhRqDDH70W4Xaqg83apVZxEvOLtKSL997eJ5DQuLgQpWtaSB+0SYwrnB2Uees3LvNnf3GfV66PSF5Ltd1hZlQ8f/Py3N0yulgVRQ69xybs1Bs9qSit1srsb7cZHHHI96ym2SQAXECr4yGN41SVpaWItNDk820q4jPuELF4O5odeW/yexWy2bbUzrmcQpvq4+G9rFyEbOyKNJibdKYme+Ven5tc9gzVYqFlaih9F+srKd769jw//sE6iUCIoZEmPYuTVtvE6UA+O9/9eYbZhRAz8z7+638+5NlrLipVm4TrDg+6ODzT8dr70nJwdtKQloDkYBgsTdxuG3c+Tku49t52jZHhoEwJP3lyytRsjNWHpyxdjdOodzBEUtdt46OPzzh/0YnL5ZCgWVEnz5602drssvisnWAgjNPZ57HYzJd6Eqbu92kyXWe0BTenxdRMUD77jb7C5nKOaMJJ6dRkYFxhdDLET793RJ82CwtByfwK+l0cHNYkUFoo59c3y/zBH1zk7ofH2Bzg8trJpioYpimBgF6/ik3ArYNWCmWxzRcVXZPFy07stoSEulfrbTyBHsnBBBUBkI4EsNssnJ0IN5ZBpaNTKzbkmUYYpWpFneS4GLSaHO3UePXzUbnsefCgTiDgkvdIv8+GzeHk7KxBKV8nHBLLIV3+/0sVwavoE40msGgtaRwSwx+P38nacpqo383m8QnBcJjBqJ29Y8FA05g/52T7aYfYgJX7D6q4NXjpzVHu3zrG8s4/HevvHadYuDDKyVmJmYkAlXqD3W0RWbCTHBQjnR5KT6FWb+P22MBm4fbtEl9+K87+ek1GLkWXX2yLBgc90jG9tV7ntTemaNebNIVLdcjF5sNTokMBFLVGraai9hycFQpML0TY36ozMy+cyC053QnF7WytFuXk5NyCX8YYRO9EdPOGEhrbe0L3ZPCtb03yy59l8EesjE96+PD9Cpcve/Ha7aSzAuzVxzCsGI02dldfJhFcThtWtY/T6yGb1WnX6jKyODYelLC5s2ITj4j7Drg52s0TH/DRqOvUajbGRpzka3m8bjd7B3X6uk6pKKIkTobHu6SPDVwOL0NDdspliCVU3n/7kJnZCNt7BZYWRygWSkIARiDoZHutRHw0IH++ut7j3GKAe3eOZA/9wuUYn9xJS4pmpyN6sm5cdlV2e2cvBHC6vWyuZpiZiOANw85+l2pZdEu8kplwWmiwsOCWB59aAXmoGx4Suiq3jGX/w09O+MZXBzhN1chlenznD8/z93+9jdsjJpxONveKfPHGFJ6glR9/f5/BpFO6RY+P6+xsNEgOaly7FpX6xoTo4+yKsqguPdv1hpPLF/w8XD2iVjao1XoE43Z8PjvZTJmlqxMMBlx88uQQegoz036ZFsll8xwf1fjSV+aoC65CukWzqrMm4i8BK6OTXp6uVpmeDGGXPV6FiWk36xtiu29w6YroUVbI1RqEQnbOT4a4//SMnqHzwrUR7jxMY7WEiQZ7pLPCKuHG6bfRqAtwlpvRMR97W2c8WWnIrvDKSpZk0oVqV6jm25xfjEogW7VUwmpxMXHOiS8QYnP1hHyxht8fJHNcZ2rW+Vn8JmXhm789yQ//9jEjMxGWrg1z72aKzYM2dq3FYNhDaMDF4XaZ8fmItFM8eljkuWuDcmtq6Bbpkhcaw2aly/pGVUZhT7Jlbrw2gMfpp2tWZGwrX26w9EyMzKHBg49PGJkO8uRJia/8+qDkGBzt68TjTrY2igyOi0GHm62Vktx8Xlhy0Wp36XRsxON+7t49xO/yMD3rom9oDE/5+fj2JqWSSFj0GBgHVXehY+LxqIwkBtDNsgRB2TU7W2sZvGE7xYJKImiTk+8HDzM899IgP/7BLrPjQ4TFpPfTFEPjYRyqSipTZXjER7VUo9016XasJJM2BkZifPyrbRkXj4ecksj/6L7QixpMzIqHcQ6PU6VS69PuitqhgUcA8KwidWBnL99B1XvEfG6KzRoJobQ8FSwOBzG3xsOjGmMhL76OTtds0rZrPDMR5CDfZKva4u/uNiijsF80cVm92NQuDpvJxYSLsE+l1zEoCzBdTpdVnXQqx/DsELVCHs1Q6CsKptpnK1Njbjom9WfH2QKT58Zk5zmXqxFM+JibHmd9bRvDYsoLvNn9LD3RbrYZGYtRLtSIBIKk9rNk0ikcDRvBpEtqW2udDsNxL9aORdZGbE5hFYixmS6R8EPQ3ef3rgXQuh0iYlDUabO620QVHUy9Lw9aQrMViymcHtW5uuhneaMhSevtVpPxhIf9agn9xCbumXciAAAgAElEQVQ3ICNjInLe49qlAKnUGZrNxeKVIZlWEWC+k+MGp2dtyWY5OihwfilGsyoGBgEcboOSGN5Walx7YZyt9TyxhEt2rWuFIq+9OisBnE7NI59jF68F5eX03Xc2GZ4M8Pk3JvngV9scppr81m/O8MGHaWKDHunlFdCe+KCoVil4he6mYpLLNxidcfLwdoVCTWd2WqTHevKzOxAXNOFT3C4fFlo43Crv/aLIM88F5cDn4LjJm19Ocv/BCeVsl5nzfi5eGmHjUQq7SyOTrlLrGbxwdZh33znA77LzyptJfv52hqXLooagUKg1CbodvPvLHP/42zN0qfFkOUci7KNcNRke1mh1NKqtBtOTHu7dKTI9HUC8VoXSp1Bo4rI6aHUNAgE7za7ByV4D1S7eYx1ee32OJ/ePSIzGZE1kYixIKl2jUC7hIIRq6+INm3KDLtSsAmgaHRAVA5HM8XGSqvDgQY3nrgdpNOpsrTc5vxik3uhIA8TpaZfRaY1G3iqJ0o1WhfnFcWi25Qa/2a7x0gsjHB0V0DRB6u7I9NzYqENSqOMDMZmAEupVke7zeW3Y7XAiI6JVhkfDFLItwiEHtVqbcknBpjXweoPyzxWlT7tuyrPH2IyfTz8W0Eg7oWSQ3HGVZquLopo4vG6CLg+HqRKXzgUkCDU5HOSTW4c899IQ+ztnFLMwcz6Apipk0mXCcackky9eSfDDv10nW+3w5S9PcP+TIhZ0RiZctKtwVmzjE7Awj5VgTOXx/RqLYqCiWVnZPCN72mYuGeFrX4/z0f0sv/s3TRpWePNciJNsnUq2wdCwi25N4ajWYmbCy09vnnE+Au++/y/QJq6w+Z/+PbHRJWwRN81KDz1zhDfspWd10+81sGpOLK44evmQbiWNY+ACokdpdUVonj7BqLVwx0dkfNpmHUD1D1HJfopVc6B6BLSvgTc4SOnwroTjmZ44XWsX/XgHe9AtI/O9UoZmJYfF5camqDjCcayOJJrLytn6uyhWjejoIumdTzk7LlBviLqdjbXtFRKhUbyJIf76z/+KP/6T30N1RbH16tz/8C7xZFyCX612J2LU4u+H+eDjd3jp1ZclHyAUdOL0Jqk361x+4TnqdYNEMowu4vXCJ9/o0rWa9C3CRFGmk8vgtvVJ57KER8/RNcXz3kNp52e4gnHs479GNXMfS2EDj8tKwxpCc89glE5kQlXzDdLPPsb0hnAIur9wywl3Tl8MDx5iiud8MEI3swaaBUs3iGtsjl45Tbe6g67acTojKK4xeoVVzJ5Q9E1g9Q5h6ep0yod4w+PovSadzBY9zYYzfp56bhOrZ45OblkCibveAWyNGq1GCtfgGxgHn6DFNFotO3ptQ8acnYEJeooYskdlrVAv7hEZnqRSTOEMj9FvlzCtPhSzQb18isPjwSoYEKaGqqugVmQVxhWZoq03oXFEen+bTrHI2taKVIcahpcH95ZJDCUYHwqxlznmN7/9HR7fucuPfvgBb7zxHPWWiLXHufuLD5hfvIorqnHr/ZuMD0bwBeJ0KwXapoXrr72GgLEo3SLnlr5I/eQOAtBl8Vyg77RDM00r9Qj/6AuoLiisP8Q7dBG0MHonh7WawuIfpt/M0TdBGVigvf1TbOFpbMkvYWZ+RP30DHdyFv0kQ+zzb/H23/8Z3/j9d/idbwxytpKnjMprV4fY3C/x6KTEM/8fS+Tf/KMo/8f/tcfomIfXXx+TGraPbx9wYcnN3YdnpA/qVEsGL748RrlSx+/WODoQceo+hihQdy1Sy3r9lXlahQo3754S8GqERBWqAbVemxFBf9+tML8glild9rdrDA5rEtQmQICzU2KAUsJmdWF3QkcoVC2iYqzLd8v2epNKTmfmootqpY3S02g0G3KZYFHtLCz42N6ps71Wwerp8czSCE9XToglP7tYNmttpi6IGLtdpkh7DR2HWCcrDjS3wulJnvShSSKuMDDkZ2M9hy7g12OqrJXtbjV48/URbr63y+SkV4IC3367yOCgja+8NcE7Pztg6lyQpjCBWS0If6dYxsxORHgimVYdaQBrNcXAQsPqsJErFHHafQjAhmm2sSBsRRWpbBU63pFhJ9m8YBWVCLjdZE8aaHaVyRk/O3slTvIGX3pjhICoXey1KBYaqGqLUt7Ks9eD3L+TQwv0MZs9zi+GWF+t0qxbufJ8mL5pkD6uUa9b5BLU6bTRNYQ5qSOXT5MTUTK5KnPzIbo9k6EhD8eHBo8eHfDqjRHJZcuVdckpC2gKqdM6o1MeNparRIZUssefLVwuzCfY3jiT51bdNAiGNLxOP6l0Vg4dhbZW9PZ9wkyl9Tna7/LM86I22WZtucQ3fivJk/u6BA9Xay2mpzzUmhYO9yu02nD5khebEuLwUCxSS3JoEQoJXkCIH//okOdeDFAt2sgcVfCH+rI+eOt+i6U5D4Vci2DUydCoS75nhYg0GgjIlKrlx78/1l9bSzM+EpQXNAHWCQWTMk4SCAv/sIXt9RyGbuL0WeWkRYBqnE4P0aANq1P8eZ3L14PsblYlMfn8opvV5QZLi2E++TTL5WfjJJMKZt/N0X6V9Y0OC7Ma7qBK9rCJK2Cl3RKTjR7NuiajCWKbODMbJH/aZWUlxdx5P2+8tsAvP9hib6uA1Wnj1z9/jtsPjtleLfFrb42TOipyeNSRXuC2qApsQLnZYXTMLi8+HUNQG8Pc+WSXvunkwpyNfEV0QaMcHeuyT2MYbbLHXc5ddrD9tIXVKUB1YubhpNcX8DVTTs+3Nso885yTfs8jIyajU27Sez15CLL0OiLMwNBEkGvPj/EX/+5Trr8ySi7TxuXpsbtfxedxyK5MrlBHFd7QIU1uGAS92R0IUC03qVZaErIjQFb5XIPLS2P4gzrr6xUO9uo4nCb0/CSTHVKpFrMXJvnhf13hynU/+XQTq8dJ7kRMwTQ5mBBAmOJpDhFSE4ep+49EhFujmDMxxPZ5RPThc3JKtngxysOHp0SSQt1oEopYZc9840mDy8/7abQ1jo+yuF0OsidNbFqfeMKLz+3ng5u7XHwmwMRglK2dEpGoKjsx1U6LX//SObp1gx/8aFN+sL/zu4v8/B+eotrExkghMRxAb9l4un7AjRdmaGDQ1k1qubq8HO4f65RyOc4veAnEBsinCxynC8xeTIrGIE8e5JieEX7SLJlcl6ULcW5/fIhdcXH5WogHDzKoThsTI34ON2r0zD7Dg376np70ih4eF2UM55/+T3OSAPyXf7HGQKSH5vDKvljI7ZLTQ1/IJuO3Av7Y0QWpvUO9VGf2Qkz6t/uqwv7WKRabKpMC07NB9laLpIt1hgadhCI2qX5xiIOr3Um9IwYnOiMDQSZnvGzvlEkdlphZiHD/7gmaVeHFVye4c2ufpWsJtlYadBo1JuYCNAo6J3lF1i/WV09JCm2MW5Obym7fwlmqIi9ntz88wmJTGB2zyS3e6HgIr89g9ZMKEUEAxmB5WYBIxEAgxtPVsqQeLy75eXg/z+RIhEikw/Y+zE5aadf9tI0W1XpJDjFqOZPdvTovvJgkEnBRqddY28wRS/rJHQs9XI3RET8Ot4dWKy89sJfmYhRaHc7N+Hl4L8f+XouvfX2Wjl6hWLWwsV7k6tUgh4dtauUql6+McOf2KZeuRrjz4JChRBhrH+kd91hdbAswmG7DFzTx2KzUuiZGsy2VS2Iw8fS4Sr2iMRaDXEVH2IcHAk5iAwF280U0wyJtCiKufi4Cs6MOqmILpHa4u2ZyZupUDSvf2zFx9VWKXZ1zIZWI18RjtaJ3ha1CoVgXiQgXNcOka+q4uzq6cKzrBl2hBRIR0VJFWkc8iQD+IR/zC9McH6UoVHUCIQ+deh2nw03mKMPE7DAnh2mONit0GzrjCQ2LVVSwRJ0FQjYbhVKZWNxLvmLlqNSiZ9oZDOn8/jUb834LpW6Px6ttxka8tJs9jopdnp/3UWl3WdlvMzzgoJCrMJGM0DA73F0pMjPsYn7Gz+rjPNgdzE1FsfRaKDaVrm6SCIlBaJmaUF4G+1SyOtc/P8fjO0f4w11SaVEXsBMZsMk/C0Z9ZDJiM2ojGvdLzkG7Yci6kKKJxJPK4U6TF28kODg44yc/KnH9uptwMExXtcpNoObqUzoFh8fBvni+JAQwqSPNBOG4hcJJj2TSgcWp8eGv0rKeMznll1DF2XNj7K2lSYx5SO+aOPyGBK06TTetfo2JiRDZkk7Ua2N9p0ava5Gd2OlZP1GfSa5o0rXp+HATEiqouJvTQolAIM7mqgBeFri4FKJV75PO1+XWUMBe5y4PYLf26XW76B2Fnb0z2YtvlFtUO10GIl55ud8/qFKpKrz5eky+S5dXzuRQIhwQmj2VsQk/uwdnKLpGYswq61JWq0Wm71olHVdAJFb6dNo60XiYUqVKp2PIrmm90MfuF89ZFY/byc7WmRwQ13UxeK1wbnaQgahTxtHvfpjhmRdGyaSKsj7mdZpUS31Ocm1+9w9n5fZp+ZM0Fy4F5O/v5NQkGndQq7Ykq2RQ6PiWq8xdCPPoQZVKrcQf/PEzfHRzBwcqFpeKwyH6wWJ7ZvBwuUgy4eLFV4f4m//yVEIMnW4du8NPs9XAZXeiY7C6XJTKwYTfRUuHerMnPeyiA7u/W5Gcog9/leHaCxHWNkS1yc7OToO3vjom7RXZXEFqvjaWxRBUnFlqsq/a67dJ+OP/L0vvGWTZmd/nPffcnPPte2/nHGZ6pidHDPICWGwgweUuuWYo1kqiRJukbcnlosvlkiVbH6Qq2SWV5TJJFUUx7WozdrFYZAyAmcHk6Znu6Zxuh5tzPveee8z3hT6hUNitXfScPud9///f73lY2kygG4y4bV6m5mysCpNQr0O+1CQS8cqKVl9IWIFK3Lx9wLVnx0nuF9E0Fy9cc/IP/+/H/GDVwP/4pRnS2STJYoew10BTc2I015gcMPPm7SaFtMpvnLXwb370v2NKdTjMWfGaDqjuL+Oc+yZ4grT2bqA36xi0FA7vDKo1ilpcxRWI0u066IpO7OENDHYTzr5naR3dQ7eaMHqGUasHmMXgsdfDGjlDV82hpK7TtcXoemexmEwYK7uYROomNkNdc+D2hyiuvUWDNrHRr9FJb6ArDXJ7H2M2hbD4Z+Vm3uRoYrQNYfLG6VWPpDGgtrfE4MlpmqUWf/WX/4lzl07z53/2NudPHsfjtWF2mlm885CZuRm2jw557pnn5UBI6FyFHjXSH+XTj29ysLfCi1/+BsXCLov3F3Fb/cyfnmJsdhK1q5Hc3SfcH2TqxAJGsf2yeWgImr87TiW7L7utQgWY37qLZ/gEui1ALv2EvsCIHBJ1Oj2CE3NQ2ZNwNIMzTHHnIb16HsURwj9xATW1iskZQ9OjqNV7kMpiiMVplPJYDEKnNEM1ty5TAPZAlPLmR/JMaI9N00gl8Pj7qJd2MPmmMRSf0MrtE4iepGn2yZ+n1WqnnV/D5J/G7AnSzO2JgjNmuwutnKNVLeFweOmWkxRyaTyjM9jsITSbjkHzoNf3UBslsvsrDM5ewxY/i6FTotrVpenE0mlQr5XwOTRSxR4WpYzTYKamaNQzCcl1sI88Ky8rSq2E0tjGGhTx9grdrgubU8ExEKGjhck8/pRiLs1Pf/RThodHGBoeZ3Vpkdn5EY6fO8XRTga/N4jdI7g0CkcJUWusyfSUAOk6IwP0zB7AT6e5haGeg1qJFkYc/acwmhWaicdYAgOyn21pl+m54vQ0DYvBgM0trGHQTS7hm3yBTnWfcuIuwfFTNBpp/OMv0LM1mBn+A2LDNo4POjE6PSytHHFqNoxg0H/3wwxv/X6IoEXjYUK8SxTiMT8Wt50331zDpinMnenjaLfOqSshnjwokUyWCEecjIy6JDPl2ImITOZef2+b4KBH1pwaJTNibiTMV5OjUdpCx9tuY3JYpca1mO6xn63y7W+e4PHiJqsbZb75mwvsbufkwkak7J4sFemLC22nMNqEyGeqbAn1dtiIzWwlHHVLA9nIWACz0cbeYYZK3sC5Cy4OjzQUvYPT72dn8xC3y8iLL05y5/MCq6sHLJyL4hVp6J9tMbcQluaboN8l0wKCEJ8/bPL+ZwmmR8Q3vI3dayLsMUuIbWzYRyUjNMk9YsNOCdGbmHZyuN/kwe0CL7z6BXg6k6lQSqmYhQpZaTI3M8LhdlWCosW3POx3cFgoEQv7WFvO0Wi1OX81xNPFGpWyyvS0X34/dFNXQn0Tuw1e+sokb/1oldOnY5QbdWxWJ8ViQ9qyxPdqaqZfKs7PXIzzzi/WCQbs9BQDXqedY+dCPH5wgM/jRK20cQYsNMsaqXwZj8tPs1llaq6PfDbP03WV8xd85ParEnYtahVXnpnj0e1NyrUujU6XiN8tE85CCS2Uej/5Xo34gM4Lrw2R2m6i6k3GJvpYX0thEaEWLBweVCRrTphdbBaLtJKZxRDebWDtibiPGik1dOJxFwd7Hcl6Gx+18cn1FGdPR9jarLC7WeFLXx3jieCadVrEhqIyMZjYLaG2TIT7baT26pg9FlKHNeaPh7l5I8H8QhCXyyYB3ZtP01jsFsaEfS1VI3/YYHzSTXTYy+K9LBZ7F8O7fzyhD8QNpHJFua0r5puyMzI9FcEuDsyPsxIAODoe5cYnh7z8WlwSlz+9cUA86pOx4sO0OLAie7smo43BYavsyy2c7adUqbOxVpfTBgGEE/Ck2ISdvc0ufX0WJifC3LsrKMgVtrdEr8bIxQsuKkXxkH4BptKUFol1gedrculSnEyhw/5OlYVzQRKbbbb28hyb88hDvtBFiI/zzr6Zf/Dbg9y7k+LRSoVYxMnebp1zZ734vGZ++U6Sl65GaRrB5zbx7i8POH8xIi/CyUSNgdEAfouDjYM0fo8bzdjAblRweH08vJMmPmCjlO/gj5mIh22srrflluPitZAkLhYyNhKpQ9l9PthVuXB2hHojg9Pn5Gi3K20FRr1OsdQhGDIS8Au+gtjQQ7PRk32ZgM/G2IiTlaclnD4jZl1heb3KM1ej7B+0pes9OGAjs9ckm21z6mKQdrVHJtnEYjHSP2qnWoX9rSrnroRZWsmyv9Um1mdnetaP2YSsIwhqf7Vax+4StHSdSkNovszkcgrVchFfIEijUWFuvo+jRImewYHd0pFu8t2tmnygBWX4cKeGN2RjbNAu/ahiO9ZutBkZjzAw6GJru8jhQZtnXx3l3mdPmTw+xL3PD3jl9THu3UpTyJeJ9AXRlS5Lj0osLHjoqUasHk361BVTl+WlAkPDPor5Ljs7QpvhpKkaGBh2g9Ykn+qwulXl1VeiPHmck2YKITEVFzwxRBEf2oFhL0sPk5y9OkxXVWlWm+xtVWlpPQb7nbKf01C7KCaVZKIpKyWhQZ+EvfgF7OPePhef++Lglzmqo2kimmXDbjGSz7dweUQ1QGfmeJRHDw5k9STgtdPTLYzMBjhcTzExFeL23SMuXhqilDeQz6elY9ppM0iqaTjiJlusyX6qIDHrRgtnT0VkdF4AEd0Oh9yi7ScqDI0FsdoN2GwmHt9JMjrhoatbebKc5tRCjHa9QaPZoKuB1WGmXgG7TUfTjPKluLqaoH/EQSDooSp0nj0jY/Mucnt1CW1aXxMd4TrD/TYsdid+n5293SL5bIPx2RBmi5UHD5OEAwbOnhqQZPVKo0coZKfWqJNM1HnxpVE5RLx7J0882sXlD/KLt4544fkI23s5Th4bolTvYLe10dqKJN/7HU7S2Qpmk5Fmq8rAUBC9obK938AbttCuy50NJotBXtSyuZoke4vB9PX7OebGbPh9DumvFR8ytwNZtYj1OYiHHSxvZegaLRKIlEh25aYnbLPQNEOj2eJXLg7QbjZZflpmKB7AaFOZ8NloKTpLyQaplpefPSixUenRaGsoVgdOXeXc8TBmvU422aCtdmmbjMxPRalUVLZXD+kf9Ak4MlrHSamcJ3fYxCvqLAYBerQyf3aOakclnSxJ7ZDWVpkbG2d3eQ+n0cjQtJ9qqs3Sfg6Xz8JEzEqq2qOUM+L3Wmi0yzLt848WLPJwY3MY2D7qyVqCATtdpc7GUYNjMRsbSZWFCREdtbK5WyE+4JU/11qtzGBcgO0M7CcrLBzvw+bUpPf9zKl+Dg918vkMs3P9bCaKVPJ1xsYHyBcKlOpN+c579aVhDg4aNFoV6aAVv98zs0FsbjMPb2VlNFJ0efMZA1OzLu7dTKNZDJw73cedm2m+9PoYZqXBWz/Lc+K4j/FpN++9vY0n6CTkd6FSxWLwSe93s92h1bKwMB9kZaPE0lJevuOOz3j48U8TvPbasOwlis2OzSI0sGYcNiPLj3OE4w4sPRPZvC6BRRNzNvLpttQuZlN5NreEwsgrDQdCM3fzfolrz4TkZWc/3WR0IITPa6BQLUsI6O5GC09QXPIbTAwpjIz04bAh62fGnovN7RJD4w6ZPpubCctoZ6WqcufTFJdfiODyuPnR9zeYm4zQNtYpZnT83h4j/R72swKQpzA242fx4RGz40FW1gsMj7olOXvxQY5wxESpoDIyJrSoVfqHHHQ1I9lsAxNtNjfquJ1uRsZslGuwu53n/Lk4CbHRbRg4PR/B4lY42i3ICtypU2GKhRp98Sgr99NsJ7IMj/qk2m59vYI/AuubKn1BG2MTCvdv1wn2GanXYVjUSHZzvPLleT5496ms74gtv0jLiAOQODTZ3Cb5/130IGcmA/j7FNSqlUq1QCDilYe/VKqF3Sacxm7qdU1uN0XKJRIU754KrXaT+eMDkmEzOhZha/eQjb0WVy71UcqL7j9E+kKk9wvMn47x8fWEhNEacKFqLdIZmD4exqF0SOWaOOydLyjRe1Wee2FcdpIxmVjfSkHLxvSYnZ99WJQ64asnHERjVv71D7P82QONLy/4sPTSOD1+kpkGto7O3CnBEhCGgS5/8f4u//zbM/zhf/wrzFt/w8HDDG5fP/aBsISqCVq+f/IyzWJGbntNkWOS2G9vQ/nwh1hDFzA6/KhaBaPRhcU7IQniSnOb+t4uloFZnIEZtOoBrfwmltgZ6JRRqwVcHgH86lDbeygvKopnhGr+C1aOIbcprQLi4C7By3Y/ZrNFvrfNTrf0e7cqaTrFHJqxKxM2RpcToyuEXirJpJMtFBeLUlyxMRbf+Snv/fTnOL1Brr16hTd/8CaXn3uB3ZUVDo5yfOcP/4Af/6e/IF3J8U/+2z/h4Y1fSriv2jZJfWq31eLOvSUGRC1ueY1jp05xsL9Dq2bgwuUTLD5a5cxMhKkzC3KoVj16QGjiqrQIFTZv4J++JhMLdu+QTLsVtt6m3e5RK7SknrHSsqLmjsjlS8zOn2F16bF8N8bdZlyhCAvPPYfebMsOsNkXp1fYoatYUELD9PIHUN2U+kCLa4ae14nToJHfvI2vfwHNN46upqCyi9nbL/VjFrVAt6UgysHinymqitU1RNduppNLUH36U6Iv/XNa1RT15C/wjXwbo9VArVzEauujvPkzufEXAeOgU/Tjy5SNRoy+YUyJGxh8glUwDI1tTMYgtdYevUqXwNAcldweYp2nmAwYrEFZA+g2yhgdIaweH916UTIXXJ4YWs/Mwe4ug9FRqr0EgdGr0KlS2VuTbAO1acE7PEKzV4N0gpbAnXY0gnG3TO0pFg+1fBajyUA1k8QVjGLQFHSzj/b2OzD9OvZuEa1ZxWIP09JVuq0yxlYZg3cGQ2WHem0D2+iLclvaLVcxqlUalTwulx175DjlfBmn7QjXwlUuTP8W++UWLx0zYbHHubWUYsBv59LpOH/2zjr/4fUBJkZsbB9lcJkt3FkuSrr+3Vsljp0IEvEo7GWqWExW+kM2Oj0LAyNieVblyXqJoN+B26ZL6PLq4xp3Hxzy4mtDlNLiz0+lcCDUoF40s0i+GnEqGgfZFoNxu1TjGnHLc0CkzyJV1GIIdXhUY3Q8wMioj6MdsU0Wcf08sQE7RkWhXu7SMdSZnuvn8d2MtCRdeT7I6r0CfQNiAVdF0d30haHe7pJLtWgJjfS8i1rbIs+B0/MBuf2dmvCwvFLl7PkItz5LSDC1L2LC6/DIc+7QoJfDwzr1dplqpovFYeHlV8f5+Y+WpJJ4YtrBxjpfsK/OiESUQl1V5LJwNO7GZFaYnHGxtyMMBFZUvUf6qMzFS8N89nkCtQpGo878CWELsXH71hHffGOKcqEmDQm9riLPDNGQsBSUCQdMNNodegYvAV9b1nj7Bu306grLa2W5LC1n2gwMethYT+Pw29lPdHjlSzHJI9jZa3LtuT5Wl3NsJ1TCfhsvvBTg7s08u3ttfvvbk9xb3MakOZg9O8Tm0yOMZqOsKS0vCgWvl9Onwzx5LNg+bRxWnSeLLcZnbTgcX1TqpmbEotKO3lEJ9Vv5/HqO8WM+7OaurBi47H3cuLnEubOD7Oy0ePAgzR/88RQfvZ8iHhY/B8FPquD3KmwkqsR8YgEgqsqqZM31LBpq3cjUhI+N1Rz1juDx2Th3aYy9zaJMT1rt4s7RkYadRw/2WdlU+d3fneaT97ZJpUz80R+P8b0frkoFodtrw+vvgmbl3Q+TXLnsR++YMLz7BwO62jPSatclyM7q1DhzeoqP39sgW20TDllIJzqcv+iWgAGhHrM7BQXTKIFE4u8bLQW3Q6fcMOC1m5g57uDBnQp2p5XhEQuJrR7nrnnZWS/z4GaJP/qf57l354BbNzNcvhSi0xOqNTv37yYlZfLs2aDUk23u5um0urRUAyNjZkp5O3fvpfnt3xnmyb0yiWQBn8vF5Ak3RowsPtynVFDwegVh38XBfl1+qG98VmRgQkTmDdDQ8HttksK4tpphdaPJ1LiLiUkPqmrkIF2jWery6tfjlHIGVjZS+Lwmlp+UOXWyj/XtPI2azsVngxQzTcwWF/VKA7PDTK1QRyx82z0zzUaDYPgLF6ZJMXGYKDI26mHm7BC//OkKib0SZ+dD5No6Wq3L6FQYhkYAACAASURBVHiY+3f28YecRKNW9nbbWJ2qvMyfPz9Eq6nwcHGf4yeCUhkizA1eD1TqOs1KV9K4D4W/dEinUfHQRZU98KlpL59eF5ueAPFBO0+fZPC5XUTiFm7fyUlVXzDo5vjpIO/8fJ1CscszV0Yl1V7AxYT6z2yyo6pN+mIuHt7J44/YuXgxxKN7GQnwK9e7DMQd+Pw2KpU2gZAPs9LjrbcOmJxQKBYMzJ4ISVf5zmaWfLkrI67CFf/wbpXBIeFjbjF3Ki5rJrnDliTV1psaIb+JZKbN4KDYGwklWF2CykT0UUSqDjNFrj03KQc319/e4Vu/OcftW4fYXCa5cfv4el46yn/jt07yt3+xzIVngpIyuytAYsc87KfK2C0KG0stZhfEEMGCP6SSSvcwdsxYzV1cIR8Wm8rnnwnvvbAMuGl3TCSPqvJ/5/KFOJ9eP5CQMc3YkhH8dqPG+WfG+eXPN/nW78yQWK+ztVVmeEyh3fDIiGu1oTIQD8pYVqmgMXFsgHqlLDd4pXyPE2cGuP3xOs6Ig2qjQrfhxu4SLwiNgz2kTkVMUUMxJwG/RaYsnB4LHo+J5cd5CV5s1sRHSiFfbLK0VJGWjNiQlZWnDdRmk/kTYaJRC+WigfUN0YnUGB4UzIoGfo+X6VMR/stfb0pGw5VnIlKzODQUYF9En3NV+kd8NOtdCckTsJdKsYkr7JUU6P1EgatX47zzbhJfSBzWzRSyVoaGxMdDGDVc0lubThX5/FaZM5d8+O02YoNWPvo4T6vR5fhCmE/eO+TytSjVWgm71U445JLgzdxRT8bNXR6Nh4/KJBI1QiETYyM+bt/Jc+1yjI31glTQGBSdDz7LMzviksOoXLHG9nad4WEvlVpXasguXYjJaJjwAZstCmtrdb50JU4qW6JW1Vnba/ONl0N8uFihXulyes7A1fkY799L8f/dFtYMG0IAsZbq0BdwSPf5dJ8LRcR0m8Jta6RmsdCp6OhaTfbNBseCtMo1ul0b2WxJPm++YJBMtUg10+PcmTiFQpv9VAW73crMtE8eSoyqyumZIVKVIk8E4M5jRelpqJUav/1ChBmbJn9vguNuHj/J06x/4YaNhq00VU0yDNrNluxhXxPwz4MCTpeTcqVLsSkSEB1ePt+HxaOQPOgQCFjYWi+gSD+wnVq9K80ooT7xfq8xfzLK2lpOPj+vvjpAOlHnSHQXKw0MBjtuj06wz8LSYptf+8YUjxcTvP9eSpLq+6JCiScWbS0UNOp1G+VySeokRye85I80+oYFrb0AuhhCdSlXevTaitSuWnpw7rlB3vnhHg1DgxNzcXRdYyTuYmUtjzfgIJ2rUMhCvdqSkDiR6BTArnKlQ3qvxbUXB3nyIEmpomF1Q7GuSsDmzlaeoUEHlZpKdl8YPJzcuN2UFPkXLsZZTwgqfI2rl2zcv9diNO5kbNrNzY+zzJ10Qs8ou3hiI2HsNegZ7VK35fc4cToapAs6rVbvi2/K5SC5tMqjlTpXznq4fS/NhatBCR4q5jqEwgIq2yR35CQ+qtCoGblzu8DXvhbCZDBy/1aG6LhwknfJpjpfwKXc4tsstjpdVBWpIv2d35uXusR//29vce3ZPko1Da9bfAfEJukAtWuTfIX0fpdHS0VefiVCcqdJu9dmZsrDwX6bYrXBc5eHuL+YZWTQQ7NZJ5M3MT8n7Dews5dhYNwH7RbTswPUWjW2nrbxBLtyWNes9zgxH2P3KE8qUcHsEAwbqNe66ELGjBlP0EinrnBwKGBXTsb6nfJ5EkOB+w8zMnE4MGxlejaErnVJp+oU8m1OLkQ4OmrQaTUwC2+73yU3bsGwiZ5Vp1kA9AahsFtaiEQXdeS/QsNWV5tganNiWvQ5e6jNHl23Ba3cxWwWoKsKJneLu48URoN1Xr02wHcXK/zJ96o8d2oIg3DP9wcIW51UulVuLzd49Ww/erHIXy3X6JW6/N2/fokX/+if0l3+RB5uA+4Aik2lkdnG0n+RXmabdnMfq60fJTJLryS21R3Ungmv04VaL9O2T2I15mgc7GKPz0l9FeKC2ikj9Dm2/udQt9/EYHaDIOxb66iVMrroAgbimF1xDLUUBqeTTu4I1dTDFZzEgBvFqNM8vE27lMI5dI6uqOJUBDvDK6Gcgp3UKu5jNLiotw/opg5xDp7BPHocpaLTPvgU8/BxzAYjVm+M6ub7mALHuPHWnzIycBrf8BRvv/09gsEpqsU0a1ubDI9PMj85hdXt5MZHP+e1r/833LpxX1ZLv/L1N/jf/td/ytkzFzAZoV6q4w/5ZGWpUkwTingwm6yMjE4yNDdPq1HCrNlpKj2MLgellXVMli4Pl1ZpN2scHmUpVutcuHSRt376Hl/91efpDw3y2WcfMzo+Ryga5sZHH1IqVslm8/z6r32Vof4IrsEAgYnnaW7eZ/XhXeZm+6UCr6E20bt5el0BgJ1Fsw6iCIL33n0svji2eD/GXpd2eg2j1kAPHmPrgzcJjcTRlQCd8jb+qbNkthK4gl50d5hOYgNnfAhaedR6HZPXAXoITB3qyXUsrogkywu7ks9qollep2ezoShj6DYzei1HN7+EMnwVu24k+/RNXIPnsVkDGPx+6olV9NI6ijOKIxCjqnswGUooAvRnG6ZZ2abrDJNf/C8MLvweRqcdxeak0ShhJ0dHc0g9YrOWwxe/gNpawh57VlDc0Go7WNwT9LoFemYvBoOP9u4PsASmMXuHQQAtkxto3iiGYgaD24opMo6aO5S/r0K1qCg+rK5+9OQNmsUqpsEYDQbxKk1o1bH0tjCdf57f/5X/hT99N8cbF0O4jEbslhp5mxVj1cZP76Z4Y8TGv/tDHz94O483bCfkt0u4m9+vcGc1y8LUIGtLKWxuO8+9FONv/+MqU/NBLj3j49/+qxXmF7ycPhXmg3eL+MINvG4fPdEzNGryArq+WZJQTgFTTaW75DJF5hYGyCaLtNuKPFuKJYoAlIsk5rET/dz7LEn/uI1gwIHe7fDpjRzHToYY7Rf8rAYP71Ro9dr0B/w0e00eLle5dCpIMKxw706NqRmHrB1iMVPIdzlzWkCHu9i8BhLrLRaf5Hn5pZDUJYu6bjAgLDhFTp2N88n1PamF1nWzHEqMDPtZXMxw6YIYmlbpqS1MDhuduoF2Q6NjNBLtM+Lx2GSl9tGDLJOzATk8f7JUkCk48e1SWw26bSsWlw1db9OoaPIMNTIa4sG9XVwCgjoR4PCwSruhMzft5t79ghzqDk6KQXudM6ciHB42yeeFht7DrU/2mZnwE42LM6tFpv42EhWGB0U9xiy3+XaPi811oYM10dNsxOImGpUuwUED929WOXbMRcDpw+jqYTRr3HuQo5Dq8sYbg1QbRja3iszP+iW0XDCA3A4jg9Mebt8oEwjDxHBILvmGJhwUshqFUk2eV3IZVaZ+5+cjFKptbnyaYWjAjGIyEXQ76BraLC82uPish25bYWmxxrMvh7n9WZ5An47P65OATcHxGe0P0qqrPFotM3/Sy9FhixFhZlKNEjgvYNJ9ESeNWhlFsVAtiVyLEU1wUlo6lV6Nr31pio2dsgRDnr3Qz09/si4hziaTieR+C5NJl4mCXKLLx58tc/bcCE+f1jH88DsRfT9RJxbxUC7nJa24Z7DIXq8AdqUzZabmQtSLKondGopdx9qzY3YZMBs0tnbLfO1Xj5FLlfjksyShoKA85tDbLsr1Ir/57Sne+fmudGxePD9AVgA5tuvyARHUw+2NLrEhs/Rkhgf8eDwOHj06wGrQCPp9rG/laBigXdT4h/94hu9/dx2jYpNDgveu78nNypmTk7z74Qohv5uF0z4WHx3wxrdO8zd/t8JYzMf+URmTSeXwsIM/ZOOl50f48Y/WmJ+PkkoXGZ3wsbtSxe7sUO8ZKRW6+BwKfXEjkxOj2F0aP/y7LSJ9NvqHzPjiboqCarnWIRY1MDYR4fDggKMkeOwGeorC869N8P7P12m3FAaGBBLCzurjNKWaypdejNI1Oll7lGBgVGzLzQwOuYn1WbnxaZpcscSXXz/OykpGxrKGhiIkUymm5sblcKOUbbG2mkLtdiQZ3O2rkUnZMSh1HCYr5YrOyUsBPntnm6DXS3TESqHRoFU1y/9Of9wl+0m7ezUGYw6SyZqEzoxPxtjeyHHqspM7nwhOQ5OLl0Jkcx2GR0Mc7BewWsBuFdsmlYPtOr6ALmOaT5ZEIiSG0VHlwY06s/M+QoJBpAutiYGN1TzHpgOEona2dxq4HIIKLkgIXU6cHCSbLZDO1cgmVGbnQ/QNWFh+WGH6mA27NcD6eoaj/YIkpAogmGI0S+3d4IhHTrZbWoeTJ/s5OkpRyagUmkZefHWEW5/uUyl3GRgzUC22aVcMuP1m8qU6napZ9q2vPTtAIlFhdNzDj7+7xeTf//WkiB/VOhh6Ld5+N8nJk24cMtnR5cSpKE/X9oUwGJNikzTXtmbk+HyEpUcZSoWmjFyJgcn9W1lOno9w79YOZ872ce92hqhQfPQEhKwun3fRzREO8s9vpuVBZvbkFzCsa1cH5Zb+b/5yi9/9zhRH+3nymS7xEQfVehOz0SqkSpKaXC2LA74q0whGi0m6uUWfqFTo4PS6GB12UW2Kw3UPj9vF48eHBPp8xPsVqSLZT9RYOBeXMJulxQRqx0WlXubUQoTBoSBLD/elpnFsyCcJ23aHg9OzURbX9khnavh9XraP0tj0MK1OnnNnQ+ztdPEFjGTzPcymNm6z4GdoGJWGTFmcmPFKsv7GUplg2EZb65I5VGXMVlzAqkUxdXWx9qTKiflhDJY2m0/zOEMO9ta/cM6bLV3CIS9HBw10s47PbUdtNBka91HIqtR1lZDNTKtnlRdpu73L8rJQ4fgYGbSRz+fRLDbCLgsHB2WyJYOMma1v1OkZFExah2MTXo5KbSqNNtGggO8VuHYlLv8sp6JORkfsUgO69PiIwXiIB3sqn2VVfr6iYeoZCLqQPct6pcbz4x4aZiP5XosZr5ftZAM0FU03SQ5ItN/J4+Uk0YEv2AvRgIlsoU6motLSFYb6bFIPk8k2iQaDGGxwa72CR+9ycdTAP7vWT75aYTPZRXHbSGzVJcAxkWngoMfCfIjFhzmMdhMRn5vNvZzgchLr85FKCmVdh9HJAb7/013iATtXz7jRDR1qRbN03lr8VmqlJkGP0JV26Wg2irU6DoeBiNPOXqpJW29L7od4H589H+Rgt0KzrWC0Grl7Y59o1Ibfb8di1UgeNTl2MsbKag6/x0IwZJNO2zNnBrj+4YGMBF57LoTNbGZ9I8P5q0N8fqtCq1IjGnfw7kcZnr/aR7fXxmqx02or5LNpBoecLD2s0jMbeeH5fskssfkV3DaT9Pg67EY214o8eVzBHVL45lcn2N0vs7nVoNxsy3dBtyrcxzqBsAuDrhFwCbWklfWdvLTWFLM1coUOXd0iB3Gn5r2S7ZIrijpRl2pTJRp0YVAM3LpbZH7aj8kiLscVTiz0sbKSZyTiYe64gxufHhKK+tjeLeJwOKTm8sGTMv1+G8GIgZW1BucvhdjaLpM5FGApt4ykTk/52NvK43TYZaJr6WmZb3xzjHJepB0EsNYkJh2oXQPttko0YGVzv8KpCzGyB006TZXTF/pIJeDz2wnpKhZE5sRhi6fLdb76lRhH6RrpoxbNZkemC0R0v1AsMjIQlM9OPtOmVKoSiXroi1jY3qtz9tQXNphcoYHDYpfP8Fe+dpyPP0wwNOzirqgGLsQw0JHv/YvnBiTLYmM9ybGFKAbdSWTAwN5qjky+jWJ1EvZoPF2sEOhXUExGzBa7hNc6vHbcRqE1PaRd0XAFjRh7Ro4OWpgsRp57YYIbN9bIFlW++fWT/OLdh1x+bpLHd/M4XRo+r3BPlxBdPEGS9/l03D63tAeJWtdu4Yt6mN8K0aCRnsmBy93lxKidj1c1fvNP85wacXI83mD9qI2iCeBohYruZa7Phtmlc/Nhjmq5xy/e/Z8YvvIimR/+OQahfZw8T7tUo6WYsRQ30W1WbH3XaO1fp3LwEPv4a/Sq29j9ImnVT7PXQBcMgMYyZm0Q6/gF9F6LTqWI4glijF+j8+RPUQ1B7MF+lEZa1hsUxwk6jWXUygH+0RfkJahVe4zRPo7Fa6VXzKCYnXTVGopLQatqmNUCSugEzdYOzcMn2B0TaNohNv9JWooXq8mIqVmkWd7A6AyhOMN0W0ksag9T7CTd7Ap2/yhdrQS1Q6yDz5DduYNFMWFwu8mtrWNxeri/uMT9W3eZXDhBIV/D53XiFVCu7CHxWD+Ngk6ykmd6cgq13SQSi/P40R0cfj8zk5M0qk1qzQZ9DiPRWIzIwhXU9bdRLBFamokff/8vaDf8zJ06TiDm59at2xg7Cs99+XmUbo+dnQ32EiucOvkMxVpVPsuHBwnGBydoNFq0mkVee+MbJHaWMXR6TJ+YwhKJotddaMVtFI8P2/B5nr7z55isPcZOvMbG/Y/pVHP4A0M8XVsnNjKE3+2mkE0zMODFNTCNydVH62CTXqOG4vTSC4zT2r8tL+9GYU0RCdKpL1Or7UtwYGTiedZv/x3jx36FXt8x2oVFDIUcPZHOUOxYnYJZcAvNO4TTP0sr/RkmrOiWANa+IRr7a6iFPXpKA4s1iNUbRulZqTR2JHNGDBHNAS+9lk8OoCz+QSydHLpvhOz6p7gcPvlMdcTWtriJOTSHwdym6xr7glGS2UHrNTHU1jG4BzAZfQj/dE9t0nNFMQiDQjVLp7qCbfQyJmOY8v7HGHQTvthZqqUtlFoNdyQqVchqaQWD1YrZPo3iHcBlrFKqp0H1Enz2df7yX/wJ3/lXH/EvfnuORysJVjIa0x4bJybM/CShMdrp8M9fUXAHHXxws0iu3iLkcksTiBmFC6/08cnbh1InKThfYgmazSo4rRqBoBuLDaanI/znv1qmp/T4R//gFJ99siHtCHqrgc3vxmoTRhYLGzt5YmEPbo+G0WKl0SxTOjRx/ExI8gNqFXF5rNMXc6MIDaViopzTcHqMqNU2vj4Xy4sZIiE74bADk91OLpfB7xOWD7FcEQwou7SyzM150Y1GqoUu65sphvq9bG2rnDplx2AUyxyhCDazt5Pl0rMjHB3VWFvNMT3lQdN1+vp9PHmQkmDcZqtNs9ohFBBw7I4c9vcNCFaqkWMLfmloE2dqUXE4SDWlki4SNfH2z1K88IJfmi3yJY22WiEWDuFyanS7CtV6nVKuiYZgs4kKiJN7nyeYPeaV9aNGs0ep0uDYsRiLj3axGGxf8Jscmhxc5wptpsaDPLybZ2jSi9/r5rvf2+DFl2L0x4w8fVqRWt3EjojkB+iL6mRzLQmgFtX0chH598cWQvz4B8sSXOhziwGZgUq9SKlmkCkLMUA7dcIjE7tCszg92cfD5SMQZx2zh4k5L7c/SkqG0/SUg+0dAbZWqFVbLMyP/1djmxNRoxdVhfiAg3rRQKhfmIUE2LFJr6UzOByiUs2QyhgYm/Jw51YSn8OO3aFg9+qMDw3w4GGKC5eCrD6pcPdBmte+HEZVTZK/8t47h4yPuAlGLSw9ahIMCrOdl2RJJChgcs5GYqeJyaDI+2I+XZD1QQFinppxysVN7kij0W4SCPro9Or0ujqG7/9eSHfZbOynsvh9blqtNsuP6sxOezlx1sf+QRO7x8L7P0tw7dkpZmbtvPfRU4ZjAdROm/HpIZafJmSHU3SPN5crONw6bo+do602JbVGrD9EMS/8i4LkbWQwbkY3mDhzcYD791PsbzcZGrUxOe7gg3ezJFJtzp/2oaNwtN/ila+ESOw1GB/2SQL8J58U+LVfn6BcbKMoDRzOEPcf7nHl/BiPHu9ycKjz628Ms39U55MP9/md3z9J+jDHg3sthkd78uBUKejExOY0bOXWnQQXL42xKKI9LwqdToX3300yNOIhErKw+LjCq1+Osr9f5fbHVQJRGOgXNOe2jHcLw0As7uLoQMPj72K1KFL51Wlp9MXdJPZLpI/aHJt34Q16MHQU2mpTUvFrxY7IITJzysHTB0XCfW5JnhaxmoM94Ue2Uq8INYlIr2sU8xrTcw4Oj5o4HHYZPc1lNZotjUKxwcVzYeo1neTfa4UEOGRhPkCn1+bm5zn2Drr8n//yAu++v8vnt/L849+f480fPZVTye2tLP2DRhnttSomNndLPP/cEI1GlUZdUO1VLBY3WrvA+naLX/36FMUqrD/NcuFalJUHaRSXiV5LReuY6FJjdGyQWrnOk6dHPHNlEI/Px49/uMrIiEumELLFIgMjQiXVpa0bKefrBHwO+RKxWN20ul1Wlo9kTUQcMoUVR9CZFU1l/lSYH/14h2i/gIgE+PjjNaJB4cTsMTQR5Nb1fbpai698bYrV9TJPH5Z58dU4yw8PCPcFMJg0yrkmisFIWxeTQyH47bG7pzI+bWNnqcTqbpO5ESeusM7ets43vj3E9/96naZm5auvRchlu2TzQtHokl7OuZMO6mXRJepRqzTZ3+zw5TfGeHBrH3fAzmGigc8FJ85HJQtD9HRW17IMDUUx2ipUcgoz8zFufCJAjA7GRlwcZCv0mjrnzg+zu3uA0+lhdaXM+as+SikTD4QaZcwkI2BWs/AMG2k0q8zORcnmNYq5MsMjfjY3ily+EuFHP9hleNLKG18/zvd+tET6QGP+uAuH2Upe8DDGvWTyDdbXakyNutnY/iImJ/qX4qI/N93HR+9u4Y3YODYW5ubDA9742ox8T4jKx+UrAbbXanxwvcRz11z4PX6K1QzVmlXCGsWWOJtUufZMWEJPnOJne1CQhPaNpw3yBRHn1rh2ZVx6ToVasddTWHmSk+yD2dE+Prm1jt3hZGTMyMZaS/7ezc+bJewzPuBjazUtHfXFYoH+AT/VGiw9FiwSl2RsiGRL0KuwfVBndCBIKiMiwlaOz3q580BssQ1EwoIoAYlCi5NjIXYOa+REL6wCz5y1Uupp5Pc0HB5Fxv4m4m4283Xi3jYjES92pUc+WWUpZ+FGsUOi6WA/XUMzGQjYxAa7w2ysD4+nTS3fQ7EZcBt6qFYLtWobj83CfqaM3tGYnx7B5eyRSFbQ9Q4Gm4M721UJh7w4aOZ3z7m4FjXyqGYk5lJZS9ZI5sxEfBqhgIFmucde1YZeb/PMJQ9/9WaGl88H0K1GNAGqTFaZmfCQLLTxOA0kDqHbVjl90o7WUVjaaPHGVwdluuPBoxoOe1teXrqtLla7nb5BG49uiQ9WP7u7LRLZBttLVZ5/vp/IoIObn+zhDrjIp+rMiUGa08pbbyU5fcJPLO5kdT2HQQQlLSaS6RbHTwVJ7lYoNHtcXojxdOOActnElWshDnaq3LqXk1wIp9UhKyIixfHkSZ4zpyNSzdPrdrH4XZh0g/wuvf3mGsPjFtx+F/fuFJiZdtNu9WSvXCgIU8kyH17P8Rvf7ieXFSClBtVCD3GjtlhAbavUKwKAZWdvo0ok4pRA2XZVDASahMIRsvk8AbeFlXVRn1KYng5h1nX2smUUg7iwWihXa2iqiZ2EGFZ0iUUd8pBw5kxQavZE/UbUEMIhJy6n6ESKoYmNerNCId2la9DptM28+EqArc0qq8tFhgeEMlSlLIjAXo3BoItgyIKm6VSbikyFhSMWAn5xSNzj7Jk4y2tV2YF98niHycl+mo0WHq9ZpqFsioGXn5vnP//tfbm5+pXXxyiV22I+LFNK6XxB9kh9fjO7O1V6HYXYiBWv0yETRP6gC5vFymjMztvXc1jtHfy+L7r08X4zKAqDsQDpTBKbOUSzI5R1QldY4tT8oGTXePsEjCrD3kGbqZEwYzN2NlaK6CaDrDdlDuvS9BAKeLCYdf7uu8vMzUWllnRy2CUhm2tPkxIGORD1kTiqoZg7dGvi/dhF11U+u1llYMrI+elRHj3eZGZqgE/uHHJyyoc9oPPobofJOaMIenCUapAqtHjl2ig3loqMhHWuzDj5f9+v8h9uw3deDeKhyb//+RHHh5wcnw5z/U6Oc2f87KYavHUrz9ePOfnJZ/8X9Hxkb36EXVyGxJChqcnUkdYpYY9dQC0c0GkksQZOYLaU0c1jULhPVfFgMhlRi0f44ufk9ju/9y7hqS9T3L6H0ZDGMv4qRmuM4p3/A3NbxXPuf6CZvSeVi712CaM9DGYf5eR9vFYFIudQ6tsS3GpyDmK0BmntfIBxaIF6JolBLWOyRDE1HqFHxsB5BXP2Izq2DmbLKFo9S62cwR0bwmSJyBh3Pb+Cwx3B5p2jmrlLO5/Hf+Ilmvl1bJFXKW39gFB8WoJnXZ4uas+JzTfCwc2fkKnWqdQ18slN2U8fHRxBsXlwBjzkUntU803Zaa1WqgT9ESw2Dw6nXR7uN3a2aVSzPPvat+jkWzQL65ijA5h6Kp7oHJvLH3GUSFMslikJSnuzRLvVYXhshny1Tr2QJDYwwp07T4jGA5y5ME90cJjK3/OGfvC33+fsmXOk8gXGJsR78IhzZy4TiQjQZI5qtUhi41D2odVuUqZUhMll4fLL6HqL1eV7dJs65WqHwWiE/iEvY7MTROIjWOtJDIod7/gxetUSNrdPOuBVk+BrCfWMi25lH618IEGOHc2ERU9Sb2folTu0mtvomoPAsd+iffg5R5vv4470Y/Uex+zy0cksYra6UKInaaUeYPSfRKnuY+iV6JlGUHtJjMYIFqWAWqhKbW0+u4THN4I5OAPtDPV6C+3gNo4+L+2WB3NgAKWxR63Zwe0bQjebBQqY6vYHEoxqj5yXl+xqKyOtI4KJY3HHaHWK0BBUpyq20AV61TVMnnG61RRUDzCGhuQgXFQUjGoPrZeiuX+E/9o36CV3Yfcj2t5+vAsvkV65x/kX/iXfenmImslMfm9P8lhsbhfvPChi7jr4s193yOGoFvAS8it43R38kT6a6QbJQpFK3SRaPQyOelm8k+L48SCNjsb9e4ccGx9keNjEYVpwz1mMqQAAIABJREFUxVQGBsPs7KSI9gUxmJq0xRBE0OKdLmbnfHz4ySoDsTB1tUFmr8fwqItao8nwgDDpNOgfsFMq1KkVBfukKdlk0XBQJjYFYNztFIBVlc8+KtA/ovH610/y4O4BO9tFLAahax7m//l3y/yT/26MngE++ySN3a0RtNu5/7DGcy9GpGJ5a6eNza5Lc1C5WMds6+Hzim9Ij/HhMEeHVWrVKlZjD7PHRWKnTijYoVDXGRmMsLWdpD/kxOn2kkjW6GlNjs3H5bf78YMspy6FUJQuuaMOsQGRgBBq8x6drlHW2Gr1Fs9cHcTUc1Iu5zg4bMn61pULAXSLRZ4Z2l2VaJ+fUrVFIddmfNTL0/UkfRFxrxHVZw+5vCa/o6OjTj6/W2B80om5p7P6tESkXyRhLXTqTRq6xsyUl09/mcPqMrNwKko2m5UJjfXVHjNzAoJX4+qXxlh7JIahDY72jOTLLc6c9dNs6BSrFYopAZ63oHWbVCsmxidcWA0dDlMNhsftaC1RV9QxqAZKjY68uy0c87KzWyUcFc9dD7vZRDbZJZdrSuW3KoxliTrxiFXea/pHQnz40SrXro5gsGn87CcJXn9xhKWVAheujLCbSJHYKuCNmFhabDE4oBDp87C/3+JXvzXFz76/ytCIWB5q5NJlhkf7ONzN4vN7cbugY3QS9XZ48jRFp2XhxNkouxsF4kNhbl3fQQXGpxUMXTt2u4dsLoXh/X82rhfTZaxmMyW1yemFqHQk3v08yci4i4xwWDpNdLsGhgctJJIlcmkT8ahdTkuebu5QShsJh+wEowpPnzToqnDtlTCZwxyLi03e+MYMK0tH8oIh4sO1eh2n107uqElP6zIxEyCZrNOqtSVwSUTbG1Uzs6eDJPbSsregq0Z54Y8PC8+whaNsCa/fg8NiZPFRDlU18J3fm2Bzs0Fb77K/lyYcCbG5UiLab+L4yQEe3j8geagRjHbpjwcw6zZK9TxbG5qEDHYasPw4zYkzQdSOiN+3OHcuwofvH9EfD2N1tZk5JtzNVelZPDnvpdUySzXiV742Q6NSplhus3/UZXmxwMi4k5NzHtK5ItmkmfOnA6gm+PijPYZiXqweRUbaRHxe0EbVpo1MqSwncifOhmSkXG31MFpNZI/KOKwWDkWn0G6kUjQwOWYkMuTiB39zxOiEQfaQZqZiHB6UuPfgkP6YnUZd8B2qkiY/MupkcizC2+9tMj0SJhg1y6GGgNIJjdKFy2EZwV/bzHHl2pjcTDx8nGVw0E+r1mLseL98QK9/mmJyzMHVZwdYWjwiEHGxtiwoxyZKOU0OHnwhC51um3Kxh9fj4OK1IZaXdsgd1cnXe3zpxUHWVsvUqyaCXp2V7YLUB8VHdQw9N2vrSSwGTQ4+hHbu3IVRbt4UUSIH4T67fGmKTaJaU/nkRpZ41MPIqJl8pofba5BciuNzLpx2L/VGg0pVgBKLjI+HJKFzY7XG5JyPXkfl8aOq1F/duZPmpZdieAJOuQ0b7PdTqzRkOqOQ1GnpRSxmK06nlXZTZWWtysnTgrga5OMP1gkG7bJfvrva4vgVH59/eoQvEJZDk2eeH2Z3s0HX0JCqTKPFwrMvDEmPeamiMjISw2Zo05SANTtP7mU5cT5EpyEAjE4+eHuX6VkPOiaOkqUvGA/9dgm4Onc5Jqfyh/sqB+kcw4MDNGpFRidDNEodWoYKy4+6jI0bpRas0RAgJ5WHd7PyZ+BxQKw/wuLDdXo9wY3QCEQUrlyJcevzDF67m8dL4j/rRu9CLt2hUm9z5pyf7Z0mg3EDyQNhLOgwe9IrXeKri8LZ6iSdqaK2DTg8Zvnv8UB42adcnDof44MP9pgeD/BgUTAAfOzvCdVTQPrZBWekkG3Scxgpp9sSojIx78dpsPLZvSJTo06On/Cxtd6g06thUBQ6DSv7h1lefmVYUtZdHgtWg1kqzrL5LiMjcTbWslTKFV56YZwf/CLFsWmdnmrh6VqZ11/y8mClIn/PLl8ckyaE2yslTs15Bdbxi+dRc9JSqqzsdDg24JYTdZMLbAadrf0GfR6FY9Mx/vrNJM+cdTLX76RaruAwm/j5hoEfrJaZiHjZqbR5vNtiwKljc1qw6h20plHG28TBwW1yIFwhtUKHaqfDK8ddpAtt0jUHW5UqYV3nv389jr2dpVk1EIjZ+ZvrOSZDTo6PCV2WkaNUFaffwoX5ALfvF9lPq5yb9/H5HQEe0sjluxyfc7Oz3ObUeR8WxUbioMDAkI3ZmQhWi4MnTxMsPczLSPbwiA+TpYPPY+PHbx3wpZdHWL6/TwczX3p9igf39mQn9vRChNR+XmpNrVYD3kCYSJ/G5zeyjI8LkrVKIiEUk34SO3n8fjfxAbuk5BoUAU+0SsaLJ2Ll8vl+ytU2P/nJrqyMhAZcXH8/zYljXlxBoWJ0yUPaR9drvPZ6hFqmjtXjwO638/j+4f/P0nsGSXalZ3rPzbz3pveuMst7277aohtoYIABZjDgkBNDMjgzO3Tihna5UoS0ISkUkv5ICmlDXP1RyK20XHJILg045HhgYAcNNLob7atNeV9Z6b33qT0H+t8RXVVp7jnf977Pw+KiD0018+hxlm98dYhsUdRnstRbTWZnPAyOeCXp93/8n57x5ltBJiIOPr0Rp20Qfl0BqdMkCFckODY2srhFhaLcYnDUKoE/qZRIMhUYjThIV7qyOrM45efTh0ksik6h0mR0REChBAm6yNWLIaLpJkZDi4mwhx+/f0yzoXLtokMC9sxOVQ4ZXnlBDM279C0ttI5RGitEJFMQ5VVN49HTCufP2KVyamLKzp17VZnUmBixcbTbxOPrS99ysdTF7dCkPkwopfIlo1SiGtoafXFgydXY3+2zvPxl91SQm+vFIuWuIr8rlF5Lql6FmsrjNvLwSZHLl0JfAh8rHfaPysT2WgyN2Jgc97G1lcAXVLGoVu4/i3Hh5Ah+v0660KRb6/FkLc7CkpvhQQH5U7l9X9T2YCRiJHYs4uUO3DYDqrlNpSD88kVefSPAp++n5YboK9dH2NiOcXjYlNU8n89KuaJg0pvcfVjmxatOWjUDjWqfdrctmUOCpxIZdNFqdNk/zDEyZGIvWifs83MQS/LVrw3z/jspIiEzBnMfxN/b1SWbaTM46KPWyDA8MMbjZ4cYWkXOnBnmz1aK/MkP60wNG/n+aS+/3CiSyDd580qAbqVNqm7EZu3yFx/W+Je/Ocqf/G//gl46Tj2Wo9A1YrF7aFeFJlhs/yLUhcnA6qGbvidrIwbPojzw1kQVwOZCsYxCJSrj7Wb3CK16nk4jJWtwZrWB3eyhaB6nnVzF5grRKBbQBscw6U6UcppKKYrmn0TTHZQ2P8A3vEijY6e4/Q722a/Ii35u5f/FYHDgO/P7GIhTye/TbaWxuF6iW0vRrB1jHzhBI3dEu9mgqxRxD79Mx9igsX1L6n9t3il6qRXqpmEco8tUnv8d5vAZTL4lmsVN6bTvdMSqbxizWpebQd09TCPxCOfMKVQRJTZaafc6tLMpaBfQRxYwiA212qOnhagd3ZWXf5EAqebT9E0KFs8gxYSwUJTJxBI4h5ewKqCrQqe6j2YblvqrcuYhjpGT5I63Saztkaq0JR/HTAdFs2K0mKU29uGDJ9gGQiyMjtNtVWTaYH9jn/DoEHcfrHCwsYUzEiTid9HvGLFYunjsPkwikqJaqJZyjEzNsvP8AXbnAEqjQ2hpGKfRxS9+/hOpDT44jOG3O/mt7/wGfYuH/+V/+Fd8/esvMXP6DPnEMfEdMUzxEgpbOXnpa2QSUUITU7RqJSzWASgc0QpepJfZoVpcRdOt1KtWudQwqSWaqlcO4+rJJ6DZUDtFDEYP+vAZWtFbZHef4pldxqia6fUcmJwBKvEHmH0n5DNVpEc05wjl49uS4aINnKVX2UOsxj3WYdK5NczuIcwmAUL8GU0j2EOvoTQPsTosFA6+QB04j+4dp7b1PjRLWGdfR+3bqJUO6Fay2CZfoHp4E5PBhUGgzc0umtkjDGpDJheMlSKZ4w1ccy9izB7gE/XPuUu8tPD7HNUaXJsPsn0QY9DnwdqucqdkZO+wxa/+8whhS5v3HhWwW8VSBIJeF/lqGafDiMdrkh3vTqPP+YuDPHu2z9i4V9ZhBchb0wykEgq9foWLF4bYPyyjKm25qDreK3DqwgjPn4hEahOn2yOf3QIWt/bkAK/XgzuMrKjpmpFnT4rMnfbz/Nkhs1MRqRyNjAel2SOfaVGtNKi1G5yYHSQaL9PviY2/kxs3orz16xOU8i2ODwq4gkbSR2XqdY2TZ4ZJxbOY7A3295osnxLKvSrHxQovXw+SzFTxO60cHlVw+sx4vAKyfISAoVy5PEAuK7SLAlRYw6ipchBxvCWqVm6cLgvZfBqH1cQ7H6T4znemyQh+jLHH0+dxxob81Ms9Tp71yFRlV2mTOqrT6Pek7tFlt9AWHX5ENVSRHAEh15tZFBv9KK26yoVLXrkovPHZPi67k2CgLxPgq4/zsp48MGJhd1X03E2UqxWZIJ8dc9PtKmRKRaamxJKgxeZWiU63yUvXh/nw/V3sLhOjAiRe68gagYAkPl1LMRK2Uu8ouC0qmtlKPFZArPyvXRqVaYT3PllnYtRLeEAllmzKJYzD5yGfaslKwutvjpPYr5LLlegYBDdM1NGKnD4blEPF/U1weJHJ52alweFRQ9YsRHLQHVDxeQXMsUGtKfTmeb71rWlaDY3o4R7rzxUc7g4vXR/n8LhItynOTXamp/xkCjlW7tYYnjGTF3YEFXwDLpKxGna3gtsl2EplNndLOK19CiWFay+OStX4FzdSvPbVIEZdwPczOJwq+XxLDmTGpl1kUzWUj//Lsb7oex5sZSRMa3rOwfFxh/VHeb79/WkZ7beoDj74bF+6JxPpGttrJZZf8DLot5OvtOSLfXhcRusrWJw2CcwpVlqy19mo1wlEvJSyTabnXFIztrl6jMNmwe5yyFhQOGyRU62tjTJBn4XxcRP/5k93+d53RylVe3z8UYyLF1xE9/P4gn48PpX9jSaREVXGaoQ7XBeHnVwTg9FAqw+RsJ3IgJenT49otHvSxyymdm6blVJNxPjq2CxW7KY+B0lBVK9zbjlIpW3i5z/c5/WXI/QMVQrlPqfOhnh8N8FhokbYZ6VYFMROmJmeYG8vTiLZpFVrMn8yRCFdoNnReOX1Qe5+GmNtuygvjBNjLsbnLXz4iyRziy4qxSbRoxJXXxiS2gqzy0QgiLwg+0MukomShKEJ12TXqEgd4olZESNpUUzV8IbM1KsWas0Us7ND3Pg0ytSMHY/bzd5GgtnTYgBTxOEzEztooBnMDA035GTJE3ARjrTZ36/TbmlYnS0iQRftpkq5WsZoNGOzaHLg0agZsDusxKMVMsUaC4sWJsaHeO+X6zJufe70KI9XDmXq4NRFN/fv5b6M8rpdrG7EmJr1MD01wF/9u1WuvzJCqV7AbrKhm1T+7oc7XLrsZnLMTrenkMtXadSMeDxWtneS0NEYGtVljL3aamA1W2WnZSCgyKmqarFx+pSbO58f4xSd60qZyfFBavU+25spQiEDD+6WGJq0cPXaFB+8s8XMvINQyMOnN/Zo1zXsnh4vvTxHqZDhaFccaro0GqpUvWUrVS6fH6ZWqpKvNBkfcvF4JYtOD1/EKeGT0+NB7t6J8s1vzkglYTKZo1k3YXW0aNSbPHhc4utvRbh7O0mnofHVr0X4wf+zy/IVm1SkqD0DtVaTSl0j5KhLGrNwd1bKdUy6gsNnlwfZ+H5NQrNEr97k1Oi1VWYmdbZ3mszPW8nk+rTrTYqFBkMTDvLJDqfPeYhHG9y6G+fS2VGSxaqMkuWSVckROLU8STqbkc7R9VWhAQtjsmgcriYJj7rkF0erXpFfiHabSiRoo1St4XSZyNerVLPIetCDL2KMjgSxW9o8e5ojX+1x9pwZ+k62d6IsLQyysZnl+cMOb/1mEK/LyscfHRAZddJptLBYddpNAz1DXW4Xs6mK7EUPRIwMDwVwOK0cx8vc/fyIiUU/0d0MkbCbBysFzp10ML84yNtvb3D5ko9TJyPcuLXD4W4NT9DB/LQJr8fPysoRRtXE8LCG2+2RFNhkpkmr0ZETVdEtF1Pfx08zcgo8IWJUhTyxZJ/LV4J8dkMorIzMz/q4/SjBixeC7O9VMOpGzBYT955lmAvbGAg5uLdWkj0xg94jGmtwatCJ19GlmqtyesohB5x/8XmZVNvGJ4cVOm0TdVXnMFNkwWqQE3un5cvvzraq4zaZ2CuWKVWM5KoNfvuSjSsTOjYxfNzLkCmrXFly4TT1+OhBmkvTPkI+XQ7aoskSHpuKblSotsTD2SA72AZVMM3MxONppkaEbq1LpSIe8jqqCUx6n0ahLas0DruJU0tC09nnwYMoL1yc4IvHu5IuG/SY2dnKMTHrIR3v8uDzLK99M8D47CB3bmxRq7YIBuw8X60SGValN3l7q4BZN+AdsJNPl2k0hAXAKS+UAxEBHtXYWc1w/bUwjx6nyWVbnDwVRFOarO9VWJwJMj5p4d13k0xM2MFoQjM25XeIAPnc+jwq4VlXLo2ycn+Hs5fG+cs/j/LNb9kJhQL87Ef7DA4Jir+VD987QLdpnL/gZW8jz8nFMFafsHp0ebySw64bGB81kau2ONpt8epXRjGZOjx4GuP4yEC5XmVwwCkTGsKd7LN3sLvF+76Iy9NnKOJmc7+Iwyy6+A7KlZz0F6eSFk6c0kllmvI59NIVB7/4LMfWowpLSxbCg3ZW1rLE03XCfisuu0Iq18fr7nDuzDA3biRxuAxMCV3lXoZEqsbIoFPSkHfWq5w4/eXwUlOFxaCFzWMh5FLZP66QONYI+ntMzZhY22zQ7sHJBZ2tzR6NTpuRERW7WSeXFADePla3QjpWw2zqMTIUZHU9Lfvoom85O+yQyZZ7j8pcOOmQatpHT7OcmDKjaCpOUX8RtHVFoVBs0Kx1pM72g/ei/LPfX+QnP9mir6t853emeHI3ijtgZ++wSKPeY3rcKxACYBY6rQqNfpMXr0TY3apI8JVu7BI/qvPWW9McHxbZ2quxeMZNJtaSSidh3BGsCBELFXpKp8UolYPv/XyP19+aYGTIyK3PskSLXXzWCnPz4+hGI6trCSYmHOweV5kPu+UwaGuvzHAAhkMu/vKzKndiKlvJFK/OWiiUu+wWmlxbdMtqy827FX61UWDGbOTHf/XrTF28QPUoSSHXxxcZJre7iWt0UMbTdYuHeuqATmEbzWZFCZ3HZraR2/wFZlcERXjQrAEqiRimbhn70BLZzU/pdQv4Fr8PeoN+U6NVOUDzTlGOf0i/bsAz/hUalV2aIqUjlMe+JXrVGJ1mjm45hWaxUO5YcPhCUhfayD+iVy9h9c9CW2yg+5A+kGDUvh6gnX8kn5eabx6TN4hS3aOyfw9cw6jWMM7wEtXjFWyuYWq9ktT26U4XreQmeMfIba8QirhQJr9FK3YftZqhY7aB0qd8tI/bZ8I6donS8R66M0ijmsbUa0sDQ79rxhReprj3Dr7gmCTiV2oJ9OASajNJPraHyRlEFX36RhyrN0K/a6RQOMKmdclt3cI5chZLYJReX1zynSj9L13wjfw6ttHXqTd3KKw/xUAezTTKrVsP+Oid24yOhOkLuvn581K9KiwkHrcfRbCeWn00Q1eSyt948xvsrD/BbTZxmMpJp/vZs2f55Fe/4ru//32ePV6Vm9OPP7zBlRdflWrtraf7NBoFzi+fZ3t7k0K+wO/80R/woz//d+hGK3NLI9x+8AxV1bhw6UUOnz9l/3AL18Ag/oAHtV9jcmSUialZdJdIa9mpV2OoBhNGi412JYtiCdPIPadWqRKKLIOlSqVspNfqYjNUwRmmmVzDYLbLGkInv4Zr7CqH936Jy6yjLf42ndgtCXJsdgw0ihsoRg/W4AL96j6V+Ba6fwqD1YfNM4xJMbL3/n+N9/x/Q71bwVqLUc1uYBo6gR68TG3vY7nA66oOep0CHYMJpy1IqSaSUoLNZae0dwt7cBrMTpR8k/TxL7A4L2LzDeM8Y+df/yf/Lf/qr9IsTat0OwbsXisuLLKu+Tjb5Wqwz3/xdaGV7XBvXXS8A1KZJ1J5G1sVlma81Et1ttN9BgT5PmyhnKv//5dvhakpPwo9mq2GBMAa1RZDAy78A05QGoxNDvN8ZVcmomZnfLz9j9tMTFjw+jRp/pmbC/HpzTWqJQ1/QCeXL8qttt8nfkYDm9spWVerV8Qz0U9k2Eo+3ZJgQIe3j9flxe4w8PhBkqvXhjBb4FNxB7o6wt5Wmv3DrBy4tmoKc3NOtg9aDIYd2G0mFGOd48MWqVSFpUUP6zt5CtkOHm+PgbCDQkEllykyu+BnbzWH1WvBH7CTS+dkVfPihQB3bu3j87mxWgzs7YnUTV8OgLsNhWq9THDEy+Mv4jJxIe42nU6PSMSBYuwQ8ro4OM6h6Sr7uykWzkUoZZpsrOdZXPJTKdaoFBWqtTwXrkwRixal6ezs+SDv/nQLl1/D57bx9HmWoQGL6LOi6B1qRSSgNxBQOTjuMBS2kYqVOHE6yI3PDjh3eoR2v8fWagpvyEYpK4YsVjm0MZs9PHoUw+vpoShejP0CU/ODHO4fsx83SND3t39nQt4hd48KKC0ToYhGOlmW6sJypc6Zy5P84icrvPH6FLFESS6SLl+aoNXt8/RuHHfELhOzT9fTlCsdpsY9ZFIFrl4b5Yc/2WI87CWRKHLmrJtm1cy9R0muXQvLivv8gpWNDaExV1k+N867764zMelkeNzNL3+5x/igDUVT5CC/2uxiVMTrKe6ITXpKlQGvj+NUk0AALE4n7/10i7kZFc0iNLU9OQQXg5OpsTCFfJZasyfVi/FkC+Vvfi/Qt6piy2qQ3aqbnz4lGutw/kKE0ICGUEj+/EdRhicczC9Y2Fvv0+plOH1qlDt3MvhCVtkLr9XbBP2KvMxGht3Sv/v+O+ssLfmx2gwk4yIuXZYeRhGXlzCXSodOu8/goJloukYuU8asW2UHxunW+dmPonzz18bpd3q4fBby+ZLURZQzBtlBFz3iVFT0zQOEBgVd8lhGhr/+1gL37x4Ri1Y5cWKQlWfHxI8bvPzaEK+9OMUP/v1dcnkDVlOHhSUn/ZaNSi1H4riDxaNKt+XklEX2kZ+uZgmHbCycFkCoqjyYDIZUtnc7NDpV1LbC0oUAqZTQ9WgEAgbaikZsN4XVZqPb7TG/6OfGR4eY3FbGxsyyh5QqFrHbrFjNJm7d2ObMhRClSle+UEMDHsq1ooyP9Ht9Rsf8PHhwxOikh3K2xmDEhcXWp69bsJgM5AsV9jdajM11aZR1EvGaVGPodpXDrQpnLzl4+rhArSU6LhZabZuMpnVaKoloVVKvhSLtsxtHzC2FKBeqGAQRfyoE3Sr1bo/7NzPY3MKZrHBuOYxiaPDkXo6xmYCMu4hubSyV5e7tMsvnPeSTVS69NMvBrjhs9HhyJ43JbWRuxicfzs9WCijGHt6AzqmTYT795IhiqcbL18cp5POsrIifOyAnsqloiYePYnzn9+Z4/iArO7QTYwEUW5tcrC63bMvnQqytltDNNix6kWSijmb14HMjFVoH+0WRCsdiNbG/22D5UoDkUZ3VTRETF+DJYbl1LpZr/PKdQ86ccZHONHFpGosXIjx8kKHb73HmnJ/j3Ty1qko8UeTyCxFK4gut2qFcilGrK6jGLolkl9/4tbM8ebaPw2UnlS5TylQ4uxwhVygRT4netIOxIRuJdIsnK3EmJv00OuJS2uL11xZ456fPSOfavPZqhGS+RqvWZkBQ2gsNCRMzGfo0e3WePitSr5s5c1KhkNcID1mplEo4XU65TXba7TSabWnacLnc1CoNvF4n9WaJtec1whErI+MmDrcbHB3V+Po3QvIh8uRZkrEZP/HDvGQi7O/UZKXA67Ng9zhIHOaJjNnZ2CqyvOyVk+F33t0mHLSwMBfm4ZOEfG9evTTGF3djsh6Qz9U5PhaRYyfxeJFAQJNQv7tfJDl5McTeVoZ6ocfpC14ODxvy8jI8YUbv6+RzJUmInp4Ko5lrxI6rkmh+clkocVpMjzokxO7gsMzQuIfPbxzzwhU/+ztVzHZBfRfVmi4Wq3CfpzlxeoRPbm4zP+thcSbAykqG/f0yU3MeOo0mNqeZWqnF1n5VUmJbTegaOviDFlw2A616n1iiiWbpMuBxMhDWiWYbbK7m+dqVAR6uZQkFHbhNCu+tZjkZtDA5EuAwXaVRrHHipEZAsXF3M01atbCfhseJFts1AeBp47dZCFjBa7bz4U6JpQB8f6nNN045+eV6n5XjCq/POckKY4Kqo7lEULvPxqZ4ryhYvQrlQhe3uc+QUGjGCsyMOEgVFLLJGs1GnROLfixO8f1cljF8XbVgc5vIJirUOxA/KnD63DBjIwbe//iQkMfF8tkBXD47f/In95keM3H2rNgG5eXDmlYbm1WVCj+hJU2ms5w5FebWZ/vYnFacDgvrG1kJAQ2FzCRTNXZ3SpxcDLK+nSMUEFsLsVlxyo20SAc830lyYjFI7LgoUzdzwpFbFLWnhoQshQSA1G2XncNquSL7sOL7r5SrcHRc5/JLg2xsCTZHQ9YG5hdsktkh9JqnTjnRbDYawjvut3PzsyNOXw1TzDS5czPJ1JQOiobNZqHSaBHdafDqm2GePMxSrdVZPhMgV+nR67XJpQtUayovXByW2sjPbyR5+WU/Voedv//7PekYFv3No2STzz9NcPpMEI/bwNZ2HkO3T1Ooukodvv3tIM8fV/j8fpH5abGb1Nnbb0r9UCEj6NI2HG6T3CQJTk+vq0nXtGJU5GdHaLGUjkajZWR0XMCL2jxYEbyRDheXffhcJjaPSohJucNqI1fIsr7d4SsvhmjUKxwc9rC7NRYmPRJ6W60aZbd5dbvIiRkffjtsRYXhBWzh6RfsAAAgAElEQVSqmfCEQYJ6tzZq8gLt8jXw+Wzy8PTkYZtKp8HsjIrfY0Yz9kkmhACuj26uMz7i49bdDCOjVjSDqM1V8Q8MkCmV0bsNsiWF6XE/jx+lmVq0UC3C3UcFvv5aSNa9MqkyVp+NSqEvyeZia96odmnQZHDEgtJVMRohEWvQMXQJeWwEIn729g+ZHIzwxf09DhIwMqjhtOn0Wh2OCh1svR75nkECil0uC3/wio1otsI//6sWx3X4nQsmnuzmcNhDqDaRVmqzMNKh1bfxwxsZrp1Q+d//1z8iPD9GbetAAk3riglTBzD0ZPLRqI2gOnv0xOemnkdR7HRbJXrNCuhOLNRoW91Sa1fc+4S2asGiqii9JvWmHbfXTMc2AXkR87eg+k5CK0chsYszMk7PqFHdeywriW3ViWrTQHFjcY+gNLNUmnmsmof8yj+iBSZxn/l96tlHFO/933jmf09GtQ3tNi2rHSs2TCaVam2XnuZANw5D8YB6syzTbJozRHXjM2wT58EzgrmSpZZ7Ap5TNHNHaEqNdrlAzzaKOzRIJf6cXrOFUaticM7TLW2jhBYxFnP09S4dJYJRK9HLF1AMbQyuiJiIQrdGs9RAD1gpxXbwhRdlYqPVydM32lA6ORo9DfvgBajE6HXzoIRR+yk5jFSx0tdqKMYQfZsRc+kQ8+RrFPcfQTlPo53GHr6KZ9RMOx2lqzr5+Ed/y/b6ERa/F6umM3fhJEfrRzx6sMIf/2f/jL9/+8eS9v7q1YscJ3Ls7m/LLej6zjFuxcJ3/+Cr/M3bH3D6zDyrz4/w+ERXXCM4PE507SnB4RESuQI+u01CpdNHCcrdGrMz0ySzCUqJCulChqXFORIHB9IIZFBN2F1edtef8Ju/9S1cxiY9h5/BqdOy3pg72kSrZcFmwRo5KyHZ4vOqq0Z61SfgDdHMV+nWSxiadUwmEx0tTCWxJod+juAE7XqHTnUX1TdDv1PEqgeoF9MI913baccQT6ApOQkLtGpeStUDyVawuCdo5B5hGr5KdvPHuAdeoC3qJ+k9dI9OryzO/UVUdwSj3sfYVmj2dDCU6VST6NZRFHdAKhXddpWGexE9eYhteYiP/uzPeP2PP+LKjIWXX5ykliiRaXSkLebdh01mvW3+z+95+cnNJEcpE68uO/H5NGrNPuFhK5/+KsHkhAe/30XiOMXEnJ13f3LM8pkQB7GyvKSPDvmIphIkYx0WznipZKBYrRA7KtEsi3O2m8RxWV6khoZshEI+LNYOzx4VpfJ3eMTND3+U4HvfHSMgYKqJBolklZDXQ7lepFrpoZlEhdFEs9Lj4DAlz1vfeGuO+/ePSKUbTM0KFkMbg27iOCZMLg4KmTKnTomLbktWPY93q6QSLcr1BheuWMnG25RrYoDr4WCnQL2rMTftJp7ME4u2ZGI0kS4yOxvBYGhSKlSZm/VzFG3QQQylW1KPnUpX8bg1traK+AWbSejwgiYaVQuK3qXf6tAzNojv93H7DVhMqvw3a8/KLJ3yoZt1SoUiLpdd3u+OD7MEI07OnR3h7q1NHH4vD+6mGR/TWDgZYe1ZSt4Bc+Uesd2CrHk5LTYOjvIMjtrY3shitSucvTgm1ZA3PzvE7BZ8oyLzkx5ZDYvGcwTddsYnHaztFjgzP8wX9/fxuy2SmaTbHGhqn0q2LiHI2Xwfzdim0zPg9LiYnuywu93kk9tlvv6qjZERP0+epjGrZqYXXXSafT4V558hC+GBID6Pwv2Hcfn70u6Ty5ZkLaFc1akWyvK8aPdaSB7mmVsclMwAI13Wtor0Wn1Oi/dVGz6/leXkgk0OdJ6vpOl1FXSLwtS4n2ylxO1Pi3znd+c42khIDs5gyMVHtzZIJ7q8+nKIZ8/TvPnWJCt3j4mlhF1LYXo0jMNm4/7dA4zGDm6/HavNikOw04UhpdClVuujG1WUf/yjof7JRR937uxSrvYYHnYxM+di76hAIdaUrmdPWFz+/bz/s1W5bQlFRCerQKHQYP5khCe3DhmeduN1WtAdsP2sxNKpEKlkTsYtNlZyDE+aeen1cX72oz1K4o18fpCDgxI2TaPeEtNJB82qgWq5jEE3UCs3EJbu8XEnsb0sw2MhGWlMZxsYlSbhQZfUIaiq+DLsU8yLzl6IQk7EhZu061+S8gWh02ipMz8dJpqosb9Vk7G7P/ynp/npz9Z5/LzKqRkHp5b9HO2WEF4itadyHC8yOeHGYrUQi6Xod8UkqC+BO2eWQ9TrBp48iaFZTbz5tTl21mLs71cZGtd5+riBToNv/e4yNz/apN1poBqsJI7bjM2IPn2fQr7H06cFQmGFU0uj8oUR6qxkLi/7jSajis0lAjsmNK1FNtpifMHP5rM8ZkuHZvtLf7yIrxVzDUJhl4RAbWxXObPslpN/Ad/TTUg4k+j451ImSXwPDRsld6FeqciLkcWqYtKs0g2OuYWxp9Ds9MgmW9TqBmlJENGacjVH5lh0u4Quz0y13aOQbci4zOxsiP2tvPwQLF8Kyoivx2VldS3JxJif4+M84YALl0fjzr0ERq3PpQsjrDyJU682CXh1puZEnKZNNltj43me139tFKUrLtPioKthsTdoVKBYrkqdmKhH6GqPo8O6BBs6gibu3UswI7R4KsT/w4EtFf1SYyXUeeL97fXYpAZJHKL6Bo2JYY/cHFl1nUK5hMujywqD1tSYOeOS5Pm3/zbO+dNewoNuHtzb4xvfPM3WVkwCPgzCVWs2o1r6bDzPyi2S6DYW8m3yhQI6KjYfBFx+arWWBM3pbqHgEVvvOouLQbb2k9RKKhhbDIcs1Boq5Xyd05eG5DBA6Gh0k5m1zRizMyE++/SYV98YZuV+As0iUhJuPv0wwbUXA1idZqkNmZkNs7a2R6OucuqkS34JHOyI1yqNy+WSmsZ2uy4vxJ26TmDQztZqEoPBjMvfxuf2UqyUSCYUZmYcsr8sdFvXXw5TLdbJ5LpYbU1GBv0k41VEXfHhvSIvXB3FH+qx9TQnnenhIRfddp2uocvkmIAkpuWwJBDp4LUNkErVaHdLaLoZm8uEyajjcpnkz7J50ODEKSfxWI1iuseJc34mZ+yY1J6sO2gmlS/uxyUcRTxo/E472WIJk9FAcMhMIlaWlPVqvY3XacDrsUgdU7tqJFvI8tpLM9TbDQ72qjJylSsnuXh2gnd/tSMVKZeWw+zGjoj/h2rFf/SHV9jc2OXe4wJBl4lkvIjV7ZQmj61EEa3Wkx23dCbL6LCHZK6KR8C1Ggo/vZ3hxPQA9U4Vk9LHbFcYcRrlJNzoMZJMdAnZulyc83F3pyLVN7vRDu8cGPj58xpuB/z737Iz67GylWzzxU4Z3W5h0KWzn/yyj3jhXJhUvCkvy/NTdgwGTcIOT511MTvu58MbO4xOuthbK6BoJhYmVMlaOTPv5+btHK+8EpbbxmK9Q7PaldrWyfkgpXiBZr8noOnkai0q2S7uiBm1b5I1kc3VmiTu9io6nz9M8Yf/ZAyb1cFf//UzXn19nmcre5LhkS+3JFj17oMYswtBxsb8rDzcp1Lt4fGC3+9kYy3HwlIIo9IjelAhX+5KsGfPkCO238QfdMmEkj/g5INfxPju742xuVoilSzj9GgcbglAppPlZRsff5RgeEpjdNDP4V6BTrODO+SiXW2SLHYJBVS5jc4kWhL2KQ44kSEHLo+Nf/zhFtOzXqYmVVKJDi6fgwd3D7l6bYQHdxP0DT3GpnxS2Tm7EObtv15BU1TefGuK9z7YwhPwc+GUj3/4h3Ws5h4jE8PsJ+N4LDpeq4P1aE4qfTJJAcMUqjwPW7sZggE3U9N2trZFTaXNQNjG1KhTVtx065ewumazTSxXplXU8PkUuZkxm2Btu4rdbiJ1XOP7/+QMj59u8enNIiYrnJIHmI6E06YTPXRXW5p5ugqcv2ChmOrSaupEhmBjLc/pZS+bz6ooJiN+j5FHj8ssLXlk+qpQqNFTRGrGJGFZ4zMWHj0sQMvB6FidkcEAP/0kTSnb4/VXg9SqAqwJrWKbwKCDjecpJkfcuEJGdjbLfO2NCF88ilLMieORysy0nUSshd+pUsw3yBZ7VDtVzp0K4zCb2I3mMJvEga9IKS8qVyrNakcaY85fslEV0f9Ol2ZT0I/LTC4OsbMeZWTMx5kzTn717jG6p0enCtVin3MXBlnfOMTn8RHw9ziINWkbdObGTGw8K2ByGQm6dF48M86V//45iUKHqydVPCKxWG6QLajMBHWCNifFTo0P7hXwB0ysHv6dgAcQvfMRdrugavWpNfPYfaq0BBkYRqunqJX3MLvnMATH0Uwa1eQazdwuzuHLMk7bqRzTMaoYmyX57yrVFA6TjZ45SKORglofTc/TERCt3AEuh4MOFiqlLMHwRdqGOtX4cwwmOyaHUHwK2HGQXHwbu62N6j1JNRvFoGm4Bk9STObp1p5gNLtRuy3a5Tq28UvUko9RVA2LY5F24b7c/IuUXD2dxjEwTbdZQekZKUVv0WpUsI5dQTUY5dChnNrHOf4K/eOn1PLP0AOXJZRZ1XUa1Y40HaiNHG2jRn3rc2xeD32Tk0ouicPnkvXTvmMQpd+iG/8Co/cSJreN+u4XVFotBsbOUs7nsJuFijqPMXiOVuOAdnJTsjf0gZdptw7pHH2OdfQahvwGPUeEfrsjQa/VYh6H043J46OS3kDzLNIXgKzGOn11AE9kin6/xxfvvkNoNMSP//EX9JUOfl+Akcg0xWaLWzc/5Nu/8W3u3P6IEzOTXHjj18ink3gDIaqJY+7evsWla6/jH/fxo7/4U4728kQiozRRJQxsO5qgmIpTqNQ4c3qcS1dfZXN1kwePnnH67By3bt/j8pULkoGUSgvg8gj7h8ck9g8oZPNMnFnk1YuvcRDdoqcUmF14AUfYSzufoxBLUO/3MetdDlY3MduMjJ24gntkllYtTfbpF3gnFqUus5fPkcsfMDh/iWanQTN6F9f4i2AQ2t08lZ13CM1+hbZjlHpsRUIizbqNeuwWjoEztOspqrUqSrOI0ztMralIJW7fO0x78x361hBG95i0BOGdpFuqUNh7G9/Sb9NtNOnXM3KI3e7nMFZ7mG0WCtEDgkvTGKwOnDP/HSenA5yaVOjVqmwkNCZDPdaPdR4WWjz8Fx5K0SLO+TB//eM1gk6FKxfCfHEnz+CQHYMZbJqRR08zeFwabbHIydQ5c9pNva2QixfoqMJfr3EQqxMMmKkXG1hdZrxuBw67QRpySsWGVGRaVGj1mmhmM6V8m0S8ysCQSiYLr7wWIbpbotkRwFnBD7Bz4swwx9E0+VxH9vo3V2LceVRkbMwqGQTZTJWD/TKHB1UWF1zMLw1I1Z3QpNbKFZSumdEJDweHaSz2NrsbNcJDdi5emeJnP93l3HKAsSEzn9+Ky+XP1LRfpnd3d4pML/oEEhJVTCG7YtCeRzdoRBMlzi57JKNr7UkcV8DEcMjGs/Wc5JnsHuS4fG2c936+KlNLI4NuorEcMzPCxGHk4CCPy2lndNRCNFmlWmrgD3qIJwoE3EJ3W8Ni6nH+0hiHR3E5EE9FFXYOk4yO2tlbL0olqfi5i5UKFs2Gw6tTKTXlHcbiMDM4bOZP/80BX/1GkKEhM0/uRPEEHJKhNhAR3Kom3UYH1dImX+phUq3YrH1sNoVet0s816ZbNjE522FqepR3frnFydNemVa+dTPNhSsDmA1w406ci8shHtyNMrMYlgaAbKbOwIiJyICPbrvGw8dJrl+fIRMvsL1ZwR3S0fpGVjfzXLo6KBfcn3+0i8mq8my1ztWXAlSzJZYvj/Pk2bHUx4cGLdLyFE8XuXptnI3tFD6nA6sV8rkqgYBOOqeQzTQYH9XYTZQI6BaZLDx9aZiZ2RC/+PFTXnxlXP6bLhW5+E3GFH7jNybJ5jNSl90Q6Y+AQl4svF0K7VpXnntOnR3h2coxyof/crwvuiSa0SHfuPHjKrVanWi0yfXrAcrlHsWC0KI1MJkV3N4eIyMjfPzeHi+9EqBW6xAO+SUzIFWucO2FgASciQfxxJRX6gf29sTGtMX81CDHqYyMzF+5OkKpUEY36ph0M26/mV++u8/EtM7J+RC7W0U5iUykyritNkk97zVr1Nt2FEXEe23o6LgHVAlLysQrGKxGuSlMJwT9WfwhmywuiohNgEIxjdfj46dvrzK85OLUiIebD5OEg27iCeGg77B8PkKzXqPVFhc4HU+oR2KvzJXrs6w+3cVisdDvgma1cnyUxum2yI1H/LiJxWGQ25uzl/30WwrlWp34YZnEcZNLV4YJhjt8cTv7ZXQyILQZJgYGhS++K4nji8LtXWtJWnNMKAMXHVTSfcwmA8EBD599tictBMIJ36x3ZUJi9WGG5UthEgkBGdEp1wQBvSwPeplEE6fdiNmtYDJYabaLxGIN6YD3+Uw47TqRQY8kkpbKbRQd2TfG2KfT7mE0trE5vCSOxaZAwLTE5MtJNFpCU3qEBoQ1ooPZ3Mdq8bJ/dMDkRBBfyCljPc+2UujtHqMTQZr1L2nQvkBI9mfFm/P8pUm6rTbVSkVCDIUmrK8buPlJhlMnvbh9uuy/C6f84qKTbLGNZlTwe/1YLH1SQuuVajI67WVjLUYm0+LSlQjJIwFnqTE2OkCxWKXZaklrRKbQ5DhW4vS8F4ffxO5Wjl7fyPi4naMDcRDvyYe8WRPbrK5MsIwMWfni3qF8wAXCBnoNA+vbWQI+jVRKYWHJJQdPqrlHOlpC0S0sLbkwGWysbh1jMlqkL/vR4yPpg758ISyBYiINM38ySOwghcvmYO9YdM4U5hci1Oodyvk8pVIbi9XB5Kybja0MRvm7m2XsZ2c/x9i4nWali8dn4sQpL7l0h/WNDJGQg1K5Iid84vX++uvTrK0mqXW6uOwq84ujpBIpPv70CL/Hy/XXw0S3k9hdHqqVAplsg3ymi2Yy4vMKomwbt0eh3uzI7aZN2DF8NprtPmhChdKXVSCxXVt9XuPcWSvv/zJB7LjNP/3jWQ63BTSyxtJJJ++/l+XUWSujAh7zPPMl4LIKLquZoUkX7/18mxMnvfi8Nvq9Ls82i4yG7LKKIai8saMqLluXg/0WY6NOar0ajZoqNYB+j1W+BzK5llSU1hs96p0WHqeJfk+8RnaCNlUe3MQEWDdbqNebcsh1/Ssh/vIHW1x9eYotYXfQTEyMWOnVDVSadQbHBVU1T6+lSChcNFrH5YChMQ8HBwUZR07Ge4xPG4nHmxLUJlJPxWYdI2b5M/vsKtkSTA7ZWN9q8WA/z1vX3HKTXRC2jaUgsUKNm/cLXDod4MUJXSYPnh9VePVyhJvrKZodlbJBx1qvkmk2WQpZMVttZIUXXfACKnUaBoXTUyGa7Sof3MlwdsbGcDjI0V4ce9DH7ZtpXn3Fg81tlsNQj09c+kqcvxiR/BOTXafb6sjNutCkPXiQkrqi4SlRlzKTSlYwi/dFuojFaEQxm8hl6gyPuNgQpg+xHTlokKk1cPtVxkbc3PtcXJpFfcJGodRhdNTHw4cC0qkwPuTE4TWys94gMGDF5uyTFBuJvrjENeQBQ1D4Rb81V8jLSsvwoJPhITPxVJ1mCxSRVpp2cvPjGKfPuxiO2Ll3r4DTbqNPBV0zU2/1cAq4qGbmi1spLnxlkHw8jz/kppKuYrObuPu4yNiIgm42yMihy21nYd7LU0EF7otqryoTWvu7BWw2o4wqisqBqLvl8hVpRggP6HzyeVTGqK+/OcrWkzR3H1Z446sBCeuL+L3sJhLYNAu6WRHNY66cGeXByh61jo7H3OX9T9JcvxxkbFJndadFp1hkfD7M/dslXnxZQC377EdzclDtdhmkNeDWrSQLJ4UNo8jwsBOlq5AqlMmn+ywsiP/LwTsf70vAoDBTLJ+2y03NrdtpIgET3kEzP30nwWDQwfUXPDx8Gmf7COxqjytXQjSaNXLZNiNDHo7EEFMz4HH1MVu+BEEtnnRwuN0kWxFU9TwnTjsYdutsHzUkqE3p1HiyWyfkN+N1qVj0Hs2GTjTfpNfWcdnBalEo1+sUsn1Gx42YjcLyAYnjClNTbh6ul9D7DU6KQfh+jaFBLx6bgXgih9OpEw56+bd/c8jcfJ9mocfX31zg3qMoGzt5xsIW7G5YX2sxNebG6upw+36Z0ZDGhXMhsrk6O1tFFubd3H+WYXbISsjvlEpVs6HMV/+PFkrEzgJlyVupm10sRnRSuTp9s5GFQS//89tbLLngaeoXVGN7dNbvYAqdJnX8GEe/IS88quajbXTTyR/QST9DdQXp6DYJkOqpdqkaVFQn+ehtCbDTxMbWGqZLHwst+oqFvllHNYfpp1apdr98/Wn16CkmesYKSqePoRGjLpYI3lGURp2+a4ZO9oBKbhVXYIp+q4FmMUnjkxhEO7xjFFt1TN0citFFrR7FonpQexXaFivVowNMvhB98buXDvCPv0y18IR+24XBqtLJH2FbeIvG4VOo7KOf/C79+K/AEEajTtszTz+7QqOaxxa+Qv3oc3T3LLXaLlZbGKXXp9/O03OMorh8GOOPabUqmByDdDpigOxD02y04h9jjFySaQkaecwOF7nVjzBHJrB6h2jW+zRzG/TaOeyBs9Ry+9j8YTpdjVYuhmX6BerHD9DbbcqqC9vgGZTMAzqxHZpmL/bAInr/mHJ+h475JNb6AarPhhKcp5lK0K6WsakaBq+LnZXbPLj7jMjwCIuLJyR4LDg0j9KqUu3ruEw9MofbWMNz2AfC1FL71GsVfNPLVPce8qsf/i2VngPNLOCo54lGxUZ3l6mZCKvPDgl4h3j45AsUzLx4/SwmxUpHU0CQzAsFcukEb7z1Pf7qT/81l86/xkc3/oGu4uXc6XMcHq3Qb1kZnhkhvrclUzECNtywejne3ObgcJ9IyMPcqRM8XVlnOqLxm7/3PTk8oVyicfw5ie093CNTNIvHGB2z6L4gmZUPsM0uYxOJgmqTnrFOM76J5gmg+a/QLaxRLRzJv2OnlsagGWWV0OIOUzl6TruawHH6D6GboZpNY+1laffbqO4lKMXp2RRqB89xDH+VTn+H6t4xA5Pj6Msz/PE3/it+cjPP9359kHrOSDQdJ1WoYXPaWdsr8Z++aGbeYuCTww6XT9noJdqsRPN89SsLlLN5bn8eY3bWh8+v4HJb0BxWbn24wdXXp8inijxdEclSFya7SuKoQL1jwm3ry/RzbK9KPl9hdikgB7fxZB2ny0A+a6DeaDM4YJHMoa9+fYqnj9PEoiV6SlOeB8QSZ2BIdOuN2HQTlXJb6sVHgi6pPE6luhiNRvk8sKg6jVYDi80iZoYInLbVqUtTVyxelyyXuUW3BJOW4jA+ayeZqclzpajKnT/v5vadKj63wuiYUxqwgmGdJytFXPYe80vjPFmJYrV1pZ5X2GrCYy6ePM7i9+iMzbo52s3y5GmDYFjlhctj/ODPn/K1N8c4PiqiyOSWOGM5JWD4MCqUxmJQ4qRcadLpaLJisHQqwP17GS6/OEinpHD33j6RcZtMTHpsZlnjNltUao0WI0NuqX59/rRMxyDq2kLx16GUMxCJGGS9uFiryATS4W6bwVGVkMNFNJ3i6rVhPv0kTata45vfHufO3ZzkPcxOO0gma6RzdQZCTjodQfVX2dvPoqlWIgELxVqT3YO81A9+/mmR+TkNk81Iaq9NYMTO6mqCN35tgmysxvpaCd+AwuR4gMcPM0T3K1y7PkSt1Sa6m+Tc5Umq9SaP7ySxOXqcvDDMwUaebKHD196Y5N7tPUotYawy47Bp7OzU8Lo1nE6FblMnV+nLtHK102d/t0S1ibSoed1udK0rkym5bJ18oSQHJCNjVuoloaaOU2vo8rxqtyocxLtoSofdwxrDESvdXo8Xr01w8/MD7F5VWgzqebj2go9Yqo7yi38e7pcrVUyqWU5MsqWWhHyJGP6Vy0P83dtrGJQmk1Ne3EEPnaqIB3Y53CkzMGjl6KCMwyOgbB1supHgkJXdzSwR2RWM4TDpBAc9eMXDd6NIwKdKAuz2dp5TJyLyYvN0NS0pkpfOu1i5n6PQUPja17zU67qcZI0PiYuvhW6nhcNtkxcBQbcUCoXEYQ2T00gq1uL8uQDP1jKcOhugkFN49OCIs2cG2dmLMTAQ4MG9Ai+97Jcwqx/82+fMn/Yz5DXQNunED4voor8lIEFhL0OTVh7dSuLwqvgCXg42xZvZQ9dgZm8lhcVlxR9xYRMwtfsZzBaFTquDzabhcjo4FlGTUpfFRRe7myWM4oJ3IijhXJ1Gm/uPoygYOLHg47NPYpy+MEClXMNpsUrSst/npFbpkCk1eeMr43KLIXreJouID7oolso0ei28DnEQFtElp4z0OAMGLp6d4Wc/fs7krIt8oYbVYqeYajE556BULXO82eDiKyN8+P4eM1MeNtaFszokmQG+kIg9G0hkKrz5zRHufxbD6rawMDMgkyA/+L/uEQwa0R0WLGgk0hVOnwkTGND5+OMooxEnB9E8C4tB7FZdRm+nZgIyLvvxhxk0Q5MXXhplay0jmQ1XXholncrw8G6Jk2e89BSx/XFKGNRnn+8xO+eXHtOjwwaVShWHx4DSVNFsdrLZPHaH6JlaqDf6rD1Nc/7qEO1qkY3NPvMnxAegRTnVYHo2woO7MaweE+1Wi3DYISM845MeyRiYn/di7HaIxisSNuX3w+MHLblVWDjlYmcrL2nW198Y5u2/2MbjMxIMOkjkSixNB7jzWZYXrg/Q7Svy4eAfMBI7qnD/do7ZaTcXrgmt2S6Lcz621guYnX3cbh8bawkuXQmjY+Qnv9yRl61LL/h5cCtNKOBGtTTZ32vhtME3fmtSWhsunpumWM0QTxhZfZThd/9olifPEnzw8wK//x9HSMQ6PL5X4PpXBmn3Suxttshkv7y0eoMO7t7Jcu2lsOyYd7pt2d+6fy8lY0+K2qJR69PrC4+4FYfdIo0SVrugvgBLODQAACAASURBVIvXa4r4fo5s3oCISjx8sM+V6yNyaim6RqVyh8kxF4Zul4n5AD/+0Q5Xr0TI5/4/kt4zSLIsPc97bt6bmTe9d5XlfbWp9mZmerzbmfWL1WJJEKsVRCIoKCiKiFCIv8hgSKGQKEWIYgTFIAkEAUJwa4CdmZ3dHe+6e9rb8tXlXXpvb2beFM6Zv9M/piKr8t5zvu99n6eBxWZldtLH7QdHBIRbu6cwcSzGtY82CEVEAsWkWK0xGA1JW8DssRATE6KeI8BtTVpml7WVPE9fSkh9Z3w4QC3XJZxw0mi2aTdalMqm3FyWig1q+b5UKlbzwiphxRcStoQ2lo6F2IiN33ycxmWz8bVXEjJy987frFBp2vCFTWmmGJ3wMj7il5vpcsFgei7C8toRLrcPpw12d6rycxkc8NG1dGQP7fFCio2VFPGkV15IjopVBDvQ7Bs8fNxCsTW5dCbI+pqBova4vdTkD340IZ8H+9smL780SKlU5LMvK3zjpbCMkpn9Mr2Gm0pPdE6FYUXj5u2StGQ8czYswaNDcSe5Vodbd0qYzS4vvBiXsfJSrsPDpRzH572ofSt7Rw0SEWEPscgqyuaWwYsvDJDLGmRzJs8+H+KLjw6lM1mQ6ou5ljQqiBeyeKE0+i36dasEPK5tlHDZFcpCGTTjlHUJw4SRET/5bJ12R9DvBQehQcQrhlcG0UGVRq1DLt1kaDRKvlAhGLJLY4IALAV9FkolUdVoMzESxhWycfdmCt2uonRVTEuXmeMBMkdVtjd7xIYsNGug6dDrmFSrourSJexVmJyJUGuIDlybSqXI8ECAWDLM/m6WbKopGQAej2CM1Dl1IcHSSo5iStSDopQLptTTCT2ogKm6HBGe7G+hGBbsDhvTU2K48JUydu+gzPi4Xw4lE6EQ4YSbw6MMuQNDku8D0RAbqxlplxBbo6kJDw6nysZmVQ6q4gM2OUC/fHmU7b0sgYALq1VlbNTL8sNDjo4M3vj2BNtbBT79OM3XXotTMWr0m0629+sSqieo221DWGjs5A9a8mfLlWqyjiNgPLlDhUi0j1tXWVwtMz3j4vjpCD//+aYc9l94Osj9m3UGBsWA38HyosngsEqjbaGaN1DVvuT/CA1Ruy7AtTpP1poyVqpqLXzBEG+9m+LcWVHp8bC8UODcxRA7qxVZt/jWm4PcuJnC7hTqTQOrq4bfLv6+4cl6XnKA5o5F+auf7HJmXgxcHTxZreAN9LGis3vYJuxXaHQ6jA1EyFfLLK20iUd7VHJ9Zk65KRzZSI5ZsZo9rl4v84PvD9JsdPjztw949cWEBDhtHVlwu+sMB1ykil08Do1xAVhKWbh2I8v3Xo+wmWnS6Hb41tkgN1cr/MFf1xgbdhO19ql3ekSjTllPsgvLhs3N4420rO/85t9+gyu//4/pHe1TW7lGzzlFt2/BSH+IPfE8xsFddG+YfnAKpVagWdohcOrvodV3ydz9WzzDZ8nvXCN+6b+nVd/C0qnTMzWUjoGiOTA7KRTDxFB1LMEhlEoas5XHET+PYvFQ3noP3esjPHQGxR2idLQKzQxW3Yvd6ZWbH6HLVLom9uQQFsNA6QllmI1aOYvHZUrgpTnwQ9T+suya5g6z+AejWPQwRrVEceEmiYBO1hahd7iD6h3C4bBJKG5fKWLU93AELuIMhckuX0MPBmindzF7ZfTQrAS9iX6wkdtBxIpy6w/xnvgGdrtJK7OCxTmI7rSj2Kz0BKzW66RVOMDh8CBG+8I85bI7aBUyqP4wdsWk2fOiGYe00vvYxwdQuknaZgOrmcPoCGK4W3KqdP8IHbNIp1TE7XCTy6ziGX4Ks3qA1azTqQl6uBNXYpZWz0G/cYTm9tGs5rAcLqJEonjGXsfSMSQXQqQS9FKW8t57hJLnaTsDNPfuyrpDswHNWg7XwDnsFqFsW6VTLeMQQxT3MG7dQbd9iCN+mlZ2jd3Hn3Ps9d8lvXgLpavjDorEZQ6ne4S26WT10Re8/ZN3OPvM01SqRe5cX+Pi0+fp9OqcnJrC9OoY1QLFYp2j9DYXTj7D+x9/wJtvvEq51uLGjbuEQl503cHk9DFWFxYplgRBPEyznCMitIZ9hcm5BFpPY2J+Fkdokvz+EoLq3TjcwxMbRw8Ny+RQ/uHPcMcmUMTFzB+lGzhGa/1XOJPnJOG8eVRCCw+Tvf3HJE5+XW7+lewyZvIsqqphpFdwesegm6FPFKO0RdfWxud7ivTmW/hGX6LTKuBq7eF88Q3+1z/4V/wff/qI5046abY0sLQ4PhPl+sMaGaPD//Wqj4C7xOe3+owPKQyN6Nh6IvZt4TBdwqJoHOZrjA+5aRsmK+tNLhz3k6kWuHxxit+8t4HdpsrtbTFTlXVP8Xnt7JfkkkjcDQSHSyzJNLVPRzrKLNgsfRSLFVU3pQEqHLCzc9CSFgsxnBwdD8rL6+pyWSZshf61U++jODrUj0w6lg5nzkdYWypRKHZwhW2cPu5naaFGX3BOnCb3H5WYPxHB6YKNtTxf++YEkQEf/8u/uMP8SQeVsoXh8YBMMD24n8bS83Luspf79zIcHXY5ecGB3g+QKR1QKGgI4NrgEBweqnIReOKkzvJ6E9U0ZM1NLGQaNQubqZpMFX/3zWHeeu8Ir97jzTeG+Lf/YZdvvhYgm1Poi5pWuUuv1+LEiUFWloUJxsHRTgO7xyI17UZfZzDmolQoUzcMcjlN8mS+8+oAD9YKpNM9jk95ULUuCytVvF4xTNHY3atwkO4xNWSX5zCRNrb5WmxtKJKtIPSNwvizvGEyN95naiRCqWJSqdXJHbUJRnTGZ3y8+9YOr7w8xNpmVn4Xjb+L3r/6tXE+fW8dq03l2Kkw6xsGe9tHvPDqMZYeHGHVO7SqXY6djrGymKbVshEaUNB6Qj9r5+ioQLHWZzRpo2/V0W0q3XaP/cM8k2ODQkxOKOLh4482GR720TQFJ05jZirE44U06UyTYzM6IV+EZq/NzS8z8p7htKssL5Q4dylJPdekZvQoZCpceHaA7fUmySE7rU6XllFnY83g4oUYm1slCYAXKVcBfSwVm1x4akwCeQX/JTIQ5f13NxkZ1RkbD9Hr9tnaLtEyuii//INkXxywBwdcUhshttrlTE5+yVS9R81QcAsdkobszgniYT5Tp2va8LhNLMJfrfWplzskx/xUCg25mZ2dD8nNkJiKCMriynqZaNiLorQJBsXWRLg4O1KRFBtwoCiiK1KXk+CXvzXFh7/YxGJXeerpQXa3dkllNSq5FheuiA+iSCShU6sL0iQS2hbwddl+IlR1bc5dTrJ0v4CFLn2PDa1jMnsqyPLjMstCnTQlqKdWBqMCtFRC6TZJxDzyjz4xZuVot0E04GR0TsDU2ty8l2F60kPAaSed69LstkkOOWlWu5TzJsGoi8kTLmyqzv27KTpiulxqyfjKuWdiPFms4Qso7G6X2c8afP21CLuCL/CgxuysimqNYVFL+F1utjbzHDsVIXfYJl+skC8KCmWP3/rhMXRbSx4U7z5s8urLAkoS4N6NQ77x3Tnu3F9nb81G1yhx/EyURq3J4wfCoR2S2+LHklga4ObNXcbHQzRbhlRZDQ16uX+3LMmogoBs0zx4PAa766JDpDB/KsDqktB11Bge1NFsdgqVApMTUbmldnmcWEyDTKXB0W6XaFBD0/tSySa0jRvbafx+P7VSg4FxL8VUh7alht7zoNkN3F4XtXqTQNAl+/Nry2kGkg45bXR4VGZnRJc7x/iUD7PT4SjTZnzUSaulsruTZ/7UGM1WlkQ8zsZ6DofbSjzh5ihdwunUSEtdoovEgIdarUz6qMH0VJT1nTyqVL/5uffogKDLRamJvIw/vLclN5XC2T2SjLCxnSISCNLuduR0NqD7EGXO9ZUCb3xjSlYYbt/LShBkPO6Ug4nJ8ZjcJNsdCnarSSaj0m5nsdqsqAR48GCXixdDhEMu3nr3kH/w42Hu3MhTyLU4ezrAZ18cEg/bOX12kJWtFBq6vADMzSYI+Fxc/+IJ0SEvzWYfq9aiWLYyNOiQKs633t7jmYshHH6TasVCIhTh6GiHfEmX8MmhEbtkRwQjVva3mtLIsbgoYsk+nK4++XwdrwcGYkJ9k0fFJSNY9+4eEoh68fpMrn1e4ts/GCMrp9Iwfy7Cn/3JMoNDbnnZ/PzDAxnZFi/QV18YZWEpLx/wXqeA85RkBPrKMwl2jww++nCHKxejOH19bt7K891vzLG4dsjeXl32y6wChBfqcf7SOH/2H9d58fUgBzsNSWTfXs/jsCsoqotMqsX0CZHSsdKuVRieHOT+w13ZWyvu9zl3Lsp+ukH6oIjbp/PKq1M8fJjiZ29lef6ZALpVITpkZ2OpTCBik9CySs5kckZM0hskIz4+vpHi5DEvJ2fDbKyWOHt5kPfe35I6updfS/Lu3x7xvd+aAAEOW0zRsSgc7bY4dWYAm61LqWRQKWmMT2oycv/hzQzHpgRtvUO5ohAPI9MajZJVqtyaPQsdo8rIcIS0ALJaNebmvNy6X5FOW7vW4TDVY3rGQ77QpdHoMTHhYPtJkUDQSizskbG8kM/DmVNuPv08TSygER4MsbaSxq5a8YYERLJM0CW+3z3WV1pgt3D6RJR8XkQdBa3bimmaLC7VOHfei66pZEpF7t9t8/JLIqaY4cyZJLdu5+XQzDD7mJ0eHreVaDSE3dGm3ja5d6vA2ISduZMxbl4V8Lo258+6GJ11s7MAW7sZ5i/46TYEibgpN6xOm8JAwsP+fpaBoRDlYhez1yFfb3DxxDBH2RT3bzW4eCWK1dZjYyXL7KkoI4Nx/vLPH6GJ32vQxakLcW7f2EUTtRyfG4feY2WlIErZnD0bkr37k+dDSDZZTyV1UCQS9RMIWfnpT9d58bUxnLrK1pOShBk223V8AV1S8qMJO0+WmvJlPjpoJ5/rMjApRvptHq8WpHWma4olVxFv2E500CM5Ak47TM7G5btybTUvNwTPPjvEzbsHOFQ79x8VeOWVpITLThxLsrSQxuh0qNXbzJ9O8NmnW8xOR+j1IJ2pSxtKMOzhg/fWGZ9y8PT5Ue7fP6LVNQj6wsRHRCzSwV/+1S6H+11+/MOotEs49S7ZIwgMis1ClcdrNf7pP5rn85sH7G4V8AetGA0HiUEL6RSMjenQ7dBomTId2Ff7nDgeY/VRGqtDo14TvXqNU+eEPrfC1U/zBCOqfI7cvVeVulujU2RwIMrObl5yY7JpDaNrYO+1afVF2tDFzkaXYzMKhtXG0ZZJpVtiZbHB/JwfrCZaz4LD40ClRb3UY3DUw4PlA4Zibh4s9pk7obKx1ZXpsVbF4Pd/NMPHn+3yxb0Kb7wSIeTXebSY58SM4AhY8Pms8t2yeniELxjkn/wsz5lEkBZlRqIutJZJrl9nwOGmj8LnSwVqxT6b1/4Z9gs/YO3tf4feakmImRhKWfs9Oo0aUp9iD8ramVFexxmdRvWOUd69jmYRyrcY1sg0SmlDUsCb9SPcLje1qonWOkLxJNGsTmq1ffTwNDaLG7olGoUNbPaIBLipSg3NNsiTBx9IVWgu06BSrjI0kqRaKTN/5Vksoqt7/Vf4AkN44yH8g+MSvFcuVBgcG+P+jes4AlHufPBL3MkJTk9NcOvmLUZnzlLJP+DElRcZOvE6Nq1DdW2Jbu+Qtumj3+tLAFp54xaKdwBrdA6fWcawB+jmN6nVKnhiM7Tbe1jtX8X6NX0Ym9+P6rDQyT3BKOSx+xKorgDtgxX65j6GfRKXL0w7v4zuGKbjdkJ6ma49gG6D+v4NXHM/pJl/TK/apNds4Zo4j90ep1fapd1YQwvPQ7WEajNodfLo3hNYVCf9wiMJO7SGr2C2MyhYUetZGoVlFH8cp3dEmgt0xSYP+874OIpSo7n9AN3lRw1foh+MoqaeUMzcxxc7hWa3U8+v4fDOoniCtDZu0ncamI4xlNQCztGzWKxuint3CA9exOge0svXcEanqDUPoFMWiAgc7kGarS0ctrCsJOoRP/Vcha6gq1usrC+tcu/xQ9IHBWZOHCd7tMk//cM/5KP3rvHJr9/l5MU5nuysMzM0S6nZYHhojEq+IBWYs8ePkcnk8LqclBtVNte3ef6Vl1hZuMO9h5uEPG4uXzzPyTNz8mcVZ7nU2q/w+0Ri1I41+Ry9ziHWXpN2u0LfdQKbw0Ft7W3skQtSMyg8iB2rTie/hR4dkdBi3WrD1Gz02gY9MZzRB+gefIx75rfRnGFqiz/BGYpRKplE9Ah2bxttdJylD65x6nf/Cz/6xhjlbAqzpuOKWYm4LPzFrRJjKvzlH87w8PY+y/kG00N+Ks0mrYYwgHjlc/H5FyfFK42VR7s0DTt2W492z5AmMHFWFHwrtWsSGQqxt52SWlPdrnH+UoyP3juUScAXnxukZSq8/fMN2bu+d3+fqTE/21t1dJ9VXliHEzpVQ3C7nHgdfpYe7qO6ejRLGsGQDX9A5zBVZGZ2gE7LoGkIvWqF/d0mHbPH8emEBDV//OkBp0/5mDw2yOZ6FbfDQq1Wo5CtURNGg7gHr+erAfvmVoV+W2Nsys/GVp1qocjrbw6xKZKtLRWr1kOxQErYm4olTp6J8+BBVcL9unWD8RmPvMxvbYn6oSrZNJ1+k92VmkwEx2IuDss1nIaGxWn9KpE1ZufOSgufADqaJtGwju4QkNc+F89H+eVv9hkc9WLUTMkXW92qkIjo+Lw9lrZ7WHptudx766Ms89MWwkEX9xdaTE2oDESsLKz2GY1a8Pwdf2V3J4vDqWMXQM+SKV7OvHBlAEXtkN6usZ83ZDy/Xc9LgPDlp2PYXBbeffuAqSkHbqeDZr1Jvmbh5VeG+eL9TXYzbU6fcMqqwicf7XP6fJJ4xGRro8zOQZW54wmOz0f4zd8sY3R1AgHwBIRlo4fuNOXi4O79MiGvTjRuoZ5vSnbexSsJasWa5JJNTybY2zlkYDDO/XtHxCIuCUgVQwjxbqtXO+QKJv6Iglf3kUtniSbj7Dw5IpTwsLctmEgiiRuWyT6RXB0a8LBzKBIeTgnenz8VYuF+FY+/R6vRIJ4QSXIT06jL72ooZsWoC2xHh7mTY9y9sUVs2M3ygyr+qIry0f8w3bc5OmztlOWW+OzlmKSeL64UJMRhdESXkwIBihBbF7/XQbsjSOk9Tp0Zom/WgS4LDwpMzw/QqfQYmLCST+XZ2ISBpILT6WVywiV1eSMTUTaWK7gcXY6dCnHvdg23W9CHe9TyIkKfxOvr88f//gmJhIrX70a19NGcJhPDUblJFv128aUT3shipSL7Hq98bURqIITqo2O2cHutOJ0Kn11PMTboJxbyMDkb5uGtNNmyiCwGJJhHOBJvf/mEaDCKx2vQMMSLzM3icoqz5xKsLeUkjb2vaPIPXwwrcocVPH434QisCVWF20Y0rnO4W5eDkNl5F9GEXwKaUodtjrZLPPfKEA8e77PwsMtrL8cpFavYPcJM0ETVbfLyr1lVmu022VSFYCCIiYivuEiXTDYWD1AsQidl4eylQYZjbt751Qo2u10czSVroVCscGo+LqNKrXadVl2XwKFsrkIkKiKNTnqKTfYybZoTh8+Gz6FIeJ7om9LrsPEkw/T8IANxP59/vMXUTIAtAamy2WUHX0RKJ6ajJON2rl3bw+NxEovZ5fAmX2gzeyzA2EiUTz5elZ7Q2eMRrn5xID+DH/3DCR48rOPWLRKqIiipRrfL/kaVCy+L7m+Ha1dzTI7qxGJ+2QMulNuMjwUZm/CysHDEznqbb/1wjOuf7TI6GCJbzJPPKKAYXHl5mGsfp9jbanHpmSBWq0ax2mYg5OTW7RQvvjxKH4M711J0rPDqayPcup6iWety9kKEbt+gmkfyAkSccmjIwfxcgl++u8TwqJtSqc/2TpWpUSexqFsCBP1eJ8GIhd2NBokhsfkT0WM3TRGxtFjpYpAICevAPhcuxeT07+yZIFaXja3VNsV8kde+Oc72kxrFfEtGo156fVoOD/6/P7rJ3NwQpVyeutGj37PLjtDqelZ2pk+fcsso982Py1iddU5fHOWDd7ZkheHKcwGuXs1L8mu/Y3LsmIdKuYfbrTIw5Obq51mqpSpPvzjCOz99wuvfGWN7I4dut2F19OU28OQZB4GIm0gowMqjjNwAioeMSHR4wxoLN49omypjE1HMfoXttQ4jIx78PpXV9QbNlqi2RCmWmpiWBn3FztR0mJXFqoQDzs74WV/JMz4TYnu1Ivv+VreNLz87pN2x8tvfG2Rtq8jiWo2AWwAvhXrMYHo6QjFX5GDHRLHZ8PsMdK/K3noLj09E6NqEvHa8MS+/+pt9/rv/cYatNTH8yTEyE5bRWlVxcftOhstXYjy4XWZ42i03ozOjKpFImI31DG6vXdKC/XGdcr5DJGzlcA8uPBslc1SRF+gTx6I8Xq5J1ZDQYH15K83LL4ZQFRsryyWmJnxYFPHS6nLpUpIHj0t88P4eZ096sDvceGNOHt3ZlQOFQhWyxSpaz8bccQ2/28HVe3kGEk5SuTxJf5C7jypMTXvotRr4w4r8f+7v1DFNFRt2hic03A4Xy+tHPHgg6Pl2rlxM8nghK9VTxUYPr6bSFbTgzR5vvDkph6/v/nqTmeNuQj4HbofKyrpQF+qsrGeZPx2VvcFmTsC5eszOJ/nw7W2MfofkhJ/ZcTcPb+dIHcLUcXEtEh3kutS4NiodbguP75gfn9/Opqg+vHH8q/7qboVoUufwyMLGdoVGuc2F834JThSDh6N8mVKliUN1MjQWkMTfWzd2URSNeqFNKGFldaHIyIgLqy44JgrFktBRKnhlraBADycnTzhxB7ysPNzm2KkBVIsT+hXsDl0qXUW03+0WUb6ehBqJOpioerXqIpU0hGlqPFw7ZHYySiTg4O69PWxWhb7FxoO7QukTJpfps7Ka5dyVUaqZBguLZcYmnXIrL6KZjUaHWMLLladDLD6scvNummeejWC3qqytFIjGXAxP+Pj12/ucPhskkrSzdkOoEBViMRvLK3VMi+AlWHn8oCKtHM8+PcDeUZqnnzrOvbtbcrAkdELCgLO2IJ5hHXmoNLsdokkfHpuoxgj91QHzp/zsHjaJRXVsmo61D/lWBcXqxmOx0DLbFAoNggGvTFe1mlXm5wM0m0JrleLiM8OSLP7ll0WOHx/gILXDK89NyW2/UC8J7sLiSh1x9w1FNAaGPATdFo5yVfYPa3LANXnchm6x8+EXRX73R0mWbufZzxkEfBZ0iyoBRo22ldiAi2a9QaPaZGQizuZBjYhHwxdQiYTspI4MapU+bSp8fr3F5LCTp6+IKGyRy2eSHGZTVIviuxCTSasvH2Qplru8cnmAtVQTl97HKPZ4UqlQymj8o28H+eTvILX/6vMGfrfOD6+4+GKxTadicnFaZ6nQkPHU9VSNgSG49v6f4GqtsHV7mcjIJRRNbGkMtMoGZr9JqevCHwmjWeM0WmuoraaMdfd0F04tSKu6ghaaoV1Ki/+KYdFR5UWpSUcNojsqKNUDurZBxBRJd4ZIbV3F53bj8A+QK5Qk0yY4OEUl2+Kz9/+W0MgUQqEgXPblVpblmwsUag3i4wm6la5MBT5ZXcft9klgpc3pwNSchDw2pmbn+Oy99zn3zEso/Tp/9Mdv8fxzZxmaGubR42WaB2t879u/w9wP/h7m/grNwjpGx4l3+iSa0aNTWSVdKhGPnaO9t4x1cAgFr2RINNN3ccdOUmi00EqrmNEL5G//Ge5ADHv8KerCVW93oNk0OXjuSsmolWZ9H809I4fpjcIK3uRlWs0SvVoF59QVKkvvEp68iNFp0UrfRXXNoTm8lB7/HHskgXPg23Tah7T2PsFq1el5x7BFhqhd/yP06W9jER33Zg49eYLe4T3MfhtHYIh8OkM0EKLSFX+ToFBEM4XFaQuLxYHNn5QaULtpYI8M0DA0bB4n/V4bFCfG7pcoZg3n5DeoZ+9jdY1gbbdolvaxOFTMjtieCmDvKKWuBWsjjUPXaTqGsVR36CgdPI4khewqsZNvYNKiuHaVgYl5Djc3uXr9BrV8mZWdfUzFz8xsgn6/IpNKVluUZCJKx9JlJJmgWO5xmN9BCEy9HiepdAbVIt4hDjbW15mcnKMsUhC40Dplzs5MM3r5Naq5R1J36/EmaTfyKO0aWnQOU3ASagdYLC0M9xgOcemmTk+oBlt7KFoYa/IMrf2HtMpP8M1+g3Zxl3b6AZoewuaKYPZsNIw0bqeO7o9SOEgRDgyzf/A5YyefYv9gn9d/599wYcKH2wGL+w3iARHvLpKvq/Q1jf/0hotrGyU0j5NnRUpvI0so5mJ2IsRf/WSZc2cC8szktvtwiei5CmWjx+56jjdem+He4j66xcnwhI2DbYNcuUos7GBvp81AzIEvZOWzqym+8/URdnYbeMSSJNcinYZnX4+xu5bFogqjlINCqkV0wMrWap3BAZVyTZX2AJezilVzc/dulmq9h2IzpaZPLGOEDm/pYYH5ywH2t4pyWFJrtDl9cph0LsPhfo/9Qo2XrgzQ6SpY9S4fvJvm+Zei+H1BikVx8e2gOvu47Q4JsK0bJqWiwdSsi3KhR6NjYJowPRmWlZovvizw7FMB1jda7B8ajA1qxOMu1rfLlCt9ogEHM7NOhLHzb36Z4vwpJ52ag+RUS55DtzYrnJwJspeqSdaHsLgZvQ7lnA2rxaRraTE0GsAmuB2WPpVCF4uwBETFM9ig2ulyf0kkF2002y0iPpWjTI9ev8dsUifTVCQUNh6z88v3C8xMOhhPavLzPEjVqQhVsvj3YT/r63WqzTavPzdAvtZkb7MqzzoC+hcJ9VnbFgkBjWTSywcf5IkmVYYGfGDpsL/f5zBdZTThxOlz8OEnOb79RkDWyP0BHwtLRebP+nFaIZXpSr5cJtVDGCuff3aIYr5JJt8jnvTJpOCnH69ztG9w7myUTK5MswONmiaVgcdnZYdZiAAAIABJREFUPTQ6DjY3coxPhCSDDZuVUqbH5DE7IY+TarlLUVRrjBab2wrnTwZRXH3u3kjx3R9O8Kt3ntCoqsyLtIBbDAd0MF189vkmx0662FlrEx9wy7oAShNTEVU6G7lyi0ymxdCgW1asKwVR622hfPSH8b7d7ufwcE/2pw4PG8zNJdk5LOB12rBrGobS5IWXJ/no3R0JaJqc9VHIK2RLGSbGE3zxxSGjo35GhwRZuUQopOHzhbjxcJu//515vri6xvHzUR7ezvDC08N0FLh1c4f5+UHZr7RZrXLD1OuAzdYjn60RG/QxMeFka6/O4t0C4YSdqfEQN28e8V//eJqf/MUGAyNu/C6dL+9mJS308uUo6XxdxoWdzj7f/N4l9jezfHZ1m6kxD/VWk1DUJgnZa1slwgJ04xSxIyu6U2Fzo47RszI+YaPVFt06C8VMBYtqp9022N4zCLht/Pi/neOTjw9wervYbTZu3T5iYixOJOFj8fY2Vs1KIOKS0Z94SMTumzxZbfBb35+hUCrTaavcv7dLMOJleMhJXfS194Rn1CQ5GODGjQO+8Y1pVlbFFsCBxWpK6OHDB4fEI26arSqrSx1GJzy0jSYWm8aF+SE+u7rFzn6T6cEoE8cthII+NneyrC41ZCw17LfITdHRYZvRcZ3MUQfTaNNWVEIBFd3ppNtW5KZtdMghoT9uj53lR1m8IRdzx+PcuLmLy67KCw+KRjHfkH3dURGD1gyaDZOjA6GUG+fq1U2eemaadPqIbEqRcD+nXWFkOES2VJbphmTcJWGSmqoyPOaUSg6PS2NkPEJfNbh1NYvusHD8pJ9U2uBgt8T8hZhUIR6lGjLVINMYRpNWrS8j1lbFRWhA5Z2/zWFX6rz4tRFSu1VpfogPOMkWi+RSoovsRlTqUoUGHreXUNDOwXaaelOhWGkxMiIicyZLi6JqIaog4PK4SMhobp52q4Vf9JXqfRYXq/xXP5iRdOuHN/axeyGRDJDO1xgdCfPFR+ucuzxMNOQin2mh2ft88NE2s7NRxke9fPHxLs+/kuTTT/Zk92tmJsHSo300hw2/244naJFATodDpd/qU2toRJIWnqyVODYXkVUcARBSOiq/8+OzfPzRErlcn1PnPaw9KKG67ByIasZsUqZkRG2k33fjdHSxah4s1jbVYp2wfwDdUyZXAo9dZWurTnLYQlFAyeIB4kkbh1ttCpW6fJGJN0TYr5POGvT7XU6I9ElZRMmazM+PcLBXRNUE+bsne7axuPqVI7ZnldTyeNDJyJSLOzf3UIUfmDYTw0E218UBUmVoLEImVePuvTSXriTxeRy8/5tlYgkXusNFuV4m5PNjtViwOcWLqMvumgD+hHiynuOlN2d46+ePCPm9dNrgdJmyAmR398mnBWQlg9PtYHzSy+ay0A928ATt9GotPF4HHr+DQqXH7bsZvv5Ggt0nDSx6S6ZiFE3n/FmdYs1GKND/6mdOuukaFg6Pyrzw7BCffL7L/Kkgzbb9q968TyN7YEr95NR4jNW1I+Znh6R3OZ0zKVWLtEsOipUiE5NeFleLzE1HOTsf44vr+/JwsbjakorJ5y6M80g8P50asYiNa1ePGIppsm8oDh0ffrTJ8bmYJJn3hJbL1WNzs0672uFb35rmKF+i1ary4EFbutFffnGWv3l7CaVpwRtROHYyRKthcPdulfRRjedejDE75eP//n+2GB7p83u/f1KmJv7sPy8RjKrEBwKEwjZuX08zKECIuSIRpwvDYmVJ+IMFt6IJU8fcvP9OjmOn/IxPuKRG0+VwMTHpksq4pWXxXtFZXenwwguDaBaD2zf3KBScOD1dfMEuzZpN6koVhBJ1gEr2QMJJnTa3HLqpljaKaadntPF43VLV5XP5MW0dRgf8pLMtttYz8rvsUB0sPN7l6acnefDoUKpphWc8FrGgahrZTJW1jSrnzoTQtJ4kCjeLNXSnjYcPipy6ECG11WBkwsn2RlEm5VyePqmDpuwmTp9MUixWWV7Oya67TRffOyea1aRa6zAy7OLO9UNOn4uRyxtyc1zIlLl8eYxrXx5SKXYZGRcbnz6Wno5FE0rHNn4vbG8IPEGN4VEXjboinclet0cORHstlwg3UK7UZe0uMWSVTJmdTcF8SODU43z6+SK1epWtVY0f/XiCWw9XqJfseAMahtHl5ZeGuXp1h75FJ+xTePywxvhUUFZmfvPOFucuBBgdcfGzn2bQ7S1CQTeNdo1YxIPb7SQvfPSqXfJE9vZr+J3icj7IB59t4nGr8vn/8HGdZEzATIMyQil6tXaHQbOuMDblYGOhytnzUerNPtsbB4xODFBt19h8XMHistCo9Bg/5uHkZJwdAWVK9Pj80wzHjvlxOnVWN7IMD0Wlxvb2rTRPXxqQsUnx+RWKqqxP2EXPu91hPGCw3XPyX643sLtVTiSE/cMkm++ju2zMzUdYXGnw06tH/P6VBP/h1/8nNGzs3nofR1/E3BO06m5Ml4juF9H0MGZlC6t7iub+5+jJK1hsQTJ3/h2BU/+AfmkVi2cEw3RhFj6low7jcFppNQ7xesawC5Ba6QCLJp7/PWz9DkYjjyU4jNqoUUEnc7BDZW+PUt9GJrtFMj7G2Mwxvvz8QxSHlWa+T61W4MWvXaHbtpPO79OqVjlz/jx//Sd/zuzJE5RKJfq9Blde+w71dJrrt67z7PNPs793yPLGHudPTPHuLz+U2+l//i//Zz795VuYNhdXXn+N4fEZjtaWaQiAoeJg5PQMLmeSws466dQ+w3MXaJS2yZeOGJp8g6P1OwTjIVwu8axsQbNOu3mIOvomxvpHNMs19NE5bIqPfnWVnieJVbWiKjqN8rbUgSp2F9iHqO18ic1jxeaYoS9itt0uZuNA0u77zgCqIip/h3RND07/GEqrJC8rfVcSm9NOY/U9NK2LlrhEr7xPW/HidHkxVVP2ho3tJfwTx6ibCoqAsIkKp6phNrbwOmMYrR4dWx1n6ATdUoZevwo9HaNj4HG5aVULqO4gSj9GYecX+IfnsOiDMh1qVDcxjRyu0DgIg4ESpp9+SJkekROvUjq4g6WZwzn0HOUnH2N1hTBrQve7iT9+FkdynF55i+0nm8ycv8hf/+l/JBaIcO7Kq9hsFsxGikf3Flm4fZu5c+eYPXmWG3fuSc1cKr1LrZjH742zf7iN2ReAa5NIaIRnX3uG3d0NNh7f5403f0glt0E0MUrL6qAnGFmVHZlg6XsidA5WMKtFbMlJQfqE/B62mTcpP/klzugFFDFMPLiN5p1E0x00dj9H0+Mo4RB21ykor1M/WEUJJnBPX8HIL+DwhGWioNOtcPzsP8fpg5cuj7C9mUMPeLG3K6h2L5+v1nlh2MK//t0wX9wpUmn08PhUyQ8KCtNPpoSqawS9PZoND7Mn3RRLde7dz2F2rISiDskmqxZa8rIkgHvlfBOlb6fSKRGPRnlwI8eLbwS4f7soGVwjozEK+TKZXJWFlRqxgI2RMS9d8Tz2+3jwaJ9EwE+20ObZ50Sl1SR7pLK7n5fa7PiQX56/BPBTAOZqVahU6ozP+Gk36qytdaQtxR0SysWuNHcNJHR29rK88MwYG/sGPpedlY1d5qfjPLiXkQyCobiffLtJOGCVrIBiUWVy2sbSWomA28PknI3HdypYPSrWfh+by8axiRCHuQrVaoN6XaNv9PBELDx7cYA7t1KoDpV6rSMtDTZnk2rDK+8PbrtB1bSxtl5iMimMOxZKdQsBr0G5rspz6nNX4ty+dYRNvP9rNcpVDc3VY0IMRzZNrJ4uBxkTzaKIIBdnz0bYPMjLiko+gzw/ekTPslHH4bOL6yGlUpOJwQCRqCY/32zWlMuhM3N2yZCz9DRa7RalEtJyMDMZZvegRanRkumT7Y0qZ894mJsO8OhRlrWNJsfn3Dh80CqL96PO0kqdqekAZaGF3G0zlLDh9btkSkTAAF96cYpur8FbvzyUd7+ZKQWvTywrczQ7KnaHRXIaYkNRniym5EBD6Vvp/N0gZf64i56iMxR1cvOBiODXOTiqS9aMP9JmKBZn8V6OsUkPT7aLApOJ26MyN+1nfbUpa5iiOpKIumQ65fqnWVweRS4NX3htTib4P3tvg0vPROj2BM+vTXLEzdLjNOl8j1dfHOLRvQNZpU3G3WRLBsqv/slgP7XdwBsTF5Ygqa0ahWqZ4zNJSuWinAbevLbLxExIdkJnp5N0zQYLK1kuXRzB5Cu/daluY31pX3ZIxqcGGB6Cx/cqRBMu0vmqnNI7dAczcy42VyqMjNmxOx0U0hWahkUqEmbmQ3z55SEDCQeRsJe9LfHFCOD3KmxviwRCBbdXp9ku4HMn5GFQ0dr0Wy4sSp/bd/OcOe/h8sVx/s2/viUPsVeeSrL6pIrb1efwoEY0EWBrs875s0l29tJSp+Sx9SlXrXS7bYqlDiGfQi5voa92CLoFVbdLq93kwtNhPvkghUfTmThmY+FxHV1XcNldRIf6kgYvLllB4WhV+qRSFdwOHV/cyvZCh063Lvurj5czhP122oZQN7XRFCfFfJ3Tp0JEhz18+sEB3VaDlmlKbd5+pkrA4cZiNfA43Xg9brntTxcrfPf7p/nP//4OdsFaGPKTiHbZ2Wxhs6sSGOR1d6nXTRS1TybVxOPW8HgcNI0K6UNBw1ek6qSQMmV/51vfHpcx+4WFNMdPJui0DXZ2GrQ7NXp1OzMzToLREHdv7/PN74/y7jubXHl+hKsf78poaVJEYXfKDMR9LC5mOXMmxNRsjF+8vczcrJ+huI+3397hlHDUp8RmrMHXX5/k8aOM/OxdLmi3TdZW6vz270ySTlUkM0EA11ZXCrKH1RXgtxCoFg2n3cTlsLO6UaFvaPQ1k9lZD5h2Pru5zck5oYtSJOBkZydLqyM2C5oEwcSjAfb3ihRKTUkObZXaXH4hLrtdAv4k0gfLSyUmpkJsb6d4+YUJVhfTspcUD1kJxG1S/ySI+ha1w0BSKPbaaCa0+xr7+0XCcQeVTAMTjXAUwiE3B1mDdrFFMOzAG9S49kVRes1PnQ2wv9unkCtiVcSmXufSC8d47+17NGqqjAeLiWIxWyIUd7G9VcHn1rFY4Wi/yoULgzT7JkdbaSHPpt4VVRY3iXhAdtW3NkrsbTcYmwzicneoN7ssPSpz4qSfg922HLLZdJOVx1XOnxfgJIVUpijZFiJDZlVNbHYXnfZXrIRTZ/xCHIdpdkllOrgEyEsYJfp+Fpe2GZvxsbtfIh72UC2ZDI7q3L6dY3Y2hFvv8HixTK1s4cXXktJBf+9Bnlqhx299f4T9owrFskLAo1EsVfF5XIgz35JIq8S8tLoN6V1d2RQXHhurSxViURsvvjrOl5/toVoFATdBR5DeKw0mxuOsLeXp9Fp43LrkVPz4987yp//pkbwg5ptVhqMu1larkqQr+v37uQZjCZ8EjPUsQs/SY2ulxORQHHuwx6efHHDimF8koRkfcxEOBVl4csjuWgNNM3nzuycpl+pSLSeAdnarHaetz4Vn46ws5wm6raxu1/AE7HJjtLQIumlw7pwPiy6UUA0ZgRYDFAH3+eyTDJNjXrK1lryYBhwaRqdPKORk40mOZ66M886vt6Xu5eRpL52mBV/IycFGgeHxkDxEjI8IvU2KvVybZFgnnghKbkO5XGZ82M9f/2yXC+fdHD+WpF4uYHFoZPZaJEZ8tAyD9HZDQjQHIipf3qpQLnR44ztT3L62RXLIwZP1Gh6HjUhYUHFb0mH81LMD9BodVlcLMvUUCKusPGpKov8rL0/ISL2utbG5fWzvCgBOgwvnhigc5MmUDJnqcPt1nixWOXshIDuU1Wofb0BleibCb36zJnuYYoAaCLuJRlTJz7izeMBo0s/OdopW3UlsVOf6x4eEkwIUqGG0+jTrYjPv+Sp9E7Rhtdl4cF8MWp3SxrK2nueppwREZ00mYbD1sbT7dAxVEvCFUqcoIvC2BqPjMdZXD6ArXtA9GdV06gYOlx36VprVHvWGUEuFiIYcPLh9INMFDoeFvl3AWjUWFjIcmwl/9XsNatx9mOLpp8TmNY9F6RJLuqnXehxsi2i3XVpwtjdqnL0Y5WBXxEM7BII6uaOGjDXu72Tg77ZkyVEry48N6hWTiSnxmWTw+zRsqkUU8UgknIwmPbz19g7zJ2N0eh15mXLZrTSMrvRkt3sm/rBT8j6aza+SCUKrKkC5k2f8tCs9dneL8rlarzfwhGxEfC72tsuUCk3cYRvnzw5SKZf58P0Umqrx9OU4To/Go5WiPCj5HD1Wt0p897ePc//6AatPClw4HSY04uOXb2/x1MURWZ1ZXDjA63PgC+p4dJV7j3OSPaJbuxRyKlZHF0V1ks4K2KvGzLiHSr6GYrdx4YKHpZUqC4tNApE+zbbGSMTN+TkL/+8v2vz5epUBV5chn5u0pU/Q0ieqd2grTj5bq1H4O57On/3Lk3z9n/0TGmsHpB/dxxYZQ48M0G0d0k6VcTjbqIFxlEabrpnG4pmntPYZmC36Dr+svnmHX6Gw/h52Rxyrd5x+eQndF6HjHKSZX6OXW5ORW9Uxg0UchqtHUv+qWlvYhy5S2dygtL+B7hIa4gWebIjo6AC5oxTYfaT2ttGcDl55/Q3e/sXfEotE+dY3v8nG+iJ/8ac/4X/63/53rr3/l0zOXqRVKzMyGmcvV+XBl58SDX81cIkMDnH7s8/5wQ9/j5W1hzg9baw2UcN8Qr6YlcC7yPAJ9g+3qKRyXHrmCqVGnvUHT4jEHcyOH6dQSclIbCQYxGil5Vb9mZe/zc6TJzjc8Mobf59KeZeAnqTcLKK6HXRym2g2F31HCMNUsDeyUjXmCIalRandyCEmuqo3im73UaseYrXFUdQcPdOJrR9H89WxtLrUimloHmJ3j2DqXrrFA9rdMr1WDdfwaezNFFVC6FoIs7WN0Uih2OI4EmfQ2tvyTEuthMVhwx6YRFX6GM0UtYMt3GPzNDdv4D/131DdeR+b3Ydis9OpG5InoGgluiXxsw3Rb6bp2510NQ9WtYXaF1XUQ2wjP6CVXqRZeIg3fhmjVcWutGgePkJ1xvBMvEatuEzfyGCxR7AHhmkerWOx1LEpKop3DuxFtj/5K6Zf+sdYtC65gx00zYpmE++tOJn1hxhmAadmQ9fDlDrQ7UHcp+AYewrd62Lv+s/BFsLeKxEYPk6z76a69Gssw09jb6QwVR09NEItt4TdVMEm2Dd9+v0GmuBReMewG3n6wWfopO9htrYwOjU6Nh9+/zQWEfM/uIZLj6I4bXTNCIalKXvivaaTjsWktXYN28gJ4s//Ht879RS/XC7zvUsRVEuD1cM+YwmFRDTJ49V94iNe/sV5jbVsn5W9AtPDLiaHA3x6I81QTOX0xSTZwwb3F4uUs1WOzQRRNZ2tnTyJIRdWUTUSRxvVw8yok+s396WWUJzjR4YDhCI2rt88xKla0J06qqKQrxRkCnZkzIfT0efxUomxoQTlQo10ocVrX0+ycD/P009HaHRUmTbVnV3pXI8FdHS36K07aBk1vB7hd2+ST5sMRH2kUnWOnwxQqTWp1ixEwgYriwaDY3Z8viAffbDG174+ys5OTZpPvvfDM/zspw/kAOviU2MsPDiUy7fZ2QhJwWhZFSadFoe7HebPCJNTm92dCqGkD7umsrJSlFWYmTmLhOuOJX1sbuaxuV0MDzgx+wKUmuWZc1FUu8LOXpNWp8fZ4wIYXeHJVp3dA5XXrgQo1/q8836G514OUC9Bar/JuXNOuY2fnRPmirp8V4kUtaLrDAwruG06K1slLpyLc+f+EfWShUunvSyslmUd99IJJ+PHQty7UZRGmIoBpmmgO3T6zRrjswFiIScffJhmeESXFuLMfpcL58Ncv3Uok4jxhJ2hqI3FlbwcYvsjPZo5hXK9wwsvD1EplEmnNdKVnARKJ4JWmXr/9Isix+Y9KEZfJkPjYS+qqDGWwO8XiTa3NJ0JftH+bpm5k3FuXM1I+C11hXytxeSUQGU65JJXmBKODpo43A7cHqHgUwglIqws7Ejb0cZai1feiKB2VKqNHgcHDS4/FeLX7+8wNxWh0W7Sb1qYOOnm3Xf2OX8mLuvGt+/uyeW7SIDu7dQYGrRDT6PeNnA6LNKEc+zkILlSkYlxB2sLDQk6dFodHGQrKG/9w2j/4KBPXxGXlC5+p06n15ObyYPDPKGoTjwZZnMxx9pGFt3mYHJmkL3tfTk9E87l114PcfXTFMdOR6mXTT75Yg+v34udFmiKPPB3WiYH++IXFaZQbOB1uaSru1Gv4LT5ePcXK7z5/SnKZYXPPnwiqeHCcywuL61mh4YpDiMq9bogx/cZGPVQL9QkhVhsz06ejbKx2pCdZLveZHQ8TLuskctWCMStFMp9RpJ+0qUs1aIgrXekNWB0wCWd7cKT3m3XJCU9my9jtOp4gy5J6vzs5h6DkQThiIV2r8HWRpPtzQbxmMbpMxH20y1iA1bW75eJxUSURKdcqIswH6WKmEg2uXRxkI8/zuJxG1htQZzemlTeDYR18iWDkbEI5XKTsYkgN68ekhjUZPerlG/LKkEw7CMcFpfYND6nj1bdxBOBegOSg2FMs0aj1aNb6VOqVxgbi/LxR3uEg1aGh4MMz1qpFwUYqkUj15a/41deG5fakVK1QXq/jStgo1xuya5vJOHk/+fpvYIkO9Mzveec9N67qizvuqod2qO70UDDDsZwOLOk6Mld7jIUoQtKF1JwdbE3K91urJG40q4krtYMyV0yOOQMxmAMzADTaDTaVndXl3dZlVVZ6d3JPJl5Th7t/yNCdwgEupFVlZXn/7/vfZ/HGkDUr8gec6VkyJSA2DyKy2iu0JIbltxuC1/YR6XQZHY6yc5enmAwTCxmMTBViicd2W86dynE7OwITx/nZVXgG9+e5/4n22gdBx6fwZJIF9zZ5fIrszx/kqfV0llcSKL1BgR9AT76cJupyRDTEz46uoU/pCJuvmtP8vIAO7cgetQqHp+fw4MSz1Y0ZiacZEb9rG51iflUPCEffq8dTWtgV5xyA7D6rCwp+oV8k9mFcV6s7aJLRZ5JKOigUbO4eD0q9Suf/uKAs+djmIqB3jbw+Jy4bAqRhFsq6XrtAffuH0lDQzgUIH9UlBfiuakRHF5FXnTyuSZTp8J06+J9IAwKNhRFKBU1FMMuD/DCXz4xkeak2ub86TRHxROGisLkSEzqXMT27sH9E75YrvDNd4QmTVg7hF6yTzzh58n9Ei+9lGJnvyD9qn3LgdHTpRrrxu0MxXyX/a0u5nCAbgx4660xPvjpoYyA2R1g2dwU9stoPYtsNij7nbGYDdW0sX1Yl5tLv8NLPOORdZVQOMLa1gGT0xGaVZNXX5vls09XaXWEWR5SaQHe0aVPWwyvnj09xBJbwaANVxj8bj/7Gw1Gxe9isUFF65ON+9jZ6zI3GyApfm+PG+zluljDhoRA9fpu2q0uhtLjjdcmJLfAZjO5d6/K1ESMpXNBBh2V9Y2iTC5Umi05ZBS1lJW1GisPNH7vD8f43o8KvHTaj6ap0h7QEzyQpIuZiQS7+zpYfUlvFx7x7V2dhYtBHP0u2amgVN+Iys/OTpNuxyA5IlgkAfI7VWKTAY5yHXrKgPLxkN/41awciL3YEETzBHvC9DEZweOzKJcGsjrzyzuHjGdC3H5rlv/8nx4SH/Hicdo4PGzL/nQsFCKR9PDs0Yn00Wp1hVq7Jbt1Nm+A06fDvP/eFiMjXlAUGpUed5ebfO3rWQytwQ/e6/LVt0LYvF7uPziQYLYXqw2pJA2EBvicHq6/PMvqzgbVipNOs4fetwhFFSayAepVOCwJwu8Im0/LbO3W+bVvnyJ3uM/9ezoT0ynCvgaXLs+wvVugWtdwewOc5HU5KD2zFJfbfaNrEU+rsmazvlpmbimKR/FwdHKEzeGQMT+PT+Xly3E8jrDcquztN5md85JJ+VlfG9LVqtIAUs5XiI58qQ5sNTQ5GMnlBNAsyOpGixuX47gCCqVSj1gMkuEAyy+O8dlCKO4hkZCd9U2Nl6+ksHmE8aYrKyqCbRIOGaTHAuytaZRqHd59a5IPPjrg1HyIzUONTNJPfrchHfbi0Pb5HY3/9Z9d472/fobPL+CVXQYDJ16nXSZCJmaczEyOsPy0iDIwKFcN4imLUNjB3p4gvg+5dHmSw1wRuzNIv9+Xw7bsRJBmtcXBQZvCCbzyShybS5Wpn7kZv1TkfvTRcwa6A39YYXIqQ/m4hN6ysXXQ4PRiiNyuRiDuQdfr6F2XTAbYhc5wMgKmIU0/zbZBr6+QyIj0TxBNa0slX2rcjsvllXpNYak5yRVZODdCq2mwt13l+MTkW99K4/cmWV3ZIhB3k8sZ2G0m5YImBxznLmTZz9XkazzON7lyU7z37fJ1mQZ4Ai4Mq0k9r6I6TVyiwmNz4Ix6SUdVVl90WF0v8I2vz/L5p3uk00GxesAmuvCW+B56qWk1+bkWSwZYmAlJo1F30MfrcrF5UGFuPEM4YGPtxQmXr2fxDIc8Omgw4rA4v+TjX33Q4c8eDpgMDHl7Mcy9F2WKOHn3YgrcA/78r3PUDXj+vT9i5utfJfeTnxO0uTDtHQLh83RVB16rSatR+pLZ7wareIg3mmRoUzEVv9yGDjsNvKnz4NHxxM7Qy91BswVw48FyOLErLtRhHbPfkdtml90jL7q99gnOrk6rcUxk7CatVp7j7U+ZOPM1ioUKO2ur0ncuajmHe2X0bp+dvV3eeftl2f/9/M4dRqdGuXzhEh9/eod2p4lqGly4dIXiQR6XXyi7dLRBjd/53d/hl3c/Z3flOaGIgDUO8Hksbr/xTX76808IuCw8zgAD1aJeLZCdnKF6lCMUGqMx6JPLHxDxOYn63Zy/fp3NF7vk9/a4cOkcB/uHeAM+rL5YaLg5c2aBTu2E45M8qZl5orFpTO0YT2xJQkddQ6F8KzL0NaDw6o4sAAAgAElEQVThxJucwPBM0N/4CZY/hTPgoye0hmM36NRXsJkd+oTwJk7Ta+5Cs4ZjdBJxoBEcIcvU0MsiOZWmXX1CODyNI36efqeIDS+NyjJeRxyXXzxDNIYOF45AnG75cxTVzbDvwjmyiCou8aYXrb6GU9AsXQFstiDD3gkOZwRD8WOPJNHX35c6Rm/snDREDQcadp+PdqWATzXo2O0EXSn0fgVf6grd8mOM9gGWdw5fIkGjsI4l2AZTNxl067KaVT18TDA4Rs/hwOFwoXb2McRQ9Nxl2tv36TV1IkvvMmhV6XULeCNZmd7om3Ucok4RyNJ3J/GaFcyegqHYaJb2CYyO0c89oWmmiI2P0yvncI/M0z0+AFcPW0fB9HtRbGCdFKS5yRW9QMcq4uyUGVoCEloilp6mUVtF6fqwp8/ROf4IT2iePg6plzRb6xA5h8cZZDjsYJnHuAd96vqA9MWv8N1//6/5wz/5iMsTKuFsHFVV0QpVhkEHJ22L1UMHD/7nCIqm8a+/V+fWhaBkNollzs0bUxR3ytzfqnNpcYydvQMa3QGn5kYplEsoA1Oe9bptnU7PJLdXZnEpQ6nYJBzyyPeJoPePZaI8Wj7k7IWYZBb99P1jbt+K0uv72FyvEA4N6VoKV6/E+ejDHBPjKXx+P1vbhwyGwhplkkh5ENTE8fEghwURr+/gdwRodZq8fGOaR/d2cPnC+EJCKe0h6HVwdNjm7hd1vv33JiUsW2jvWnqPxw81FhaDBIIqh3s2IoEWY5MxPvm8wK1ro7QbfX5xt0Qo6uDXf22EBw8aJJJicePi+eMTFs5lePYwz5JIJLZFItDOBx+VSUU9JKJw41aaH76fR6sN5OsW3IB6w+DWjST5/3pR/+HdFlcvueU51+y4ePl2gpNSi+3DJpMxkTazKJwYXLnu570flDg7FyYWF2B1jWjSxcR4iDufligcN8mO+ZgYV8nn4eh4yPio8JwE2D2q8et/b4YHd3ap6TZJwD81F5bWklLTgVMdUqkPyCSCrO+dMOb34824pK3o0tk4W7tNbKqHcy85efq4ydKsB8PuZWLCyfO1DqWTBm+8OcYPvn/I5JRFo6yQGvFjWEM+/mWNW6+E8asePn9U4ubLGR4vH0owZL8rlpM2Wv0hPU3AfE25lAp4RC1YxxNy0K0Z0lbV6rdkjV7U1cSAbn29wCuvplGcNo62u2zutchmHFw+l5RWsZcujfOzH28zPh0gE/dx5+4xE9Mx+RlePOly5mycptYnlfZhGTqbzw2uvpVApUOrNGB718TltOSdeXOjRr0Cp86Fcfmc5HNVpsZSvPfeOnPzQVxiSZv2EQ2FeLF1hPLz/37cKrdERMLA6NpxuBVikSGVqsrefheHs4fXJ5pzKg6Picvh58GjArcE7EAzqJU0CfITlyXV7ULptbCcPk5Oev8/5O/2u1ke3TtCMYUD1048ochpi4jebazVSU86UbDjdA7llKjd1pmbjxJPRNnZPmL5iyZjE34Um8HMQpTtlSYTM+LwXafRhmcrVRmR9LgtoqEIm2sNrrwW42Crw95uBbfDSzqr0ms78MacjGcD7O9VOdivySmo6JS+9vYEJ/sijaATCLjlpiR/2JS900azJ+NIz57onD8dITMbYnO5zqXXozz9rCbp4kNDoTeEWlmT/de5xRhPHlRJj0Tx+SyarQb9lofrrwTYynV4saxx5UKY2fkkP/lgg/GREPWmTq3WI5t14VDd+EMO2bfJHR9y5sw4lWID03RSb7fl13juvHhtfVmdGM16MAyNYd+DzatQLrZIxr3oPVEFHNDXLCIJFxsbFSJJjzy0WrqHxyIOZQ14+bURakcttnc6KHaDr3wtyxd3y/icPtwhg+01jdMXMuxsHnPuXAybqvJouU4m4aDd0LFUlzx8hgMBvH4HtUqTlWdVORTyqipCVHb3sz2uXsvKuIzpVrl6ZQRlMODzLyoy1tTtdXnpfJaN9Q4On47ZsVDsirxcNYQ+bDKIaim0W4K8XSYWCBJKBXA4dcyhg72tPHMzozgdBp6YyrNHGqMZG4lomHq3TqdssbHT5Ctfn2Fnsyzd0breY24hSbPWk4ME1RAbNJ8clLgc4i06YGOnxng2yF6uRzZp49bri7z/ww3ajTYXroyytd3C51QJxhwSgpIY9ZPfq0iXdzjm4tRCnGfPi4yNhSiXm3Q0lUuXMjx6kKdaaXLmfFIC3/ZzXSbnAuy8aDC9GKBRUmk2xaG/izeg8NL5DGvPT4jG3RSKHeamA1h9lfUdjXDAQSBhx6mKy06DRDpEdjyLYrZYfVKh2hgSDJmMZOPcvbPPhQvZL2P8zQYzEymaQrFZtyhWW8RifkazdryOEJvbNelk1WptGae6/cYEWy9aVJt1br8xx/f+doOLlxOcmkqwvi9gbE1euuSh3LChdHUS4x46NTFlB63Z4czZEZYf5zBsbl65PCInsUdiqOC20AcDAm5BV0cOOkZiDskNaGpNeQkKRYIc7jWIJwRdS2ftWU/CfOYWoxwd9gmHXOztC7CYh8SYnw9+cMCv/toC7/8kh90uNG0x0iM2pmeS/PM/fc6rl6ISUra9Wadjdinme0SCfiIjTrr1LocFcTlRefVmjIGisLFWQu85iMdckhIsJvHRgEP613NHDalYc9sd+LwK7eGQdMCL3lU4ECTtqOChpNA6KhubhyTCQcYmg+SLHdT+kEjEgd6zZO/s6cNd+kMbHoeCO+SEoZ35hSDFUpXpqRG+/4MtOQS99UqUwoGo4LjRWkVJ171yM45DGfDJJ1Uu3UzDQIBtCkxOJBjoOplxH/fvtjh1OkLQL4wssLV1woVzcX7yUZ4rl2McHDXR2wEuX3GwszOgqwnojEf2IQVl96BQ5Z13lsjtNdneOaCjidcdIBRzyvj8Zx9VmZoOYZhdsuMhbIKZ7HRIvc3YlAujbWdqwsmDRxreoJ3zSyn+4i9e8JVfnSC/LaLyDeamogxoSmL8q29NcZLrSfhOq6mwvVNm6YyHve0uE5MR7DY3xXqdblOXcD7DEgDFJpPZpEw3bG23cftVJqdi+Fwdak2HhOKIg87UTIj33z9ibFxsXGKcHGnMzHrY2m8RDSl02gG6vZoEvl15aYxHy0fUihqOsIuzixFqDV1qXM8sROn0DBIxj3Q21yolcoddAm4vFprsVY6mw8SzCjsrBoVqjTNnEjQb4PIOScUTX+rsIgpDrS8rCnOLCfYPT7CpAbJxL7v5JkuLQbZEx1ERByYXT1drvP3mFFvbJTB7xNJePC4v+xsnDBSLUMRL0A2xaIRas0csJGL5PVqNFop9wMB0UK4YeOx2/PGhjHi2jnTapsFv/855VpYLcmDz7FldEvbDUSf9rkW7OaQ/HMjIf1ekBboGx4cNSYJuNwaSv+MNOOXGSAzQ/I4hheM24bjYRLUlN6RZFwYfkY5roPUUrr4cYX+3SSTlZ3+rTDjoJDUdod9Q5LCiVGnTbXVJZz3YXdBruihU65JBFA9mZTRz4VyU5YclKsUOb399BJ8vyl/97TLJaJDjfJ0rV2LyOb99bLEw7WAyFcDlNfjj/6yz31G5MqayuVsllYogZgsjorI2keVffucpt8+4+e6/+4f03eNUjsFr9CkffEp0aolht0W/X0Z1ZHC6x8DRlhUn0xnFrhloR58RGruAKyGgsTna5Qr+xDjN4iZ2pSv1xc29x0Sufg2z1magazhHJlFbTfpajn6njX/iHVSzQlNS8Z1Y3jBu/zymtcPxFx8Rjo0jtgLBWITljz7m6jtf5dnDFYx+iVB8lOLhCsNBUJp+fKEgDx/vMhr30eu3pJr30pUbFPae4Y7O4rM52F9+QM+fZmR8jLWHq3LYKgCqvribhekFThoFTK1DKjsjffeP79/j1OI0T754xPT8KebPzvKz7/2Ygd1DLOTmk198wcs3rzI9M8bxXg67K8SFSxdY/uITUulpxqa9uNUEznCcvlGRlyjraAX/zHWpVhV1hn7hCGf3gL4vgT04RnvjpwTGLmEFw7itDjZbmIESweXUODl4glLNkZx9Fc3mY1DexGy0CS/cYNBvMqjnZBxamJJiM3O0Co8IpK5hugKY3SYOvYBvdA5dr6K45lHUPvWH35U6WHXhBg7dxBpoeKMhTE+G3v7HDDod7L4Uw0ENT2KeXlPYCDoo8VGMWgEGLezuJKbal3wmxRmh9Iv/g9jl30B3qFh7q7izZ3G4IgwdXYYdsdGrYOh1vO4YQwQMTiT8BrhsAhyrEQwFCERTaNoIhrGKXhQwxRTDYZVu3yA5fob6xgOCU28y0PPUtj7Bm71JwN2XwLpwxE9jfw1XJI3lG2HQteMOQvt4A5/bQ692SHD0Epqoa5Se4Bh/HbvPz6BRwK7aqe19hjOQJjhxk3Z5G7cIPNmS2JxpevoL7P2BHGCoAT99Q0MNzqMaCmrtHn3FI+sEnc0ntMwO068JReAGb1z5E3qRPpcnRV2hi+6zM+I1+Phhh67q41/+VhyPfkyz46WuGSQTQtHro1TUiAXttIS8BoNO1yLgd6E6VAmdE1UvxfBIdZ5hdAgG7DjdPvxBcbbLsLNfx+XxEIl2qZ0M2dzWmJ51MX9qjMJ+B3/ElGfRR09KTI1H2Nkpc+OaYBZ0GZ1w8OR+kYk5P4ppMT83TrOmE4qoGMM+j5+c4FYCxCdMFsbS/J9/9hS94+aNr3sxNJWV51VmTiW4+tIof/vdZW6/Mc1RoY7VFwadE5aWRjFE4rmvUGl0pelG3Jm2VhUGzg6LE2GGdgePHpVIj/nRNWjXNCbmo+T36oyMhLB7dZpVS57zf+UbWYJhO+bAyWef5mRaIJEJoFom7faQoEgpa106XQcDsQyattOoD9BrFucvxfjez464ej7+pRpYnufj/Pv/sEcmbefilZiEweePmzTrNpaWYjy4d8jv/dE8xWKTOx9U5LPkrW+M8fH7B2j9AW/cjvPhz6pcv5qQIL5KsU8o7mTtRYPXX8vKgfFerk4oILrtojrsxLI0WeN7/uSE8XSc/eOaNHG9cX2MO1/kKFWGMiEmKgWre0NuX/IzNuXhww+qnJqNYtJja6vJjVfGODgoYDNdHBZ1psbsxDJenq/0uHgmQK3V5fljjZde8tLShkQjfnbyZXwuN/GME702ZGAJ605cWqPEkCI7GpAGqEzWz+R4gL/6/i6zaYtwKiYZXG++lWRzo0sirTA6EpbQ95O8WHqFcHjEWcrkKNeXaYCpCZe0Fh0d9TENDY9fpXLi4vRlH2ZvIOn/NtWF02bg9om0oUhtu4im3BxulelYqhzaZkZiaLUvlwmusBvlJ3+csQTo4PXX5znY3qfTcTC76Of42GB964So38/eQYtvfnOa45MStaKBP2RnciZNu9znuFWlctDlvFDwPa1J2FMk4aBwXBNFKwm/Wjqb4H//F89ZOCP8xOKSrxASlxXLRqnSx+1UUexDelWFRr/D0lKCZMLNJ58UicadRMLiAj0kOxKhVG3KKOjZCwkOjsqcmk9ROenJiHE0Be22SbnWJZFQ6DZcBOIq9bJJNOLhON/gjXcnMQyLv/vuJqdOp9DbGsm0X/Ynjk968jAxNZmUb/5KvUU6EZCR4qmFAMfFgdSXnT0TYOWZRiTlZWzUxd9+d4/JcTsBT0BOrLMZNw++aHDqfIKh1mRzS+PClRj1EuhDU06T5qdjMtL55FmVeNLL2HSQrdUKWsekVG5Jx/btr86yuVrC5XBiKgO6lQH4LHxuH92uhj/kl4fr9ZWWdGkLcF+3LzzkQxoCcBh3o6hDHj1ok0zZOHslzL2Pj/m1/+aSJEi+94MNTp/2UTkZSDicIMPHUhEajQrlgkUyG6bbaRDyePEIF+lRBb3pIxg38Pq8EkgnlI/Xb01xsNfi4cMTsuNO7DZodcUhPym3P6treTxeO/FwlJNyWXYZxfcyI3qirgGRdJheu8fE9CgP7q3hcdtwh7wyJiMAXSeHDc5fzPJUqBPtCv2mRSxpp90eyPi16MCjOPnRjzbldDMT9cu+8/1f1uWhQvRkLNNJXx9KV2+zq6G3HJKmfevWFNubJTmw8MUcZONR3H6TlRfiQmEwM5+WEVZda3Pr7Uk+++QAb1D0MUVUKES1VqVWlUY84nHBF7ez8rxGfMTJ/HSSUkls3BQ2NqrceCWNz6+gmzZ5eUxERU1EZ3wkQSzp4tOP9hkdjWBzmViGwexcCHtA5c4Hbfn1uB0DXE4PhZM2Lkvlws0kj744wRtwEfQ4pB6k27dhG6pcednHykqfn/4wz//wJ2d49GSfQdtNYkTovGBm2onegZ2dDu2azvi4i17X5My1BFrFwbNHB3SGXVKpIG+8MSWVli+2q9j7Q56tlrh4PcnxTp0edrptjWrDybnzXpyKKl/Hw/ttfuWrGSrtDqurAvgXRGuJnpyor+gSoiK6UCtrZexOB1evzfLxxzuMJOwkU07W1ut85d3T8sHUH5osLcYoHbXY2mnQ1hUW5p0yhj0zk6JWK/KzD0qcX4wQHXXRbYiteYV4ys6gI7q7bibHI3x+9wC7XXAg/AxNG+HEUA7sekMX7Y5Op6Zy6pQXm6Gwtqtz/UZCTsE/++xYxvXPXJjkr/92WcaJr16b4pNfbjIc2IiEbHI4kcl6eL5SZmEuyH/4v3c5d8WPYqlYCjJCljusMT0tTAtDtraHuG1d7A67TIccbLUZF9Nq3U6z2mfubEResEWn7NHzKueWEohA1fOVEounBXVbKIacnFQtyvk24zNucsdDMmGX/H9sbTZYX2swN+OTfcLdPZMzC26isQh/8zervP1uls2nHfwxGwG/hWW45SV3J1eS7uDRMYW56SkcLpP7dwtMTIV5sVLBE1QIelXKRRO7S3jhQwwNO3pHXOZd6LpFMOqSTutB35T8g8OcwdFBmdkzMXY3SgTsYUIjNnK5ulQTih78V74+SSHfoHoyID3mplzRWd9qymFLKu5na7PApUtpSpUB+VyXt39liuP9Mq2OwfLjOufP+0mkomyulKiUusyeisgB6caWeNgds7iY5ihXZ393wORckEjUJv+e8YkIO0cnUu8kki6jmRATUwF++YuCjCcL+nA645TAwNUnNdJjTnY3aly+PieNJ7sHRXa3DaIhk7PnUnzv73alg9jpUqi3LV57Y4xiccAPv7/G9avTxJIGH/0kJwGJY5kwK89OGJkI02ppHGxpdHtDzl+K47DZ+ejDQ5JJN4mkSx6Cbt5KSzPOxz8/4tLVJF1NZ29XbHn8X9YMDFVqgk6OdQxTh4Ebr7BK1M0vTR8PC/hTqvyZlQ97TM5GpPUjf2gSifTl1l9nQOGwhU1x0O+ZCEjK0OzKCsPkVJCnyxWykyJx1qVVMzl9KkQwGuRH768xMRliJC0SMHW6QkvYMlk8E+C4MMDuUrENhTHIRFWHHJfEsC1AoViXz39Rpbp8My41jO2ejUr9S2VXuShiqy2u3A6TCsf4+fv7vP2tJTl4jERVbr08RadZ570f5BmdcvL3f/8iP3pvXcKrWq0eyagYPnpxRd08e1Lh9etZNK3Kjz6r8se/Nc3BYY/f/n8PmE8L5z3Y3BrZgF1u64M+hXq3y8aGYGXA3bX/CywnB58ICNtpWvUidHvYUpN4fAHyX/wFseg8trlXaD//OwyHA5cSYNBtMjDrhMZvYXQOYNjAnXqTXnWPYb+Kq1vHyl5GK65j1PcIT1+mc/gUZ/oimiai8RO0Go9R1TD29AJeh5dG7ik2nxsrdAoO7+KPL2LzB6lX1wk6Ulhqk6EvSCAUQatU6VTzuMMZvOlztA4f49BreOeuo3j9tI/X8brD9PExOFnBllpCdQhPt5OB3qKy9wVKQyEwmcbQBvz8hz9ndW1HwmKzqTGi2RT37jwmVyjyh3/wa9QbGj/4ux9w4/o19g/3ZZ3xN3/jj9jY/IziSY14MEy7p6EoKqdmx4mlZ+j3Wyii9jaSpt/KMRg0JEm/b5qo3Qr9+gbe0Texghl6+U+w+zwYvgV6R/dJJ+Iw+Trt/KpkiNjpwcDE5gxLpaDeK2I3Bij+WeqHd8CI4UrGZM3Akcyi1rqY6gDDtOHOxAUkCXs8gaJXMfwZdn/+fZKnrhJPj3O0v0Lk8ruYuWX69X0cNjel3FPCI1dR7T2GNhNn+CWaez/H7RIXMhWnM44Qx5neKGZxE6wh7tGX6FYLOEam8PXa9C0fg1aOXquKNxTD7DXlc9WfmqVZ2cFhV6SesNcxJdXd6GjoIhHidGE6k9IeMNCKuGxufOkJNNVNd28TVWnizV7BbB3QbdYJhAIonnnsthbl433CQRemI0SteCJZKiIh4fSJVJCC1jjAH8iiNTex2VwSQu1WTZodjUBmCaOxhxIahaMVtEaB6Ox1TE8Es9qkW/wpTv8sQ3eMQaOMw2ngnXyTQWmPvr2HO3wV48k/wwhlIX0WW7GDN5bGc/VlXp28LtM/77yZ4JPnfXK5Mv5EDAFHepiv88fX/fzTX/dzZ01h4+kRU4sJeeYfS7l5cF/UYIJYukEo6GLtv6pTb78+wf6uJitNWkMnGY+SnfNTPqpQPFa4fD3Je3+3I9WmohKk6XYSYQ9ay6Rw1GRyNsxwYLF/UucgZ+Lzq9K5vrgYZtgbSDp7rS50bQa+qMXl82nWnrdxBYasr7cZG4HtPV1WL7NZFacjJO0t86fCWPpQnr31vkqlqRPyKZy/kOGzXxxx/mqcOx+fMJJ1MDma4PlynunZNFuHVVoNUakWAhuRGBLnPsEBS6CJYd6JRq0udI8eSjUN1bKkTSka9SGA76Lm2Gqp+PxDWZXzuUzyRfH+cUgzlEhZR1I+djaqNBs9ohkvCwsx3EPIFRqSL5CaUFh7WsMhOn7GALdqyZrg3FyM7/z5CrevidSrjSfPxf1FkXo7MewNu8NomonDO8ClCBW0xUAZcpCrkk5HWTwd48+/84z5yQT+eF/eC5bOZGUC0OpaWHaF5w/qJCbt0hYQiUTYWCsyNRGhNehQbdhkMnvlSZFbt6fYP25gV2FjtcE//P1FPvjFMasrRVmNFOf8WktFa/RJxlzcuhnji8+bsqYhNMS1kjiLKmzt9WUl2Ov2USu1mZ5yMTeXJHfcxOzb+PT+Ib0OnJlLEU1ZHB9pLC1GefT4gPFMjAtXgzx93KBaF7VeO916G8tmw6M6GCiGrAAE3F/WQMU5w4bCSa1DOu5mZFTYARrSNPfg7j5OV5zzF+NyifrwaUnabURdw7R7ibg9LF3y8/ndPEeHTZIjAZnYD/kFgNElweFD+5C1J0csnI5RKgxR/vx345Ygq0bjPoxeX8bAhMpPAFqWl/fZ2jJ45+t+GTft951MzNjxqCLy7Ob+vUNcHpPDQ53f+P1FPvnRIRdvpdl4WpQXNtHryKbCrKzl8XldLMxGJJH0k4+KksD/B39/ibX1A+oNFYdDYTIraJkuPrtXkp7vMy8lGLZ0hk5Vdj4DIQgHXPKCE4uF2NotyRi4Ikjro365lRC/6KPjTlEQx24b0igbBKOQ2zUoHOvcfC0CNhuffVQgKhzNXidev4D+iS2IE9Npw9R06mUL1Wbx8tUshrPDnY8P8Ie9DHomjU6PVCRE4VBsO2N0WzZ8MZPtrQ6BgOjmOuUBKBL3cpCro7X4kjr8doIHX1RZWAoLSxgvltuyI/3ybUGEhEJe48btBKWSjqrY2N2scPvVWXlR90fcsjYhahnnXopjdIa0uqacpk2PxXFFVNae1bh5fZS11QP0bpBaq4IhKMpZG7OzUU6OGsQiIX768SGj8TDBWI/ZqTiFvE50xMVgAO1ml1HxM1s9xusf4vP6sYYW3e6AQqkvgWTLy0ecWhQbrwGNks7pCxFcNjvKUHQxj+Wmy+m2S+jjO29nuPN5Ueo8YmE79VYPw7ATjTj5/POKND5EIgLMaBFJu6gVdeJJYXBwyUjUUNXZ2WnJXvSgbbFz0CUU1fEGwyT9QQk5FB3wStXC6ehx6/oMH36e57HoLr2WwGHZqVa7XyZLmg25PVctL9sHJRnPnZ4SztMeC3NJDo/qsrOsKA7yRy2mJ+O8//MDzp0OMZoM0x40sNttNMTGTECJPEPpg56ZCdIzRBzQTjhuY3Vdk1UQkVZoaQ3GplOyiy985q6AXW60Vd0hY7xCT9hqdymdaLJC0e522N9vMTMdR3Ea7O00uHwpLZWH4oCyMB+iUO1yvNOSsLdyqcHxUZ9rN+IwsPFivUa/rXD5hk+qOrf3qrxybZS79/KMZmI4lD4//kmBpYt23n37HN/5Ty8Y6D1+8w+W+PwXO1IN9rv/6DQPPy/R65lSBaoM7BwU21SOOly7nqDbEsMhp9RqXjwTYfuozaPHNeZnQpw9HcfutsvBUHxkQLmMnOQmEm4Uu41WsytJtQIOZKeP6vVI1WDlSMflcXH1ShRfyMuHHwnYlxd0hZERH8vLRTmgu/VaUg5cGvUWucMO2TE3F86H+PmHVVwules3kzx/WiLg9HL6bIiffnBIIu0imRSJIy/NUotGx+LSxQzPlk9weO0yNRCMuBkOhvID1+kyZCJna1Pj4KTF17+S4U//tx3mlwKcO+en1dDZ2RApizC1Ypvrr46w+qImNWTnLicIhlXufHTM9dtZHt8tSf5GKOFh2OuTTIZ58DDPhcthpicmePhkk8N8X/5cHz6oywtc3G8Hh8r9eyWuvZxmU+h5IkLZGefeF0f43HbJvRADSlEPWjodwRKNmKFFQsBdjgbykGk5ehwd6LzySpov7tcwGBIODOi2PCTH7KRCPrZ220Qidpr1AfOLYVpaHcMK83z5mMlRv3xQHeRqzIhEVsjO3l6V2VNjHBdK6GVhu20wkklzVBAsFo2+TWU8HZTVJEs1GUu72d+v0hna6fUGnJ6Psrcrts8WsYBbsg7K5TKWaaNc1WUqZW4mIC9aXaHSWUyxuXvMZCYpwVai0lFr9vEH3KTiTjxOLwChcMgAACAASURBVO1eA7dXKC0H8nsvOnFrz4sciK3MuF/CnfZ2jjg1N0lup0xVKEmzXh7frzI25UYxBozPjMi+fHLUTr3hZHOzzGs3x/nkgz3mz6Q4OGpLf/o3vz3Pz97fo6v3RDCDi+fEJdrN3TvHpBNuPEE3+d02C6ejdLQvIU8jU3bqxw7qlSojUzF6fY3DPQub28CpOmm1O2Szflx+N0PNoGeY5A5qnD2TYVt8vvkCBCI2MqkgDz7fptN3kojZqXdVBq2OrI31ewO5yZwa8+P0B2UNwuNwy63/oC+qPE5KJ135z5kJJ7ktUw7klhYDHJUNfG6VeEpYaSyqzR7deo+Dcpc335jmuFCjeNDjys0gpeMhz56e8K1vn+b+54dEUk45kEwnPHjdUXKHecYnEzK5ZA1Mxmfj1KsiPg7HJ22pLfX4Tew2BXXoplBuc+F8htJxU9oXPCEDXXNSPKlw7foUB7siUTiQtbRaoc/8mSS1hqis1fG67LKOks54+eTTY3KHTTzKkIWzIZqVAc0WGEGL3Z02FyZiXDyf4Xsfr8lh3m98ZZa/uXfMv/tCo1C28cZLAeqdNk67i0qlwdXxOA9zZT56ZvFv/qfT/MEf/wMZBy+vbGNLhbDbvfSHbiLJU5Qe/QX+0bPYXAmszgFDp59WYZlgRETba6gBEb2MoKgG9d07eEfm8PnGKTx4j8D8dYbdPjaHE0sCpBKoniD5L/4NqVPfpC/Br0GG2jKa6kEhgNVrYbNMHNFRBtYQo3qEI5DGKwY47bysgrn8AuDZArtPbqyd/SMcM69hdpoMGjsoXYthOIpaeM7QZsc5+QqDgw8wB33c4UWGvgS0TgSkmoEvQa9Swevr4YlNyJpNc/cRmpGk3iizvf4Uh1sop1JUtTabnz/hwrlFAiOT2AV93NA5ONlm6dzrdLuQW/2U9NQ4hsOPUdnj0qvflERsrbqNK3pKgjuH7RrOcJresA21Q+zxGSx1KDfjvf3PcAZHsXxxqqUCmcxZvv/9/0jQH5LmmY21TQkVfvX2NWxOO9/7Lz/mG199i2tf/zbr9z8mkE4SUr34ZscwakccbAkWlMrOSh6320LrdCiVarK+eFzP02wJhWaIpMuLPx7m1XfeJhl2Y4tmsBQT7XCPVqEA/hSWyy036qW9HcIhYTGw5JnBrFcZZufpVk6IYGcYNKmUe6THz1N8/oDgeAxPMEHzYB1jIDafGXq6qGD1CMTSErjrtCoy5u+Iip71Kn7/OKY3jF31YXdmaOW+j8MTpm+Ic5NBwGaBT3ApmqjuIL3GMS63G290kXJpGZctgOqJUdn9mNTsLXrtGrbaM1yjrzPQN0FAhX1J+q5RqH2Gy7uEuHX2yo9xmy4GvlGsoY7aKWHZfRiDErbIvITzdvJPcSdPY9mGWPY4w/ouQwF46jhlGs9onTDotmS3XVXTdLxtole/wX/3K/+I9368xRtvJuUQe2HGT6Pew6u4+at8ld9Kh/lffi9JvVrh/v0+k6cVWjWLSnPI1HiAtTWNV27GJaW+Wetw7kqCna0G1lAsXXSZPAsGBZRP5D0d8v0yvRREb/Q52utimQPUiJNUJMDupmCVOVHtHjbXi3LAPbsQYX+rxpWrWT7+2SEvXYhSONbwxGwoukcODIZYlGttrt9IY/REXa1HqWpI0K5IL+UPu3z4kwq/9w+mOTqqy7OfqIy5/UNqtSHTkzGp+P3s4wOpyBSq6m5/wNaLNhevJeUis6lbstpk6F0KlQHJhJ8330nwp/98m7GJIG+/G+azX5albrBZLqIZTmz2nvyaLFQunYuRK7Vl5WUw6DCS9rG1rtNXeyxORWQyNhINUKt2cAcUCa/+f/7jHi9fDTIrvPZdk6Oizvyck+PcgEZ7KMF8o2MOeq0+iXSMYrFCS1O4cT3F08cVxtMuKs0BpYrGtSsZHj0pEwo4CCbcVI/Ev9cZm3bR0RXOLUTZfNHi4fMTzp93kUlFuX9f2GKmef5M55d3dnnjrSxGv8t+zpALppLgMBz16eka77w5i4HK2kadSqHK3HyGjYMTZsdjNNt9BqbFSMwu2V8hnwA9G6TH4WCnTTwawxfp8+h+Q1YHyiWdaNJP2KnwdK0p1b+Vkk6zrvM7v3tGqtXFmV2Aj3tdnSuXhfEtz/5Oj8kZn2Q/5fbLOAJulubCrDxv0LNEtVlhdjqEy+2SkEHB57pwMSqfV2MTYbkQjkQV2lUFh0/FVCHk8cjlV7ViUdXEfSxN/qTFnY8OOH3Zy5lTo3znzzb5x//kFT780Sbb+zXe/dUsue0aNZGcPujRrOrML/lkhUv55E8WrJXlfUkYvHA9SbMyJBxScLgE/Vb58gHsGLK1pfHqK+P89ONdslkfM9NBOem/eHOcu58eMreQYOXZMVfOpai22qRSSUrVKk/uV0iOeLh2Pkq52+fexzWuv56l0WwQ9Nso5ofYfD3UvoCCDKUe4cnjvATQlStteSAplttEg3Z8URvZkQQry0USaSelokWp1GRhPigvzANLaOqGMDTkdLxRbKLY3BJwdP5CiLsflWjpHc5cSsoPhNyeoPT7uPfogBvXp6lXKqyud3nzVoqSNqCUq0vC7EvnknzycU0CvOLjHtZflJmZicmu5GcfFEhmfQS9fh49LDE66sOw9ViYjkgi/9DosTSXBIfBynKJyYUoHtXJez8+YGkpSCbpQGsr8pCcGYug6Q20hp/xSREn18mO++jpwrmt020NGZ8IEghYmB2FZndAz+jJrrEAU4i4zaVL4zy6W2Vywc3EmIuP7xTIJkVny0+zoUnjgWUXE0OLK0upL/uwAQ/LyyXMgcr8vNB6xbj/oEBqzE2z1md6MY7e0KmWWyQSIcq1jox2nogL2ESEIQN5iRYHso0NjdFpD2NZt+yVhnxuOh2xV1Lk4X9zp83KsyL/+J+8xve/9wi978HUxAeGcMxqbIuKQiKEz+fDLvSSL465dCVD/qAhY9P+uJ2nK3Vqxx1+8zfnZf9aRFG31jUZtblwLsny0z25dRQb9HyhhdMF4yMROnoPwzSky9vjCcit/dp6kdOnEszNeyV4cHOrxnAo+l9Z/NEOuwddRuIBqZz89N4+SwsZDvdbXLwY5q/f2yERd3LxrI92S2F9vStTGekR2NnscGrRR/WkSzgRZn+jwuicj/29tvwlHpl0cbDWpW3odLU+obCTU7MhydQQr7F03MDn97CbFw7xBKWjBkZPJZZRCAdDHJeaTIp0g9PF/c9PiGU8uFQ3x6U6ly6kebicw2vzEvLZuLPc4NrNCErPRvW4xdvfXuC7f7nBZDaKN2Swtt6SE0tj0GPluXCbm2SzMcIxi+KRwfZWlfMXx2jWakxMj/CLn24wMhVkY7PJ5UvjMOwyMRUhnytJ2E2j2iAYTBBIKjRPBGFX+L1FtDrJ8yfHZDIeSffXmgOGDigdtLB57FJ9ZfRbBIMCsCK8sV52d8tMTqXIHzWYWwjJYc/Tp0Vs9iFhv5+jkvg5Bxh2umznBHjFTcgr6hoVGrqdC4teQukAjx6c4BhAKuOg3QO/08XKalGSzoWO7513J6XadPlpjnLJJBZxU6p0ZbVifMxDtatLBoMwErjddtmf63fbVEoWh4ctbr4ywYcfbMmkzORkDLuzg3ZiI5AQHAovW+siquygUKiQSnvlfyMMKEGfUEqJylAap9vi2eMSxWYfm6lic4hDjZdnz4VSLkTABqrfzsrjqgREepxuDBxyCNsotfEFnXIwJTp2waQLp+IhkfUyPRHlX/2LR/zuHywQi4j3S4G+3hNLHmluWFhIkROMg81jrl2bYn+7Sq2mc+lKWL7/zZ5LRpCzs4Io22XhlINMJign3QoWe3s1mbIZzyZwqR4ereY4czHOL39Ww+z3SU8EWJr38/xpnclZDy+dHeHH7x+yulqT5HxRI7IE+ToTp10bADayE2JwUGJvQ+P6q6MyVST0OZVGn9FEiJa4STgV5kbjPPjimMULcY72agxMNwtn/Tx7UJAGFZv4g4qgQOtYQwW3x4bdLlISfql4FZuXYNjDxmaDlga3bkRwuJ1sb57Q6ViSBH/2TJr97QKlcp+5mQyW2qbftnFQ0Dg1k2Bt4wCvOwCqQSzuQLWpMtmTEYkso0luE+YWnMQSbvY3OvJzyOZ2MDEblH3v7RfHJFIh2UM0+zqJdBCnXZEDQrHN1wcaw56ogiiSLi6SXhu5Y8IePw7/kGQ4zOZGleyUl3bDILdXk4mHRr3DK28s8eLFC+7/ssWN18Yx0SkfCshQhUs3kjLBsrfX5OKlLA8e7PD6O7O89zfrTE+FSY+LYVeHRqOH0+Gn027L1I0YyCXS8PxFm1jEL59riZRNOrfFAWj1RVsObPNHOtPTUfrKgOpRD3/QLp+7WxsN3H6F8VEXJ7UhPldXXhrEEkAc4Btlna99YxJ9MGT1+QmegNBRDWT0NRADXVdJpzy0qoJBNJQH9FZdJ54x6Tb9VIpNLl+NYpoqL7breBWTm69M8cXnxwTUOtOLGf7pf8nxnUd+rkwPmZ9yEkPh4Z7O0riPrsvJe+8fYfO6uPOXv8P8O1forhwy8FyitfIdDEsjOfXbmPUHNKsvMDptHJELqE6LoduJwzuK2jhABM68wRRqaIT24Wc4bGHsygCr1WGQiuNzZ+jmH6MEpxkaJnplhcDcbQbH23hcXYzMDShv0K02caXTMjHZ7XYx+w3cIm1zUsYxtOjbNQKxU+i0oWPDau4ysLvwJBckw4RBX3a8xWC2U9zGQQRvepZBbUc+O4Ojr2C2ctRLT/FEr2Cjjml58YaDtAvPcHtHEKO+jhhUOJ24jSHD0XGCvmm0+gsGNWE/8OF0hugPbAytIaglHOGLmNVVVL8Pp65wtP2MSHqUVnkH78hF+TMfNPM0uw1sVgRLL+L2xWg26vI5KjaLAtZnt6VRPQ6G7To2/yjd+ibewCiq20E5t0qnvMuLJ9tMnrvI2vo6F89cYnv7GTZPhPyhjjtsYu8pHBVyRGNebr/9Le5+8gGhgIuQD3yJMe7fffalajXlo99X6XQMLl+/gtaosXhmlq3NKr/49AMmJiepVYo41A4TCwtgKLz1zd8iKGCAh3dQyic0e3VcrghO1Y1dEFlFBdNyMjSbBJITMqnTt8q0Kz38IQV77Bz5+3+D4o2SmLpIq1jBbOyhBjISJj20R9ByH+F0Cc6PgTpyA5/DR6+9SV+8lug0rlAMcKK2thgGZujVhQqtS18oJwcVFHcWQwz01SJ2X5Z+t4bVq0k1Xbd2jGf0IobipF99Qih9hl7TQBV/Z3WVviOEmf8FntHb2FMLDBvbdOpHuCOTeMML1J7+W7DHcGVmGbR7uKMZbDKbaqD0K7icpzHNIzStgDu5iL1TpNU6we2K4nENKefWybz5FY5++j5Xf/MvySy5uJIJsiV0b4aNixMh2n2Dnzyr8eF/G+HoUKOiD9k57jM/HSUYclHMndDSDdz+IM6hSXY6yL6AUScjtLQOjZaAFJtkxzI8/jzPwmJEqlRjY37e+8sDJmZsJNNhjvINomknZsek2ewwNR5jP18nO5nhYOeIoanKqt70VIi9vY4EfV+4nCY76pcXwWTGI61IxZIhWSeWYTIzF+XZsyriITaajLH8vMDklDCy2Djc6/P6myM0Wzofflrg5o0UVmeI3T2UqYLDI43z5+PyfXCQE5pop4SVC/bCSCxCvdXgYF/D6VHIZgIy9Sci+IFgiAcP8pw5naHVrGETKSivjWKhT2ZKsMVUjM6XaSyxDQ9HPTQaTarHQ3xBMWB34XR5yR/VmBjPsrt5SKuncPN6itXNKpWTPu5An8W5rIS6B2OWBOeqbic//sEeoaDCwukJwj6D0ckgf/ZvVrn1ahp3yKJRMQn6HDxarWE3TQn4HrTajI/H0I0+rTrYnSaqSPMoFsW8LmvN5sBCURQKx10uXYuR26xRKou0gl2eUfLHVa7fSHFyKNI/lgTviUrgK68mefKky70vCnztW6O4TZPdXI9M1E29r+O0uXG4+zxd7krWQzJjZ/uFJtV5l1+KEwqrLD/VsCmm/FmZhiFT8aIiImwhp+ajcrDdqDd4uCyg4WFevpTk07tbBHweEskYhfwhU/PjEpYu+JlnF8IkIz42Dusc7WlcvZZkM9ch6HHK39tW1c7Fqwk2N1s4vBYuRWFrX5Pvi6VpH08e6lhY6GaXpaUkO1slBpqL8dkwitFgea3J6KgHs2cyPZ3k5KQhzWpjI0G2dos0Ol3UvoLys/9x3BId7gEDdl608XkCOAOapJULpUY2KaawOvc+K/C1X5nm/hcFqgK4ZbckPblda9FsisNbkPW1uoxfzZ5KsrYmLsMh/j+W3itGrjRN03vihPfeZ6S3zEx6FskiWYYs09Vd1dPjejCzo1lgNRphbwToQleCBGG1gCRgBOhCWmlX2oF2tDu9M9PeVJdrli96Jk0m03sT3tsTcSKO9P+lO14kQGREHvN/3/s+z8SUWyrY/EEfd+/msDvFIV9EjAZkTtqEwlYGg470KEeG3HTqNfKVFlduLFAvZKm3ejJ6FPVbOUk3KZdrlMoQGTLLqK/QA62uF2nXhH3Ai9fpYHPrmMmpJEsPDwknPHQ1hV6zLl3qIb9XOkePDwtcuSE+mAEnu3nafUXGjLe3mihiM2M0kU83sDptrK40OH3OxtxiUG7c3DYXTx/t0+wauHVrnM8+3uDGG0NYDGbWVgvsphtEfMLRbpAgHrEdF3q//Z0Gx1mVWLSL2hKqQAcul5g4myhm65w6k2Rn7YSTCnhsbd59d5Zf/HRDTtNs1jZ2u51SWWdnIye5DImEm7kJP7fvZolGrBKElYib2dzJUykJInaIoYSJB48F/TtMNl2W9Epxs7EadaZnoty9n8XldfD8WZmhqM7l68MMuhrPVsoszgf43e19zixGOLUQ4+HDI5xiOylcxHY3sSGLnG5++ukBi4sJqpUSLqeDftdCqVHFbrVIWF+jaqLWqFIpdrhxY4SHz7IkE15Wn2a59NIwNmcX3WCg1zVhRpPkb7UxoFIr4/d6EUnUB3cafP9PIvSbKvcfd7h+xcP+YYnjQ53hESvRIac0KQgyqZhszaTM2N1Gmn0TrVpdThX9DoVHa00JPbHZm5xZCJEtdaXq8tPPqzjsfcIRI35fiNx+Fptf4fxinO2tMhanmUJeJRqz0ih2mZgW0RydcqPNxqogiJvkQOfR0rHs5ovuXSjgkFAaAe7yBxXcdiOT407KDeRDTExdxTZZaDwMViulww65coXEqEfAxqm3BtKIIHzbqWE/tU6P3OEAb0hlYioip3liA339ekTCtApCqzjqRC23adQH+HwGRk6F+c1PTrDaYWTEi93YwREIcPfhMUZd5czpIQJBC5/dPsQbshGJmnFYfLRrddS+OHC06ff7TE9FOT5uousKrUaWG69Ocf9BnqODJomIi/FpL/e+OZKf02tvTPHj/7jE9GiQVtcgiesrqxWuXE1x+/N9meLxeOx4PDqHh1UWzwxjocPqaovosIWt5Sr+pImAW0SpxTJbuJJdBIMWHt/bwx8yyOhXrtCi0dCZnhSu8j4GRSebazM3GeGn728QDtgIBVwS3lIRU99ul5FhF5VKn2q5TSRikYrO2bEE6UKeankgNYJ+T0gqX+ZPO3A7zXzxZUnG2SemXBLoUitbCEUNqF0zc3NOioUqnb5ZuoMLmT6ZXJF33p7lydMjafsoNw10G31ZvxBwN7tZKOiKtAdOedAV+smPPzzkO+9NsfnikHjYSTwZpN3TONlvsLZa49rrfjTNwc/e3+bls17mZ+N0dJ1ut8rz+1W8QRszpyJ88tt9AkNW3nh1iGcPi2ztZ3n5tRG++CjDaMqNxWGQA7jpeS9KX8FmMTE7H+NH//BCxtW/ur3PxISLM2eS3Ll/QmrISaelUKk1GU75+fCjXQlrDEU86L0OiWSMaqPM9lqFoTE3nv+v1/fV73JcfCmCWelRVVW2V7rMzNhZW63jCwswmNBaInkLT5eLtBoGTLqR2JDw+no42CpweNzi6pUhni4VcXjEwcdAPGaUz6W1NQGTjZI9LskXF4NwbNjspPfzJIdFNclDJl8jGHQy0BWOD4pcvjbBi+dpYRWiWKkwM+ahNTDLvxG13uIwXSKcjKB2dErpIrFomEtXYtx/ciQhWZVSnUTKIyGTr70Wpdc18Hz5hDffmmR3rQYIhogZm8WKy6MJ9AIby2WGJh2sPaowNR2jWhc1IwWrwSHVT16Xka8flrlwxisBSS+elMmW6rxyU0RWBTlfJRIN0Gg0mZr0kcuXyWd7XLoq6P4NSQtXzGbS2R5T0yF21oskRkRH34DLaaFYLjE5OcrORlpuPLyCzdJoEw14cPqstOQASwBwa3hsTlTNjFFweIQmyuLG6R1IcnSt2qbRMDIyLoayA0wWCwd7TU6fdfHB+2neeXuEdL4ulaSTs4J8bMXjdZLP1nmxJmwDbnmtXr4UJpI0y8HKF7eLzE2bQXESj7m5+2CPZlXnyvUAc7N+Pvz1CYpVxecVphwLoaCIQwbZ3U1zsNmVkd+xKQ9qp0v+2EAg0pU60J10HmNfDN2sMt7vcBsZnYiyvl9k1tXjpSuT/On/ss5yWWNKsHk0A07FRsPYx6oMCDsddBsV9vUgn/zbd4iOXmfj00/wBeJ4p8+gVnMYzQq1ooqW/goNC8nr/4z0vX/ATAv7zE0GXROGxh6KyYMiutilF/JwJvrhWjuPKzJF7sVH2HxDOKdeodfJyS2R3jcw0HocPfkNQ3Ov0HfN0d35lTQMOCLnKL/4NbZAgoHditkWRekZ2X/0t3gjKeIjNyjUTmQ0PDj5Dr3KDvXil/hDr9DSGjCo0e9V5SZVdyWol3ewKlYcIzfotrfobj/CGF9EsQ6hl76g2zbhcIdRbAFqouvdyyGIrYonTnnzKxyBSazOEJX9z0nNvUoXH53cY7kMcA9fpZnZpdtu4QwOo6s5DM4YutZCaVdRYpcwNOqo9QcYbHHMZoW+dZReWQwnNPq6Sl9xYLQFMLSrMt4+cDowOcfR1WMsNje19A7OYAwbfVbWVzg1/zJtrc4nP/+AAWaSwxHq3R6NmgBOu2nUM3R7MDoyRbNd4Zt7TxA+IFGpe+2tN9ANNTIHRWJhv+wj7+6vMzN3isd37xNPDHP//jPee/cNMuVjOYhXTCZW794nMpLCYlJIjg9z+sxZ4tFhOo0ytkCYZnqbermBNRGg02xTOTjB6guw9nwDr8NEPBTg3tIzXv3OG5SOVhg59TpulwtVEQcdN/3WAf1WVT7jLaY+Nu8QbTH8Ed99YprB0VNZMdXDQRobnxAe/X0ZKe6oVcyWvrQn9foWbL0dcPkw2mak6rFvCGI2qhiaJ3LgaByoDKxOFMUkWT2tch61uIpz+iZGq5d+dgXdlMTgjkH1Of2+CUP8PHr6azQ1jzVxC2NnnYFlGIt/iPbBbbl9dbnm6Ctt2uk7DExj0ubSrpYw9rt4wkmyNXGoGpBYuERfHTA0/59z6awPk9rBYfNQ6WlMBq18uVNi9bjDv/quix++McSPvtkjZPdjEBLYlniug81mkerXUMxKrWyQizFRDXa5BEcIao1vVXDCuiQU1uubRalNTQbczJ4WZjELv/zlHpNjblLDPoZSDnL5FrV6hVgsTPYoT6mgy8XoQFdpVbqcvRKnkNfY2a5xdsGHYrHQQww04d43JXkITg4HsTggk66SyTWZmhLXU5tEIsDi6Rj/7v98SjyhMDzh59mDBnbXQFYIxeCq0eozPSf+LbSBPUwY2N9qcvFGlL39Okax6xR8LVVloBllynJ62s+duxnuPSzxB3+U4GSnhV1AA48aEsrtcg2YGA3SUAUIvUNDcAJaHZJJHyGvmUDQy4vVNNWSitNjpVxoMT0blUuDhTM+btwc5V//70sYBn0JQBf3YYfRRCTu47NPc8wvGLlxY5KnS3n2Dk8YSoY4EfUOjwnjwCCXCwuzCdbWMoQSQldrkM+u470CXV1wz4wSLD3oD5iedKB1jGTKbSrlHv1Ol6kZPw6fXfLjtreqRCMK2WMjsREbyqBDLgvJYTsnh3lGx1MS5Li9m5Xv35W8hsNu59e/3eK17yVoZfvU6z0yhSZXroXxuV08XTokNekivQ+eYBeHxUNFwIydBja3SoQDfqo1AaJvcvOtcVYepaXG3eXpkkyGZFWuUm3x9Fme126NcnJUpdFUqecUTl92ovbMlCo18sctIhE3HruRsire81qMjtrlAOf66yPsbtXptVRefi3Gz34iqgQObrwa46fvH6DJc2eE7bU81bZGyG+Xz9BWs8Hjp1Vmpn043W45/NjYKKB3VBxhM3TFELRCpQpvvz7H89VNDP/wF3G9Xm/IL0H4IB1eofMrEg/5CCTMPH5wJMnQbqfC7S82mJ0do1QsMDOXkD9XFnofn4bD4aVRUzGbjHR7AgjU4bV3hEezhK7rWH0GnGajfHH0uG3sbJZ5vpFnIuXGHxKddgPXrsf55Y9fMDIaZvcgw/x8SqYKrDYLLo+VSMxOu6FL5+b0KT/b61UiCQdPH5/IIcT0TBKbXaNe6aIYxFDCR7fd4c79nJycvXQhxZdfrckNo0m3EhiysP68JKcqYb+LzFEDp9OM3QMGrN9qkhxCy6aQSJho1o3s7VaIRy14gh7WtwpcOi9ADgXy6S6xqJeZ01a+/vwYk2JneMKOaWDm6XKearMv481qQ6dvMsvfwe8RB/qmvElZbRr5rIbFbqLPgOWlFjdej5PPllleqnH5agBf1Mvzxxn8HjOnL4TJnrTpqH3201levjCBbqzxb/6PApcuhRgZhQcPVBbnLTx9UePiRS/0RI2jRzDoo1IX+jqNWr1MrWYhHodTEwkqzbr8bkTHf2OryIQA5JWaxGJW8tkag56LYFjE13t02grH+01SKR+FXI1Iyi4PWIWjFi2hozvpcnoh6bwuOQAAIABJREFUzOZWgV5vgNViJhJWMOgmAj4PK9tZxlJiW1vH5lQoZLt0uzrnL3kQduu11ZaESfldJkk3bgstlcnISaFDLCZe3AfywJs9bqJ2ddqDASNBK4dplVev+7lzr0S1omGwGAhGLNTzOskRcaI0SWaEN2xE0XQ6hj6ZA5Vcqcubr40QjBi4/cEBsXEbC2PD3P5mUwIxL1wQCiIFAz3Shx2u3IjKrr7JYWLl6RFTcxF5w7IY7WwdZbF0DbR1lWpxwLkrUTafF5ia8bG61mLvuEY8oDB/Kky3i0y5CJhaJGREG5iwuYyUCyoBj4sz5708vJthas5Do95n6X6O3Yz4HeN4PBqF3IBWS2X/SGVuyiwjgMLGIfo+Y0k7ZpeZUqGFyd6h0zHxfKnO2bMhGdO1O3SGkjGePi0RCBlkkkRMU1fWjxmOu4gmRHcfqYnL5jTmTrtYe1rlzKUhLl4My67RnTuHdLo95mcSbGzmiYVN+PwRarWK3LiIzXqj3qOQbTJ7WrhZ61ROukRSTtZWCkxNu9GNUEzXSaX8WOxmtjbKcvLq8vgJBg08XSpgdxiJxVy4bFY58X74MMvsvAvhGnj6qMLcgp2BwSaTKbMLITqdNgURz7OLNJPOYbqNzy9gKgqHm21MVguhkFPWCB4+OsTr8kj36ugpAV4ys72aAaOJbKbP1RsBskdCndjBZDBJzsnOVpNEIopuqFItq8SHBIBNkfcyl93NXuaEoYQgsDdwe22oaovNlT59pc9bb8QllflXHxzz5ttR1tYK7B/2uHA6LJMY4h4gEljiQDo0buXF07KkwHotboxmFafXydFxAcPAjNOlS7/7cUbA3YTaU+fGjRTpYh0GOvlCC4/LTjhhRFXtclrc7ZoIhcQw00uv32B9w8D8op1BV8fhslMr12h0+vicojFlpiAiliNOeW8VTIGd3Qb9LjjsFlnTio34pXZqayNNJOShUK/L3qBIPezvlAklbagdhb3tMpcvDGGwaSw/y0hzR2TYLis6IkWVzWZJH5rwhc1SJSi2yrvreUwWI1MTUT763QoGk4Nr1xO0xXe6mSEQ8cIACvkmzY5VRh6nzw1ztJVB0/u4XG7ZdY3GbTxbLtNq1/E4HJiM4rAsTDIOTgu/+7Mj/MLJG7Xws5+k+d47YXkQFwpIMawwmYS+x4jJamRtPU847MbntmD1QPFYwMBsHO/XON7t8dpbCegaZXRT7YutvVUOvHd2W9gdffnwjwZcVNoN1ta6nDrlpD8wcHxYkVvy+XkX5bKO06FII8naRp1U3IHFayTqdXD3foGQz0irM0BttTl/PcXtD/eZPxVidNzLZ58d4HZaGUpZ8Xsj1JpVdtaKjE5HJFX6s4/2cAdN8j72vR/McbCRweJzSOif1yN0VQaCHjv5rCpfoCtCWxpV8DhdvFiqojh0ZidCPHh8zCuvp1B7OsV8j1azQzLhoFxXqWQajJ+Ksr+f4/VXJrlz54BcWmP+jI9sts4AoYuE3Emb8cmQHK5Xim0Wz4ZY22qwuy0GSSka9Y40iWytZWWlYXYmzPFRSdZEXnl1lFIlx2Bgptcx8ejRCe9+f5KHD/LyoL5xUJIJLo+hheaw8cGWxla2g2bzMexQcFpNTHtVHpVVMjUxwK/yV5fc/Iu/+x/p555TThewBObIP/0ASyiCf+j7KFRpl29jjd/EbA2hlQ/plR7iDF+WPJFu9j6N5hFOZ4qBYqBV2sS3+E8xk6dTTGMMTqD0DbR2f4Nr4ntUd27j8aXQrd9u2vVOmkZHx+K20ty9j2voMrboLGp6BYtw1OOnq2Uw2Z0YmjXMjhjdZhrn+AxrP/trhi/9FVaPm3ohTZ8a5kYXMXFTPCma2VVcXrFFT6NRxxc/i3r8GdbwAkZrlH6vQ6+8hSExQf8kjcNnRDUMo1XX6FU2cE/8QC5kBsUnUsunZjYJTN1EdXkwVXYp1zO4fVO4wjFyOw8JhM6g97u0ywd4kiO0BZvC4EUrbKK1spjdo3hHZymd5LE5+qjVKqZBF1N0gb6ao5delSR9Y7eJZp1EK76g28zgufB7GMtZKpldYpf/kMLBDg5DmWzhgLu/u8P8hbfZOVrB5wlTPDrG5LBQKeQ5d/E6D775jGg8wJXX3ua37/+Unc2iPNw/fXIH+jA6OSMtGdVSi8zJCddffZ27d7+i39MYm4pz+fwlXqxt4vV4MJpN/OrnH9JsCf7VGFabSNUZaFQarG1s4LYL7sqI1NjVmiq7ewfMTI1jc3p46eIim5uH7KytMNBdLLw2w+7DZyTiUV59620JrzYlR4QCndbRKqVsjsDMq6jpZ7Rqe3TUAQ57CM/MVQbHS+xt3iM2cha7L45aL+D0h1DMTnldNDObDIwdTGYvXfWEflPDIVbBioN2I49lUMFsiqF53OhHzzEnFzCb/XRbJTnMNPlGMB5/KplSvVYXJX4aW0uluPdLrGPfxSgGXfmn6AMP5mhcqlLFz7bLInEwwGIZR6eCNtDkoT0UCpDfekzy/Ftow8O8t/ADnhx1WEzYJGvEF4Lj3TZzw27+pw8K/BcXbPwn50387H4FbAqnUi50q1UOPa9fDstngS/sZfN5ViaJ4zGhX/MwsMD7P93Hbte5dC3F4/t7xBNRRsdtkk30eKnEn/2TGLsbHbRBR6ZxxTtCR+3y7EkNTDpaz8DZxQhud4Nc2kRi+Nu4fqciFhkGquUWbW3AV1/liSaczM7aabUG9Bo9rrw+ycfvL3PhdIpsQf0WGE6T4okYRNept7pMJmPU2jWmJxLcv7ePXVgWBkbOXAhw/4GwrRm4+nocp2JB6/coFRsEQh4+/mRX9vhFIlTYpMxWB9Vcgb4oveuwuBjg8LjHyWFdalG9bhOnFod59jgt1c0iOeHzG2W95Te/3iIcdMp6mEhA1mvfnoUqJY3RKSfnz4/zt3/zmOERJ4khD5WCAaOxzf5hi7kZD8MjInGQk9eISPyVin2CAZ2V5Qpej5NTM37u3jtkYSHJ3EUfT77JSRWzSFUXK1Y53Bdw7529DpcueeRz+MMPjpmbNHPhYpLDwyYuj872YVPWe7bWaty4GpZpys9vH6IbLLz6Vogf/+2B5JDNLYTY3xd9fjPPHgsYuxetqeKL9mSiYW+njMNjYWzcw7//v/e49YaPWMzCf/x/svzlXy3weOkAjD2CITfPn5ZZOBXBbOnSaVvkwubhyiFhl4NAyEgmYyWeEEBGAWNuSm1ovS4YYaLb72HleYZYyi/TBcK2FfAbSUwG2NuvEg/bZeWsnreRGBPJI53p6TBbmyeyqnFuIcyHtw8xm828dDHK1osiKqr8v8R7sdfulxUNm8nJo+Vd1KadQHBANOGWaWpxtogEbdIUVDwp82wtK9kQQ0NxeaYw/OqfJ3QxhWvUNLSBKjVTy0+rjA476WpG3G4zT5ZyvPHdEY6PKmzvVhhJeljbqDI6GuDJkwI3rvhxR7wYe31O0gUuX5+W8LrV5TxnLkalf9xgVaQ/+7PfbRMbtZJLC29yEDTRYYzw43844A9/OEK+0ODJUpV3vzvO+vYhj+51ePutAM1en6MdMcVWZLTP6Rb6mpQ8XOztNDE6ujIue+erstxYej0O+QWnogKQMKApwFbJELlqlf2tKqdmg+zuVSVpeGurzOWLURwes+wFB4ZtKCIGVjcQDCvsblZIjMRYXj7hzHyQZ88rDE04aNebtDoaE+NCkWXkyZMy3/vBsCTbZ7NttvYqXHtplJ6xJyPc7aqBiVknDptCsaLzySfH3LqVBL1FumSWL6PXr4/w2x+v89KNJDtbJQ4PNebPBlF0jeN0k6kxN4rVg9Umpn49SeAMBF08+DLP1VeiHGUrHO81eO8Hc6ysiG2lRrkMt26FOMpqbK6lWZgPyQmi32VncjGI3ajz5TdZklGX7MH3VHj97XH2d8vkiy3MlgGrz/qcXrRIrsH2Rp7eQMdsFocvEd8Ep8NDr9uTN8Nuz4zXa5Jx+lu3ohzta3hF1z9q58nTMu2asEy0WTwTJhS0s7lZxWbS5JRQMRtk10k4W0cnHTx7XpCHdcXWo5g1cO6yT3ZFFa3L2XOj5Ap19H6fSq0h48dWl6iMNOXWqFHVmZ0x8Xc/znHhbJCABxbPxfnFL9YljNLlt8uodTBo4iTfl5HZi+c9bO13aJRUAgEH4pRz840pPvvyRF7snWYXXVMxmu3s7FWJCDJ6vYNR8aL3WhIwtrtdoFVXmJ/3ymh/s2bk6bMMr4kX5XoDxWKWxNWiyByrQl+mMy3dqj3GUx4OT+psvOhw4bKJe3eFztAmo5U72y3OnPcgtMSTk2JL32H3WGihOlx/NUQ+rcvD3eS8h2qxy/qzKhevReQDrF4fkC108YiUw5CF9GFLRp+Fm1xszS+cS1IoVOh1BzS7LS69LL7/tBw+jU8Gcbhc9NpNRsf8MlolLBQunwm7QWi7FHxhJ4N2G91sRu9plOqtb3t0u1XsdphbjHLvXk6CwsZG3SyvlGjVO5gsA0biftLlNqGQGCi1OHVunKGwTVJz5VTf5yNdEWqVPlMzbrpqh62NGlpfHMT79DpiItwlJ2JptgHjKSuJETFlLtFstmUsXEDtnG5xqBKUVb/cVP/bf7NJxGuUQz5h8Fic8PLweVG6XiMJCzanzvRYnEwuL1Vx4u9rZtYmD3GvvzGKqqpUBZRUMCrOD/PVF4dYrT2mxqK0e21KJRHfhoDfzdCouL4HZI/aUpfjcnmpF4rUewP8QRdar4NJMeJ0e+R9xekUys8MiWEfFqOLUrXE6LiHF09KnDodYW+vgUk8Imwm4jEnd7884fy5BJ5AXyYGLC4TG8sVxkZ9jE945NZ8/7DPmzfFwbkjzSkOhwOPsy8PnPI+EnLI6Lo/rEj1zu5uh8PjprR+rK9k5bNB0cyY7QPS6TbxERc+pxm3y43W6XL/0QHxsF/ehx48yGGzmkkXC4yPDPHBJxmuveTl7IUwjx+kWVupceXVOEGvUPicMHnKQ/6ox/h0jIcPdjELf7XFjM8plI9t9k9anD4bRBULwf6Arc0s116dpFiuUMqrHO93OXfRw8iwiOTn8Afs1Oq67NDWSy1SI17CfgfP1w4J+cJU6m3qtTqxuFB3GSUfxqwYpW946pSL/b0ahYLO2XNeVM1AXxOk/iD7B0eypra1XqavKJK58vhhXmqDkhGTNJso9gHrj0ssXo6ydOeE5EhAgvMe3l/F1PMTChuxeBTUlobe7cvk2527J3K4LZzImkFEqDukksP8+qdL3Lw5RDqjYnVbZA2rUmhz+lyMbLZIp2PB53bSFsOurKAD27HbB+RzGjabYGX0CCdsKBYj1YwqqwYifeTz9hifirC6mmFoKMGAskzzCNju8EiE7FGdMxcdUiX12luTKJ0e+xtl3CkbqbBHwiLLRYVEStSfWlTzGrG4gd2DJlPjgmdgZelRmfEJrzTQiIHOwy+Ex7xPLGnH63VQbbSx28zUCl3GZnyYzDprL0SyoSFBjBtrLQaDvuycmwwGCf0rFPpcv5WUqbrlF0X2D3J43Q651YvEnezvdJmZsrN7UpELB81s4bVTAVFnZvG/P8Jr8XB5tk3EZqepaRyVulx9yc/dT9N8ftDlf/1PZ/jnf/2XPPu7H5MwByhYbIyee41KM435ZIeO1UundCjvW57EVbqNHdrlHQKT79BUO+itXXptFf/4LfrdPNXV3+GKTWIIXmVQO6DXPERvl7GOvE3h0f+GK3YKW2QWpVmC0BT0ClL/Z9TcmH0RBrl1mu0qzliCWvYQT+gUjWYNi1bEFJjH7BDVwL6ERmodESvfJiYghIUjFKFqE3tDoxODsUNfM6O1KyiOANZ2GU0RmsUx1NwKbVGPcTowm0R/3InVlaB5/ABDZR9T8oxkCZg6ewzsdtRaD4svijZQZFVPt3hIv7hLMDyCEhmnsfILLMMXsIm4dOaJYJdisQtwpAWD049Nqcmee1dVcUfHqa59iicyT9flQcONqb5MvyU254sYjB7JqGmf3MXujWGPnaOWeYZVWB+yy3SMNoL+COm1e4RmrmFz2LE6vRzvr/PRT34t3zNMhirjCy+xubTE2IVZNp5vcPOtN0gmR/jNr/6W6OgC6a1tmSaxuj14LDbqQrfYKDI8lKLeKNMWSsximyvXLkoWxPqLQ3xBFwGnG82g0eyI+4eFsYkRfvWbz5ibGCM1PkRPU2nWBdiyRsBtp9Zqoegiyt/j6DCDPxohHh/h+GCD5w83uHLtCk7BWlndZGs7y8UL0yycGWX+wjXMngTWVgbd6aJbF5tdP+16nr5iw+GOo+ni0G1BrR5hslkw9LpUi2U8gSjGbom+VYCPPQxaJ7TLGdzD5zGajWQe/gJbIIDVN4pJSWFW6tS6mkx99BQnLq+PViWNTQyLsssoZh/KoEwj/QRT8CqOeBhTsc3A2qVdK6MoVsRDdEAFS2wOrT6g1z4ilBgjW9fxBaIM0o+oVUoM/dFf8I//7f/Mf/dvvmL+bAxTJ4+ipOjU6tg8Gp9vNPirC27+7JyZL7YEud/Cmy/HJYH9ybM60ykXLp/C/r7K9kaB6RlRDxP5A7HM0Bn0XfQNDY6Purx6LUWzrUq+0I2XozTaXTxBE6vLVQp5hfNnhLGlh8XtR2u3qFcMGKxdRhI2yRcT6dLzZyLShvD110Xmxp1U2k1MAzdjEzZSqTDv/3pFvuN0egqFTJ56G0IRC/GgTwJpRe1ZUOl6Ij0X82OzGCUEcGOrhC9kQVUFxLJOq6fgcwnDkJOiWC6ExOa4y8ZejZjfzPkrSf7x7zcZili4eWuW5ys7bO+3OTsfw+u1SC/80XFJ6mnrVY1zZxOk00WGhmNSD+4Ldjk1E6NSbZDPGuXARZyJvvo8i8dvJJUM8Wz5kPEJNy9eiPfOEN1ug7VHKuevu4nHYrz/iw2GxxXyGZN8D7182UImp7OxWZcpvze/OyQV6JmDFsur4rPz8/Rphf2jLt9508ni/Dj7RxkyGZHetDA2ZqNe7LK2Iw6uRi5dDhBLuPnZ36+RjPs5fV7Q+C0U0ickohEO0zXm53xsbtUoZL5dPutGhQvnPGzvlsnmodfReP3tIb769Ih4xEY05ZY1j999WObP/yxFuy8sAE3OnIrx9Z19+QyZnvSzup6XiZVmDbZelJkSWj3FKNk8N98cJ5epSpuCAB321A5dTSh7jbQ7HWZmk7x4diytUAZrD4vJyc5hDbfNzMlJh4UFt1T03X9Y4JWrMfa2KkyfcUle29qzDPExPwfbNa5cjbKxWkGxGaSBSVR9589GOHs2xf/wLx/IdIjbr5IIBHiyVJeMh+uvJNjdVmXkXyyzYiN2zH3B1vHK1LvPGiSWMlOp1Tk57mH4+V8ldZt9QK3ep5ypE424Zb/b77Ny9qWgVEQdn+hsrlS4+qqfzRdNJicC6AJit56Vuj6nVWF1vSSnquvLeRLjbnIHZV55a5TlJznaDUXCInYPq3LieGo6jsFUZ3W9IoEXQpu3s9vmlRvjGG09Pvpgg/feO8fT5QOGUz66jR7lmo6itGQXwhcXW7UKjUqL+HCUh/f3OX8uSalcw+Uwo/UUzDYdm8fO7osyiQk/mb0SxZrKwsK32gqzopOIu2Tv/vPfpZmccOCLmPjs4yyZchefy8pw0oQvYsPlcEkg4PFRnkrZjMcPibibpftF/EEb0bCNSq3I4oUkH/46w/SMj1qjTrHQJxmz0OwoFIsqs2MB7D5FvkyfuTSM023mYLWOxaVLvd/y82MuXA5Lz2u+3EGxapQKTaaGPBxnWjLyE0xaePK4ytGhSiAISteEL2ZlYijJQb5AIVtjbNKDXTHJbemX9/flxqTV0Dg+bmDGgdE4YGzWIW8wG6stytW6PNBPTXowmE0cHajsHpT4wbspMNh58PAIv28gIXLPntbx+gxMLLj4+P00szNe4lEHh8c1GY0xKyYm5rzYFTsHJ1lSCRe3PysQ8tu49mqCe/eOGUmJ7ZcwFJjYOcpxtNOSYA2xaZo+FSWzK7rkgprqwyYeUKU2WtNKKA5Lzwq4bQYcLi/BYJ9SoceL1QYL51xCOEGpBlaTYA+YaYvDab+Hz+Nnfa9INADlojiQORkadZE9qdPTxc9rsvenmASR1c72porV1WZsJIwREUfsk9nWyVarnDmTQKDh290uL5aK+IJm3AKs4++jqh3KWSPDEz6y+TKdlplYyEQx3yQQC2EzV9nc7DExHpM9naOyxoRwkBr6lEoCIOnArihCmiaNBefOhfno0xPJiRgdt/PkcUluktMnHV6+NkK7VkQxWPjmQYZkxIvJpsgqTDzlkaqt2XEfLzbKKAzw+kyk8xAPievIRrHQpdvv0dP6nH8piqGrs/Qsx8p6l9ERF/PTJla3NYZjTpIpN7c/3mVywkks5WFt+YRaWwDYJIMTt0eXCYxu08JwyonDYWFru8T8uYg0KMTCVlaXK9JrLsCe+wd1uh1dxGxwWIxcvznBr362hsNt5qVLST74aI2Qz8PQkIN0po6uiR53j+FhH4Wi8K9H6fSrbG+IbnycR0/3mR7zSojd6nKdkSkbP/nRPk6ngWtXkrKOUag00Jo67oCNve0WM1MWggkRY+8RH4nxN//qCZNzosPeZGgkQqZQoJG14PDChcsJ/uFHK5yZDxEecvH5x/t4AyayJ8K2EMNgb9PItynlB0SG3RysN7l2K0j6sMHObgVfMIBPdN9qfSbGhaLFxPqaiK/bJKn+yy93mRyLM3/az+3frtBVYOJUHEMXTk5aZDMNSVoPBxTy+y2uvj3C3/+HFaan/BIq+fx+Vg5aO+0WQWdQghuXVzPcuDnOwUaDcqmK1WGRAxSzIjgSFnqaRjhkkl3bB/cLkhLsD+jy5WljXeX8WR+aJg76YujjwqGYcAWsUh/jtZlp610GAztLj45oqAPOnXKzuTPgyssCJNigfNAlOeng5LiPwzfAZXWzuppldMzOxJiHzb021YKK3WJk/nSSX/5yF6NdZWLMSa0iAEcGdMXI8JiPWq7F/cdFzpz1E3BZiKSsLD9p0KwM2D8pcfZ8hJDfyrO1HDMTIU5OGpI/4nApxGJuTg4bhJMOHDYTm5t56cUV0eCO+AyiJgpllVreyJWXQ/zoxzu8ejWFplfpdAzSr1utmlG7DaL+ICtbAiboRTeIoVyLRDzAR7/d5+INP4mIjXufVXnr3SGeL9WodMp47U7qLRWXHYaGQkxMeljbq/DFB4fMLfolH8XjVAjFwjwR1OCEDZ8vwge/2WNq0oLicjE87GJvMyPv4ZPTQrNXYmtP5c1bIyyvZaSSKBxVePG8KmPO0YgNn9uGxWMkfSC2biJZ5Mfh0DgqVFm60+TGjZAECGULZR7dLzE+Y8Xl8LD8vMjpyx4ef1Hh9CW/HOLcu3ci454bW1UJSbp+I8nGcp7haR/b63kiMY/kszxYTpOU9RUXzZqAvQ5otLqyOtDp6jSqbb7z5gyHxx0++PUmF1/yS7Vqu17n2ivD3PksLSON4pkitstOhxuTUWj/nHz9WZGpMw68Vj9b6zlaqqiNDRi0Lbzx3jgf/WqHek1wF6Cs2rCYBkTcRq6OevhsS+NfflZmdsxHpZIjEQ5JS4DJJNSnHT7b7PPqrJv/8i+vcPm9m9QrOt4+NHP7FHcf0tRMxCevUi/uY7aqmGKnUFqiCnWAy+NGcY3LtEcz80j2fK3BAB1jAFtf8DMGOP0xaoUtDPUD3ImXabdXMZhn0QcNNKEAHTlFrVKQFHxLr02nvEHleImRt/9reThXeyVMlmEkQa9bpNdvYxaxE5Od8s7HOGwJbPEkuuZm4AnSye9JPsrO1jdY9T7xC/8ZWmOPTukIx/AldPUIrV1Fa7aw+kK0czmstLFEJ+h0BxjNNrqFHYzeEBZ/Eq2QRnN4sHSg1VnFYvRjjZ2munIbk8uD3T+EVcDzsrvYky+jqmnUiiBWp9BcAXpHj7HadRyeCdReQfbO+2qZSi5NaOIyrdXf0fP4cXgn6FkcKP0B3dweZqeA1AkXrwuTxUu7+DvMzlmMTp/c8vY7NZyeBK38E3CP4xS8oWodm8OEPThGv5nh+f0PMfYNePxDZNNFIiMz1KsZVp+vYHDYsXU0xhbGeXT3KdeuXUF079JbW+SKHSKJIF63h1A4iTea4h//w7/m+XJWmnG+/8Mf8vj+fSLhEF63lzt37zE3M8G5q+f54Ge/BaOOyeoiMRzl69vfcOt7t2TKSetq7O9s0R8IGJ2J/fUDLl27jt6rsXOcJRj2s7+2QTyRYHphkg9+/in9QZ98vcIf/8Hvo1b3cXjihHwueiYvpcIhueNDGsUso4uXsVvEfeABNrsAd3ckiT7oSRBJTrK39jVj8+eIhMfR2jU0swmj0sDRt2NIvUx96wssSgnNmYT8Bg5PCoPHg1Zep6eZsUQn6VbLGO1xaQMoHn2B2z+FUYAZezWMZidGo512N4NRd2AxmTEHU/SbdfrtOiLE3qwu4dLd4EngP/82Sz//v7jxz/6OtxdtbO60+PM/nmVprUCpVACvh05J5b95I0zA3OJYFZC1IsWSMJEZMdEjW7Rw7owPi7XH/osBJnsXd9ghU7jjSYcELd787hAH+1WeP6py6eWYTM2WSl2aLZW3bs7x4W9XUQwDrr8+ytrzPKrel6yszz/N8e73RhgofR7fTzM5FcHjGVBrDFh6lOfNd6N0WgaePixKY8nCxRgHOzVZAx6b8MgBmXj+R8MeXr4eZW3lBLPFxbPHGamim5kPsbFaJh61ozZNpEtVbrw8zNLjQ9Y3RA06hdau8+RZgekJt6xl7exnGRuJ027XSWdEldfG0IRQ3QmmUI5QyIYn6GJ97VgO58+eHuIkm8dqcfD1FxnJKhAO+Wd3cng9wkKTk/aVWr7JwUmTeqPLrbfHMOoW/ubfrfGDd1Kya762XuXWO2FZ7/N5HEzNe/ny00OsHoW5eT/Lj+pcOhv6KjANAAAgAElEQVTm4dIu/YGLZq9O7kSXSQyxALpw3ku7aafcqH6bSKk3qVZhYcGPYjSyspqh3xvwxlvjPH56TL9pkDydZqcnl1kz55N88cEOw3E/py6HqLeabD9r0dObzJ9OSN7E6qMMwagTk24jHLVQLHQI+SwyCdajy8Fel1y6w9isk0jYRDGns75cZeElj+QDCS7U7nEeQ89BMNEnFfLx5d0jbtwaoZRt4XUGpE5cfAbxERtTKQf37ha4dN3H8rOOTAZMTvnlZy9SkJGUg2++OsGgWxmZcsjqZz6v4xJ8M7PGSUZwbVQSSTd7exU8AS9jKSvbm3WGp/2S31LM9VhbL8i/vV67y1DCSqOmYHMO2M6IaK6NbLbEO7+f/Ba8rA04SleIRwJsreUoVHUstj4v3xgin27KhVg9r/D6uwmePChg+PS/mtF3t08IhQMyGnm8X+HU+SgvnovDW4S9/RKXr0bZWq8THxZgPVXGqm+8NsSnv9uV2+n8cZtqo4HP5aWnq2RybcJeFze/M8KjB2kajQYun0turAddK4qpRTwV4JP381x4ycnq8xqvvBWjnDPweGmf69eHqZaaPH1UZnouTCaXo6/pEuTz8OkRqWRAbgXWnx2STAWwOAeU0l1CEbuMT+9t1fjDH05SLmps7WXlhxIKuNlP1yWc5NxZAWg4QjGICY4iYR6ivyvgDgG3g/iohRebQrUmDoZ9fA4XvrBJ9je6XRWX2yIBIqKHOT4dZGstTaWkyx66mFYbTWA0GBgYhN/bRDrdxS+1E1AqDNh4VmX2rB3a34K+nixXeeX1MOvLNQnSS474+ObTY3wxM6cXUtz+bI8Lp93Ekn62VoUDs8PMYpiW8Cv7LTQaKl/fP+T8dIxycUDPqDN/ys2LJwKMZ5UdF5ejRzLplpuX9VVxGDPTa3fk7ypiOoqCVGDZrUaK9RZHxx38dgehsMbTlY6kkQv40+b6iXSHa6oRt8NKS2vTqAh1VJO33kvyYrkqIWvjww6yhTYP7/b53rtmrE4rR+sdBkaN2dkIz5fSkpidzffw+YxcuBxge71HLt/k3AUXn3ycRe8ZuP5qmPRxGY83SKFQwmg0yTqIIHBqWh+7TUSLVXkwy2eaLK81OHvaLdWOx4cqO5tN3nwzysMHx7z22qjsfn9wO80bN8MUCwrbRznpcxVb/YJ48bOa8UeEQgo5FOtqfVaftfju92MUsg054Qx6BxSbPRw2A7GoQ8JP1ndK9FqCj6ARiToZn/Sw9PhEmhqmJsLSVtBuWaQdweNqE4wF2N2qMhSx0+93KRTs2Fw1FLOFbkPHEzFRzmok4laO9lvSz2ozmCTQLJOvohvNTI/4mDhlJb3X4+PbOb7zXgy9obGxU2d9q8HNV+Kyx/+b3xzxJ3+ekjHesqCXVjuMjiWYGrWztH6MxeCU2i19oELfxOKCT0Z9BYBL0NK3d8roupHFM0nZKSoXOszMhTBZB/KAb/faJOcjmnSgqWDQO9SaAg+nS0dxT1UJ+o0027rc1gYTDrR2B6tDx6gYZUzfF3JJJ7lF0bA6rOSOG0zOBimU2lIh8+h+gTe+O8zBUZGDTZWXbvjJHA7oqCoup5FisYMy6GNxOaSTVvjfUyk7X3+R5p13UuTzTfo9Jy/WD0mOCgaJzuZmDZOu8Kf/ZJHtvSylUp5O1yi9uGfOBuT3L2jovpiRn/5jmj/8o4SEjGqqJo0gq8sFzl8O89XnB1LNOTZuIxT1yM6mbulQLSn4/XYGtFh50qPRbjM5Kfy1MD5uw+Gx8+JZUdYGcqUmdquV1GSUXlPlaC+PACD4/IqE+6SPG7Q6PaIJF7VCg+iwGO5kmErGpQnk6ispMoUy5eMeZotOqy6MFBAbcksoz0tXhuTnIWLVz5ZrLJ5K4PUaOcpUWHlSIzUk8gROhoaM7Ge+1e9EEh7sFl1WUdSuBd3cJSwGH4cdPD4bJqO4PszsiRrQhJm3Xp/gyy+XuX/PwJVXgtQrbfoDhXy2JRMYIsHw65+WsZg1CcE0m5w4rH3OLHjY3mmSrzRQ+mamp71yiy8o+HaHRWqNeoYehydiEGhkfMpBOGAnky5RLCvEkhaCHjfrG01ZY8nmGiyIIWxdXAuiJmFiZNjN4UmTWknlzJUQ/a7O+rM6pxcDNHotDl40iU3Y6bahrwnIozDgGShXmqhtG9deE2kZhaNCF60zwC564HXBe1Zx263fPge2M5JZ8ujuIVNn/PQ6A2JxD3urJaJDNmoVA0tPs7z3g1H6qiIP34GAT3bllcGAo2wdm8slI4KDgYELZ8N8+fmRBBmOTDlJ79QoVnVeuxlnfb1GVtCjbX36upPzZwNUm98CVs9eDJPP6rJn6As68QYtNPIq5VqZk6zG1GRAwjQrVRWDyYzFXGOgf2sJUIS5YSLAQO1zcNykWtFp13p8990x8qU2lWIPi7FGb+BjbFKQ/xXufHHMyKSbfg9MZgEQtnL/zgHfeXdCKvxODprEUy5KpRrGgRPF2sIwsKMoGuPTPsTyW1RChI5peTUvB9aLC0M8fSz0Y0bMdgelgsriYojNrQN0g1V+R+nDKpOLburFljSDTM1EsdoNpA/r9Ac6oyMO7q+1+PsNlWbbyK1JA9Wekb7ZQK3WpafpPF1r8qdvjvHXv/gXdL78DfmiG/fQJIO2Ca16Qkc9obLzNfWulZGF6/gmX5YLCRG/NrRWcbkjaN0inWoBS/ICRl1D1weo1WP6+0sQTUnXu9kcxGJp0VMiMCihDmzYrTa02ons05oMZqkI1iqbmBwezPYoVu8wav4F5vAlOq0TbIMC+a0HeKduSdZEs3yM22KnZ4tRL97HaNUxtO0YvVPoWgGbI0mr8Fzqbl2p81DeQ7E65eDCnvguamOHXmEDX+o86kDQ6r30RYzbP4midxgUN+nrLiz+MAOD4IU4aXXEpteE1eZF0VVQwrRyazh9EZpHT1F7LbzJBeq5HWyJU5gMLiymDpXMCkbdidUbRm+3BDsPq8cL1hC61qBT20XpwqCXw+Q6hXV4DvXgLt3cOo7UFVBrmNwptHoR9eQJrvlX6dZK9FtHtBtVfFN/TLf4jF5pH2twApPXTa10wtDsZbp9F8baNvX8Aa6xcxhtdvbvv09kfF6qCBWRNgi65ODHOOhi99nJHR1jUIy4gikwW3AI+qRlwOE3P+LZNyvCsCkTMyabQw55tvb2+c57r1BOd1HpcO3aBX72849p9wdcXjzHV19+STwek1wjp8PG1NS8VCS6fD5GxmJ88qvfsnj2/P+fNuhw+swC4WiY2x9+hicUYHtjmz/6k79gd2eDldXHuO0uqqUSU7PnyOf3qVVLpIZmaLVLaJrC1NQUzWaF1PA4x/tHXL1+g1pxH8Wqo9WP5N+kJzjGoJXBZHVj8MRo79/FGUliTfwerdID1NoOJsec0LlgUvoYO2UMnjj14w/wDn2Pbr1Gr7eFRfHRdUYx9fpotQ0MNh/GwCid/SXMgREUTZWJGV0MuExB6keP8b/6Q7bu/oyXv/fveeuGk5vXFvi7n9wj7AozlDBwVGzw0fM+P/unVkZcfdbqVkJOMTjoowzsbG3kiEeEoUbUh9zs79aJRN0obiNf/vaQN94cw2AUSx0Dd74qMHfGJO+B4n1+8VyEjb0ySb+HpysFPG4Dc6eTPH1wQC5rYvqUg06vIqucgZCdrRc1okN+JsZcpDPiECnA5l4cFiu9vkjWaLzYqqI2dc6ejdDudkjvdwkHjQSGbNDq0+ub5AZ/bFLwKFrsbom+eguLQyxghnj4zT49zcErNwPsbFckXPjd3xvlYLPOUbpMp6ESTzrZ2WozNObHYtDYSzcIusw4PR5sisZ+oUAs4MfltcjartkiGFRNdjfrpCZ8BP0CIG3jF786ZnTELRcK4l4VHxJL1CO+94NZNldLPHlxwPSUB6Nmlc+YuDRlGSW0cGrUxldfV4jHdPIVlVA4ROaoyLvfH+bDj7Iy3TI37yKbbhDy2tg6aVAvN7nxyhA/+ckJEyNWvv8H49y5U+LR8hGXF0Mc7zcIiWVs3Mr2Vp9Ktc7ErB+74ubZyjHTczY2VksYFQvvvJvixz/ZxSw0eqYedpcZt9Mj0w1nTo9Qqol0aFq+gwuFfabUoVxqMjMV5v9l6T2fJMvS+7zn3ps3b3pvy7vu6uqq9jPTM9PTPT1+uYvdhVlCQACkRIJEkApQDuQHgREKfVMoQqIUoeAnkgIIAgR2sVhvMLszO76np72p7i7vq7LSe3dNpnjO6B/omayqvPec9/39nqfS6+Lz2LhsNyOTMfY2RUV4wPyij63dKul4RA7mDnby+KMemaRLJqMsPy3i0VReuZ7ig/eLkpMTEwDRhKiGpynka9Jio+gewiEXK8tlvAHxjlE4tRDi3feLvPPGqOQpCI11yAeZUZGs8bCy3mQkqWH1RHW3hW4EiPiGJMeC3P4sx8ikj3AgwJPHh4zORknGDbShiqa6WHlWQfGpvP7qHOuPDllZqaJ6xfl1wFe/ucgXNzblz9Xl8vL07r4cUIg7qLjbLJyO8+xZHeX9P54eHuWKJBIaAX+Gcr4s9UDdoUr+qIXX62b2hI+XXj7NT75/l4nZIBOTST746QaaH+LBGHuHNV58JS3J8TPjXhz8HBVybK3Am9fThOIa7/50j7lzX06atlYsvvV7Y6STAXZ22hwdNGXvvrBvyR9up97FMRRSkTi20yEeCbC6W+PN16b56796Jr/Yo2M689NJ+aF0v87jZyVU28E23RRLOU4vjJI7LpE7hskJH2OTQdZX68STXo63K7zx9QXWVqvEfAPW9sWtpU806GVvtyOhY/NzKYaGxbPHJXSvh/kZjc9uN3juXIJmu8/4WJKdjSKxtI/SUQPHpdHtiOim0GGYpBNhNL1LwCsimmEK+QaqJvqohqQbC+7C3rbJm6+n2cvDlZeSfPLBNl6fj/OXRllZy9FqD/DoIsKjMjYVZnuzQcTvotlrEvJHJeSt31E4rjTIHfY5eyZBNKHJGKXPOyQtqJyaLSsLIUFStmwZ1V5dKzM55ieSCMkHhbj8iz+szEiMZys5+p0B/oggL/coHnVZupjlO/9pi698I4tPd/PpZ4ekUjqvXh3n9r28VIYsnc3g9wR4770VXnhphqN8BbfoU89EOTyusLpik4loqH6LRt2NoSrsH5RYXIoQjkV4dP+IhYW4BBS2GkMSGR/bW1+CWi5cCrG+2iAc8TI1FhSGNI5LAqoypG9bXL6c4b33chhuF/GEUB76+fRXNWyXwsyMhsBuKkN4/KjJ9KzB2KjBgztdTp31c7DdY0dWK0LsHrdxqTbT42H29+pkxsJyEJVJ+Wh0HXrtAYGgw/ikGMTUmB0PU2p0cYvYu9AN1poEQio+r4Fbd7G5XiOV8sv0iOzH9gVE0Ce3r732EI/HptczyJXEhtBmbjbEYc6h1myjKirRsJvRMYVCDga6hTJUSIVi+H0KH93J4XHrkqStKUNSqRBToz6paExmhZpGuKeHNNsWiZjC1efn+X/+/TLXr8YZy3j5xftHJFMevD6d3fUG41kR7dY4cWqE8nGdnaJDNDig17FwuzVUjxevCg8fC4p/RIJSNGsgGC5U2yblvMXodIy9tSOuv3ZSOt53DmtoqLQ6lowFawO3tBScWhCdZIWbnx1Im4jL5RCOBqmWRerDx60bFQyvJR/iu5ttpmeC1Ntt4pEo9tBidaXE7HSSWrnBCy9Pyt/7Fx+vE0ymCIYtHj0qkxkJIcqLYhgiInOt3oD5UxHyR0Wi0QRts8vmdoOxUT+nT3jY2NYY9oXDXlQtKrIvZxiCJ1ElkTDwBQPMCfCcIHQqJv6ggcfvwR72uPnLMs+/EsIbDHL31j7nljLUOj0U2023J0wZEVafFUhn/eRzJu1eH5cDF57LfqmMKjQl2DMY9RKKGnJwdGYxwvRMmof3C5hDwcMo49YV5k6PMZnQGaii896VCRlhhCiXRfzSJjXpYyzro983aVWE8aBCOp0kHjfIH3bkMPXKKwv86rMVEqGEHJ60ug2uXJnk/q2cTHbphptWp8POcY+AS2V80kuxaJHLOxJGlcyK7qPKymqHZFLj6uUoH39SY/uwz8hEmDNLBp9+kGd2JsboiMLTJ23MnsrSaT+5oobPZxIJqdy+2ySaEPpQUBWFZMxHsdEgFjLY2B4QjTjyct3pdoimghxsNjh5yiMHRbrqYWh2iaYDsjYW9ogXspfN7SbFcpWF+QyGMaTTtlh52uD3//AiNz7eZvlBlX/wezNsb1vcv79FJBWUsMqu0+RnPy7y1beSjE5E+fSTIr6QUOjp0tLR6uj4PB0C4QRH22UCSZXRZEBSlP1eL3ce5CVk6bnnYjy4XWFiJkC7NSQSElUpF92+iq7ZsvolNj7HZXHpGZBOi+h1QMb4wxGHL24VqBbEsymMbQkVYodW28QX9rJwKiUPcyLd02w5MkYt/vbnTooDcIN4OMDETJQ7d4/wGT5iSajVxN94TDJCikVYXMiytbNDJO6l39JZ2xKHOTfVprgY9Hju8gg/+9kur781Sb3dYHOlyStXM5QFSPXYxh0JS6iViBPOTUUJRPxSnyX6pK1aDV/Qj+a2uXe7wvlLKTmobzXrrG105aA0GDDI11ucnE6Q3y9L1aioq3Tq4DV0ZhfDPH0o+o8eDBzCyYA8XwgNYLcDsbiB6ri+TDmkdXoNlXKhh2N0cLri+e/IQZZIrfxvf7bDo5wLV1hlNApjIR+HHYv1vQovTSb5d58XefOEn19+/ie0N5o41TKBySvs3foI90iYcHaOZqVBcvIUje0f4dLi6KMvUn/yHfTADO7YGM3CitS9CkK0oLWLodGgVwL/KN36Br7oFAOrgUv3Yw5DOHYbM3ebQPYkTrkgNZgiAeaOnZJbutagj9+2UX1JrMozqvn7hCe+iaK1qa/cJLpwQQLOfMYojtnCsfuIY4e3VkDPjtFvliEUobX75MvzRnAUd3CSwtov8IXF5WAey6OjaD5cZpVKs0jYm6Y37Mueva5YEDlLt7GKa2gRmHwZs99hmN/AMvN4R84xUAyswmPsepnQiRfl4Liwfhu/fxRPdoHO0T38kTks8dnK99AUFy73LN3ONro+kJwRJzGNe+hB1UwG5TxqeBKr35IVCF3VcdxuFCOK3WqjR2cw8x/LQYiquik8/Asio+dwCz2iHkLVhAXmCbal0VZU4l6DfrWO5lIZuJO0+zaRqBfHqtBrWHjDMWwnT9A/iY2Hbq+E0alhen04ygQeVwPFrsAgSL9bReuUqdQOyS68hn7iOmqzRuv4FqHsFMeby1itKr2+hx/84Af4lSGz556jUakwORlnZXUHu9Vg8sQ02flz/Or7f0s2FSGdHeXo4IBT588xkkmwvymYHX4eP11leWOHc2dOYw6GtApFrr/zVX753nfJxKbpDARLSZyhHPyGm+zUFLnDDUazJ/EG/RwfiPRCkbHMJLFYnIODDe7cuse5y68wmw2iGCnahQ28msXo4ksM+k0GgxYuTxzvyAso3UOOHv1Iclbi09dRdJN+cV2mCPXIIvZAQ63coO+Po7on8EROotiHdFY/Rxd/051DBnjwJ0/Qqazi8s3SLz5CicziFn16py/73d3NB5z6jR+QOaHy2kSEcquPHvXzeOMIpWfQdFtMayp/cB7OXhiTfLKf36iSCSu4fRqjyS/vHel0WNYvWi1xPrIYzYYkdC4a0eh1XJxYTHP74218IZVQyC+VacX9DnOLSWqlBoZXlcvBdDpCrXLMYcXE6QrIsJeLF9ISKJ47hHjUlt36zXWbRqfFwlyYQskmGTY4dyHCn//nI56/HMXpWfQ7LTzhMNqwh6EHGB/VuHu/hC24YgGIJ/0c7VcYm4lKyLMwRi2ejWP1LGm7GhuLYmLx/i+OeOXqOJHQgELekcmTw4MDEokwR8IuFR/Qs11S460NBRA9TrVhs36/wJlLEbbWxXAkxfikzvvv72BbQy5cSrCz1kPRhB5daLAz/OSHT6h1FH7zG9M8eLCPPRAJ0TqvvjbFg8dFsgJSrXt5/++Oef21sIScz59OcP+LMt/4+iR/9RebXH09w6c38iQDBi9dTfHLDxt842tZvveDTZZmQ4xMBPn07gH9usOrVyfkIksojSPhAKMZDc1tEPIb3Fo+kHWy+fkYc3ND8nmDRsWS7ISRjEgUtrn1oMS3fmuKX/7sWGoVC4Uu8ZhX9vm310rERqIM2gPcUZP91QYvvDbCez88YuF8CF0RLJljJhdCVMX91meQSofIF1t8/GGRa28EWVxKUziyuPHpodzii4p5Ju6VkOR/878/44//1QK728esPnOIj2hUCianTock26rdUUilfIyOGbz3bp6rLyVIiPP2uwdEozaJ0SRuRaNrtejVNaJRjfXVFpdfyTIcWtTyA8r9HofbdQn73dxoEgyIgYO4XzhUahZjGbdkWhmRAIrTZTQb5NH9Cueei/Pobg4Lh5Dhx+N3y/fS4XEPl0fYzzyS55Q/buL1q1InrfzNPx0fbu8ecPpUii8+q0vy4ptvpOSFSuoZTLHRH2DQY3O3zdiUQVdQsKNDrIFD1zZxbDeBmJ/KUYPsqItkMiTVdKJ/KS5ttUpHJgDOnI7zeLnIzZt13nhN9MxC7GyVGJ3wc+9hlV59yNkLAekJX91o4At6KR72+MP/fpaN5S5/+6N1rryclEqoUsGm2urx9htjEsz34x+V+MP/dpbVZxXaPZgdDXCUq6KKLqnmxh8SG6OWvCA3Kip7e3V8IYeogOV0e8zPpHjyNC9pooJAmcropON+yTwQxPW7dw44dyElo7uCLDIx6WOoKZRzdfoiomybzMxF5UH3uNzk+KjF1LjB/MIE2+tF6n1L6sOiXp3+QKPRbXF00KHfcvjGNyf56MNDTsxn2NsrMD2TpFHuUGvbJJNu6aXf2SzLi2W3bcmBSrWlckKo9rrCszsgng7x9F6e0xcj+NxhokkPf/VnT+QFe6iYUkWxt15D9TpkEkEO9pp0LYuZyTjW0KJtdeQLOZMJc/vOoex1L52Os7xckjaI2ckQfamh83Lr810JSTN8A0JBPxGfi1ZH4eCwyumFKL2+ws5ei2DADUOLZmPA/FKAZsPBpVpUm4qsRrSaBqbZxeVWadT6TE37JSBQdKeLwj+qKYSSGs+WhX5K5eS8B3/Ax53bBTnIicc0mQARarPcQYV2Q6Ez6MtNsMvw4NU1ytUOly5mWH2W4+z5OT77ZJuO2eXM6SQbW2380SGpaIQHdwtMz3kIhAIyQpxKuJkZT6Po8DffXUdzm1J/mYrEJCBPwARdlof3PixLeNqpk2GePSl/WT/xagT9Gp32QLrXk1Ev1XZPxswc08WJE8KvapFMgqp52T+oSJXVSFrjgy/qiPPj138rIRMwpWqbpcU00aCgfdcolEzikTANq485MIm4fLj0Djt7EDBcTJ4YYve8dLp1xjNZ1rarxBNiSGChDlQJl4nFhzR7CselHsVcj8XTXmKxGF/cyclh0+K5EP1On8cP6yxdiNKp9ZmY9qGi8twLI/zkZxtS4Sc6ZAPHYXW9QnrCj+G2Odjtc3Dk4P8vg6ff/J1x6g2Nm58fcHg85NwZsZURblQRX7Wp5Q3ylQpXL8VZ3qjTatm8LpgR21ApNuWW/claHqtv0e85nF5IEvK72Noqk86G5CbW5VJw+WxWNmz5fXvxxXE+/GCdaFRsusTARpO6R682IFfq8PylEapNk2ePiuRrPTkkMzsKzbZJMKThCRhkUgaFfJdma0AiruJWAqSnNX7+vUOuv57C5xdU+AH5QxHFdVNviERTALunUOs2cHqqHGpcvzLKrcd5SQwXF7xCWbADxskXOzL6F0j4pGnE4zJk6mXY97N3VCIa8UpFqSACixzF0pkxCscNgkEBscvL4YTX82Vf0e4OOX0uRe64DfRoNjQss4Pu96JYDobLTdsSnTBTvsRGJwNs75VkPcmtwcsvjNHsd3n6rCZVlz4vMnWRy/UIh0P4XR3qAwjqLqmKFARZ0VnzR3QZw71zv8v5M24ikSAP7xU5e95HrtBj9VmHa1fGZKpMPLMcTZfsj1DEJV/4BzlRzXFTqvXkc1CoFhPJEOvbwl/vZ3REk0Age2jLg1YmIoZqQ1oOjGcNmXR6utrgxUseNlYtZk/HpdbPVAcSwOrRbNIjKvcf9ZkZ86D7XXJD89KlAKlsiHd/tUGzofLCcylqhTbhkFsCatc22rz8fIw//+6WJN6HgxpDxUUmLvBs4PeG6fVMCV+y+wrjo14Oi31yBw053PMGAxxvlnj9K3M8uJeTkfl3fuOkBMzmK0Lx2pWHHRBwpq4EKrndNk8fm1x+PkTfdggFRW/VwasP5fsslXZjOhrVqsPUhBvHMQhFhmxs1mVa4umDOi7DJT/DykqZUNTDSFah3/TiqDa5YlvqQkXqwm18CUAdTfnY2Kmztdvi7dcjrKw3CIejXLwY49G9PA8eNHntrSg3PxdgqxCvXz/Jj7+/jMfnRhW/g2mF9WcWmawP1W1idlW6fcHxiGF2LY6O6liKcBgjv9P3Hx5Qb6gSdHjtakpaBBSXg8+t0zF7sjLmj7pkjF/oc23TYX4+JBNLAhrsDunkdm1e+3tpbn26S6eusXQhTrswwBXrcVyAtZ0eIXefl6aC/K+/qrNcVrl+QqfvDVE6KjMRUdmrmeQqFrGhzj///Zf53f/lD2jc/4x+pYYSCtAdREmEgjIN5DPClMsrjC+8SG4jRyzYwsQllWe+9BRO/RhnaKCaXdrtHJrVR/EJLS5yM9wXCZj+liSadx0Hw59CsXtogQgDYSXp53F5HfTOkHZgTEbvdUtUx9oEsiKxVUTt1zHcUTSlg6Yl0cKTHO9+SiQaolc4wO2ZwDv/CvX9T/B4o2jeMGZzDxcxBnYX2nkGoQxuQQMwBpjmgG7Tlr14NTQtkO+SDC+64L1ukb4sOPQAACAASURBVHD2AvVGDkPz4/b4MEW33RVEMSt0zD54/GilHMNEQhLd3XYTI3uKoRLAKu3jiQTp9wu44y/LgYFIQeihCJ5gkp7mQnPr0HXkULlhKnjbJdypSYpPfkz8jX+NU9qns/Me3sgieBQGToeB4welxaDnoLuGOEMVr2AOdarYZhtHcTHs1XF5DdBT8m+0cfgY3BHBcJN6SZOATDXomvgSz9LeeQ9NM9ETr6AEg+idTer7q8Qu/C7O/qd0dT+KKijkJuFMmsrqFziqhddIEIymGOpJmoqOoTUJjC7ickx6lU127z2g1amQcGtEFq/hEofubhFj+hUUpUZ/fw3Nl2bYq2FrKq5Akt7+A4zsWVyxMUnIN+s7NMoVPrt7hw9+/BEefxi/V+X8mVPce7ZLu1jk67/1DTZW1xmdnOB4d4dqvYw3GCabzJIdGeXmxx8TTEaZP3mCe/cf4fMKsJqPaDTIZCROcnqGwtE9YuPXaeX36NdvEJ35Ddp7DxkMqwQTZ1ECXizbZFBvonpd6KEUw3oDU+2iWqD7/OAep779U7xei8DCH9PL38Au3SM0++u06ys4rR4uTcWhj2pEiI1ZEH6Fr371N3l0u8dXrqR4eNTB0+8zMZclqDb53mOL8aCXf36+ycOVHuMpg5cuCm6LxUAbEjJcWN0hN5erTGQEXyLA1asiLbFPs6OytBhk76DFwV5HArGfPK3IKsB//U9Os3w/h6oYtPumXOh0exYn5gOsLbfp2ANCYZuAJ0QgPKB4oNCWydAWC1Mxjip1FNPNa6+nKdcsPvz4kJFUkIUFg7/5cYWTUy68PlWef+SwQxngHrgIhmFsIizZGc+2ayyeEJRxH+12C5fS49FjR/rfTy3GpYmi1YATcykerx1Tznd49bU0X9zIyW23ANZGgl42Ng+JjvkYicSwLJv0qJdH98vcu1fj8rUE02MBjo801lb3mZ3z4na7pdpXWArUgcapkxHMfovN7R6JaISDSpN40EBX+7Ia2mv6WDjr59YnRS5cTkv7wWef5Vk45cbwqWw96aP7FUQIaOn5MDfez3P55UmGms2f/+ku/90fz/PBz1Y4OFY5teilXtY4vRSRPLFbt/KcXkrJYcfFpST5Qht3RKOaE2DyNjOnUtSqLYrFPh5dIV8ZcuVKmN3NlrSlxGJubt0syrh/vV7l1Iksze6AerXB9EyWB/f2wdEYuCwuXUxh2kMEe1QklrpDBbeiMDkR56c/3OSlqyOUqw02NvtMzqqMhBO07D5rj/O88s4SWw+30SI+CV53Gw6P79r4A3Vee/ssz5aPqdUVQm4b1aPJd++16+P85GebvHghIxMaQa9IFfmIxhWKdZPhoEciHufhg310zWDmRIjx8TDf/s4W8bjGiaU4h5ttwkGd2VMBPvzFPqcXM5xa1PnkV23SGRfHxTbRuJ9qvk6nh6ygd9sDBm6HpUVxJh/wkx/scfKMn/GsqL016LaFnnaIodvsb/SZOhWSyUzlwz+ZHO6uCrdsh/1j4T/3cuG5MB9/WkId2Fx7c5Z7N/eZXxROdVuSzL/y9VkJX9rd7nDttSmOix3Mep9KucvERIjdI0H/DkrHdi7XoZIX5N8Au2ttxqd9jEz5+dXPc1y6nOb4WMD7glJ11GoJ57CHQq5CMKJw9vkMq0+LQq9MvTHkzKUAh+uCm2bi9w0lWOzj9w9JTKo0Sop0fSqGIMmKmL9BrqIxlfXz6FGeREpEgwcI3Hgg4sbumpSOh7z59iQ//MFTPD4PvoDB3LiftZ0yupiAphS8boPPbu/JS7Uv0iYYFP5VD6VqhfnZAKFQhP29kjQLmN0hemDIwHJot0zOnBnlez9a4fnnEty88aUr++UXU1JZ1q2YPN5sEQq7GBvxcurUKHdvruAJhpjOJunbXToti2ary4XnM7z77i5GwM2li0ke3C4yd8JLqSLUFi2pazJ8AVyOSqHWoZZvs3QpS6tVIhFKc3AgvMEDnKFHwrlefzmLJfqHQxXbFr0s5MFbRCL/4e+ektRKcfEUdYCzZyeoN01Ongzy/geHElgSCXlpdUUM0iJ3YDEyqsjaQyIV5fbnYjMt/t0hE6MaGztdFhZTzMyM8PF7y7LLcuvhHlPjYdLxMI1el15XodOFernNzJSbSCaC1TM5KndwtcEbcmENXaw9KfL8KympoazX2pw6PUHuqIGuOPSqwpE+YHZWXOwLMmIrev26dygfUlNTAZqdLoFgmLVnea5em6Rv9fj5T3Z559cyrD02MQc9Mmk3Wzsl3EYEw+Vw+foMdz49oN3ucfFiBp9f5caNIwxXhOSoRn6nxtxcmq7TwdDFxtfkow+POHEiIIdf7U6TE7Nj7B+WaXQHzGT8bGzX6GIQ9Oo8eZRnbj4sDQC7Ww1evJamVBA+UreEcvZaIe4/LuANqLz8XIR7d0okRl2ym/v4wYBvfiPKgzt1wkk3hgt5sRJMju6gj2a5pEZPHw7x+oWGLsX6SpWm6ciJ4slzEQYNhd6gy85uC1/QTauq0Wk2+eavJ7lxsythfWfOZLH7HbweE48eklUaQTROx10SgKT0PaieAdsbQsnnYXJeo9fw8ehhFc1t8epLI7z74R5vvZyhrw25f6/KySk/8VGDzz485vKLcbbXbVaeVfnqN8dRnCGH+SJjo2k6DTetfoGRdIK9oyqdVk9eXoQtvt1TpDZqdbPDaNbH4WFHkocFRVVsxgQBfmBqWF2BMVawlAGH+20iQZ03Xh/lb3+yjUd3WDo1jmH0qVbF5iDIZ58XeOOtCTy6i+OjMpv7PWanfdRryHi57QxJx9xyEyH63eNTEdYfVlGUIcmsB8t20WoI+KApNwAiCjhzKsGDWwdyGyzitmLAsLZl8vb1FLGkQvnIIRC26Lc0jPCQnU2bRFplZaVDNKpzYj4sDyy26IMedUmmDRZOpTnYz+HxhdlcqxCKq4yNZHn/3TVOnxegJheRiEGp2mDtaZ/XXg8Tj4X50ff3mF2K0Ki1iSc80ukrdEa60SYQjUjQ39yCH2PoQtN73HvUYtBXOGxUcek+6R6fmXEzGg3y2aOCVE46Q4WzZwRxPsyDW3Uiow52R6FYsHj9eoaB9SUTRJCWe30Xa9smFxaFss/AHnToWS65eekrLdxDv9TMCvXbk6ctVvb6/PavJ1h7UiKRijCSgk++qMn/Fw1bVhESUZVC1Y3Pb7Ew7+XTz7ssnQzQsfpYbe3LNIrHTcznomOZ1JoDAiE/b10Oc+dujdR4iECozRcfVLl4IcbOXk2abgRwsFU1CSVg5W6P0ZNI0OH6syr79S4vXhDeXZWpiSj/9k/X+HtvjdFttUglk1JFVO32mB2L8suf5vnqt8bIbVc5eTFFMd/jkw/zTE6KqKIiZAmEgga3bpW59sY4P//RNlevC5+2Sq7cxel0OHNumk9ublArWXztnZNsbxWoNW1m56NUi1UJBdvfKlI4tnnlzRHMeksmiuxBm+vXTvDFJwfEJoIyRbP2sEIk5aVUFMwQH6emwwydPo8fdHD5BnhDJk7Hw9hMhEd38nS6fS48l8C0DFS1R7+rEY256fZN6iWx3Y/w0SeHJEZ03nzzBB+8v8v583G63Q7PnrWZHNU5OlYxrTbxuMqzpz3On0vQbZry8CpSFoLHIqCGzXaFq69OSx5BvdAmFHTJZYTLpUrbxuZmi9FJnZGUwfd+nqOvwMX5UcY8dZr4+P6TJivVISczbiIeLxvFMoOGzmvXFvnzHz5mp9xn++P/meTVv4+983OaVY1+vY2vvk7X0tFnrtA5/Jiwfx5jLEt1awurm0OPhjELu3ij0/gmL0B5jULdlGkloz1AFTXH8AytzfeJxvwM/QsUnvyS9KVvUdldxhAGCRrYRNG9LrqVPIrLJR3dmtshqI5huXUqj36Cf2oSq1MjtPBbdHbuSJDZYOgRBEy6HZEmmqFxvIbuthlqWRRNR6GGEzghzyy1zV+hhafxxOJo+GgdPURLXcQlDvi5bfRYRvJPcHugV8blDzF0jzJ0BgxdVdyxszTv/im6LyjVf9pQwRuYYvfWv8UbnySWvoZrYhanuYfVD8oBuV18iq3H0H0ejMAEvf3bDKJZlGaf5uH7hBb+CLXzjPL6xyROvkW7KzRwFdzx0/SKmzJpEM2O0Dx8ij80gSme3+06rmBI8o/6ikZo6qtU7/9fOE6QwNzz0O3TyH9OMHCaQTiOPoT2wTMC8y+jNA9wPDHM2jZ2tYSRmCIQGJUe7k61zLB6D02L4Jl9h251FTO/jD8+ju0JohtxKD5FGz2J7UShX6a1fw93OIp77CrN/OfEIrPUjtbpHH5K+qU/krCtod/Cq05hqnsMOza9VgXVakkOlHDxqlYbx60TDU1htfYhMUdv4x69423UcABvYgJj5Brd9e+RePHrDBrHfPDtv8CXmsbQBjxeeUpr94CFy8/z8O59JuZO4496UVoVtFCS7e0qU9kofo9CqVPm3Klz3PzoF8yfu8r5s3M8uvUxzXaDc1e+JRM7YtDU23uKrYXwJV10y7sSUKk2ugyad8EUl8YhmisCoSRKrYDtEe/fAX5Fx+lV0KOjmI0qTt9G9zhoig8Hh/r+F0SmXyCQnaS+lZMgUe9X3+T/+Mf/Azfee8rYtVk+ubHJ//j1M7Ju9NMbWywtBFnNw798KcCVMYvv3xtw5qyA07bkkPrkVJZopIM98Esa/tVXZ/iP/+kBl86mJbdL1U3uPxSppqDcGrt1lc2tMqGQIWtO4nkTiGhYzQGqF7mcvHB+gq2jIn5HxxNx8/hRkXAMkrEIDx5UeOHyCAFvn3v32ixdjBH2arz7wSGTsyFaFYuNDcEvS+JWh3T6bVlHiiR0WnVVwotPTgqTUkcul8TgfThoS9OAeI+L2Hh6xIXYlT1daRGMuRhJBqjXRS3XLxeAQmXr94vqrnjXqxJ6Wi112TrosHQuTNjjpVHrSBuS+Lk7jk05Z/LWr4+zsWby+MkB83NxvC4XuztVuSCNpYJY7TbBlAvVHkhderOq06y0CUV0+uJcZzrsHNSJR4LkShVs08PkmC55ZWcviEtskcULAW7dKEmTy3/1D+dZX67KdGK/r3O40+TtX0uwcr+JP6Hw8F5N8mBOLozw0bubmHaPwTBEtdGSSfH5uTTf/94TItmATPmaHZXpuQBrT6r4I0PqNUVqZkfiYWkoE4DDb/zmEt/+syf4gwMCYT/5gx4XLvto9zz0212ODmzMXp9zlyLcvlVh4USclbUjZk8mefy0yPmLMRnLd/U8zCy5qRRsCcmdnvOzuDTKd/5yHcMQ9gQ/cV+I929sSfNUMSeqcAamJWwHBm6XWMq2mJqI0e8LMDPcvJmXRiu/PyLTj++/J2j+KgGPJhMpo8kEN+7vMTurog99FJo2ET2ApvWIjHhplxx8USgWhoiyoYC6v3A2w3FZLNeHjE/42Nvus7Bk8HS5SrsNV17O0O0LE5GK5rOpi2F33EU8FKPSrTGeTbC/W2P6ZJDNlTrKd//J6NAYfgm+erosIhlxnq4ecP3taTbXBFm9z/pqh3d+Y5aNJwXpZ/7H/+ws//pf3eX61Sgdy5GX60cPjjh3cYStZ4JWHSBf6VIt2oQjGm5DYWzUK7fjlaKN6h6yv90kHFYIRhXKeU32+NMpvwS24LOlzmB7Jc/lN8elGiiXc1CUNgGPm3ypg8flknHFp6tFRsI6WwemnObNngzR7Vi4XC5W1qucXYzSbIku/5ChLR5OqtSa1Bp9xkb8eAxFAvYERCIaihAUqrQuxFMC2uBlc6cmidQCKNFqifjOkEhQbCabXL8Qo6XZbG93KR2anH9JJ3/kIZerEg0YXL+e4sHDCoXcEG9owOnFEDc/bxPyKZxcMvj8RlVCMHrdPitrDWYmYnTbbdwhN/lcl5HJBGH3QEb5yjUb23JIRT1S6yUc5pbiYf2p6H4F5YOhUiwRCMeIBFw8etrA4/ZguJtMzkalI/nZk0PGZr20q276vQHFeotwyKDV6pFOuwknBJlcDG/SRMJw5/YRIxMBHFMR7Ebe/X6TmTmTyy+n5XT1k09E7ybCyfkQD+6VpCrLHxnI7baIm5xeDNKxh3z3rzeZm3PjcosJoyITB1denCWXr7C/25DVg/2tY/qmUMZ1iGV1uck83mtxdinIqTOjEnZVLQ556XyC7b0aqVG/1Ay6vQ69roXuUgkndD6/cczFMxlyh21pDhiYIu3R5srLoq5wJCGRl5/PsL/TpG2KDbGL7Y0209N+PJEh/bZGKhVgZ79KZb9OqaHya9/Mcv+LPNGIj4jwiTZ1gobgRwyZmx3jzp1VPK4w1sCWOjzhY52ZSXLvwQEeVafVFTFeh8nJmOyetmo9oimv4A0RzQZl3KqQa9JseWRcq9ur8HTZkY5z0Z1HE0MXnb39vlRiiohZo6lgBEzcijiQD6V/tZAX1oQaI+MQEBCgvtjw9zl7Pi2tET/4cYWl+SDT0yoezUOh0KLWtWk2XPKB8tIlQ24RP/ioRSQsLsZZ7i7vszgfY22rT6nYQPeqpDLiJRWkU1dp90wJTHrrjTTNdo9PPqpx9UpCpmPEi3h8zMDsWNxf7vP61Ri7Bz0ePq7ylbcy1FodrK5C+L9M+/PHJeJZP4c7AzZ3m7z9WoyNtQ4nZgS4z49HkPCbTfJHQw6KXaYn3LInV+t1WZgJYdsdAl4f7YHGaNrFrbtlZrI+lsXU2KvwldfH+OKzIjYW0ZAAMKkMFZ3twy4vnI+RLzTZ3zFJZxSCAS+VuptOqyqOPlIjlh1zc1xu8FRAMJNeCW4Tg4YPPj7kd35zgYdPdrFtnVbTZHenzSvXE9y/XebcuQwrT4oE0yq6Iwi/Km3LZCzrpyk6aVoQT8TgFz/eYGbOR6sLs3MRmo02p2fGWV7bIhKOUC13ODhuEvDoxDJ+Qj4PGxtFcf6VlN9X3x6lXe5TazbIjiRZfVbi9HwCxdNn+W6Di5cz1MsdPr9Z4Z13RtjeKTE2GqVrW+xudrlyJYHV88iD/G6ujtWx5Kbh2z87ZmkxwFdeSXP/QYXDSotY2CvJ7g6m1HE6loamC2q/m72NNm2rwcxUgv2jluxKuz2adOFeOi90h1U0ATmcDfPFvQKDoYtMJMhRoY6uOjx/McZhwWRju0U87GJx0UujixxADGyFZqNPz7Folg3OPueW3uJf/GSX3/idce7ersgo6PSYh0pDwaOJo6vQuQ7R/aKKAuWDPovn/Gxt95ia9UklprBxXDib4FCYMUIe+e/v7/WJh2xmZvykU3EeLh9iDELMnvHy3W8f8M7raU6fSfOrX+6xX+rx2jU/1YKgrqs0Oxb1Ypels3GhBWYoQEatgRy2PLhbYnExKhNWoZBOo25htk0U15eDx4A3xMy0n9VnZbwxP6X9GtMnEsLqxMBuceOWePcpTM+4CIaEhijAxkaNbrPHmYtp4h6d/WqNelWl1xa6SDcjowLMqbC2XGZkLI7lWGyuHLNwOiuHoL94r8zv/fZpNtYPqNaFnjbI/JKXUm7ATr7L7FiQrt1HtYYUix3Gp9Ns7BQROQZbGOADYXTDlpv6tfUSkxMpHKWD1bfpmzoCLSIGhtNTBuefG+PenX2pJvwPf77M4mmd+ZNZOTDe3cmTFcNfU6VRrhPPxCW9XhhQlp+Ucbvh5HSQfK7H3PkE1f0OfUVlMSWguS2e1mwKqp+//LTCeFhDH2hS09XCw5jHZG2/zj/6++f4p//nv2E4jFPf+SmenT30mTfo5pahtU+76cPyugkFK5TubWGMz6AEYrgzs5i5IqqvQ291HSfgIz5xhuLm5/RLLSYuPI9jdXGH07T3nlCsNIiPj0Nbo+cckYxksNLnUAcVGpuPMaKn8MaCWEM/Sq+EXX3A0D1CpyWsOzbG6BW6W+9+uXH3eHDsCNbBfcIpH45/VrKOvLg5ePaXJEYW8I69Ret4GWXQgshJ/MMa7WYN04aAJ8qgs4175BXpr+8dfIKePc+gVcEVnaZf3gHdL7fVTv0ZRvwCZquMMuyghaZwOlWs6iGukA9dSWDqfTq7D/Cl0yiR82j9Ho65jzc4Ra+xR3fvoUwtGho4k2+i05YaPC2yQG3lBgzyBLNnsZr76O4RmvaAcHYUc/8ZXauEEX0FVc0xqB6ghadQ4jPYuU3szjG+9GnaB5/gn7yMy3cG09pDaZUZKjad/Dbh1AnalQ3wxXCrBp7MCdqbNyCZAifNoLwsSMoY4hzY6dDrHkowm6rGGLj6aH0LdyhFs7mDYaQZevzUH/41yet/glrZp1laJZAYo109xhWMYNZyxHxZzOhJ+tU1Op1jIjMvU3j2GYaexePvYrvCBF0DdNKY5HCGPRRrQLWWJxSbQ/G4cEpl8IfErQc9kOJo+RdEUilS569Aow/ReQa9PIbHoba/Q3DiLJrdw3La2JYLbyxDv15Dbx4wDMXQPEms3KoIWxBKxqjsrjHo19ECU/imLjGsPqHf7FIsbRBSIighBbWrYcRSNOqHeLUEFg36lT28kVH6vTL+kYsgdIwDB6XfRvVGsErruOZ/HbW2hVJ7RqtZxJt5Dseno27cQ03EMdWAhAomrvwOudXbnP61/5uUpvPf/GaK3JbNB6t5XjkbZ//QwfGHOWWU+J/e9HLjbptgWuf8YpZbj1s8eVplbFTDMHycPhXlr763xjuvT/B0vUCv7uDSRQXIIpVNsLPVIuwXSluP5A+IxJioCKhoElidycSYmPYTjrm5e7PExIRHnt/abUUCuwe2hj9k0ek4zAlo7Wqb56/E2Vhr8uRxjdSIhxMnA9x/VCYbS9HsF2jVDSJBBc0zJOBzS9B1UyRjd6skRjzUqh0Mt0dyVsSFvHjQ5eZyhZOnglx9TixJ1mnVXBIY6w26UASMMOKTqeN4UpOg1ZX1DvNzBoGgwcZWR/rthc1MpHXbHZtERLDKvvy8bq+owNlMzETweXUe3s4zOhWT95CHD0Rf3yAScslU3xf3Djg9G2F0XGNkPEbusMPdezlGp0Oy1y9SfKYzlNH8zz895Mxiit3dOtVWh6lskrMvhLFbA/7zd3Z57rkAI6MBEuGQZOnc+KhINDZgairLs/UCIY+4gw3xB0J8flPU0QIyaZROqQxt1/+vRfdy9+Exr74a5fjApNEUlUwXrVaRoF9UJSNs75Txer1cezkiK3ZPlpuMj3mkAeDZkybnLyQkMFWkXheW0tz6IidZQJGIj5ZdZfuJzdkLUR4+KLN0LiaZbvv7DQIeL65An4jfj+0aEAm4OT5s0e0NGB3XiYSy3LuzJRd3oyMJmrUWn3xU4Hf+0SK//Pk67bbJ9LiPmEjq9ho0OopcnpkdN+MTcW7f2WIkG+XMObHAFqkVm9euZyhXu+zviaFOguWHJVZWm8xMefH4BoTDEbweh3KpKeuogpejqSIfKux2Ebl4Wr6fJ1ceko0GSGd1coUG05Nxur0GQ8XP9nZFnt3qNYfJCZ1+R0X54R+MDnUBiMuM0uk22NkvUpLbqCEnZiIc10SXO8zeVh1/WNAVddlBXltvMTmT4vOP9rjwgg+rF2AwbBMLBnB5NT7+8IivvD3Bk9U80ZiBeF2FghqZiSD/4d8/443XJ/AFbTLJNLVKhc8/y8uNjFD9tER3MjpgY60NisYr12JSzfXxB0ecWAoxO+Nja6dLo2xhOxqGS8UfUYiFNSoV8PotjvMDTBQ6UtXn8PILGQ7yLRoFUNy23IK88cqU1JmtH9UleT8VHVI3VcrFDplkiEKlzNARlwWdTFpjec1kfASicV2SIoXK5cYXFWZO6YwnwxKWdX+5y/MveBnYOrmDLhPTqlRJiM7MvduHaLoPjzGQyhZL0WhVxWXQLbfBhQPhIu5z+bKfSiHAZ58d8eJlP8WCSTary6iPcIzHAkEKdeHXFP21IeGAiOAPyI64Oc73yEQ9kuHg8fdoFIRarS7BWc7QLVV4xYLC/Sc1rryUYug26VTbeDweqmWd516N8fRhia21Kq9/ZYxP3isRimjoukhdaHK6H/YFqdcqBPweDG+XbjcgdVo3Pj3g4gtZcnsVeqaL0XEP2xtNev0ub789y8MHDfq9GtfenuG9721J4vP0iSBrax2+9a1ZTLPH+lqHVNJHSFfkgc1nCMNCjXQmwu5mWQ5DxM9wcjzAYamG1+ehUuhKQEmtZJKdEN2roTwsGv4AuYMqz72c4sbHO4yMxuUQ5XCvyQvXxvnwlxs4GLx8JcaDh3kysTCGAdpgQCgToHgoulc1rlwfpd8wpSpOAPSeLJdkdzm3L2ofHmxbo1SySWXcEqoSDUfY2zommgkxO+GnWhPOVIue2WNjvc3ESACXB6JRD8/WmqRjXnlQ3dgWpFFV9qLcIYO1lX12cj3OzCbkZLfdGTI1F+DJo2NSMY0zFyb5zrfXSESTzMxrrC63SMQ1QmFVfg+aPQe/e8D2fkvq11w2PF6vEw+IF8iA/QOLr31lnF/dzKNaA0lKnZ6NEQ2pfPxhQy6HUgkdQxfxKjHAimIOFXJ7wvjQYywTYK/cl6A8jyEgXAFp+bhzr0g2qTFQHJLJOB98kOPS2ai0Viwv16VGtG91ZRXGLSjVo0nyuQIjk2kUT4ut1b6M34dCQ9ptlSfPurxxNUFFpIQKA2ZO+ah3h7SaYihhfvkCaDny8vd4RZDlFRIxXSrHBIhlbMJPt2azX2jIl3mj6DA67pUAwXZNkSpJvAqzkwEe3W/y2/9gntVHeyQTIdn1X1urUSw2pXO8b9rcup2TML6geyhJrrt7Ld5+ex7NasuUVK1dY/F0lru3hRbPT71jEfZ7ZPc/m/Gher0MOqDpDpvbJanCi6ZjlI9LdMXLuzLga1+b49MP9iTAyx904RfPzlQQx7bkMFCYNMR32OcaMD6VxOl96TSemfNjeHQGAxUXNk7foFBsSDPJ3qEYhkDA96XfXfOYaIpGIu0hFY/z3t+tS9jkqVMJ3n9vl07fYmtvPpZBRAAAIABJREFUwL/8F7NsbufotlwSSDczFub2owInF2Pk9+rs7ZuyMiWidtMzcXYPygQDLhJBEXMUPw+RrjAl00TUSNIZFUN1iERj1GtN4qLnvVslHPfjGmhksi7GZxL88PsrDBykmkdpWaSnYxwc1SUER8RxVUeA+do83LQZy4qBcIhqDVkpCMVUbt1uMjPpksNgs69SqrS5dCYueRxHxTpRv5/7q23eet1PNBDk6UqN2ekIW/t1ZqYNJhJx/t8fbpP1+nnnawEePuhRqdcJp0Q0vU3SY7BabJFM+EjFXHh1t+zW3bpVIx1TmT4RQcXDw4cFzlwwCLj8bB+V0R3hPQ6yuVVkaSlJsdSWaaGdrTJzc0np7d0+yFOvDDi54EfDywe/OmZqIchUNkyvM6Db78sE1nGhTSaj02jYuPDLJMR2ocNTAZpd9HDtxTk+/mCDxysm554PMzOmU6+5yAlQ4lIKdTCk0hIaVhWXruHRPTx9UsYnfn8jPu7dyEtav9gu1EV03AX5ozavvJrl1o0qqia+pypuz5BwJM7+fknqKX1Bg6NjoWvtcu2NGT75cIfxaZGSE/BEk0uXo7z/dyUyGRexhCHhmkOljzdgSK2SNRgQ8UbIjgR4+PCA5FgUrzHk9qdFJqYNRscT3Pxil+x0Eo/QeQX6/LunGrdWHRbifVlD3CiaJDw6tjrE7xlSMsXzUOO1s1OMGQpvXU8Syk7Sj4zi9wfQvGmGSpOhP4yqn+DLD70GRgezG0NrFujpWVzDY8r3P0GPBAgu/Rqqmad7uM/u1jrxxARurwulX2N5fYPT5y/TO9hk6OrjyV5BtYo4LVFvNKjWGpiKSiQzhVnYxm2k8Y4msIW6tOfgG5lg/72/JDA+T+rcm9i5u3KoQiCOSYhQ0KZX6GBYNcxoAqd2SFfUBoIT0CniH3sJxe7SdApYR3kMVxnPxNvU9z9F11IYQUPaVWr7ywRTZ/GMnaKz+h5qZApfdFYCBHW3h1Z+E7d3gK6P4x5/gV7hMQNLoVN6hsdQGZgDHI+P8Mlv0Nu6gd1bRx29hMcdR2keowRSdAqPZVefQBTdbGK6MijtA7qNZwT9M3QNA39kVm5EzeIag8gERq+DKTbzjhtn2EL3GKiaR6ZNgycW6W3fR1U1fGPnqW3dxJsYQfVPQO2pVB0OhwGq+3flBnXiyh9RePgfcVHDm36LxvEXhMfPoA897C//jNDMIl49TmP3Dv7ZF76s+rQaMvmmtQ/oWXUUY0T+t3qtHoPiF1LLJ87MsUhceuBFhcOu1eX5Uu3V0VMnsVp9hmqAXu8Jaq2Eb+n3Mcv36OX3iJy8QqeeR0HBrOXxxedRtR5tAVD0xel3ygRGlqjv3sHwJrGUrgR6ufQUqt9kUDxGC8fo7O+hJYV+NErIJ/rBLQb6CL1OEW3ooPoiaIqOovZplDYR0IiB7kW3uxgBkaHLQu+Irt0hOPkSavOI6s4PSCz+IQNNl+/oWr9LgCHt0hNUUfsYu8aguUnfGaI6Q3DaGBOvYnX2sesNCdvWtTqqlqDV75GZP4NpVHhh/p/hH03SqDb5ynMJpjNxvv3ZGqNRPx9t2HxrxubNUwOqdYfY+ITk0rx8IS4Tm3/xncd4vA7TEyGePGpieDQCvgHZbEhecJ9sVBj23Lx4JcKv3jtidavNq69FWX9iSSf8H/2L06yv1/AHVKrVPv8fS+8VLMl5puk9mVVZleW9O96f06dPe48GQAKEIUhwSA5nhiJnNKPRzO4qQispQlcr6WYjpCtdahXSShs72ojdsRwODQgQAEn47kZ7e/p476pOeZdVlZWVJf0/dItoNBp9qjL///ve93kqpSbVUp9AwsHJUwM8ubuD0+NneNhNbrOFP6njtMUmtcrKM/HOsfC5/MyMKxSrXanODHp0hsed/PQn+wyN+An6ke/f9a2a1JJPD8f54t4+9abN1Lifbt+U5q5apycXZS6XQsNQWdpq8sYrIc5MRXjn11lqRpuRVID0kDg3mNRKFqNTLh7cqXP9SlRehh8/LeFyiAu7n53NIt6In0wyyM5GAU9IZX2lx5nTTkplhVKxQzypSmW52Brv59u89mqMQq5OwBVmcS3HtRe++s48eHwsAdwOt0Uy5pNxeqE1dqoq6QGx8a/i1Lpcf3VA1uCWHh8xNhOULJhsqUlIno0tNA1Onwhw736dmUk//piPtaU9Cb5ND4V5/qTAt76V4nC/Imttot/udPcZHgpSydVlZdPhCkCnz9CUJs9id27k5M/HNAUhpsnelsn8KQ/lrM3ydpWXryckS+XZcpFTc3G2twvUaja6p0tM1KB3j2mV3Fx7OUauWOfenQovvpCQtrn7D3O88PUMmhnknQ8fMjGZ5NnDLCOiZpxSqFZUfB4x4BEXegf5skFAddHqW5KvJGqRPUNAZlvMTY+wuZ1nMOPn5pcHpCMhXIEOpXKXbkNlZDJEW0ChZ6IYdVsyIsK+PoihqamRGtCZnAxz8/YhugtGBgXtX6VUMHAHNaJBH0ZdVC4H+eiTQ8ZGw4zNRigdZMnlVc5dTLJxeMzn75X5Z//1DDc/3ZOJyp7q58n9Pfp9ASgMo3z2r+b6t28ecJiv8923x2QUv1I3KGRNzl4YYHMxT7OncnI+TMtq06q6qB5XeP07o9z+skT2yCAzZuNRBeiqwMUrMUqSyO0hMQS5bQeNRoX5iyka5Qo375fwO71cfXWQreUmB7kjeUh2ODVSQ+Llb9GsqJSPm6huEY9zyDi0oE6LCaDX16daEpdAQWDUpdIDTSF/IA7+oofYk4fgpaUGo5M+uWEuZEU1IUoyZcsusgok0jqPvmyQGrDxBcXFuSVJzJNTKRaXc3g9XnnAmpr3cOPjKpPTbuYnQ9y4X8frFt1ck3pTeJuj3L5Zo++y+e7bw/z8nQ3OnEzIOLLb6+Tewzp//sMIO3mDu7dgYsbBWNzB/ad1gnGdnT2LoQGhBlOYX3Czf9SgXRQwMi/FWk/+vy8+K/LylYRMUGwf1fjay0mOD03WtyvyUORyRShns7z02jDPFg1ZpQhFYHOjw6uvzvJkcY9XXsjwv/+f26QG4E//aJxbdw8kACUWTGDaNVLxOD9/Z5kXXxBU8TrViuj4d+TWW2wUN1aPSI/q+F0e9rZsjFZRxq3XVlqkh5288uogu2sGKxtFhkeSUj3mcAjAih9VMRmayvDzv13l/KUIqlv5qnMcCjN/NsTy00PWd9sYrS6vvJRge9fA64TJ6RTNWovFpZKE4k1MBJmY8fPv/58t3vrGAI2mUIE5sFSb1KCPg60aL7+WYGOtTDgUYflxllbbyciYm6A/xOreIbq7j0cJsnl4zPhwWjrPWw2LG19muXAuyuh0nF/90yrzc2nG5vxsPMuiuFS6LY1iuc7ejsn5C2EUp8JQys/+gSEnpge7BeKxgIyvNgyLuiC9T0dYW83JmsWZczFi0Qh37+zh9blQVItKqYMn4KFR7jI+EQK7zcZWi7FxAcRryil3qWSzupvFxsVIJiS1MOlUCrPX49GiSF30OdzvMXVCo1bsMT0Xxe735aX0YKfO2dMhFNVDs21jtut4wjo3b9UZz3gYHlXZ3WhwUHLwxutRNpfqHORNFqZ1Km0BivFi1S3WdxtMjOnEY36W18ukkh7iIa98APbsLm6Pk07NJjHikVWCatni/FyMYrNFx0T2PQcHxUPbkkO7E9Np7i9ukc/ZTM/42FxqE0xqEsgZjQY4ypky3qu4FZ4ul6SucySt87N3jnjjtQwut8U//FOei5f8BDUHrU4fXUCjAg7y+xVcbjcL80k+unWAy+5z6bKXjTWNeqPEtSspnj8vEvDpVKst/BEHoaCXSsGWl8bl54aE/okaTyAiBjsmRlckTByEfA58PpWnTxvMzflp1J2MjDu582VFbrgvntfp96MI6czycok33prk0f0s6QEXw8NhdrYqHB3VWDiV5uMvdjk7n5Sdc6FOvHomzt/8ZJtLl8IsblTxK04srcWZhTlaRo2jY7H5tVFcDhaf5JmaimFbfcxuW/q7x8eicjAUiKhSeeTziJqID9GfGhkNs7xUodZq8u23J3l2p0QgJg7/Go+f7DM3EefoqCKHi4mUn7EZB2tLHQIBhbMXIywu1th6Xscfd+F19gjGg6w8OeLyC0M0GzbHxSoDqRB7+3VajQ7zC3GeL5U4zNtcPxWm0u5SKLaYmghRqhiyIiGSVS9eS+HsO6nUWxwfm9JEILRuu0dlhibDVIsW4ZDG3n6TYBTyeZPRdJRGq4Pb0+PCuTgb6wYOXeXJowpWu43b7+PouM4330yxutgGvUvAKf5ZET0QoVws4/e6+e53R/jNh7toPrccpjy5V2Rp2+DSdR86Dj75xOCN13343fDbL6qcnA5httrkCn2mpoLUa1XcYiNq91jf6qEHNCyjzdC4B1uodiyhUzUYHhAMnA5T86Jy8RUbolJqMzKgUm4ojKS8rG5UmZ4SBwJLPhs2d5vMT4dwqn3WtsvkG6Ie0eLKxbhU/ZRqNSpZizOXYlSzBiMDEYRk62CjyNikj3rLw2AiSK1RY2+3JpMVM/MRfvGLvIx/fueNYZ6tr1HJCw2YwitvpHn/VzliKT+XzvtYXTdYflph/lIUpSF6/SmWN0tMTTppt508Xy1w7ewAyxtZJifCPL5fkDBF2+7hdjmIJ9zy8yc2SKcvJHj+qC4vYamYF3+0w8aaQTLt5tRCirs3GqRHBPPDQNO9GM02mZSOqIrv7JrSEvDx+9v86M9nZIqvVuwzOx/h4083Wd8pcWkuiWIYlBxe/vWnXbxmg4EIlEsmfb8Tl0OnUOoS9tg4TY21WptiRbBowFY1VKvLtSEna0ULZzTAGyddTCR09nJF/uwvv4fTFaFdyzE6EyXgC+FOiA7IMH2xNe+5sIp1tPYq/dQQysCrXyGWlRZYfehu0G+nUcx9TFvQ5jUON+4SS89itYu0nV40y6RxsE65ViE6No/uSINdx+msYnYEeX4NyzuLebBOX48SclmY5SM8I/NU8ke43Dpm7RgtOkHIF6ZhNnCqXprlLTxuL24xGKjv0KqJtL8DzemkWK/jDQ6AWcA/fJXu4WOONn/H/Lf/DeXcUyqL7+CfeRVP+hTm4X3s8i7u5FkqghI/dAq116C2/ZDIuT+n09yntnMD26iSmLqC7dQwN58SvvQnmELVt/0xLS0KjQP69X2cIxfQbB10L1gVFEcQ3H5pKCjmVhg491+Qu/tv8A9cxzt2meLS+/gFx8Q8wJO+his8S2vlP2GZDryJIdr5XZToGG49Ca1Dei4dhzOErbSw6gWcqpNefR/HwAvUlj/EG03gH38VxepROvgCp38cX3KW6to/EYicpLr7BT3FRezcH1PdeB9NSxCY/jrm/k2sZg5Nc6DGzmA0jnGLKa6q0WmU5O9hyL/zBIZZx2l/RYd3am76YpKu9rAr+3gX/ozy0jtykOryDOHUFRx9P4XtDwhHR1E8Xmw1Bg6d+t5vCA9fotMSYMkqTsWgatikJ65y9Owf8Cp+IrPfpLDxU7zp89h6hG5hB5fHi1tx0Ou1UXQX3VYH1R9Hqe7Q7fZxeJPYWoXK+m3So9+g70vQtdv0zR3ah/sEJr6FRgNDCWNlP6Gvp/EmRuXZw8o+RgmM4grO0m2u0TcK9O0+SmgCWygqG9t4g0M4fGl6AhZZ3SUxdwZHtM9Y/L9h///j+fwPf3ISAR7/zf0a4yGVc7N+/u/PC5xOOvjpX0TYPITNssn0cIAHz7O0exoeYY+aTdOo1dg+bHFuIUm/1+TRQ2GI6XHp7BCdfpPt1RovvTZCtwZbe1kOsh0W5gYZmXTz7i/2KObbfO2lAXb3q9QbHWbmIty/U5bqbEFIF4yicEgsFXVaQofu97G1XuLC1QRmT2V1eZ9Wy6ZcU7l+OUK72+coe8z6is7YSY10xMOd2yJ9Y5IYUAj6HdIadpzrEIvp5PM9mUTw6W4sRwPT9GO3m8yeTrOxVmRwUPS5LYyWTiSuEAmr7B1UpTrY49Nw9JooriDPl6uMjypEooLr4JMXWcE2qlTFpt0tt/D37lQJBFR5ZhDU/IDXK5O64jI5vxBhc72J5hBGH00mSwuHXQl9dDggX+qQiAQYGvLw2y+KzI37pLUpHPKQSft4/4NtAl4HMycH+eCjTU7OBGTqt9dRUDWbaDDMnbtrXLqWkffJetUhmUkBryIXY/V6TSZzhb7aaBsEAwHima/OsD3VgUsV5qAIT5byFA9bjE0FBK6EmDiDRJwsP6py9nSMYsNkZaXM2YtJHALAaDrkxV4wx3J7PUrVtlwy9ts2B/sNxucC3P6oxIvfSNEwWzRqijQICbtMuahy6kKQSr1NzCOGwH2ZADncb3DyjKja5hgaDsqUYP7IwOgpiBnqjdsl3v52hodPcpxZGCSXL5I76BNLqlLTrahNZieTbG5XpUlF2HBOnYuy+LQqdbTppMrl6yf4u7++i9vjIp0K0O9bWD3YyzUJuTxoLrGAFem3Kplxn+Q47OzX6Blf8QecXY3ROZ1Wrc/abpWwDmcvCRh7meO8gU/VmTmlc7Br0jL6nD7rYPF5H+XT/3FS6NfptE3WFnNEk265ia+Wi9TKPiamv9rOTE9HOD5uYpg9WtWeJNeOjYVpNtqYhoPJGY986apOHYfdZuH0GP/uP9zlW29NcPuzLXlBM1ouctkqX3ttVB4o80JjcjpJM9+g71Bxo7O2VSch3k1tJ9euDrC4kZMx6tXFulTvnT4b4oOP9/jalSHKLUMeroSSI39YkpOuy1cH+dnPN7lwJiYp5rbqZHTKzeP7JpVOmaBDl25ij65RbXTxOYU2D2IhD/22G1e4zarQBtX7/OA7I7zz203pH09FFXa3O5SafdqdBqPjGarFmuwvCwBUx7Tl4exgzwId4lGViE/n4EBswB2Ew07GJgLcvVMkldaIhFQMw8aoWZy+GGXxfg5L89DrmLi8Gol0n7ArwK8+zTM7GET3NmTnROjX3v0gi66bRLw6vR70FAEv8YNSw+EUmjEDRVFkJLrVMimWTGamfbidJisbLRk5c7Zg9kSYvi0okS0mRhN0zA537jc4Me6Ul/3trTqBoEtOFXOFJvWqiBvXuPxSku2NNpVCm/FJYTgwqFVVghELBRfxuJNEMsjDJ1tMTKbY2KjTrvWYWdBlHHT9ucHMhShWU3SO/Wwtltk+bPCd35/m2dMdPM4IHp/J1kaXaFhsk1QSw3HWHh/jDWqUsi18vgCxpEN29kWkVUR+8jlRZYnJh62IvH7/j0Z4cLfC8kqe+ZNh1jdruPua7Kt7dQcjAzEWl7PsHxr8y//2Kr/59SZHx02ScYVuU0ELqvJFKmBnO3sNzp2Myj6ciMBZhgAaIcGMzxf3yAyHKB4b2LbGydMpEjEnO3s12clXrC66V5PsAqH1EwmZx4/KnDoxiD9koaFSqrco5oQeUMANQxK09nSpzne+PQp2jZ0tm2yuzLVrafIlhZ2VAgtXItIjXTMgGbLZ3bM4OqgzNB7nwqWQjKH99d8vMZQQ/AObqUkxRexRrtWYGopzkGuycwijgy5qjTIvXptgdSPP7r7FiQk/hiVIw11GJ8NsrRdoNv0yXSOo9OJL8+BJielxP/4gnF/I8OmNPW7f7fFHvy9ATBrv/XZHmgwS/j4jQzH5MBffx/EJnzyQip7ZaMIHiHSFwsG+ITWVxXyZoeEIVtfguOgg4Lfwer1SSaNoNu2mEzHFC7hVpk74+ejTEj2zQzTq5exJHytbdRyqzXHBJhHXCThgbMrFxrYiqamxkSgf/zrH7AmvhNIlwk5yxx1WViyuvuTi6YMy/mCIoYyG0wXrWybj4xp2U6QFOmRGA7RqX4Epr19PsrHVYHW5wrWrg+wdHOJ0hChXa7gU0QX08fx5nnA8RKsh9C1tGTfb2eri0sqUijpT016p0jt5Mkyl2kPT+ty5VeLC+TjBsJut9X2er7Xxe5xMjCdkoings4kmdPpWn89vHnLytIi8elhbzjOzkJTaJgGZE+CaodEo9TK0jKqkv2+sl7B6NkMDoiYiDgxh7t7a58zZNHUD7tzNyujgX/6LSQ62u7z/wQF//KcpfvXLMlPTAYaHdWzTJbuVqbibifEoi2vHdOriJ6lSr3c4fTLG8+V9Qr4A3kiPUFCj23aRHPDJ/uLiUpXr1yMc7nV49CBLYiDC7LRGq9dnf61FV3US8qtcupJkZ60kWTGDqSitXkVSbetVp2RQVFtVrr80zuHOIZnhQT54b01uGEaHQqTSFh99UpBprLMXg4S9Op/czsrkllPVabQVErEe2H1iMRfrBxb9joOxIYV8wZKRu7F0iNWDngTm/fg/S/Pue4e4HRqphJODUp9k0CFZJ4fFDgPJMD9955BXXoijueGjm3l+/GMBeN1jMBRjbTdPIKaRCnvwuLvQD7G2mcMpILURJwMpnZ2dEsvPFcbHnbx0dYS9nQIr+w1euBjDZav85lYWzaXy4rUY1bwTn69Lt+MkmdJ5tlZlZ89kYUZlLB1geb2BqToYHXDIQUevqbF1eECzLEC9LgKJEN6+ePd6eXj3CD3gJp1QcXp1okEPi8/zsq5QN3rye7C3bFBvWvzpX5zg8ZNDLFthZlrQ/OvcvLUtJn1EvYo0NAxPBtE9DhYX89RafV7/2hCFUpVUKs6nn+3hc8HAQITDoywjY1FZPUgLK9BmXX63/X4fT5b2mRoOSDVqs9mh2/MSDdUlL2b+dAal5STqUqhZDf7w3xYYTTt4YSbEnaUuLl10L4qsHyKf39PDOkm/n0ajzsRIAj3h4/nqMc838nzv9UkW1ypffV+8DlZ3FSq1r4BZAgTZwcbvEtU1lTFXD2dSw+eJ4qnWJSzsxGCKpb0s11++RNJnEIgGmJ6cRrMPGV44TbtaxjcwjF8Xq4cGuIdAiyGn9KKP2G1AX6fr9NFfeReHFsLsulD7FdAS2PUO3VqXTmsVKzCEVe5IAJhd75MrPiGeXqB2tIRi9/FPXsXI75KZPElxfY2Dp//IxNf/O9nNPl4T29syyXPfl6q40tK7mL0WmRM/prn7Pm0xUDRrjMx/i4pRROt25BChYfVkJ77fKWAU9unXdvCOvUDfJYCQFq7YFMbW5xIaaAVPYGx+jB4eoVHYwuF3EkicoVddpls5IDz5NpWd32F5wih9D+FEmnY7QK/5XPIEHKlz6LZNPfccbewynm6X8vEiDq2L1zWP7Rc6XItK/oDg6Anaigu7doTfKbz3i/SUAP7kpNyom60aemKWrnGMo7oG/ii2OolZvYPDO0YwIKwMbXrdPqbSQ9Uc8gxq1repHRVITF2nsP8+eniOwMgVOkYZtbxBNzqMo9Ok3xKR+qQ0VTm8AXpGG2erTFfzSDCkcbCEf/40iiOE4l6gbxeob/wavWMQnvwGucouFA/xjV3Fqj3HVGMo3SI+36isMDjaDWx3D7O8T88VwJ+Ypl3ZRx9cwFy/ydHOQ+Knv4fDJcitu7Qbm/jGroMSpSp+Bs4maiiFx2xiRy7QLnwJ3jGcbo9M7JnVEF1nnm5hEa9nBqtvoNKStHt99Bu0Vt5BVfw0a2v4xc9FpGmC8/SMHJb51cDV3y1hKWX04T+lU76LUdgjMHhG1hWMhonXbhN++RL/8g/+e/7jZyVmoipvXRuR56iffVrgREzlQbXDkM/H//p7KruHwhAyxY3lHaYGfYwOBVjZKvDoQYNUzI/f66DnMJmfjsgBoEvzycqM3VN5/9d5vvZilKaloJt9kmkHwYTQGFfQ1T4dVVSCTLyCYdDyYFot9vdqvP6tEbbXy6yvCpBUkPkTfuIZDz/7my0uXopSqjapZVvMXMmwuVJhKB7GFe6y/LQuq80t8R5J6DjcJs2KwD7bhOMumSB1ejTWVgrMnUzRbfVYWivg8yuk4kH5bt9bF5fXEEtLBp1el+OiJTlSb359mKOjDl/cO2ZhLoiiaqwvl5mYFTp1RQ75Ty/EWd6s0jf7zM/r+HQdo9nB4XBTkIN2VVYVd7I9hhNOCTfO5ZsclnqcvxDk7q2KVNUmM14c/S6xVADbMtG6DgZn/JSP2xRrVWlIGh/ScLgcrCw1GEqLGqKD4ywc7NcJJ0TyQHw/A/g8SMp8PONCQahhuxi1HotbBf7sR1OUmy1WHtSZP5UmNRJhefGYrc08yYwH1RL3hi7NhsLmusm5CwkePTqQmkPb7ki6frlQ5zivSF7XzHiESEzndx/vyBrh8LxKOSsqtxb1aoOFEwkcjh737lakGvrkQkzqn7tKn05bo5jLk0g7UfUwxwcFYqk4i08OUB1w/vQI+wd5pibj1NqGVDuXqypnzwTZWGsQivvx+ix8Pg8jwwnyhxWePs0yMZ6UteSd/TpuRZP//Z1dgysvDFOtllh5bpDJ+OnYbRIRrxwyGeUel6+n2dqpsbPSkBDGcVG9EJo9StKYJVTfl14M07VVjvcazCxEuPnFoUzcD8/4aVVMatUqHTuA1W4wPZtgc70sE41rG3nOXxqUqdD3frlIKBTghReTLC7WUX76Xw71RT/LpQkQn0E2VyISDJIa9JMv1sC2KRZs4gNwsNLnzHUfrSqkhrw8+KLA2ZfjHO40ZK/daMLhnlAMaGRGg9y7W8Sv9RkaCRJJuHl0O4se9DM+oUlwk+0IcLQrIGlxVteO0RxdFIePbld8eOHFF5M8XWxIIrmqKhSPm5y9MMza2rEcKAj9Qizg5Ma9MqfO+OWhcGdPHEq9TEzrlAsKDTHlE57pZYO1tSpnziU4c9rH++/t8fJroxQODalh83osNNWLYhpMn4xRqdk8fX4gfdq6z0lAsxiZTlAstjg4qMmH0WGlQTnXI512ycuHYYguvWAAGHTNLpOjSTrtJpv7YhMq2AEalXqHYNDF1EyExccVZub8PHta5typBFsHJeyOi0zaSa4ggIVNjG6f82f82EqIn/4sy7kzcHQfW+asAAAgAElEQVRk8fWvjXP7ziaxUJSxcZ1b97O4EdFfgB4DYzrjmSRbW8esL9fwRNz88PvTbGQrvP/OAQNpD16fk0jUwcrzCth+Tp1zye2mGwdTszqa5uPpkxz9Xk9OSMUEUPRDs7mGpDmLIUPA00Xz6xSPu7j8HQ63FOy+LTkBq88qGFYbp8AQ+RRGx8SmsYzH7eHegyxjAz7iiQitVl06dmenh/nsi03Z3TRtC8OCa2eSrK/lZOfHxMTRc3H+bIS1jWMqTUV6N58/EZFKhdSgLhWWPp/G8VEHv1+XWzsx0kyPhnHSkkDKnrOH361Lmni+2GMgEeGwfMDnH7fxB3v8wQ8n+OR3h0xMxdnYyNM2LE6cjBAKCre4Kb3NpXKRtuGmWq1y6eUpFFv0fg0cbqfs2ERjbW7fNRhOu+R0NZn20ag26HRczJwKcXxYI54O8fBWFqfHJhmJcXTQ4sXXh/jZ391nai7NYMbN3k6V8fG0fOA12xZBj5PjYkewqBke8fPLdzdJhLyS4uwJ9Ckd26RTqpx8i+2qoomtT1+qBxWnSjDgYmhI53ivQqWhSq2W0EOuPO9w+cU4LcOQQEIHXRptlVzOkp/pgE8sbRyUBEm2Kzq6Iq7bI+AP8OBZRQIKhWLHqzsZGQ7Kvvr9R12++bp4CHd4/4MiJ2YDmO0miupnfs5Fpe5kba3LK6/4eHw/T6FgMzmt0+ko5IsWM1MiUVBlfDrCs6dVYkGVrqKRibkki8NoaBQKDZotm9HxILsbBi2zRiAUo9Nq0W535Yuz2ekwPuTj6dMWPaXL7Iwbpe8lnRBJFoeElwYjGntbDVx+0UNzYXe7TE55MdoWN261Ob/gIRgNkz3MkRh006oKu4iXqTmhjlJZWilz62aR774tvLhdTiwM8dnHS5y9EOe50HD6nAwOiZ5hD4fTw63bIv4dJ+jvsbf1FbhnbsHB2rIhsNUEPE5Zd4mn3Cw9aXP+bIrtvWOiCaf8tcLE4vR0aTTF5TXK/m6OVDLBcSmH2XYwOxOTl/1yocnmeoXhMS9Dg0He+eCQTMzN5IkAy0/Lkjrr7Dn47Yfb/PhP56h1DT59v8jMTFDCWX/z611mz6aZmXNJ7Y9T0SlUK4wM6Tx8VGFmOkWj2SKbbXL91QD9jocHz7L84PdO8uF7e7QbLeavhvnsVpGEs8f0/IC4kaF7LR49qeD16RiVFrEBlUZZQAt1uU0XcEXhjz4+hovXE2xvlORzvWl0MKoKoagu/eICrvr7//l5Pn5nkaGxAMmBGJZh8uW9LS5dGKLaMCRM7vy5EQ4ORWLKRvP5uXmryNl5jbWNrtQFvv56mp39DssbZfmiHB1z08h7KYgoT98m6FOYGAnz5cMiL1wMyV6iqHa8dC1GIQ+/+M0hF067MFpiU6OSyvhplk2Wl6qS+n/tWoiRISfv/q7IcMZFtdgjX28zkNQYGXBz43aTcLjPYMJLqWaRibs4POwSDjt4vt1jIGlgdQM0Wy2GBnXSMQc3bps4XW1OTLmp1KBUN+RgZiTj4vFGE7vrZDyhUq6Jd4KTzLhCp2ITjXfxe0dpdoTC1UGrZnD2SoL1pRaNis3mYYVrl1NoWpe9LRWXt47b5ZbvAeFNv3wtw80vShyXy+gOtzQQnF6IyYSJ2e7TbXZp9RRU2ySXh9feEDCtuvy5WYIkL8rhOAkGBUhQ1AMtnj4uk4j4mDzj5GBHY3Uly9Urg6wsH/ONb02yu1ViY6uKpgTZPigRizuZm9BZ2bAlEPd/+rsyobBKNOrH76jR63s4KHWZHPIyHHfw6zt1wiEFh+knnVAkk6VUK8lNVaml0HKYpLQ2sUCAvUJLXjRsh8rJaV3QF6CR5N3Hm0TcXZZ3e1w+P0LCU+PpSoXp4QhHR1V2Cir5hiWVsw0g6VMJaBrNWodT4352jxu8eHGcgL/NzlGRskhKnQiTikVxqm7e/P7XJZPHbDoYXphG9XtxeLxg3AdLBzsqz2O4I2AcSKBxu9Sk1fZhd/NYzTZ2S3RNK/iGBul64/Tz29TreXTfKLqjRbXRJrNwmdLi79BF5UEQlt2iI9ymclBEc/cITr9Jfv2etIR4Bk9iVXax28e4fBnMdote+Rnu2Dz1akFyNjyZy7QPP6BVt/Gd+gFusWnu2/T7KjRFTD2ES0lTNdZx98Xz0sB2j0mTSTv7hI5iE/KPU6vtYOb38WVOo+rgbNVRk7PoXsFVeEat9ID0qdeoPv+MfjAt60Sd4hqRudfkFr7XPsI38RbNvfu4zSzdyGUUy8AU3my3A7u6gfjhuEXt5eAJyRPfpbJzE296HldsAruSo+vQsY0Kil9sW23MShdLbeFTGnTaeZyRCbTQLFYzT1f14e1X6Eqo1D6egRO0RE2k95UiVrXrtKsFXLFp+rlVLLshOSk93zzCveyNqrQNHbVbwNU1aRPEERBLoCOsfhiHVcOXvEbp8KbUI3oDc/R7FRTXAK3yOj6/uLB1cKTmsA8eSNip4g99NZhRkPWubmUbb2oC0z+Js3kgbSLtmqCTGyihKN3VL+k53Xhnvo+Rv4GuxrGcKubuA/Sxczj9EVrVmqyUiGShKzhI4/A2ntAgLs1PXwxgkvM0d36N0m0T0IdQomGpZ+4ZWVLnr3L3vXd5849/yj//3ojU4z5fFXmlNuOpEKaq8GTlmP/5rTgTUYsPnzr4vZcFJV8nW62w/LAlAcY/+pM53nt3Eavvlwq+e4+OyR7XePutGalNNko2vZ7B4FSElWclDrMifRUmE1VY2eugKX1q9S7JuJedvSqDgyH6apdCocfImI+NNbFRjmPUG6A7qOVtCrUmc9JYpNEomdTk4F2TZ2GvpvLLX+7x/T+c4PaXecbHdI722zxfFEvBMCfPpXjvnXVefXOE48M6Nz7LcnohwbnLSQ53WhTqoo7clNtsy3Ri1qHUEPcEg8GROMGAxspiDrffg9EQCbM+k4NRPv8yz/Ss4BMpzI1HePCkQBuFkbRNr6UTT/kQ5efbN6uMzaicnAvzN/8gBrkaU5NiAKpwfNBic8dkaEScyX1yeebyuNk7blNvOpkb7pEvW2gOHyNDGut7DeKaje734PR2ONy3SWVcOHt9mTBw+t08edSSCetGzYnL58SrtmV6W3O70TRLqgrNlnhWxxga9XKwW2F4NEa9akrAabvlYGOtgMcVZHbWh60pbO6WUUsql99I89OfbDA84OPy5UFUTWVtvcLK4jEjo35OnIxJLd72epPdoxrnLkbZWiryxndmufdFlnQasqW+NPB0ujA6HpKfgckpjTu3mkxOBnAqNl6/l2a1ydvfO8mHn6xytNdBsVtEwj5GM0l2Dr+CET65W5Jcnsvnhrj9YBXFqXO422N2Uiwk+jx/VuH7fzDE/k6bjY0yb70xzvONYzTFQ99SsFWDRgdKR6ZMxm5tfWXMG5qK4bTaDKbj5IuGrNUIE16laJOa0GgWbD76Is8Ll0MMxIN8ei/LpYspTNPgyX2D6y/FyB1XGB0bIqDbfPC7PUaFdtBXJXvQw+MMEk312VqtkBrxyEWG8o//bKCvtjuy9zgkOiqWQq/ZpWOLaUfsK/hdxWJsKs7DBxsk4kmaTYOuq4dRUJiY9bG3XaKQU4gnVC5eHebhnV2Sg17OXcpIjd/dm3v4g26mJsQFysBy6mwt5Wm3babnQuQKZTotEcuc5LMb2/hUTcY6790p8tpbKUq5KuWai0pFvFRMBjM+9KDG/kaV0Uk/d26X+fZ3x1ldy5Pb6vDN74xSreRZeW7h9PZplC2SA26sppPJWReBSJyPPtykUKhx6WJGqr+WV7LimYxfFwAFJ7uHHY4O2qTjHs5diHHvYZHJUU1+kIfH0nTMOp2OIcFRiVSSbDGP16mTr5nMjmk06zqHhRqxgA9DsSQBeCDhYH/XwlIb1Cou6gI+dSlDpWgwkHGwtCw0GHXSmTDlRp9muUl62E9+t0k0rBIfDMq+tdG1eemlIf76Py3ze98Z4s7dClv7Db72UkpSliulHtmsLVVK8YyDf/5np/m//uMSz+40ePtbGTxhG7PWl/7UrU3xwRmUvbHt7S5ff22Up493WVmq8vWvT0lWgtDbxeI+6vUumqtL2Bfi8VKR4SFF7kjWlupcPJ+mj0I6rcqfk6Y7efzoSNKhMwM6nZ7NvS+zuHWFU2cHJI3e7xd+YJviQZNoJkrXrLG7bzIz4SOeDEn68+5uiWrFYmYuxd2HR7gcClf+/62gHvKRPazicavMXxylnCvI7tG5KzH2diusLhro3i4e3S8PAa1yFY/fwfRUmvv3jgjGnIyO+Kk1HPj0nrxIdTpl6k2FpcUK33hjVComA36HdFAf50p4vTobG1UGB8LMnPSzulKXU/N2S5XaucFRj4xbj45HiUbdhAICctnjzIuj/P1fPZBx8oUTGWqNOvWSRSQqKiluqf9y6RaXrkzzwTvb+PziApxgZVM4hm25oTw6qJGIh9jdLvP1b05wsNGQaQ8xTS0UBLDOJJ6I8/zZEZeuj1LL1WVtpOc0Jdgs6o/w7MEmg6MDRGMauwflry72Hp/ceM1MRlhdElwFH1rApHjckcrNds2k2OiiKoL+HqBv6kzM+3l0/5BYRCOTCXP7Rk6SUzt9jSePSlw4G8GhWTTKBrOzA9x7fEAmHiUUs/mnn4tYv+j3mwQ9kByMki+0OXPGx+GOKtMfgrZfrTkZEVrRpIeVDYvxQT/LouvmcFNtipisi6FhD0c7VTmwDIgBSAU2lzu8+KIP1eHGoTnZWauRbba5eEmjU/XgVmF4NMjPfn2IcAQKYFUmqXDlWgaj0eTOl03mzgco5QwOD00W5rwsb1Tp98DhEkMnL516l1qjg2UJfkqGje0jBkdCxGIaD74sc/1rcXJHHQTTVIAf5+YjdI2e7KELb7nfpzF3OsLKYklOaZ8+O8bj9TM+7ufX7x/IC3s07CERUXj0tEEs0+fc/Agf/HpNUmZfeW2ApuyOffVr42EfOLsc7/ZBbeEJatB1yiHf/l6DuZNh+e89epLj1HyUYrFELBNh7UkRX9wvL/RF4XnXbAJhm0pJJZLS6bcU6maJ/S0nL76a5Nbn22gujUKxxxtvpHG53Hz47hqbWZt/8RdTfPzpniTXi++M36Nw+cVxVp9nebbUlBUKYa/wBqFYUjANk4vXk2w9rzIwKlJcdQljTA94+PjjCn/5F9N0uwqffbLB5EySbLZIKpmSKZRbXx5waj7D8GiC2zeeoGg+JtI69Y5FpdLB7fOytlbi9W9MSof03n6Vcr3H9LBbXk6GhsMU8i3qLYVuu8/ktGAAFOnbGrrP5vCoyeCgk60NhUiig2YHKOQahBIqJ2dEf7BDtdZkcjDG45UiuqgSZNw0a0Lf6sAUn4uYk0pTJZhws/5IpEqEpaXLy9fjlIq25NgEAzbjo2FQTeqlLqrmQ9c7Ms2UygTkECse9PPTTw6YynilOnR9u4/Pp0hDxKVTQYJxL9nditS6XjiTIOB18cXNrKzUCTWt+H0TUQ/dnsWXnwmLiEalZskuad/p5MuPDpk9FcSl61QEZ6PZI+kP4PIK8FJPbv2FJlB0vc+ciVIuWPTdPar5LvGERqtqMbOQYm2tIAeso7MBiqUq+cOOfCaeO5egVCpKWnw4DV5xua6p5MoCYBujXLGptxr4vC6KBTH/akkQ1KULw/wf//45AzE/ySEnmZjOjS9LJMc8aIoqCcfnRmyGxif4r/7qGfs1F7W2gECGOJ3UKXYV7E5T0sEFiHht38IXMOWGP+yqMzc8xMpWjuFRF9lSh8FQhIhHJSs65mGLiNvHg9UaAa3PpfMDfHh3h+lMnFDcQWHPZm64w4PdPjOzaZrlOh6XjaJHGAqo7FfKLC2XcPqEMSSJy6qxc9BmK98n4Olg206sjoXi8mC7W2xtQdAtZ2O0bQg6HJidHt6ok6Dep2P0+O7rKQRBcywZlcmEhVde5exUkmZth1BsEqIjsPIx8qEaH6C7UUZx97HjEzh6HRo79+nrE7QOBVvjAE0fwzv5EvXdh9RyYrAZwxNboGp16B9/hqqK1rePTi2H7kuhBtL4UmOYzRrd/DbN5nO8gxcxKzXC6Tl6VgtTyWEd1uk4TcKp8yi1HSqVVUIjr6CqLszjXbqKhT+sU1z8LVrmDOHpN7CKj6ms3SE4flaqDtVOj8Ly+/h8CTyXfkz5o3+Nf+wtbKEs3rlF8Nz3cHSctI4+xRk/Q0/RweqguRWp+1SaS/QsG6cwJ9gFTEdEqswEFFjoGB3hDFb3CFVsmnxpyovvoAWH8cUSNAvHBAcvYjSE/aGIL3mZfq9Nr93HlUjSKzz4Sm+ntGi1VbzDl+jWVrAbLbzhFJaID9viDGtgtTxUju6i1uuEzv8RtEqoLhH8cNI6XMXtdtN3O6X6z+PKoHoD2L0GwdEr5O78FWhxAiPnaOzfBWcUf3JELkK6pgOP0Aq3jui6B6SBSPA4zPxzOrUGofGrtBpVep0cSs1JpfSI6KlXJONDDJWEBatVyOJ0WbiC05LroHqCKGYHy9EDUd/r1nG6E2jJEVxqj252BYdq0U9M49RH6NW2MWp19PgkzvoSZseDKxbCERikdbRB8sQwtm0xsvC/cGFB5eSgyv3tFsW8yVA6xXjSy0/u7/G1KRf/6pqPW/smZ6bSHBzkuPm4xKlJD76Ays5mj1jcw8Ron2xBk0Ntofl7+7tzdOplHtwrMzLhY2I0yI0bWc5fSciItmkJXaxBwK/SMjucuTjE/kqF9JiH/b26VOueOj/A2rM8p66Mc//zTVnXnJrRONpTUdwtLlzOcOdGhfSgit+tyD570Adjk2421i0mJ/1kc3U5tO73+lJhvTCflksMsShr1dpMCDB5UyVfEMsvB9WOxVgiitvXkZWZD3+V55vfj5PP9eRlUywo3vvVAT6fE5/byZPVBhcWhEouzLPnOcYGI6xuHcv0nWCAufwu3G6FR89qVAsmp08F5RB6fbVByKuhR1RyhwpbxybxoMW1y1H2Dmskg15Jzv/Vh3mmp0xGEj7mT43ys3fW0D1OTBNevioAiCZTkyHJMBJ1tfk5oVYsyppXOuEiVxTawx4LM0HuPC7wZLnD9LCTN785xa8/2iTo6DM4EuTxsyL5ksrXLvtZ3m7hdlqMDggjiovbd7NMzvnwaAFZk/zWNzLcu5ul2ra5cDHN/pZJsXBMMpWkUMoTC/uYmEpKxtvRcQ9V7Up+UqPc4q1vzvGbjxbxe8Ooji4Dw4IzUMKttCi3+uxvGKhOjatXEpSbXTno+/Jujh/96CTLq0WePhEwXvjW701w60aWWqPLlQtRWTdstHuk0uKZIsx0dW592eLV10JMT8QpHjVp213uPqhxajZIMuGWf8+hpE6nCsurZd54a5i1lQrxoIvNA1FhNiQoemAsytNH+2KFK1WPItlbrBnsbZjMnfJw7ZU5PnpnQ+qmG3XxGXRT6fbYXCzzhz8c5+NPtkkno0QiHpYWS1L9t3A+QzZfpddwMzcf5taNbV59ZZq9wypGqy+tHcov/nKgL2JvPq9Kp9XGNp0Uah0GBnwSECGc0EnRF0UjGHeTHnaxtVKlXDVRrD5rq2JiMsLWRofDoxJvvDku1QmzJ/3SDnD3szyvfzvD/UdHmM0A/oglQUBnFoLkj2vMzaf44vNjyrU6F68kWXrQwKFbvPHmFH//k3XmpsOcOxXlvfc2WTgf5zjfIuTRCIZcrK6V0f1eeTERfdiO3SSoJ9jc3afTgAuXksQELfKoKGnRvVaT5Wd50sMpGZ189iDHD394it/9bhvF4ybgtdjZtzjY7fL296IUj2wmT0TZ36qQPahJ7UcuK17eJuNjETRdJR0P8/N3l/D53DJKUz42OXNagJSEBkwhlXFj9sQ1uS+jJbubDS5ezEgCeNtQaJY7JIc9PHhQQu3bzJ6IsLhSQrX6vP39ST797S5Wty8j0Q4BdNssEQlHyOcLnDyb5snDPG7dzbnTomNco9lSmZzSuX0zz4XLI+wdHaO7FMolJ7VGk6nRCCUBwIq55cXswQMBHKly+WqGjcUW9x8W+d4PRtjfrWDbDqplg2giyviMX0L2bt7c4eWXM+zuC1+ohd2xSMciPF064rpQ2B3VyVf6dLstuh0XF86E5TT8xuf7XBbqvVqDvqnI6Is34JAU8KNcHYfS46UXR6QKr9nss7VTYWpewNtUOn1Lxp+3N/Pobi9Wx8norPi8CsJrj/WVMtGYA5/bR6HcwqurmNLV7UP3qySjAZZXs3IiGYl5ZUKgXGizvNzgomASqH1yuQ6Naoe5E0GGB8P8b/92mbkJD2fOJqlWDSo1k8yQl3A0yJefZzl1OozLq+B19Pnbv93luz8YZ3+njup0USsb8s8VCOryz/D4/hEO1YE/ohEPKvJnNDvvp2epaD4Hv/y7TUang18RXxfz9EAaFMRh8MsbJU5diINhMD6ckDCWtdUqAyNR8tkS584Pc//BMfGYJr8H4t8RSii3u8vaaovhMZ39nRZul8LJU3Ea9Ta9lkN6xD/6vMT1q2Hapoi2G3g8IjHRYXOzzo/+eIY7N7Jyu+ePmpSPbPk5a7RMmoaNz2vT7blJ+G0mTiYlSdXsdIknHaQSMZ7cPZSxruHRiISgiR5YMu1lciTD3GkfH72/g1d34w32aZs2blujq5nkdm0mJjRimSiHu6LDXMcWljSHA6PZkjqly5dTHGYrNGomQ8OCIGuRPeoQDPUYGkxTKpfxuAJUjQpGrS9jqPndDvMno/QUi2atLWnYS8/rXL0alWyG+/e3iEcCdNQ+pVwXn8tiL2dy6dIQ7bbgGsDF82GaHYvNtRqnzyf4x7/fkv3Hs2f8JNIxHjwSlYcgjXKdEycyVFp1yUNQnA42ViosnIwxMhHk6aMyXt2W4Jaf/HKXt76ZBEeA2x9vSMVMKBTDoXdlxMvuubn6Uoilhw1OnhLb5hojEwnu397lze+MUsj2ePjwkLmZqLzIisut0eyxf1QmFdPkJmV7v8G3vjki/buZAS9GvYs/5JJ9vaWNEl6ni8uXQ7zzsxzf/X6Gdh+eP2lIuFE8GqFUNOTfaVxsKt09tgXY0+zy5pvz7G/tywFSudRhdCzM06UCLbMrnd3BmIt62ZAci5OnwvRMN/u5EgPpAPOnEnx5c4+esLNgSfZGKu3hP/zbJeamffRcXby+CBPpMIfVfcrHDvlyEwmU4QEndL1sbB/zwksDHGUNtteavHA9zu5+i8dPj7l2dYRSqc7Odg3NrUpbQbXU5qWvz9EoNrlxa5dkOoaY6iSSLtIZH3dvlCk0K1y9FKfZ6LK6YhCOuoiGNWIDfglHbZhtdMGmUZ3kcl2pARJxfrfTJwFLgsqt2E6KpT7PNqvMjrp4861BPv+kxN5Rm5NzEQ4LRyw9VZiZ9xL3B+lYhqyi3L3TkJFyu93n9OWIrFQID7qIAn7y2THxiM63305w82aJE6d8NPI2tU4ft9Lk7PlBadc4MRvkFz/flu+iF6/Fuf/0EL8rhGGonDghfPRtmvWeTFPc//IYr7fL+EyaZ4sCJBTn6ZMqr7+RoVbusLVd4eFig0TMw7kzfuJhN/fuZUnEIjg9AljUw+j0MBs9aSlwOryEwhobm1kWFoY4PR/h/d8sc/3VcVkTEJBOAbw9XLOwxcCjKaC6Pg6PumLJxtCwxv07NYYnBXgKGrUOgwJEnK1TOhKAzS5Xr2Swem0+v2tg2B1eOJ1ickShWrXlBu3Jbp+/XoWCpTDg6+J3KvLSl46YjIqDWKdPta5wKeOi0mlg9gME3V22cm15aJ9Ke2ioXR4udnjptJftrEHM5+HUVILfPdrlwgkBCnRyb+uI8WQEh8Nme69Bv9sjE/OCCzlw0T1CS9lF9bk4P5qhVM2yWTWZ8PjxhGym0kkMq8VA2M/q/j5PF2t4ArpUhYktvKjGWE6NrmGyWGjIuPBwMMDT9QI+r9iqmVgdF8Vah6AuqiwaPr+b6+cmiXVrhCIONEz80TizZ08xefqc7LAblSzOzCDe4ZP0WhqOVgs2vqA7kpGawe5BDoddxZG+TiG3jdaskiuVSKXcKLU6tZZOKB3H6nlp1tfxecZp2xZ9Y5dGuUHyxAz++DT5zQJhbw/fyCzZlc+wqi3imUFamoA9utCrFkb2Q3ynfsj2Fz+REL7RKz/g/yXpvWIkS9MzvedEnDAnvHfpfVVWVmWWr2rf09PT3WPJYYMURSeKwpKAdiUKkPZCEHQj3QkQpIvVYrXYJYmluCSHSw455EzP9LStri7X5bPS+zAZ3tsTcSK0/9/omwL6oipNnPP/3/e+z5P69P9lpLpxL1zDlUuTLu0QXLpM+WQT5fQU++ycTJCZbW6ayfv44pdoDVXUQUsmNkTdHl10mu00C5uYI1ew9TvorQK1Vh2nTcHqTTCwezCyB5g10dM/D+QZmXUM8xSWYUEaHfR6FUVpo7rGUbU4un7KsJzD5AyhWk3ouQzm6TMo5Rwjm0vS7gUXoF85xBpbRHVOMqg8w+pO0O13cZhC1DP3ZQLJFFill76L1RFkJCaiVhf94h7m4UAOeUaukCTW66kttJkVBiMzNPNywGSUTnAtXqZ+egD1NCPHNMpIxyq+BiwoWgyTFkRt57GFzlErPaN1+BAtegmrz4vRqtDpNLFYx3ElwvSzuxiineKdQemU0KtHmKwqpr5Kf9DG1D7Fs/JbdIvPZJ9ZN0L0Sl/h8d/EEhmjcvBLPCYLiu8iurlLP/UMxeoncv1VLqz+JgGHTcLjxLPz5FTHb7Px8qqfF4UhL446/Ntv9hk4TTza6jLmVpmYCUognMsxolhtUK1+DUy+diNBpdAllS0x6IvztoWjzRzLFyYp5WpEEuL81JGcKGHR+cmPsrz/uxMYisbmk6TkBqRzXc6eC/B8J0tQM+EPuOSm9NWXE5InZlYN+i0Li8sJ9vYyHOzU8ARUFle8vPiqydikxuMnGZodhfb8Jz0AACAASURBVLe+FSO936bZEQycqExMdwcGsaCLakPH47BQ7Qnld59zywmebx7Lcyo9F07Bbsr0yJcbRAIakbiLtHiOmAYYwk7ltDA2GeDpowzLZ+PE4mYK2T75YpfJORP7e3y9nZ7w4rGIy3pdsp4GPRPpfIMzi07Zuz/NNuQ9RSTnhOUsmazhjzqkAlio6xQD2r0RE1MDBl27fG+IhKkABfoDCmNRFyNV5/5XDSwmMzdvxMjlKwwF+FHVcDl7fHq7ztp5L2MhhdRJl+HQJlM+Xzwe8MqqxuK8yrOtARPjXuqdJkcHHcajGsVim7kFF067yr2nJWIRJ6ZRC4fdL8920Je178NMj4vLbuYW/WysN6jVddZW3HLAOrUo+E460YgDh2qm3KrhC/hI7pTwBLzsbIs0o58X6xW5NLGrZg6TJa7emJTMuqq0GrklsNptE2DWDqVSi2+8tcDtWwc0uyMmpxykDuv0DTPT8w7JmvMGfWxv55ieDspBUvK4zCuvzrCzk+EkIyrlAxaWxmiWxXDcyUcfpKi1RiRiCq2GSiiqcuP6OPcfFjg5LvDSq+PsbJ7SbJjl2XByJiqVjSdpg1ffCJDcLtDUB1y6PEUyk8Wqa3T7QxRTn8R0kGZ9yN27xxIqnM12iQZtfOvtc3zwySaFQo2ZcR+1Rg+fx0at2pVmmX6/h/LBv5gflYsFeYgS5MBiSRAnO1KdtXw2xuNHp6yuBuXhxxGysvu8Tu8/R2//+f94lvtf5Xn8VYZXXouytdGVZHSXQ6jQLLJ7LuADlWqf77+3yOlpEV/Awp07Zc4uRjBrQ4a9PunTjozpX746JidKhUoD1WTF79NoVzpkKl06jZ7sFPcHBicHXfoWuHzWTWdk0Gl28bocDDui+1FlfCYibZiVWgvVbGdmTkM12/j8s32ZbpicDVEr1Km0dGZnA5KimT+totpga1vnjW/GaVb7uF0G+VPRr+5QrRqsrYlJu4hYjrC5zHS7Xfo9y9c9qJCbRnUoN1tuzSx/iU6SBt/5zhhbm0Weiaj/tEdq23Z2e0zPeZkas7O5UWZ6wUf21KDb6PCrvz7P3/71voy/+t1W1q6OY/R1nj7N8drrMdkn7zZaNJrClNAj4LNSq3bk99AfshIP+iSkrd0eMDNjIxrx8uR5iYsXAvKA7gva5P8bm3Lw8E4RYyAuhU7aXYWDXQF5cpGY8fLoXpbZMwlKxQ4e54j9HVFV8FGpdDGPVEmLFRcfUQUXOqJXbkzx7/7sGa++FJHxY6HVmkj45Qf04qqoRogeVIFAzITD4qY70FEtQ4yBA5drSLUy5NZnJd58O0g+XSUx5qdc7XB82OTcOTd2u0ar2cbtdcruc7ViYeWSl//7/9jkve+Ms72Z45JIUjTyFPM21lajtFstTCaVvf0yZ8+N0evoHO5l5DZmP5Plzbenpcu73xlIT3Vs0srBbpNL10J0ul8/hCMRC/fv1rl02U08Gub+3X2mpuOMjZsYWRWe3ingD1mkdmZ/74Ry1sy5VY8k5BeyBoYY6CwGGJmHmPsmso1TxiNTtPslXjwYYbK3WZj3ky/ohH12AhEVp2bj0fO8ZC+ITvH2bopQLCx1gMK3KrbI178ZQW+OZKIknepx90GWM2f8Ql8gaeLi4Sl6ziJhY7d+rS4Mhn08fZzmaK/JH/3hGplCnjtflRkPuRkZCu12h/i0Xf78hNddGDpEl73ZKDMy7ATDGrrRo1bWUQxR1dGoNoWxIsGjL5KMNFhdCfPTn2aZmjJJpkS2InpQPRoNJ7WesAYIyF6TsYiTZqvL1JwDh8fGoGPj2XqJa9cDsvsqupZZ+f3rMpUIyI3JsQSjhSQJ2Tw0OEiKWPSQnmHB7bJRKvY4Pikxv+hj1LfRN5pkM7B4zsfWeklu4E9PSlQbSJ3L8rkgo5FQxDgonup0Bi15Cdzez+N1OvH4NBwWYZIYUi71JdXXbbVJCI3iEJevOt6QR0a1xsfF5rKL0WvyymsX+Yu/fMSv/+oKjx4fo1othMMmOQwT8TO9KS7f0DWE7saOy2Vm81meYksYIJzSrCAOZ71eh9W1OB9/esrliwmePMkSj9rwuF0cpDKYhy5aLYNvvhXms0+rBOIiMSYAOjCWEF5uMye7DamxmZsL8OirItcuBuTL8+GjHG+9PY/wPjTrHTot6Oo6sbiDYMTHz3+2w3jChmYVqQDAWsfnd+Gw99jeVVmYE9WIGolEgLsPMqxenORgs4LmNuOQ4MYmv/27i+SSTcr1JhvrXanB+cabE3z1oCA1gENFcBcqvPbmNHvPyzzZqEnH77XVCKnjlrwMPV3PYzP1OXt2mnKlKl30IV+AQrVINttn+UxU9ji7naGkxrtcCuhC49RHFXCjgAeLqqA5RdoEXmw0uXzRg1lASJ8XmV7ycf1alH/7/2zz9ptxUvki8VCEk1RLHsQ8Lrus13z8+THnzoawu4eU8300pyb1tYZuyM34e9+a5/bdJKahsMsYLM1M0+oW2d5u8sobCVJHOqraY6Do9NrQ7tiYndT49HZGwiSTBz3ikzYWl4Ky65hNQavW5P5XNRYW/fzmb4zx808PcJpE6shJvT0klypzeNJEs9s5e8bB4U6XkTjNWUT9wMPOTomVpSB3bxdxuODGyxGOD8sk0zqXrwaplgY8f1DgW9+exh2w8PxpQVaXrlwJ8ux5Cb97RGLKL0GRFlOfF1sVErEAz9cLODwD3FqQbLIuEwCa0y4rXt1uj7nFKB9/cozRMXjzGzN89fAIdDs+n00C6kIBt9yArF51YjNplMsthqrKk3tFfu3Xz1Kvd7n/8ITpeY3vf3+Njz5IUimWuXZllvtPjihWW6iq0BoaaJqTL+7k8HhcvHkhyH6tSmjQZW7RS7rY5eMNlYfJMtfPh/nxnTY4IVvp0RqoLIZ7lPPimWvBburhcFnpdixMeg2CHgvJWpuw28LSuJdCqsFQszDoW6nUKixMBNk/reC1WeXfY5gMLoyHSLZakvJss3lx2gc09DZGb0Sl1yXodDIWcVDOtqj14N5Ok/mEmZcWYtzdElYRLyLEkzwVcNwQgTEzRrNBPBbj6WYBp8kgHrFiwslW6pRsdcilpRC5YoNCqYfPYeaorDMdDfMwXZFWmmsXJjjZSWIWKaQeTC2a0asWZuMW/HEvF8cncbrrLMY81M0J3vmV9yjc/Rn5aonV3/3voV1Eb6Wxxtfon2ZQJq/QSW5jTX0ltbGuUJSB4sKwx1CF3q5a5+Dn/5rg5T+gVT6kfXyf2Pf+JYPCIXqhjDXooNfr4YuMo9oS6KdfYDYcdPUqfU2Fmol6eRO7uYUlcgFX/CJGt0QtdYf49Bs0WjVsFo1us4/DVvy6YuD2YtJm0ZsVGvsfYx+7IpoR2Lo9sNgZ0oWRgiMyS7+n00ruYlY7mK0uzB5NshPcvlnM0VXqyUPsw0OcsTVqhSRqc52hYxyTw49idWPutGnVkzgCc/QQFhIDNTzHMPcUxTmN2WbFqJ7QrR9gNKv4lt7H6GQleXtkpFGaA8wuB4rZzUBINKvP0GJX5XbaIqoYeOg1T6G2h3XsdUYmBdU7R/Xgb/E5I/RxM+ynUFUHXTWER3PSbJ5i6tSxuYN0Ssc4Jm+gt8UQskm/vIcy9goOk4de5bl8NtDr0OuJS5ZFMh/sFjftfBJ7fBZFhZHFyXA4Qh3qGDYHRn6HkdlA816gmX+KzeLGFnkZvfEAQ3xrqwcMrG4cE5dolfME3XXWP/qYy//N/8xP/vLf8IM/vsV/906Y3sBFpdXEK1IYdni0WyKguvhnN4YEHQ5ubza5tjhiZNeoVlV89h7PtrtEQ3bOLNvZ2GhyetIhOi4i+XUalQHRsB9jOCAx5iBz3KLXN7jy0jytfI1P76b44ftL/OPfb3NyNOSVb/iZGPexu5XH5bWwv9Xl3e9M8PEvTjFpunwPpJIdDnfqhOOCO2TCMJy0e1WmY3Ps7O8RiXnkIEIs9kTCtJBTWbsMA10jm+qwdNHPFx+lJVNn6ZxVJqXufZHnG9+eJBx2cvujY4Y4sLnKqCaNZ891aYN64/UI5lGPvu5gYzMvocrhkEWaucQ7pdVX6LSb1EojQhEL+fyQrZ0af/A78/z8oz0CYRc3rojkbkYOQYQdSfxsFlZ9KIaVX360zfWrYyTiTvYOBU+nic0iwOsjluZcHBy02TgQNguNSqWJy+kgmlD55E6RtRkPO6ctPBY7sRlIHSvUGrpMSFkG8OqNadJCFTtv5pPPitKU9dJVH5UCvNgtMlJHxENCCVxiLGZlccrHaGTm4KBOYtzM8bFBrtJlftop9dilxojVNTuZtJmN/SIrkyHGZu18fitPzD0kEBO2tYq0in30+QnlvJnwmAXNpNPvg0koXDUF1WbHo1kYDQYYZoONx01WrrppVnXy6S7vvDvDR5+dYFENlpYj0jaUPBZfuwWPTywQFQn4FgMRvduTJrW33lnhs49eYHe5mZlz8ODLErNzHvRhh+P9obwXjMf93P4yzze/E2XrcZX1vQqvvhpHU2xUalV5HhKfoUq3QcRvY9AeomkOstkeV66EmF6IsrmZJHvclVX6lq5jMnoSet9oquQzHVYu2dBUn6yRCbigWIxaLG5KtRLnzoVZf97AZG6xshKVC/1bX+QIeGHtckTy2oTOcWLSSTEzRPnkX86PspkyN68tcHCQoljsSIqviK9OTPt5/rzChUt2njyoSF7NyoUwdhFZ7jf42UdZvvUtcWE20IXrWKgrJnxYFAObxYZqF5TprKRCux0uKrVTjvcVbFaDYEJsZHSO0xXOnYtwuNvG5fk6Nur0aHQ7dXmJNhsqpVqX99+f5qf/mCQct9Ef6PzgO6vcu5fjxbMkdgHViApipQAbbGO3umW32eNxc/+rLDPjARTrkN2NU2aXoti0IcVcjaWlCarlPtu7Sd56Y5l8pSx7Kt1Wn4Nkh6kJDcWk0+uYiU4G2HyYljHOrQMBcLCwtOCj1e1jVUc4fVaq2SblirgcDokHXDS6LWyamVjMxYO7BXxuM2+9fZb9ZEluND/6MM3ZRb9Uogkt1+UbQfmDtziEGkls3zt8+kmNtVUvfXOT7RcjXnspjM2sy2l3JqdzYUUkINw8f1xhYtpMpdWjWRwwMfP1hT1b7LByNoBDg2yqCRZVuuGF2m84GmBWrFL9trVxCqYR4YCLTKor4/GX1gK8eCy8vC6KubrUQIn6xd5ujXe/N8v2ozJDRwd0TUadM6kK02M+BiNdqqzcPo1Pb2WZHHMzNevjNFvD6bKSOWxxeFphdjxAOtNk/qxdUkA3N0qYhgp2TXS8zXT7PXRdZW48yK1bp8THFfweh9SMXbk2jsVkk7F8s6bSrEL2pCWjx9NzbkkxHQ0V+r0+/rBF0jUPtmtMz3rp6wMePyqyuuJnZLbR7/aweuxEPDY6eosf/W2W3/rNWZxWjc/u7EkISUX82z0q8TGN3Z0qxcKQq5e9bGzqBHxm1i5FWH96yuJZcYEzUyxXWFpMUCl1Wd8o8s13pvA6NdafnbKxU+PalRg//yBDpWTw+384DoqJ2x/lmZy3U2v18doUFs5MyN9JsZEWAECv08XVlxK8eF7kk0+KrF70S8ibiBE6RW+t2cEfsDPsf60LEdFw0U/U232pS3z4sMzLb8R48SjDSDXhcNq4eiNBs9SWLxQxDDrea0tveKs+4Nl2kXNnE/jc4oVTwqy6ZNRL0J0TUZVaTaFv6PQFPX7cRb3SlIMLwQJxOV1s7afwOJzMzlj54tMS8RmbjPkq+oj4uAB/tQhG3KRPClTrCvlMlaDfyfmLQU72W+i9Du6gGX9I9NVr8mc5M+Pm+bOGpKjG4n4+/viQaNguI9dzM340TeUXvzjh5ZfHePo0i8tnkxFaEa/3uB3oSoPsSZuFOT8nqYa8PI5U0WlzookJutKjKl+CTjqNPudX4vz9BweEA0KXF+D2rTSvvx6lWW8x0EdSR9bttPjwswJraz5cNpWRuc/RURdx9gyEVAlHc/lVes0u+dyAcEiV23pjaMHpNzEes5FJlvEKz68At8z6yZ72mZv1SO1a/jTLSHNSSOpce2mCZy/SeO0qg9EQQ9c4PipKzkkx1yU+7iOVLDA/4afZarO+1ePcJTHk0Tk+bNOsGbz+WpSHD0tMTAkSt4n0aY+33h2Tl5O9vYaEwF5c8/GXf7HL/Iodj8vJ+qO6/Fyl00VuvjLNwy/KaL4WJ2k4u+CQgJ779wt861szUm2ptzpEo1aOkm3OnAtz94sMN6/GSWdKchh1eFLnwhkfT5/l5efd6TOzNOvB7PBwfJiifKpI9VTAY2Y0VCUYsTdoyoNk0GGiPzCjaibJUji35CMeF+aCLolJO4rJKjky4mfY1ttE/T5G6oDdjZqMySt9M16/TdYN4hGN2JiDJ+slFmbEJX8kFUiCZCx6lkvLboyOQuqwTd/Up17vY1ZULHYzyrCHQ8T6M4Yctp0572PjSZWVsypmm5cv7uX4oz88z9//5JBHX+W4fD5EvVHjBz+8RDFfJJdtcf5amJ/+pzSaZmLlrJNbt4vcuOHi+HAgfydFvUDQjOcWTLh9DrIHYtgTxK6JQ2GHVLrFRNzFSa7N6nJIak5F5UREFB0+iyDEUq7VcVhFYkJQiDVW1mwkomEK+Q7tdosP/rHA//K/XeXB3WOadYOPbpe4eM5DSLyDmh1pYBEgW49jRKdtIRSzSHjWu+9Ms7NToFJRWLsckIlBoTId9QcEfMKnapVDh6XzXsyGwt5ek5lZF5XGgFS2yaVFDzv7LS5ejvPkcY65GRdmp5kHXxaxKApXrkb4q79N8v6vTEhQZr1j4umjHANDkTHcbqdP3zQkEnRjG3U5OlawOg3MZgtvXUjQ1MuEol7RweHJVo9atYkrHGaj3Cf9n5cOP3ki4OxVDFWTfvWtkw7ugIYh4tmlHsGQTZoZRmZFwlBHIyu5eoeZMTOmgYUxj0pAsbLZ6FBvt3hpOcLJUY2Rvc+0TWFxNsB6Ssdi7WI3iW2ZhZ2DJqvzTup6h8OTAaVRH/NQJeGxYXNYmIjYyZ5WuL/b59rZgKwROkxfLzy2BLXbaSHq8fE8XWE6bmPEkFKpTSzgp9psyy55fNLH7qHO61ci0rv96X6dfmeEajMxNhZG7df4+GEDr8h1qmb8ToOcSJtYIazA1HyAw6My7745z4LLjtUDEzGd1bWbuKIB+rkCtjPzaIklyO7TLyaxTpwH/xkG7QNUgZVW56HxgmYljSsxw6DYRRnoVAc2yhsfYAr48XqnMTdPaA/cuDQBQN3B55il4/KghWeoP/oHfDGN9PYB8fF52sErhAN29OYJxfVt7JMr6OnPcc5/U9oIhBFBUWy0yhUcDitDZww9t4dveoZ6sY5iGLijC/SbKfrFNPagCuoCdFM061ls3llMg5rUR5u9i1IjO8huMKqXMDweFJEWSZylvnsbxTzEEb5Eu/SCgaJi1sZp7v8E+8wZnI6bKOY6ereKIjR/kTksvjjd1CZGJ4fNEZLGAHvoHMNBE9WiyIGBZewVhvV9GplnBJZ/SL/4WFLEe4Vt3JPfZmg06BXWMUcv0azvo2kKSrOLWQVjoDPyTWH2XqH94t+j+nyY1ChGI4PVrmIMNUY9nVFwAqvQRlY26VujOPxnUF3Qa/RQirs0+0Oc4XE07yRdAQIvfElk7NvoprpUEQ+7og9/D3dsCi1yk0HlUA4gWjUT7pAikwrC6CPO1eM3/3d+440xLFaoVMskcyPmo0MK7iBfPGvwZ28LBWGX/ZKFyaAFVTGkynrruE4lrbC6YuXxwzZXbgogXolI2ITP72Vzo4jHZZN6z4jPSjqrM1T7cijg95mlzUYoicWZ2qqqxOMaI4tKer9Gs9uhXGkTDwQJRDTKtSp2s5PdrSYLF5yUck0CISetZpW7d3R+77+aZfc4y8RYkMxJi42nFd75zgThuIN/+skesYiHTlssXgwuXhln/UmReqsnB602syI3/hNTASzaiFKmLbezSwthDo8b0rKlWO008oKOb8PqHnK838bvsXDhYpjtzZQ829vcXzOX7G4ribhGuyug3za5BHJ7VR4/yOOLiKVrj0HLis2BfP+FI25pEBgfi+N0mrn/VZKbLyfIp5qYhlZ8CYV94Zpf9NLuDElnBNtM4+6jOmdmzMwueWgWh2TTgqofkXeik4MiS2dcKCYPyaSobnfk1rlcbXDvcYeLa25siDqsMJh9rSqenrXJKqXbpbB/1OLli0GqbR2LzUX6JM/UpB+HZqLRE+lqg8KpwfKCh5Nsi5MTg//ih2EePG9zclgnEIFW26BXtzE+q9BtgOC9isH40e6I7d0SqxdcRCJ+Pv5pklfeSZBPt+QWf29fJ5KwcrifIxL2Sm3vwWEBr8/HUFDRu0Inb5VcoRsvR/E4+lJxLBZkvrAJl1xCIxOL+YxIyX8Nkd5er8hheS5bIhTx4wn0sSshPr+1y6XrcXm+1gQrwWynVjDwxhQ2n5cYDAO4vF8vWd2a+H1tUqp+rYZcOOORphOUAR6fg/3tkuyHCSW0SMTGEiEefJlh9YpPnhE3nhTQ3Dapi19cmeTOrRSjzgDNKxbWduLRILc/OeT69bCsu+1tVQlGNZSf/OHM6Nn6EW+8MUPyqCQjzC67QtsYkTusMRKT54SfvgLF0w6X10Js7KUJe3zcuV/he9+ZxKSaWV/P0zcM6WC/eH1KgvIatQImVcD5mhiDrz8IwictPI0TUzYmx4Lyl9dq69PsiYdGFa/PSbdhlto94RjttltMTyUwGLD1okw4YEXvQ6speq52wgEb07M+NjZylCsj1s6HsTvNfPDBsVRYCN9hpSS0UUNeeWWW3d0KlYKIaqvym95ot8kXysxMRag0OzRPR2ihrozZu1yiq6VwfFCTsedg5GtwXL46kCpCl8tgajzA0XGdve06731nikbdQHNCJlOnUhzKDcPqhRhffHEkSdjRiIvPb51KCNba2iTbO1UW5kW/VKdSERMnjU6nw9CwSHjXlWuir21iMBqRPGizs9ni+sshisUqhdqIsMtOsdRkYVFopobYnH1CoYik29aqdbJ5ATccYLHbiUSFR1zUHOqMjYnIcJdctoPXP+Lm9Xk+/ewEk6EwNqexs96kVm4xOeum29MJBewy0j5SBESizuSCl0qpjtK3YHYb8gG5t1tnPBFkRJO7905l53yg9PG6zJzmdc4vBkhnRRIgiNMpgFJ9RkM7jbIuNWlbx1lmphwkMybs4iCSEJvhArGYm0Z7gMev0G07qFab0n89O+PiNNXj2ktONp63WZqL0jVqpNLiEqdLjdYFEY19kJJDpU6ryzvfWeTTzw6IT4QldTt9VMSpecjkK0xNB9DMQxnFEr3aF88r+P3iYD9Gt9ehmNa5d68oKfDvvDPDi/V9bA4Hh7sNzq/5uPN5nvOX/JgUC1vrZabnwlSLZVS7lW53hNMBE9MuvrpX5cJFG36P+GyYefgwjdtllxq6YEh8PwxqrS4+r41Wv0spKTZrfjxeB0OjIx8k7a6J3qBHav+UaDzA8UGP86tOSuUmuUxfsiV2t8vYfSqZwzaXrkRIn9RYXgnKiL/NonKUrHD9+jilSp17twUoTege66xeClCs1fj5h3W+855fDhge3K+ijkacu+jkVChCV4TqsiS//76QJjto+dMOTrddxpzqrZGEdk4v+rEodhnVF0OEO3fyXLwcYH46yocf7ErSq6hjiLi4AAgKZeCdeynmZ0JSKed0OiUxVeic7Hbo9VWei77Yso2ZhSB/95+S8iF889oEJqXHnc8zvPcrS9itJn70o00SCR9jExbWHzapNjssnXNKYKXb7aGvC/q2lekZF0+eFuX3PyZ0dvs1puedcrt/9cIUu0c52S29dH6ax48PZQ2kUGgzGAxYOufng78rcPGGn6PjEvNLURh2eHq/zJvvRcmmBhzuFzFZbZxdClIvNzk5bnF2zUu1rNNo6FxYHePvfrTNzdfjJGJ+cqkKlUaf/Z0is2eiaGadRw/bMtm0fMFHqdZhZlzEsC2YVBMnyRTxQIBnTytMzToJhzx8dSfPjW8EqVf73L+X41d/eEYyOETX/Pz5ODubORYWAzz46hSbxyUvd48fVQmERLLEzwiDiTk/9VyLoSKAjTWm4iFqzSb9VpeOyULquM3sjJNISJOAKOGwbdfgJFkhELXg9wjWQAmrqslEz/Kil0JtID+bo9FQDhmOUx25jXY5h6SOmmwf9/md/3KacDTAv/l3j3jlWoRQRGNnu0zA6afcLkuzA7poN1ilUsnmMPH8aY1IxC4ZIXu7DS5d99Ppm2mL+k5hyOySlVjYy/17Jc6veaVmdXczL5MypwWw24ZSp1QriiFNm0vXxuh1K5ycDFldi/LZrQMuX4gRirnY26wyGOq4/VZWzk3x1e0XtA146eVZ7t9NS7L7wrKXX/w8z9vvTcme38ONLJeW4xLydvv2Pm6PjzPng3z+8T7jCQcLZ+M8upeiN7Jx/ryTF89K/NbvneX+nawcrNy4GWc0HPLLD3K884MIVrOL27ePsVlMKILGv+KS256N9bw8MIhBZavdZXkxJOPHgigteAJjETd76S7r6yWW5+0E/XapDbt7P8O160E8docE2r3+bpw//9NdTCabTJ8d7pUYnxJJtz6drkE+25DVCLGVaLXbxMfchENODvYrnF31khN/x1aH2YQdf2wkFU71hsHqjXHGxhz8yb9ex+MfMTXpo5TrMzDERVkkHxQWzwQ5PMhQH5io1zuYTXbyuS5XLwnIYwC7SDfpKqG4g3KhLIF79oGdfKHGzYsJfvSLAy4sBznaFYdf0ce3MDdtx9obMD/u4zAp6MkGEzMJvvziiFgsRHXUZ3E8SOqgwYcv8vzGuwvkmwZ//nEKp91E0O+QG6HOyCY90A+2GlSaKm6PwfKMnc20jlUzkcoNaA7s2NSOTBB1WhamIz2cudLJoQAAIABJREFUNgepklBsWVmJmPB7VUIOYb1Q8Jq6KJqVO7sVhJ/Q0rfhtSvSfpMvmSS41Ou1kBFqZGsfm2LDpvQZi0bojEaEhFVCG3KQ7JNJnvLGOT8/W6/zzrUpto4FVd6Fzzag3G4yF9E4zRmyXlfKK2RLAqwIl9fO8ZNPn7Iy5sHpcfLv/2kPpwnyPah2FYIM5CE4mxsSiar4QjayGy2GDpVJbcDsvIXEeIx3bl5m0ten59Sw213Ex0RtSBD9hljm30KeVjM7yCjMzA35Oab8AHp2usm7jEJzDHt+Ul/8KRYxFBk58Fx9n+5pCmOQplaE4GyQXiEDriidekEyiWhYsI+HaWS2sPk0BM9fVQJUmylMhvhzk+FI6KNtcnGg+hNUjnfRYgvYImPkHvwFnsg0BC6hlp/QqVTxTJxBdU/Ta+zKjf2o2ZHDB0tsCjod1JGBqa/RHeRwzFyl8/Sn9E0G9rGXJP+m3yyg9AaSvaH5F+kV7mIafxVL9ZRG5hbuC78t31n9/AlDmlhjKwxye9LqZA0s0RfqxF4PsyoAnCI9VMEemkQ1edAbGbzBcWrlDGZvDIs9QnP/nxgYDVzuBZSxCxiNCoN6DlUMVJwxWvUiFseQoeKjf3ogXn3YVQM1Os+wa6J1/AXW8AoKDdrNJtG5BQrbD7F0qlgmrtDrDlD1KopdQzVaNJs1UKP4RIKklEG1BXAuv4JihZWp7xJ1qayd9+ENqPzyVoWQ08J334vyf/7HU66Pwf/whps7601sNjt9pcrr12bIZEd8/Pk+55ftxGMRhkqPetmQzwoBLE2etEX2nYm4n8OjHGNTQZT2gOCksEnlqHYsEgiuWgwe3KqwfCFBrVnCYXPLSqGoJQslss+t4HBYaOhmjH6DybEQQ6XFzlabi6txBt0ezzbr2BzibOtkf6fH0UmFhWU/TjfUMio3XrOw+cLAphpgNbh3u8rV6yEZqX/6IM/1V0Mw6JA8UeSA9z+bSvF5nRh6h8sCZn5YkM/TdmPErS/K/Nqvx+npfdl3F++0vqiy2HROj3uExuyMx22y0oaC/F5YLSbGZzVKqRYLZ8Kkc0UGXfBF/eJVTPa4iNNvx25RJTw2n9LlUmmoVGg1TFIDLtKmb1ybloMQwZUQidVcucH4RIgvbh3iD7oIe83sHJbx+204zCqzc356Ro/Dg45MToklV7PTZWE+wdOHGYamEYtnnPJ8Yxo5CUWFaWwg9cuCY+D29jk9GUhmnKrAzLyP450ytY4Jr99JMGyQTXbpjgyZxB2PuQmHbTzdaKOaurx6M87uVpWn2w1eeTlII9cicSaISzG4d7fED397hR/9f8/xuxzsH7d55+0pKrXy15XP1+Jkjku0OyZZ21paE4lwneODEpevjPFkPUXA4ePSS+Pc+sUuin3I9esT7GwUJH9m5YIDY+BkZPSxehUQyd50S5oknj884WgfXvlGgF/8LMMf/LNzfPDTQ1l9C0ZNTCVCPH5eJOhxYjGPePktH3/yZ2mWZjVpBigUetgsiryztgYt+R4oVrqEwiMi8Umq5SzJ4y71msHieRe95oB+T4Ac3dRK4n0xoiTubBNuukORsDdhd6soI7M0LdkdQ1YvzMiEwcpySHKAlH/8o7GRiP45PS2++a2b/OWf/ZJAICD9hCLCH4tbuH2nxj//b6fIn6rc/6qAzY2ERk1MufjxXx/gDWgszHkYm3DSa+l8/EUaE6rc5NWKHfp9Cxb7gFFTAL9c9FD47MMkVy77CcWsZDMd3C6Nyeko/UGTUqXLZ78s8OrLXnqCMqu6KWV1FK3HKzcn+fM/2cDtd/DWNxJ89FGKkaLgcA3JHrcZnxRQIdHrsMvuiuYUigoX2zs1JifFhK9BNG5Hb1vI5nJSofaD9xf467/akeo+Axsu1Sxd1dVGXToZHZqd41RFEkFTpzVcYptyUqRvuOR21OU1UasPuXFjgnQ2y+Gm6FNrzC4HuHfrSPYjz5wJYrKrbDzJ8cbrCzR6gkDsIZcTlgNdquPu38mTznRx+QZcXRVgMbGVTdBod+V2WxdiSGPImWUv61sVwlExlRZVAD8P7h7hDZqYTER48lBo78SwJU0k5pPb2EFPRD80WrUiQ2xSU1IvDyRZfnHaIQ+BpyLq40U6KOfPTpLaKdJXFQ6PajiF3tHSY9g3E044yIsuV2TEaVJnMuHEoM/6TpuAU2XtRhjT0MFPP9hkZsIH5gFe0Ye323nwKMW161NYLF2+vFVlckyj3m3isAd4si7AJi4unLfx4mlZxqRFNEtE/vYPc2guB71mnXOrkzx7VOX8JTepdANNM0uVxspaiL2jJjubZa5ci9PXdQrFttx0d5s6C/M++bu4vZMlEDCTzohevZuN3Yb8kAhlSqk54uaNIHvbHSYTdlrdJlPzYXa2KmRPRR/WzoWLU5wms3K6OTcpHswRvrwnOsUegj679HTXmwMclhEOpwCtWOQmKXlc5ZU3Zjg5LnPnkzLf+m6C82txfvLj51htVumsHo16vNhpcPVKWG7ezi7G+OnHL3jrtWUePTgglTU4syz6TibKZdGJF4kak1Rded0mpifH2dvLcfZ8iGdPs0QjYppdx+lzkztuM0QQ1IWxY4Rms0urhUUzEG/tZqPF5LgHm9PG5nqRcFRjctzF4W4Vd8BB0DeSPvdUcsD0hEcqs4qlGn7xQDOZyNY71DI94hM2zKqVe/fzvPLS1/WLQr3KpQsTZPNlHHY3hUKTfLXB8sI46XyRQcdCLGJhYO6TPx2xsBDg818esHrRJw+SjXqdoWpFNQ8Ih72k93syrTEUtHHbUBLuBZDTajcRCNn48pMcf/THl3j44ICnT1p8/4djMmXwH/9in7ffELAUG/ceVjk745Cb4p7YjtiGlE97NHoGEzGVvb0OTr/Cmy+f4dHTE+qlNi6fA5ttSLunSFDZ+FiAjRcprt2Y4cFXhxzuNaVpwTSyE4xbuLDmI+AJ8zd/81DyBMwWg0f3S4xNuynma8zPBzk67FHKVQlGrAw7ZhxeO0NTX8AcSMQ8dHs1TpJ9NGuPifEQjZ7OxpMeiQlksqPTEv7eAU6Xi+PNImcuROgM+uiNPiGvsDPUKBS6TC9aMA+tFHM9CWxUhnZu3z9h5VyE1EGFy6+MM+x2KVYNavk2aCNZS2h3dDn4Gwx0yV7xeQI0mnXJEjm3MsmXn6fY2u/wx/9imWfPUxylBly7EmZ3P8fqubhMl+h6l4UFcSnr4Q7rBD1RdvbyDNpd+bt1aS3MpwIAK6BYioLVpMpNSsxnp9IVKtM+S7MBHG6DYmlEsVABxUZiTOiGTCRTLebmPZIv8Ph+jkDcyeZ6hpW1KBtPqxiYGJ9wcnjY4NWXxIW2xvxykFjCw3/402dEEi68jg5elx9Rw3V6BUclS2LSJAdetYqDqekeLs2C3++SabhquctA1/H63Nj8Zu58dEp8zMXFi1FatS6HJxVs1pEkH09MBPjxj7eZnHYTCngplasUClU8HjHQNPj2t+fY3C1zvJGh1HLwg1+bZv1RiXSuyquvxZiejPPlvWNq2Romix3/uEY9L/5uhYlxF/fuZmSKamFWxCcNmZ7qD0ZkTqvEIkFUpSdVqutP0lLBvjAX5cXzgtR0OgN2cum6ZBucPxck3xyRPWgwd0bQmhvyc57NdOXX7dAsHIqhY0JDc/qwW0ayoy82DALEde/eAXbFiSNo4cWzPOfXAlgGdqkEU906R/tNqaR8990JOiadarGNTRPPPYWZaRe3bx3T7X59WOoaVUxYcLutItvJxx/uc/mlMKpusH1Yl8+y5eUxnjxMkUhozExZaDQs9HQFxdxj97iN02Wn02hz6ayXfF0ks1oyifL5vTTL406a/QEjxUa5XOWd18bZ3q+yvVXk7VdnqXWGmNolIvEghmAgOVSeb2RltNQbifL0+IgJTSMQCfBsK8VwqFHtDzFpZm4fdnGrFoI+E2Gfmb/6skW1MSDht/LgsE2tPyDuMdPtqZSHIwKaGY/NQrde48K8qAaZ6Oka9Z5OttDlzHSCQTuD3xdANes4+iZwWHl+XEYZWCRDJ6v3WIoHmAyq7KdyVPIj3IEgPYRZRGEp6GL/tEZzZOK9tTHWN9JYnS6O01VcAQ+vLkd4tpul4dCY9FhYjjv56HGKeNBMsykUpHH+7pdbnJ+IMhdz8PMnexxXhlycCXHncYF4CPZrCvrAhWXUwGJWpbKvPoCQB84EoWux8vL5KSwDUTVtcfVSFCHCfe933yPonGbU3pUVHbNpRH/qu1j1Z+CdhF4EKp9C20Z/6MQiwLuFJANTgG76IclCGV90gVB8AqMzoL79CLPDjDZ9lVrpERHPrKxi0ErR7YBv5hUMASEuHdDr1nDHFmmn96URQbz/FGeU7Po9HLQx+WL4xq9Q2vkxevGU0JX3pQJw0MlhcswxzN/HPf8NqerTzW4o79I5uo977DIjtwe9VxWLPPR2HlUbR/H6sNQLmN0ByvvPsMd92BU/g8aJrOI5I/MY9TKDXh3X4g05/LD6PTTzGaymJiPnNMPcFhZxE9VCKKMqXd1Mv7SJb+oSQ+cMRmEHk9Kkbw5hdYTp17Yxei0sVj/m8euo/R5GeZNuI0e3mMW18h4mxaC9/wsIXiE4sUrl0b/Cf/G/ppV8JE0onWoST3SJvmsOy+CIYb5MKfsU99LL2NzTuKynmCfOsnr29zgt9vmdX1mkWqqxvlfj7GSA8bDOR8c6rhb8T6+ZURULJ802EyE/Lq/GZ18es7oQotMbEYmaOUr30Kwqu9t55hYD8vIbCojnrx2bfcTxyVBqfW0uC6W0wTe+GyN10qCUFrXZOu//1iSFfI1e08xoZHAoBtZzdi5dj/HFx0cohlsyjS5c8cpKYu5ADIObTM74UUZdwgkxSFIp5nvUGgY2h07I5yGVbBHwm3F5rDSaZnx+naNjkUCycG6+RzQWoscATRWLr45MNe+nKgx7KmGPTYL39pNFlJGVRqfLWNhJJGpB74lESoOQx4ehmun1uhzuCCuAk0yqKoexdotFwi3z1SqXroZwWl1Uq1W5MNzdEbBfJ7o+xGzY6Axb8hkgEmGXb4bk+fbgsInHq8nz7NSUW37OCrk6Y+M+XB6VUMjPz362J58/IkkRDyv02maCEx7cDgt6v8Nxss1ppsPCvBfTSGPprJOTZJHUcY9IwCy1gLVKC4vJyoujAi7Vzutvj3G4X+a+0DlGzXIBVCmfotl87B1XWTnvQMXKw6dFFmfDZE+r8vdRALCLVSvnlizUarqEbwsDlhhspE+raBaVVLrE0w0LNy4plOoKC+NuvEEXJnuHx1816fS6rJ4LUy1XOE4aIhwnB7rzKypbj0QCwoXeEQpzG8nTAbGQIZOjiknOmnA5gwQDCuWSzv3HR8zNhwgEnKRTRZxOK5rDx9ZWigvLER7cSRIZj2MMDPyBAXvbZfzBAPsHZW7enEa1tihkdMnhER9fRbESjDkxBi1ZfTGNGoQnvRSzJoqpAvNnAtIwJWxiI4sdl1sjdXzKqO0gNifOqC2WFoJ4PbpUlQ8HGsfJKi/dGOPpkyQ21SqXcOLffnbJy7GARyYSaI4hWy8qKLf/13Oj1F6WtojTiSm8qsnLkUMzU6wPWZyzcnQwxComzAdV4mEL4zMx/vZvDrhy2SN79amjCq++PcmL9Trddk/C8jInVQlja1SsBCMKq1dCkhbvcquSBrkw5cdq7UtHZbPcYShAUBMewuEA95/sMRELSCf67osmW3s1fuUHIi7aw6XYmFl2Sk2csMeVchUCcTdn5iMcHJZpt4Xj2cBqM3PxyjT37h+jd4QyTBzmNVrlDjOLbpJ74sFhRtOs7LzIM38mSB+Vk4M8P3h/SV56jnbFA7THay/N8tWTHaL+GOVSj7kZK+PTAT746QmXr4mLdl2C1ey2ASaHjUq+z/d+dZbPPj6mXQXNq+B2q3TaAzLy0O/HqWkS1nTjahS7ayQ/MHJL3RHAQEVe6IJBO6Vyhw9/WeP7P3BSK6ucXYlzuJ2XFxGhVnxwP8nVG1HZoxU0+9kZN5VKi95gQMjvJ31akl+j8Hw6vQ78fgsnxyIqrqJZbRhDK/l8kXyhSWLci4ZCoTJkfMpMRfRVTE5M6oDjtC63NaOeINcPebbZIZlq8+47MWolOMxUCXktuFwOkic1WdsQns7wuMKXv6zz/d+YlD2mZl2TE7NypU5iwicBgDevxTg5zkvSvpjcBoMODk8M2WsXEDHRiUplijhNXjQfFPJVrHYX166G+fLTFJjtjE+6UIcDNvdbJMYUzp0N8vGHWbI5naULGn6PVVJW3V4LExMWPvhpgXjUTTRilfCyz28fEgqJGKZGu6Vgtwow1UCq4yZjArak89LL4zgdFra2RIxPRfx3vF3Fm/Ay6OooNl1k8aSbtlRsygeN0KQ0GkOZnjgzF2Jru0qj2eb1NyM8fig0j33CPh27NSxZAZVSk+XVMJ//IilBIcG4lwdfZRjzO3D4bMwuOPjsQ3H4bXB5bYJUssrkjFtu3wd9E51Rg4GuEA07qdc6OD1WcjlR7TCIJMLsbp1K64UgeL/yWpDy6UC+hPS+iVyhyXvfneLHf7NLt6nx3vcSPNlIg26VPlOv18bhUQ+Hw4TX26fZscifwbNnWTSbKlMMuVybs0sBkqd9jg4EgMVLo9di/WGbcyshpmecfPpJjnBCIeyzYbeb6XV1hopZbuYtFg2np0+j3sPt1dCsCsmkiEPbqBR6mG1DEpM+8icGvWGe+bkgu9st6eM9PGhRrHflpn17v8zFCyH6nSHJZAOH14bPo1JpwWzCKvWWYzM+HA6NZq0hBzWf/CIrITcjc5tGRQww3TTbAvpXYmgxMTMZlBe7zd0qv//7F/inHx/gdmicZiqsXvWTPhad8AbXrtsIhJ1sPi/TqfYJhDUqLUNCaB7eqch6T6fbJpMccvGym61nDTxhjZuvJyglh/z5n69z+ZqfN7+5xKc/2+EwWeH1t6I0qmb5tZy74OcffpwlEjWk/3hizC27//GYBoaIBJ6ytOrBPHRgtTdIp4ZMzIp+6UAmfjSnIh3BS0teDneL7J+0OTM3LrtlL54VKdWHxIIOHt7LY3fDufMu3C4/n32Yo9Ro8uY34vKF2RVdsoT4mXfptroYmBkf88ot/K0vT0lEPaQLXRZnTSTiIVp1g6NMgcUF8X7oSz7JjRsxHPY+RydikOjDFbSzv5UhHvfgDSo064J2X5KsDJOtTz7bJ5Nr8SvfW+HRV0lO823paA8lNPnc1Q1DApjiUY1vvrvEZx9uyc3f+HiC3Z1jpqbCEoJTrgxxOgecnDTpNDQuXnNLLd39L/K8+d4Yz9cFSNbO+Us+CWv8p3844PrLU+xtFGkIjZbfSqsC09Me0kXRq9VlPDkUsdOsjhiYWhIq9NlndeYWRfrKw96uuHBrRBIaG9sF3nppgVt39uTmpFItSl1fJCJiZyKab2FLJEBmXZKT4XGYePQgx+rlGNvPyixf9GGx2nG7rNQKXTLFtlTFra252NjN0S6PWFh2UKuPKBX62F2QOemytdPm935/DpdnSKWgMDQPKaSrTM6F2XhSZHLawsZWh1pV1GQ8+IIuWYXpjvp0agZnz/ooF5vUO30sqp1KtYbNamX5nIdbHxfQXBoDY0A44uD1N2f4V//XPVbOePH4HXQl36xLu66i2EQ1qU0urdAzDPx+laUVYSmpsXLRw/7zIjNLQZk8e7xeZmLCKTeuR+mvD6w3Xo2QPi4xEhFZ85CpqQCHyTobG6dcvziFMWwjj3RuExUxLLSMWJoJ8g+/3OV33p/nyYM0mZqVM2c1oprG3SdpAhGnHACvLkZ5+PgE1TXEYwkQ8So83KiyPKdRb7UJBhwy4bC27Ec1mdg6FVyeAe9e9/Bsv8Wy38HQ2sbe7OGejvz/JL1XsGTZeWa38pz03vvrfVXd8raru6oNqhsNEAQJggAH5BAz1FAvUjCkiJGCowg9SCEp9KKJkB5GYygxZkgOhwRBYtAAutHeVJvy7pq63ubNm96bk5knj7R390u/VJtr8py9///71sKhwu3HOcZHQ9QaVU4uTPLB7R02C7DR05gOBcnm6kQEQHRo4cNnDWo1Hc2sUe3ojKZddHtiiyZApzaaWgtNgGRHAwSDZjbWc1gNlbMTHsbiXpZyRUpF0fO3SJ7NoCQG3DrXzo1R67SlIpJhH7PfS8I8kJDOnkkj5hed0yFdceB3OyjUC7Ljf3HSz0axianXY0Q8z4877Bd7vHBpTGTH0VULm9sV+f9pNaz8+u42/+t/+03+6j98IpMaPlEPelLA5bVRb3YJxVSebw3lf8sTglZJXOf7RBwmCTRsaWZ+/OYCbnOeesdC0trE5Jsl5tcYX4jhM9uJT6fwxlLo+T2sV74J+xWIOBmKgUDbhbO/Qy97H0OJobTK1PQ2Nu8JuvkdDtcfEkqeITy9SKucpds5xOOJ0dr4At+pWxR2tjD5hnjMoqZawaxW8QrVYTWDzRmlufcJFkcQJXpORoctnRz9nplWsURkclYSvIf9IvbALJXMKoFglHa7gc03i6r20HI7KOE0zcIyzugiFneY5oOf4EzOYkrdor/+SzpUUWxeVNWJYhngCV9iqHVpG1Uc7SpDd4SupqEdPMRsFumHE+iGHYsrRHf91/S1moQ4mwNBHPGzDNplWQEY0MHiTmIZ9umVtjF7hNpRJFM0TA4Ppm6LQW1bJpEU/Hj8QVR/jJ57lMHRM8ymLo2ju2CL4b/yI0wby3Rqu+wv3+fS//Cn/Pl//7/wP/7LFb773VPsrW3hiFrJ7fbxuro0VCuZ3QH/xw9j9IdtzIYNj1+V/0+FrEKh1OTsYohsSSPqc7CyfkyjMeDc+RiKoeIL26V2ubCvsnDaQbUh3isWSvkqxUqPo0yPmYkAoZCbew+PmRn3yYtyt2Nw/Uacal5nfTODze6UQ2PBJRFg7Warx8oTAcKOSyjcwGRjYTbJ6op4d7gYGAOuvZBgfaVEId9lZj7O/mGJTkkhX6xw6/URdjIDllcOSIedktHQ6lW5dmmav/npc86dCTIx7aNaHDDQBfS2x2FGGGDEMsYrweCXLvr4/KssdpsHp1Uo0sVCaohFDHsjbqoVwSnRMJttbK+1JMxN63Xoaib53ookfHz83iZnroyS2c3h9bkkE2Fu1kfuuC9B2WfOJdgVcG9D3PMUfN4hp8+M8/7bWeZO+bl3e5taR+XC1QDDltjGmxgbCfHOL7cZOiDktWEV+XO7jVKhw8y8hcNMj93NtuQbiTryxGyU7EEOdAftdk867JNxA7OoLHZ0drI6N28mUfoKq8vH6ALgrhtYTFYJQx8Oeqwu17l6I87xdk2mSTodA1UMmnNdpub92AdWfvbLPUZSNk7NBWkpBo18GV8iRvm4IuvVkXCQg/0cs4tBVh/VmVzwkjmuE/B52N8v0mmKf6eVTq3L2St+2lU7uWoBr0fIRQVk2M7Lt2L8q3+1hNVmY27KgkW18ehJhdOnxOBY6BT7mB2C3+WQkf1a2UK73WbypJuNpw0i4jwmxps2heWVIpMjQcoFOH3Ohen/V8z+5G92uXjFzuqSSMD1+a3vT/HRLw5R7Yb8Z3WtTzDgpt0bsLlekzpusUwVdValb+K4IhbeDvY321IJ3u0NZFLO6bbJql2jJHg0dirNOs1GFb87QEPob0sN6o0hyaQb03v/zYxRrWYxFBup0QBffHIoydkvvhKhUKzy4G6bW2+EaFUHHOU6pONBitUiJ+cnODxq0qhXuXA1yc5qlbWdJo3akJsvR2UkZEPE1a+Zefywg2IWMWALyw9bcrr18otOdvd0SVj/5rdnuHNnj2qlz8H+gFffSGMdKrQaHfLlsqwgpCe8LD/p0G1VuXlrgo/f2cbmUnCYHewcFDl1No7fbcfigO2NAoO+hROnUrzz9nNmp0PyMt1tadS7miQ0C1fjd34jIbdnAjh25ZoA6nQpiWhjwMnOdgGb10DrCH97m1NnRVS5RR+VWqHD+JSfWqFCcjzC0lKOcMggmUyxsnYsNy/mvoojYOLmrSi3P8oQD0RZ381KwIbRVyRoUKjWRifC7G5ViUZCpFJCbdSW/dbnOwVZL0ik7PzibzNcuO7DH/aT2cpSqur4XQ7pytX7gv2mYqgGm5tVXr2VptfSyRyVuXx1CkMfksl2WVk74NRcmnKlTLMzxO92SnhFNOpg77CF02aXkz5MdYIxJ7W8Ii/nVofQoI2gKCZK1TpWzLhcCvcfVllYcMmOebmk4/Qb2KwO6Zw3qwp18T4OW7j/tMrCKRfd5oBSrkd6zIwv7Kec/7q28PGnh3hsLq69HKZYGXCwUqFQ1dDEttHj5PRpP3fvCY5EkueP9kiNecgVDPlB/vSrI/7xj2Z5en9XesEvXErz1/9hhVdem6RWaWK1i+6OXXqp212dZk2R2sBgxIo/apVAxPmFJJ9/uiEHJ6dPT/GrX63KA+W1V2b5/MMDRsetrK+WUC0mInGPBH89uVdl7pQXj9cjKypicys4D8IQURG/s3tNYmkP4YiLo8yAVkeoIs10tYEEM2Z2+gxoSF3Rwyc13nw9jtPvInuYlw/Nc6dTfHmnTDBgkCv2GE37ZP/d6XEy0DUwzELyi8vVIZvp0en2OHtmDH9Y5faHJXxeZDzd4bbKDW6+XJM6yKNtkcYRPSJVmgHiEQdjsx62xQO8p0lQWizswGTSxXKVXKbNUbbH735/mt1MScbohbfUHRgSCcUolctEgxF++e4mv/HmOF1NYW+viD+gEk07oaPz6GkdhxXOnk3R6TU5zgnlpY/3PzjAaZiZFF29Uod4UtD4dbLHXaYnwzx6csC5y+Nk95qsPj3mxVtxjg/6FMuahI12mgOmp6NksgUKByrxUQvugEG72mdsNELmuEVmu0407aZYPMZi95BMW2WXXUxtxeBhZNzDkXDi7pZZPJGk1RF3JGEuAAAgAElEQVS1Eg/1piEPzP2+0CcJjZDB6qr4OyRHXFgcCnbVyadfHMvenejc3XxhhGDQQkWwAVoWWu0W2ztdRiYcsodot/ewGn5uf7XHa2+keP/tHMGgQSwckTogoboUFPyeacjRpsaFK2FyuTpb62X5fDXb7Tz6Mo+udvijPzrPn/+bO1x9YVICpO5+lcfQFcYm3UxM+fng59ukZj24TFa66lDSexVVkyT9kB901ZDEc93UY3YiLje4mYJQllrlZ1T8fCLjKrWqhW6rJz/P4mfd6Jo4MxemP+hy916e04tjPFva5+LZMfp6m9sfV1m46MOq9HBaHdh9djaf58jnu5w+G6XT0uQGodUJEIv36bc1QpEQW3sVFL3NzJyooFTwRywc7g85Pe1ndbsiD03pmIfUqJ8nz3IU8hrXbwS/tkJUh5iE2sqqoepWGZ9tNQQY1i4PI/fuZJiYinJ4eCjjckJVKkasVy5F5e/VjIQOVonGRSqlDZ0eisNDrS6GKxXWnxu88nqUnaUGumJw6WpEdq4FR+R4v8uVl0b45LMdysUB588H2VwrEU26WF9rcmoxxtSsicf36xzsaiyednGQEZTkHqkxPwvTMX7690v8wT85yy9+vs7hZpcTZ4RiM8Hmo7zkY7g9sLrcJBQzUBUHxrBPPG2TBo2N1aqkx8/Nebh8PcLyoxqlSpVIKMzmZkluskpZ8Tw3ye+B6AnGUi45HN7bbuMPWOh1DU4ueAmEPPzbP9vglRtReWEbdGtY7AIuWKReU5mZt6G3zCytlTl3OcLeZkcS0hdPj/D2L7aYmXZJfW1nqJE7EAqxAdevJXm6WkFVTChDjWbdgj9k5+R5J3e+KJPZ7fHbP5jiL/79ktQUifd0qVqhWzexvNTg9GU/WsPgINPCpQ4Ynw8yOuWlXe+zuV6VgyfxDH/jjRHe/2Sb+dG41CyOj9nQDJWvvjzgwukwFtVCvd2XWqa33srw2jemcTjr8rxi7qp4wgZ6T+H0qTSPHuwSTngJhjx89uUWoYiTkRGHNOC0NdjZE89jMxbRC43aadT6mM069Vyf0SlRaalTa8HsuINn+zXsYlfdHUo7x8vnQ6THPfRKQ/aPGkzN+LDUSljFkHa7ihp0MTHl4/NHGaYSEfL7RTbrFqbjNlSnmffv1fH6A5TLZTY6FnZKOqmEA7di4/FRnlZXlYdGn03B4lTlc/y4YefUjJtBucOOqFOYVcIOEzbLgMlAiEazI9N4NqeVck2V+sFSu49JsItCbrYPCjhMfWYnEjxZyVHrwAsLPp4ftwROiHa1Q1VTeWkxzcOtXXxWK+mwmabmZqdQ4pXTExiDKsd1K5h1knZhB3FxWNKpdZrMxoMMbS2GbSu7mSGxERPbyzkqXQUGuozK7jb7+M1u9vJNqj0EPo8xv5mhRcVt0rjyQgS3Dg7VhtvVYubyRa6eDeKfWASvFWW4AO1NBgiwrQV6dTkA6VXAcE9gsxTQjndk8sQST1L48iMcnhD29Fk5pBL1s0ZTKLpM2KMnqe8+wu5Lo7sMHCYnPWx4Ymkax8sMqxtY0pdROxr97gZDLUavk0WrrRGae1Oe/YRNwGZ20msUURw2lGqenivJQLVhG1ZQ6GOYQiip8yjFdfrtEs1mAbtSQBn7Fs56nkEgArUuQ1uPQbGIavfgiI1S2/kQZaDjmvs99NxnaJYAZkOhX13D6Z1naHcwbIkU6ABFDDFUH+aWYH8t44+fxhx7CbNaI3v/32MJTmCNnGCw+T7oNVxj11H9c/RrOfReGZwz2PvLMpkanLnA0eoG137nf2dmwofVEBo+RV5WxnwqqBbeepznf37Dx29dDvDzD/LYQyLlAtY+EmQ5NeeV1PZY0kuv3mfihIN6TpVLn5Wnx6RSMey+IXubLfwhg3t3Wpw75SEQttFqqpRLFXxhBw6nCYdduBaR+vHDrC6fm6KeHIyorIut+ogA88L0VFx243stFYenz+RUmCcP8tK0ceHKCI+fHkkuiuB37e7UZZVSUQ2W1+uMpcxywSL+PSbDQbdXYjBwSsC1SVGxmXSsFhulqtBBwspanStXE3h8OvWa6Hpbxb4IxWrC71c53GzQ0YbMnYmytVHG0tcJpO189G6BZFzl6kuj3P4kK1WYFy5HyRy0iMatvPd2kVtvpDk8zJFOCnp8ieuvpHn6OCfp72IgvrtdJJl2EPL7JYju0b0mgYhVqu7eeesZg6FKKhlka7fEuXNxMhtNxmZc0ta1tlSVuveQL0BJLBf7XQIeG7Vyk1DYI1NTgsPS1np4vCaqVUOqgCvtLqmol+FwKOPt0YBFqji7XdjcLnDpfIJcocXJUyFWV3LS7OAPCKOMiK0bVGtD+edPnQtJK1mnhkxvKzYL9eMajZbGzo6GM+DmpWteyjmNlqZIte7Ofoet9Ro3XhWQ8AJuq8rApJIeFza4pnzf/+KtI169FZOfxdufbDE6F8WsGgTddpaeFpiYDrG2mWPxXAy31c69u0cS+h0LWyhk+3zjjUk+eH9HXvAvvpTik19v0qkphNM2WWsTdetYysmwb3zNzUrYJVBd1J7PXRQXdiuxuIej7DFrzxoyvVis9hibcMh6Z36nidMnYMkdqQH3ieVkxyRBqm6fQT4vrFtesocVCYV3eWykE162D8q4rCZS6TDlcl3W6nOZKtlcF683jM/V5vprM/zirS1M//H3Y4be00ikfATior/r4T/+2UOmTgaoV3U8ARuHOxUuXBmncFSSjnevF1p1mDzp59njrKxziTpANGHncLsuQQlej4tao8NYysedR6J7NCDmc0myoWHqkt1pU9XMXL4cIBTwcvvjPaIxJ/G4g3ypRrdtlrAOrSvInmnefWuPG6+lJAPgyYMD3AEvuq4QcKusrNZJpKBRt9HV6rIfE/TbmZ33SiWWK2zw7IsykZhT9qjFZSYeCxINKty7X2LhTJCP3z5i5oRXTuVKlR6jYwnZ+zbpGod7TcKpAKqpRyhqJrPfxWa3SluBgK2pZqFtCPPsUR6re8CcoPPuNRibDvDhJ1n05pCbN+LSMbq+UebsJRfdgcLztSLfeG2C2x8cgtKmkDURiLo5eynI7mqHdqfLq2+mCQa8/Is//YL/+k/GKGZhda0oIX7moYNcPk80KdR1AQyTwvJSHtVkIhh1yviV0JOVC0KJJ955wkPexmyxSR7Ds2fHjCbd5LNNpk44adUVinkBUephd+pksyKK1yPk9zC96OOrDw44dT4Killq/kTEb2OrzskTMTY3SszM+MjnhKYszjs/X2N0ys6pE0n0vsGTJwU6wyHTaSfp0TjP1/exqIqcbPp9dnqGnS8+z/Ib34kQC4ZY3S7QrBm4PQaZAw3VNODMeQ8TY+O89bMlzl/xoDWd1NpNIjEXy0+OqdcUSfN3WkQ0a0As5pS2hproHOsOphedbD4ucHwMv/tP57nz2QHDgUalqsvD65OlI04uCKjGELPJTaXSIBgXoDQRO+6gtQacvBhne7WEzQVer0Ii7GPpUZlSQ2dyxiZdx63agOkTAR7czWKxKsxMiqmjuBgOCMVtxBIODg9b7O6KQZJPgsjEnx0X8dtMn5ERG5VGnZDXy9AkSP5eFHOPlYcFonG79LMvP65hs1kxTJq8/CVTHvYzNWIhD6kxi7xICwdyu91EV4YUMwOCCRvjU0G2VrIMzDYONwS8xMXctA+TYqFeazA3N8Hqclb+DogHtVAnutxi+zTEaTPo6SJlYuXtXxcI+OH6S0ke3D2i2hwSj4IZN3aPjVatLyF0freVqfmwVM+1Ghp3H1T5/m+mcQettAYaW8sNnG4H1XoVuk42d/JcvzlNNnssB1Ktdp/pmSB7OzVGJq106w7Jz0iPevjFf96WsL98KU+uYCHuExUChcJhm5lTLjotnWZrgDEQPbMI0bCJv/7JjiTABtxWDo+q7GzXiCTc8us1mxTWlzqEkxaq1TZuh5tcqcWViwHsbi9rq1m0rsLMnAuLZcjutiD3mrj+coSf/2yDV16ZZ3sjT9hn5rgwkAfeSMgpdWZdk0rQpfD8eZ6FhQhWp5NWtSo336fPxlhbKuGJGDx5UGd+2oPdo9NpmbGbrVSbwirR5PLFMIfHLa5cSLG108CmmMnmKzhCZsbTggNR5csHVV59JcnEpIu1pyXZx9vabJIacbN4OsnnH+/IlITo7Ys+utMpnkk1YlEHDrNgMJjA6DMQID2ti8drIR4J8t77G1x5IU2nphFMeMlna7T6AzkMdXs9xFJWCmJAU2+STpqxW8V2uC+HcMJPa7WKl2Cf3a06lXKPMxd8NGrQbHZBGbLyuMv8CY+Me/dqPXpDg1DCztpKhX/0T+Z552ebiL+CYbuk8GazR1iGdmIpP2WxtdFAFcpKq4Cj5omPiIFRDZfdxH5W4Krh0rWE1MndvVeUar77DwTXwMrs4tfR0U8+zLJw0i7VfoaiMD4epNVqSNDi2KSZjz84kG7haNLM9l6VmbEwLp+VQqHE2cVZVtY3sBhhDEuDx3fq/ME/m2X50RGb+21OzAU53C/iC3nxe9zkDsq0Bzo2l4NmqcH0QpKxtJVWw8SXD/b4xutTkpCfO2jji4gNiZN6sUOtq9Pp6BwcNvjh96dlNPSzr0o4nGauX4pSrWpUi1XOvTDBWz/ZIjJmYzzpZy/TpN/uc/N6io/vZbEI5LepJ5+RgsFgUoWet8tAt8p3R6Ug4Hc6QXE5zRrysy62zXtHFSYnYty/l+HkySDVVpfMTpeXXo2yu1FnbDou46CiV95t6Vy9McLywwJPlqqMTtpksub4uEoyrDI2FcUTshONWFgTlS9D9EL99Hot+l1FAj+rZY29wzyJRJS52RB3hBpTFTYaG2ZbC5PJydZOlXjCSyRmlds8k27QF5tvTIyPhnn6ME9qxo7X5WbY7Uu9VL035PL5Cd77YIOD4yavvTTNwye7BH0B2p0BAceAgXVIq9liY8vg4sU4VjPsZCq4rMhngzgfiAG8OFivrVXxO11MzFv57PMck2MB7C4ferMnlZv1VpfdgxITiRBWh8aqjMva8ZkV6h2do2Ybl9XKt64lePvTLFq/RcRj5/JigI1DoWIDl6dHIuST7zfV+PpslBV4fzOS/v/u0xwn58Z4vLZL3bDjsjkw1eo83+kQjHvY7ljJ1yoctVTcThdux5Cdioai9Sl3B6hOG6MOmJ/ysJMR0F+VqNfORNLD8WFVcgg2iwPp0651BngdZpK+MLlSA1dYpdsUNHuLAPPz/FAjHrCRL3fxedzMxkW318wnD8powwE3T4b58skxuWqXN85G6Ssm3v0qx7VLMWyNGrWuiQuL4+wVCyiKis/rZuO4zlCk23wiXdYg2xwwNx3nznpZeu19bje5chOLSaWj6aSCFoa9Pj0zxJwKCY+IEgdk+jFktfLad79LcMZDN9fD2ungTI1g8ZvAfRYKX2D4ZzC5xQqyS3f9LlbR+U+dRa+V6A+qtEpNnMMh+Z0H+OeuoVoTDDtZDKE58U/Q2f5K1hO7lnEsbhdKZYVmbh/X5Cto5S0J1fMGztDtHWG1OtG1Ep1OH0dwRBL3PY4AJouDgSONKngnjSLN7BKDTp7A1BVEV0m1JGRtsF5YwmKLYfMlZfxc0Q3M9QNMnhD9vkqrsobeqRJInpKkfzGMDyfPkn36Uzy+CXSrAvYkQ6OFOf8E5+jrEo5JY5eew0XvaI9uJ4cnMYvJEFHlPoo7Qmn9C8be/C6V4jEn5/4F56e9uERlpNPBY7Hgcpokc2E13+dKVOd/+s4oXxwUZKpnbi7CwUaTeNKCL2iRvXS/x85+sUDY5WS30GfQ7FAsGLx8M0K+WGVlrcuVxTA2lwmb08bBbp16o0Mo5mZmNkwhLwwxLXIZmDsZZDruJZPLcXDUQVEskpVhsXpkhUxwkDQdxiYsLD2uMz7qIzHiYulRXlpx0mNBQhGFO1+KCoIHm+KWw18x2F8840ATZ8uGGfNwKGnwor/+/FmOaNrH3l6FjtbHYbNRLra4eHUMo9+WZq2T50d5+CArh3ACeny03yA1EiI9YbD6VCN7VGNkzEe7pVEqdZld8FGvq2R2S8RHPPh9ojZWx2QyyTj60tM8s/NxHt7Z5/zViNQUCluIx2URigJiKbusVS6cC7P+LEs4YmfQG9DuC12fLgGDZ0/FqfaLtBtOycYSkNq15x0SKSujsxG+ejdDYtyMVXVw/36OsWk34aCfXKbI+Qtf98ojSZHs6+CLmqWCWGzyxfelIUxDmhh4OLEAzXafzHFbbrRDfge9toLNo6IqgldU5PrNlLTPCW1yLBHg6f0djkpdYoEgXa2N26ni9H4NJ75yY4JH9zZYul+l1ulwQiS5NZ3kiJ3VbXHmbuF0Bxgfc/H2Lw+liUykSxIpF+lxNxvbdR7fyfObvzFLqZTnzsM2r7yUlBfquw9LfPe7E2xvVKRtQhibBpoJu9vK6Jifx/eP8PtMMrm3tdkgGhepDQeHhQbT4+J+oqArCt1eF1WxYOhtYvEoS8/2JAuu3QGbVaVW0xibcMs7aSabw2O3c+dekVOLLoFppVbRGZ1yynuF12tlbT0n4aA26wDV4WY0bcWiOPj08215VgsG7YQELP2gTK3WJBLxY/dY6PV0yXtrFAbyDFHtdYUGcNKwWXRcfjeffrzMxcshNtcH7O20OH3Gj881RLU4EVjh7d0al65Nce/zNemnvvZKktxRmWK5L00A6RG77Fx7fXb2tlpMT7rpaSaplhOTnspxg3jaTrE4JBy08vHtPBcEJMSvSsf4yrMSly6nKJU1FMPgON+Ul7FkKsTuVk56MQ/2i5J22C0L5ZVBIubC6jDLNED2oIPTCbl8k3BIUB/bXLyUolQS0fMGqsOEYgja+AChsfR6Tfz2j07y//5fT6XX8+Y3POysDjC7BxJqt7uZQ9P79DU7Fy8KY0CT9z845OrVED6PhfsPa6TSbnl5OXc2whefFYmnzKAhp6Lljk7SZ2d0KsjuUYVExMXOWpEbt2YlIbKSh9EJB8l0SEZqd3fKxJMufD4RH86SGPfx0S9z3LgVYqD15GTww18cUa72OHfOQ62mMDbtYmunhE2xkIi7KOTb7B21+eY3pzjerbC8UZEQQdUw0WgNpG90f73GhIjUqiZJZO62m0SjHqlpXFuuEYo6ZR+0Wqpz9do4n93OSFrwiUU33YaVt9/fZnbOjMfpIZwMkj8ssbfbkJvCqZmIhAAOe3aSo16Wnu1QqZglcdwYiA+LRrNlcGrRja4NaDZ1Gk0Dv19snrv4/SJ90UIxi6/HKinc7/36iHJlwMyMS4LnxtMTBCN1OnWFakN035GxfeE2jY2GePa0zKl5pwQsHR42MRtDRsdF/L6MTUxPb8Q52GhR6/TZ3O3yW78ZIxS088Gvcjhcytcqup7oxBrMzIWlUkUArMSDTasgoXRCY1bINyS9tT1oouhW+aGamffRqgvNjgdDERuZIVa/XVYcnt9r8YM/HJebs8y+h3whw8S4V06ChclgY7mMy60QjVnJZvr4Q2LS2EZVFMJJLysrx/KlKejXdqeJet2EJg6OHjv6UGN0JCYnq+2OYEUYTI6LIdwAX0RlZ2dAPtvApBhyODY16vx6w7dWZGbRKzWgd76o8+otN2Y8MiqmDzuSSxBJ2uhrYnts59HTLGdPT9Ksl/FELOysNOnRZ2I6TqPe4OnjKjdfGpWk1fZAYXEmwur2Mf3akMSoD5O5T60JVkPEP530W0MSaSt3Hhbxu1Rmp32sP6/L77XQuTmdKr1OT7p8U2EbR7kSw4GTyRmX7DNNTAQlP6GYB6vLIJZW+at/l2dhEa6+kOTnf7fD5Stx7C4H27t1bIpBetRKsTxgPOmhkC1zmB+i6wZzc07efa/F974fopjvyDj/KUFur7TZ32hy5lKM5SVx+DNx5YUAdz7LEU/ZuPXGDL96a521ZaFP7PEHPz7BB+/vUhGHa1WVn61Svsb1l6JSl9rq9KXm7803JiSB//MvdmVv3IR4hnpl9L5S1zl50kc+30K1qTJVIJRWHV3lzLxbDtRKDTh/NszT5TxKT2VcEOtbLRKjAbr1ITvrFQzVjD+BBOGJHn+7PpBgpmAsQDZTlb/DzoATu6Jgwkr2uEwo9vWhJBp3Y0GhWK7h8Fqo5k1SD7uz2+byNReqLr6uDOWqnd/78QyffpSRTA7xsnU6zBSLOh6HwdxCknfe3ZbMhNS4k8Jxg1TMx56AKs34pQ/+nXdL/Bd/PMnWalmCG7tak62dDg6H+Lo1lKFNKjLNHug2hpjVPvXigEq1Kw0LBwddFub9NLp96bBfPCXqWh1Ong3KCke7oWAIrgIKqbgXLH1KhQFbm3lOnglg9FSO93T6Jk0OtQ4PG2xvVPnWd07LP9uv1/jgkzxa28z0gkN2D3VNp1gx8AcFi33Ik/sNXv92Em3QZuVpB6fLkKTjmVkLz5dr5A4tnL/qIJ+v0e+I7VdHOuUdHoeE8r14Jkyu0SAaDpPJltE0aHd7XLyYoFSoEgt7iCXdPH2cZWw8hM/loTfUePBlXppO7E4btz87ZGzcx+lzIRqFBpF0kM31HIeSZjxgds5Ptdrl6dMaJ2ajpKcE5LbLyKiDza0qDCyMjFllrLty1CUxaifsCfJ0fY/MYZsf/ugMD746kD5qkRaKx4WTWqNc1RgbFW7nBidOjpMtlpmbSbF/WMCi6Dy+W+a//JML7G8Vuf3ZEScEo2SlSrUg3MY2LGYba0stLl2Os3dUoN0Wl3c7FqsFTR+Q2RdbEJVirk00HuDUGR/PHlYZ6F26dRtnXxBVPp1MsYjeMTM+5qBWH1AotLh+PU67ZWNjt8Abb47wD3/3HNXs4bVvCM92mUGvzeypNE/vF7B7FdwWM+W2qJL5mBmL8uBOhlDQRXzUxi/f2ceuWkgmLVIFu/yozivfSFMq9qSpQpwT/vYvHjA2E5I/j4DfzP5mjWZ7SCAORteKy6fy2cdFJha8GO0OY2MOkskYP//7ba7dDLFz8HV3d3ZWsFRMbK42SY7ZSU77eOsnh5yeV/AG3MxPRVHMBk+WszxbafCD35nFG4aPfp3j+tW45KyEfQZUBpjsBmtbDex+t/zZlesaAacV1TqgrSvMTCf4t2/vs5MfknQLEKiXJ4dtPtjVmIxbydZV5gIqXWPIeDKA06qwvJ5hYLIyEnGwV+ii2My4lC7VCiyMOhgOu7Q7ZlJBB4VKDbvTiVVVaPWbeK1ekm4TBw2NQqWDTbUz1NtcPJeiWe9zXO0yEfHwbLNEYswlbRa5XAOb28piPMrBcUV+H6cTPh4+y0nq+6OtClu7Q2KBoWTeZLINBv0hE3En6/ttil0R7h1y3BwSdZroDA3cfYOauPP3kXXAqMeMK+lmxOelVywwczbI9771KsNKi9DMrFQHDopNvOcWYKiA4oHePkPHAs3772ALmtCK62giDdgWdEor3rGb9PYfMKjk8M+dotut0C/08U9MM2hl6atxGtufEVw4y1AVjIuMHHr0DDN6/hEDR4rw3I8xTDuUn/wSm9MPvijtjoHPbaVRa2A3ORiqZezOUdp6B711iC18DocoC/abWFs1NJMN99iE0DVRbxXk5nRQ2qHZGRA/8V1ax1/Ry+/jnzon63Z2RxtDeN3Si9AsUz96iGf6EtpRGbu5jdrNoHcthH/wHb57+p/zy2cl/t1/d5OffviQld0G37sa5+FRk/pWl7FpH39808SI38VPPyowP6myMJbi7Y+3mZsM4PKbyR8UaWh2WSEUtdSN7T6mobDlwDffTPHZ+2LB1ieVCBKLm9jYFJdgnWTcL3kgmQMRbxfkfaGwNXN42KPWaHBiLoTTa5WpItQOU6OigjBg6dkxJ+djjEwHOTgoUclqRJN2ysU+umlA0GGl2u7KTnuzoslnbKUEG+slOagWW+VI0o8u4GbYsFg0CWJttgRk2EIw4GDvqITH4cLlcXG4W0IfGIyfdLEhFh9OJz7PkIPjqkwsJ+Ju7G4ntz/Kc+2qjZkTUZnInpz2UmsOeXKnwPiMF5fghfjdtOsdvriXZ2HGKy00kYSDnc0OZkufl24k5DNJWMgEB+U//eUGL99Ky6F+IdfmjTfGeeuXe3J4OJX2y/Th0XFRqg1398rMzbqxOlwSFC5qqfFURL63Qj4r84th3v75PrEJN6mYm3bbSrGYI+Bxkst2SI1aRCSC1WWN9IgDv3tIqalJwLHebWPzOVl5WOL1b03Q7g549vgIk8ksk1a3vyzx4o04H3+4x80b4+xluxxtl7ly2cf6tiatA/OzUX7ydxl+9IMJunpX2gjCKQ92XcVkNVhfrvDmt6fZO9TkOeFgq0JyQiS5EtitKrc/fU6jr2AxRNnaJNlGqdGQPKOJpJg407VLLUy4CCVtHOyIA6uFqEjkFnQa5Q7xuJ2eZmf6pIdSsYjL6+P506K0DBzuNTh/KYXZYuFgV1SNfagmhQePjzl7IUax2KV4JN7zLiriLNjUePHFEQ52GyyvVDh9MSQ1uu1uV6YnLXaDdssqB9w2s5mWSDT3W+zs9nnzmyluf3rMxStB9jfFEtIhtegWp5NXXhjl/rM9pkfTDOXAWCEcsvJsOQ+GLrUvpp//8YRxlC/Ig3S11MPrtdPWajTKXc6dTfJ8++tf2tSIh1ZTY/VZjWhcdNU1JiZ8NKtDrr6Y5pOPt2SnMDpuY3+vze5uk9ffSFLYa5CasrCz8TUboNM2sfVcRM5VLM4eV18Yp9/p8WjpWG6H/H4L58+LDqbYxgogiE6jrckL8tS4oDg3SSRNlOstIkEnwYSdo/WuhAWevxDh+XJVkq/nZ5IU62UJQXD6FQ63WkxMRfjqi33OXwwyO5dgYzXDwaGbYLSNPyQirzp7qxXmT0fkVDufMTE66qReq9HV+pLE3u6aJaDOHxxgs1lIJQNUam0UY4A/ILbtDQYIkmeH1785xtu/2uQb356iXevKCZ8bGoYAACAASURBVKbN6idfLENvyBvfO8kHv1iVtYczZ504Ana0+pDDgwrnz01SqOTZP+xKiGEi6OT+4yNKpQG//48vsr57QDXTxhm2060PyGbEli/AUG1g0lz4owKyolNrmhn0u4wng5RaAopR4Oy5sKQua10Vh7vPUPdz78EuVy7GSafs7OzWOdisc+psQsbRnjwry9jswgkXdodDarKEbsNhN2NSdfa2B3znt1Ls7wsGRFOCAmuDAeNxL7ubHUYm3SjWBn6nXwKXtK7oj+qy03r5hTTFQlPWPWZmk3QHHfZ363KKJ6anwgEvOtRC8zboqDx7lpd8ilDQw8iYiydPDjh9KiEVR3e/FB9Eg3DMhcfvkvFEcX2YOxVia6tKPtfA57FjsTto1Hq0e5r8WoY9BUOQliNeInGDwqGIJnskTNAfUjjcbcmLyO/9wSluf7RHuVpHH9hIjlmZnR6VFQLReR0iouU9QuEgH76/y/d+e4YPPt7FbjXwehzMzQT51VuHnLscIJMXjAyVSDTKcNig2zBzdFiSxOSm1sHnMhGLRni+tcfYSJrVJ0WuXIvy5HGBQMgiO/6ZowahuFlOh/M5TYJpon474REfu7sF+k0Fs7NDZqvP7HxUghqb4oJUMzEx6yBkHbK8JnrZeZJhF4sXonzx2YHs9F57Mcba8zrVgsY3bk3zycfrZCt9xB1q8WyArY06mqYzOupGR0CdxdZUIxwKo6DRa3cIJAO0Gx00fUirrDMx55HKFKdLmEZUHj5qkh6xSkL8a6+OUC53JcFdgNfsdh/z02H+/mfLckh04oRH9tvFVUtE2kvNJosno1LLpxsuZmYhcwjjoyq7++LnZWci5WF1r8hx1sTpRQvZ/b5MFJy7kiYaVthYalBo9tjc7uF3apw7l6DRrkh9ZCwW4ChTl2CahXN+PvjlDmMnvVIf9PBBCYu5hd/nkdDBaq7LxIyDcMLH8aGozShU8l1ZOxkXVZCkj1+/u8mrL0+xsbzPcaXHYU7nxSsxOeS6c7/ASy/O8u47K8TCThzur3kMuSOdmy/FJQl5d6/B0pMeN16MYA9Y+PSjQy5cCFCs9qnle4SCPta3Cnz32xP8wy/25PZzetzM7KQ4/FjIHfWo1hq0mkMJ+XS4zaSSbnlwslgdfP7JEb/3+ynufZ6XL4qFkz5anYH82YrDuYBTiVTQ7FxKwv3efafAzRejrK03iScEzT3Ap+/nWbwoBrpOGVOs1QbkMzXiIwF+9bMi586biaedbKwLGrFTfo63diqSRXJqLsDoQoj/81/e5+R0SKqYxJbk+9+f4Yuv9qmXO4SiLjnoy+VbTM2EOHcqwuNnx9htJgamFt2mXdpDvCEv1WoJv08cksAXgJWtAj6Pi+l5QRxusLFW58wLXkoZk1QYiR7nvYcVEkE7Lo9VRujFP2eYHWyuNeg1dAJhndn5FM1mkU7bQTgsiL0O7BYT2UKN7a0aEa+bE1eCHGx2Wd7Mc/5MmGajJw9Rs1M+xALa5RIdQ5XVtZrs6YuUjdjci4Hecb7BxTNBnj8X2kU/zWYPpS90rTZpBpmaC1Jvd+SQsV4aSoKyhAp125y5FKGQFWkIM+VSE5/PQa+rY/MPQRNPQisOV19G6q9dGSdfLrLzvCoTOtvrbfxxlRevjPPhe2tEoz7JJBEXbsXQ6AzMnDmTlNrBtdU8p08EsTgtbO3mmRyJ8/hhjpuvzfL8+S6FXIvpuQCxcJSNtT1cHietdo94KoSqKhwXKtTLNQY1Gy++nmJ9pcHFF6Pcfn+b5EiQwnEVxW6Vpoh2pSO3IIGQXZoXKrk+I7Ne9jcqOJwCjKTI1ODK8yIL0xEsZuFn3ufC9Si9bodqVVQz4ty9U5ADoVvfnuTTD3IYRouL16M8uZMjGQ9itvaxOrx0Wg1K+R5OrwO3x8JxtozZrFIt65y9FGFnrcrlF+b46sNnsupRb4lDlY5hsZLLtNheb3DxepyjgyanTyc5OqpKsvfUmDhAN3G5TbJ2ZCgDFhZTslr2+Qf7EmpsUfosno/x5ScZxuecqIbC4b4JLD2crh6JSJj7D45JJtw8flplYsJKqdji22/OsbtfQzdZ+PyTPWYnXKTG43z86S7eILx+c4KvvqrhcWtcOJegUG5LY0k0YOaEiDwvHzMZDRGMm9FaOuu7Gg2jzskpB6vrBiNxE5miwWGpxW7Bwka2yVCFs3MRHm40ZT9YDDubLSsuhy7ZOneflwm7LWQGFuwomCwWcvkaF6bd2ExwWKpzYSpC2AM7x0N5Ibs44aLY7vL8oMx42EXAZSbgdvPx42NGR8PMJxx89ixPJGCn1dbk70exBcmwk4lUmEb1SDKkBA9jcTbGk9UMA6FF9NpYymqcnLDjMJkZC3s4rg95//ERWqPHxJyXSk0MBFvy2WezmvDadMqaiZV9g1BMpOOEDaFPwgZet0LPUDg36+BbL00S7LR5/bdOYsGBMnoFvbaJoQSxj89DvyYTTrgSGALKt7Qjtc8mn4vqyg6qL0Bgcp7e3Z9R69SxjL9Abesj/KmLOMMj1PMZhp0qoZEkhVIL79SrOHtFSkdf4osuSMK4Q1ifmmsMe06GnSb28DRdwUbwiC65G7tFmIWytLN3MTtO4BiJ0y3sY7fE0V0enCqyotKolnF7fZhaJQrZNWKzrzCUlc4kRm8JrSpCAtNo5RVc/iT2XofhyQX+7z/93/jn/3qN37sZRDUZdHQ7g4GJoa3NZ8t9fndaYzGssrQ94L/6XpzDskY6FeIv/25FphMunQ3hENHxnE6+1ubFK36OcwOZkrxxI4li1/nF3+4xMhlkYjLI1vMCfrfK8npTRrZHRp08XWqQjnmJpBSU4QCPzybZQclRK/XaUCr8xiccpFJ2Pvn0iFjEj9dtyBSxqAmIamW/P0Dr6Si6C0/YTKPapKMrNIoasaTo9hv0NGTauN/38eknu5w4IUDcZsJRG7tbXTRDPH8NJkaCkk8jmEctrU+j1JAGinKhj9mqcPZilK8+yuIPeUmlDZ6vD+QgZ3zcydJqlfFxP4MWMhnhdBsyfWS22tg7qMtzsUgmJCJ+mg2FxJjKh+9s4HCK1FGfQq7HtesJ7n95SFdwtZwWIgEVi80ua6Q7a4cMew6sEQMHNuyBHltPh1y45OPJw6zsh//wDxc5yjS499U+b3xrhma7w9s/3ePay0nMJiu7h3lpKCvmyty/UyeeVLhwboTbnwuQJaTH3GSzdSZGE1gtAh5dw2lxUmvU6atu/E5hDRJmBzOdboV8RufijQimvs7OekfCafeOW5w77cEX9Mmq2r37GeamnSytNOU56Qf/dII/+1ermM0KY6MxKnWRutCZnQhRKXbY2akwMunnaK9BYtQt34fZ/SJa38SFi+NsbeyRGPOxudQglXATG/fy6QfbBCJ+yf8SA2SbuYffF6LdEXdEwLCR2WkSSTmkPv2zj/bkpv/6q2FaFcHKM0uo9uZSS2ob19fLXLqSwGkdysTGynJJmpyePariDTnw+lR6TQXFPiAUdrO32+Rgp4rbaeXSi2G5AKzXDJmwF+dkwevY2mzzox+fYG2lIJNu27sVhn0rIykrvrggk3k5ODyWZ5/XbiX52V9nyVaaXH4hiNlQCfgt1NoqjXob07t/MmI83yiSHokyP2/m3V9licZFZDbG88dlOtoA3WyS0ySryeD3fzzFytOWPOwM+hqtribj5+6Ak1qxIeEDm3t53NY4E1PiMPW1p7rXGJIV0fq0jalZJ9kDAcwqkUhY6WlDVp/1ufGKX8bz1tZqGEPh49UlmGN/t0L5WOPKjTib6xXZpU4knWxt1nA7xC9Vh8XFKEtLh5hVB06HA8UQPnMPb3+YIRZy8Zs/FBYDjU8/PsJhszIx5pHx4JZW4cplMXCosrFU5eKlNM+Wj6XyL+BXCIac0k1pDF0sr2Z581acSlVhd7cuD8QYCqVsR/ZHaqU8Hm8Qv8fM0VENj9/N5naJEwtxssdVtI6GPrBLcMnOVg1F1RlJu1h9rrOwaGP1WYN4zEswbMLn9rGXyTOQPSqD/f2OnC6JmFtddOLcCoVyg3ZlwNiUmCrVWV/vMD/jp9woEQ46efa0DqqDmVmrrG2I6PvQpHPzepqnj8oEBYCnrdPX+7Sbwl3dI+BysbtbptMySfDJzk5JQuPE97xSqmF3uFAYyM6ooICfuzDCnS8ynL4cQ28rbG8eSTf60GKwsVTmW99O8ORJiXzWIjffkaidWMJJKd8lmXBxmG9QLeko5j5G30q9IbpgbjkxzR025dbvuCgc0aMYepW+6pAPjwcPmhJMKbpa4YCD1LiXelXj8YO89I6/99Eu33o9weF+l1qrR7ejMzni5eS5BP/pL5aZnnIwfyIkKaPiQGu1umg224TDXrldFx9EAbG0OxUBYwfDRMhv47PbBeZP+jGMvgT7qVYYthU5mBibcNLpmRA+tPxhnUjCRbVgoIqhQNDBjVsT/NWfP8Vitkpgm9bp4wsJTYuDvf0i3/neST758Lk8xIo6jKiXVNti+6njsVu4dnOU27dzqGpfulltNhcWp45qNtBaCpG46Dfauf/VoYx7NRsNYrEYw0EbrF2cDhcBv4Of/cMeJxYDhBwWuvSYHPfz7rt5piZNaB0LIwLemDRz/3aZjZ0ayYiJhdMxvG4na1tNzMMG5ZbovXZlHUEfCsfpUOoPxQXr6aM8raqKbrQIRQKEgkPsDjt9bUit2CY57peWgflFH4f74mfTY3zKS6HYk9GrkaSXUqVBr22Qq7YZHw0ymoDHT5r4QzZJ4fc4XTy8VyYYNdPuC3iaqCVZcNtMfP9HE+zuQCUvAE9WHj7JE4koEngphofiAuRxid9DmyS5m81mFhZilAoCljLk2UpXgum+/8N5bt/doXLUl3HBjt5hJO5ha7XJhRdHpD6xUOoS9rh5cL9IpdXh8sUYG89L6KqJ731nEpNZ5e5XO9IfL15iL74wTqXR5NmzAvFYgE5DY2jq0+sPmJqKceJEkCdPc3LyPj0bJVfu8ODLEuMCBuceEvD5CARUMtk2pyYD/Oef73LqTEQS2z//4gi93efCtbSkzgqQTbvZZf+wLQdFF056qWlm1p9nKdXsnBHkXbOCWTFJRU+93uXGzRT5/Q6RuJd8qUSj0Ze94WZTuEwM0DUZneu0Rd1Fl88x4cDdPyhgMfu4fFGo4no832hJxoHV4pTEZpdfJRH0cLCvUW23mJ/1kDsQGxqd1IiNbtvgwf0yoZBBNO1i0DMkMf7y5RAPH7VJpi1cPBtlY7OBxTZgT9DkWz1mF/zEYh7q1QalwlC6bS1WnffeOSYcsmF1GJLAnZ4OcrTdJhKxk81V8Pnt4mFIrTtgetLFu+/lcNlU/vCPZvns0x2ePuny8s00xrDJw7sVfBE7/+h3Znjv4z2CLgGmyxMNOcmVNV66nmRvvyZtAE3hEW+YMHoG3rCJVCLEv/l/9vhnP07h8tn49KMs/Y5OJG2l2zZhtVt56fIUj56tSULziZMR8kd1rHYVp8skQbczc36+uH+I0XMyN2snm++y9XxAKDrg2otfD2TKOYPX3hiRW3Gnpy/Vec8eVXjhWlIyQLJHPeYX3OztlCV1PTWqUiuJ3qeHVkMAdTskJu1srdXkZScUNuN1ueRz7eqLcbmJE0Pld94SNYmwJJTnSwNOLITpD4X3eYDTB9XcEJvdJGsZW5stXr01SSSkSG3rvXslHIqF125FpIJobavC2bNxnt3N43KLbVtHRkNH0x6uXE9wdNCgI9IeNmEhaPDqrXGePSly796xNCN4fR4ePswwORJgK1Mn6DCweVXOnZngb/7yKbMnfFSKA1JJO/G0m48/2iEU91IttJmejcsIf3rMy8qjvHi8y4VGNtdhYsLPV58ekRwRXIgWUye9/x9J7/lr2ZXe6T0n55zDzTlWTmQxFJvsZmd2S7JGAsYzHtmW/NmAYcOA/dEDAzZgeGTMYGxIUI+tnmmNWqFJNtkspiKLrBxvqJvDyTmHffY527NW/QNE8Z5z9l7rfX+/50F4kJ12J998e8Rrr4Z59rwhKyvDnp5WR9TmRnT7Xfl3blSHnL8WpJxRMDotZLJllmcCcoPdHhjR1DZzMwFKlR5ulwWLQ+Ph/Qbvvj0hYasbGyWsdqGHbaMbdXn7naRYgJNPKdJ8Mj0VkL3OgoD9NUYYh3qZ5BkOFcZno8RjLxkn//ibfS6eH5PJuFK1TTLmQu0bSGVbkuzfG9jwxAS7psn2QYWLi35Jk3baLPgcXtKlGob+gJYqnh1eUsUuqXSdiaQdvcGJZlGImFU++ibH918TF+Ae+UodfyTMX310yNqUnw9up2hhIm7TMHrtfJp5+W69MOvl1k6Njt6Aw2Cg1+4wOWanUBfnHSv24YBuWwFHl07DwITLwbtvBPiHW0fyef/DC5Mo7SJHbU2EUzk+7jI3FcFt61HItZie8UNLT7rWwzxqYPbYcZls5EpNpqMiXj7koFjjzbNRzC43uVyDdreBwSJo5xrHmRqvnFvCMGqTOsyheR1sPq8wP+cl4bNy73kapadj61BolsEVFJwJQUxXiIfhTNLBd956jb2DR/gtJi5dmWLh8rsEQ+OSWdIJtrHr3GDxCE4YPPoVXXsc69h1hvm70vHeOd1Gc3pweSdI739Dv7FHZOk9EUdEp3Vp9foy2Wm12FCNCs6575H/9s/x2M3gvUo9dR+DSY97bA5LaIVG5hCzocOgeIrN7UezLTAyDqjt3sVoAWdsAWN/JPhtmMSCUET/Ox36mUOcXuF+F9vHBu1yF6vFQuS73+Ff/cs/53/6Px7z3quCiWTm/VsFVpZCnIsaeLBf437BxL/5sZvvrHr4eidNum1mQdT/BgMe7tS5MO/G53PxYruI2S56yz4+//BUdqff+d4En3+cksOm+LiNakmhmO/yw/fERTPL7HQUTWtxfNSVi6d3f7zCp58cyIqV+P8RrBVR141FnASjgomhY/OxOPc60YwaiQknqcMGWy/E8slCr65x7mKIQq7D/n6ZSnVINGmUjCqjyYjS72EyGfH4jFQbI+xOlXp5RLkgBgQ2aUvpdHpUixAK6TBZ7Oj1mjw3fXv7FLvDxOSMS/5WhcJvbMInBxOFXJsb3xun0RliGg3ptBUyNZXNJxXMRp18/leLAzw2HZOzAQ5P8pTqQxIBF8f5ElMTQdKpCpFIkDfejvOv/7ctXnk7wLmVEF9+dSLTq6oilhRBdp5WmJiwy2e2x2Pm9u0MdpeD8+fc7B10Cfo81BpF4jEvmXSFbsPA4vkgm08KslYSirtQe13Gx7w82ykwHBgYKiZmBOvIbmZ/v0JSqFaPm6yfdXJy0MVi4iWMtTBgdtHJ7k4bbTSkWh5KIKiAMYpF7cMnFa5dCco66uFeUd4dm7W2PM9XC332DpqcPeelUNMz7NQZaYLbgHyPlkt1lhZiFPMtyQiwWVUsJheKprLxJM/61THURoPd3TrnLosJTkcusQSrS7DhFFUnga6CM6QoKoPOSKa2cmWF934Wl+msZlXH+lk/nrBCq2bg6aMq/rALk370Mo6v2dlPlXjrjSTVmsLBcZVw0Mzx0ZCZGbusnOo1C5GEkUjIw2c3T7hydYbdvRMMmpWxWbtcAl68mODRA1EvqxKI+6lnmySmPRRKIwKeHo2mkcV5r7RRNLtNpmdi0gIngI3ZQp3z5xfJFY+5f7csGTQTC07GEjZuf5tFp7Pw6vUIXpdY+uTQ/fq/jmr1skYoYKDWrWEzu9l9nuOdHy3wdDOFTdDALNBuKQTERkExMlQbnDkXZ/tFlWDYy0gZcf/eAavnYxQzXcxmE+eveCVIIZftc3zck7CJTr3LR58UmJkzySjD7LyXe3fLTE9ZUZQBsai4PJQlqX1qxiajpoKYfbTbZWxSeLl76IcjfvSzWf72rw8wm0zMrTpfUuGNNjafd1k/Z5csgod3C9IDGRbQo55KKdfH5tRodkdYjSMOjtuSguhxiMhEjeVlDz0BwohqtHt6nj8qcuXVOPfvFjDpdbz9gzi//MWpnAJOL5npN0wY7Rq1Yo94wkE2IyJTZkmhdnn0RENBPr25x9iEFYvJgTZq4g14ZDVgYszL3dtpAhEjk1NhcmKT74HsSQOjXvTXBGdBREwEmE2VFxTROdneysntlFCBBHw2Wv0Bw94Qo8PA0lyQreenLK7FKOSGDLQWI51JQrWEQ9NiELqMPsG4eOgVZN95+UyQbLop49SH2wqlapdw9OXAw2wwSkKnuLA5vHbOnA3yd//hiB/8RHzuZVZWouRSLZrdNhajjV5HlV3GyQk7bp+ZW19m6HaG/PS9GQ53GhRKgoYdoVar02nr2diq8P23klQbQvHVYG4hzM1PT5hOOjDojXLz+PqbMfLpFhvPq/QGGstLHoollXDILred8bCHAX3pbg5FLSQnfexslOTf0B+2yklpXlyiqy1cZgtmp07+uBeWwwxFBFdVZLex3tV480qM+88LVMoaY0kRNxzKw2HY78Bh05Or1uh0HKjDMgas7O3WiMWsFNIKFpeO7/9gkk8/TlOuD5iftWLQDBwcVJmc8WG1mWhUFfoDMSEUE2od8aSTAXpOjrJUqybWll0cp2oSLuJ2GJlZckoNpIj8bz+qsLDm42inzuNnLf70v5liY3MgCcVi43H/SZrvvTVOKV+VqjubTyXg9bO7V5e9xfExv+yGG3UN5hddOJwOOvURj58UmV/0yUn17IRHOk/MxgFHpx1sJqvcqgrKvtHo5OG3OVYve6XK7t/++WOp7ZmaEvWXBkPFQqs5lM7ueMKCL6ij2zXQaGo4rIJ4q8fjgKkZByaLi90XOfrdIa/diMkOuMdn484t8d12sDjn5DBVplY3crjb4A/+aIIvfpvH5dfLYVgybpIVIrd7SN+kxzLUkcv3GRt7CVt5sVuhpeg52BRANTNTUw6O9lWZeBhLeCUn4eh5hbMXp8gXsih9QYx1Ums3ZHKlXGvz4/emuf1FWYI4RaKi3zYyNSM2tyFs9iG7hxXMemGVEMDOIa+9E5MRb6GNaZQaJMb88jer10RXu8X03MsaQXzcLgeQgl/QV1SpAe10W+QKYusxJbdkH/7DFvG4cLOLS5hPDliFBnN22oMzbOWLT05kLHgsYiOZ9JArVel0NOplPTaXWZpQfvpuUkbHQuMmUseq7CoWciOcLqEsgkjCTTZdIZNTJe1f0/T0eyOarR6hgIlA2MbBaUtCXOcX3MwkXTx5VqLRMXB2xUur1sQbczDU9HRrCs7gkLmZJLe/EikwhYvXJ8mctDhJtVhZCFJvNDALi4Tfw8aTAn1tgNfnJhIyMeh2sAStbNypymjb9dfCHB0P8Pn1+PxWnjyuEw27mJl1cvfePk6LXYL+PF4NbyDMxtP0S4WmxU4xLypqUUoZAWDsE58yUcu1cZmtrF4Kc7BXxuE00G5r5Eptgl4nbt+I6bkw/+9f7HPtsh+9TaOaF+71NqGATX4OuaLYgjqkUUbDznjCjs0KFqee9HGXy5cT3Px8h5nxOJlcUR6E47EwylClUurLd5vZPCQWcJKttmV6R6Ququ0mjWybhdUwH3xwxPqaX343igWNTrPC4eGQaFyjkjfgiVqoZlq89U6CrY0ioaRbvouKhRZOp4vCaV3ybZodFaNFo1Lo4wsbmU4EUI1C+VMmERdU4iFrZ8b56usU20/rspKQiPrYE17lZz3Z33737RiFuiJO0BgMRlR1SD5bxytYHR1hj+myf9qR1oa5KRtPtsvMToohUEnC9OaW/RzvVJlfHJPDCZtfh3lgpTfoYbOYeLZRY33Ry1Ghjs1kwRMw0yr0sYuYfdzE1uOSNM40uyqtuorDLZ7HCt6gxvJcQD5jtZHK4V6fXm8gq4oP72f4zjsr/O7DF6ycjcghhACudZQupwc9Xn89wrOdkozgq5o4JM1y+9MDknNeCdsUhh5Z52r1mZwJsrWXJxK0sria5MFnec5cdfJis4zOKpzqCg8e15hIWvHa7Di9GmrfIpN9r742wcM7WZxmI/aIi0d3skQjJnQGDU3vpFmqSE6Lw2fh7t2KPKtEolZsbiOnh02OBCjsWoLN3QLzM34Ziz06VeUlVNiXxpMGpiYT/O37G8xPmGU0WcFAU+mSCHolObyQNZPJVDE5RNVRk4mpZDJALl2TG8+RqjKxEOEoW6BR6rE07efgsMPIrCMWtaN19IBQTLrZP83JAdH1V6eolgfU6gXOr0/y5LlIVrVYWXZTKA0kCKvQGDFo9Qj7VQk3e+WcD5vVjd9t5/AwjyZp2A1ayoDvvhbmyaMW7qiDdLPD1qag9Bs5rfW5f2jGYB/KIW2516MozqdOA7W+RrbSYyXhlCmqqaQOZWBhJmzDoe9w52mdsSk7CZuD43IbxaBhHuilYztfbUvAql3vottVMFt6xB1h3L4B2y+KDG02Rn2V9VWhL22wsVflezfGaVSatHpiuN3HY3YzGPVIlztE415mQkFySonUYR9NFbpKOyNbV16kzJqOF8cdOgaTHMx4xbthBD6D0CzD6riONy5Mka6cMmwaGB+z8t/9r/895ZKKW9/GPBnCKl6a6pRkn9BtgclH6/AuDrMJzRSimd6g3jlEX6vhip5hqPmkzaH8/NcE5q7imlqkX9hG0zsYDsQCpo/Bv4zaOEBr5fGPXadS20Zr9dCPXYCjT2hVSvhXf49h64R+JYPZ5MJudzA06Uhvf83k7HlyQxuJlTOotR18C/8jf/DGOIuLHv7lX7zgB9d8JEN6MgdNnjQNfNde52fX49zfr/DOtSiZUptMStDwO8xPuRjiRBl0MFpNbG7WsZmHVIoqNr+BG6+O8+mnO9TKOtYv+vG7BDerxeRkmEq1y7nzbh7d61NvZZiZD7HxWKhhR5y7GKHbVGSqKjnmZONpTZ79p2bi3L51IplHQ4MquTpnxSZ4Py3NW7mcxsXLIQwmB7s7h3icHCEXDAAAIABJREFUXiZnHeROGpK5Mz4heAp12l0r6aOSBO6OTdhwuq389tdp4lMOvI4hQ83Ik60asYhd3mVm590c77SxWHQS5pyY8WMy6eTFdO1cnOx+kTsPKyyshlBaXZoNhXNnEzhtRh5tpuTSY3w8Seogi9PvZKD0Od5rkC/1sTqMxMX33+GUC0lh0friZom19aBcUoXiTg73KhJSWKvUWV0NkSvWmZoIkMmO8IV7HL3oSzhsyC8qwWZOjtNSKdzrDfE7DBgsggfUwe12s7tflrpXm8XOyWmNC+tRlKEwxJVo1Ydcfz3J5kZOnsUETDkYsfJir00sJCpzikwiTs76mFt3cSL+H4pd4kk30aidu1+XJWj9vT9YYnsnJeGzjXKbiVm3vFcJ4a/RqiefbTI77+PJ0xbxiFHWB06P65htOiaSPmwuHYOeRsBvpl4ZyTNdu9uXBrpyRWVmyi9B6YL9MjbrJpeucmElydFRlb3TCu2mkeUVh0yxHW63JAvMZHIQjorqlZVnj4syfVavdZme8dLrdOW7t9ISNT+zTJFNz9pBE1UIcf4yoPZ02P0DXHYfd77M8PM/WpXp0Rc7J3LJIgw7Ewk/2WITk9FIR+mQEOe0jCIXaUGfS1aChSo+GhKcoh6DoZ43bszIZ/q3X+/Q6zmJx8W/USO1P8IXh2ZTRyRgkargF3stuWjKn7YJBY14/TZ0v/qTmGZmKF9ApXQLb9AuD4BCd/b4SY73fnqef//LR4z6CsvrIe7czfLmtQnqyoAvbh7Lvsb2VpmxsQBW55D9HaEB85E5rVIXcMCEg8OTOgGfkUDIzEg1sPFM4e3viElWg3RG9L3F9N1Nsywc3CPGw24OToq4/DbUtpFgQk/2UMHsUDHqIH2iMjbjkHGdVrMjp1ZCNTY3HSV90qBUrdMZwoUzcfKpOovLSXa3Txgbd3HnQQWHBV55JcmduzkiSQdu4VA8Vsgea7LHd+0tPw9ul0mO+VHFC6goLilGuVURW53cgYLBpUql1MbDAkp/wOtvTSDy0V99kabfFx1VAzNLPnrtJgbRk4sE2NgtyBelIGT6g3aiSRunu3U6WpdGQUTN3HKb9H//myf0GPD7P5mW3ZNvvjrFotPh9gs+gE1qYVqNHnrhL67WZESyXBxy451xjlNVbr6fZWLRzvl1L3u7bTqNl2RJp8NKviQUcjYa1R4W20BqpzYedzh3UUQ+FYqFEQmhHRLI45GRUNjDi62MfAc5nEaCfj9bm0W8kRHdshG9Q2Mq6ZCaitmFMM2e8N03CEeMOPUO7m1nubKekIekR/cEdM7E7lYDg8HC2bOCmlyh3zXw+ptxPvs0zYVzcSr1Mjt7ikyHVAsqI12Pmckgm0/z9EZ6pmc8mExDzpwdY2c3w95Om1jUjcc7Ihb1s7ddYaQXvAFB5Fdxe8V2LMnTjTK9tka92cGk6YjGfJTKbew2O8fZPNGIg0TMRcgTIFcuyEnm8+1Tnt/vSpq8Ud+X/tBBTyitqlx7bULSXMUwQGxJnz4ps3ZWaOXEBqzLxbMxCYvb3q0yveCjWu3y4qno0c7z0Qeb1LsiVuvj2dMC09MWimkd0QkbB/sVJhMevGGn1I55/EJ72UNYaUsNI3OzgpdRknyC55t5wkErc0tRtN6AB0+zxCJ+alWhphqytuam1dc42C7xgx/Ncu9Bnmalw8VXI2QyPU6PKyRCTmxeA9tPu4QF2dZmpljoMjkfxG4UXa4SjqCVzGFHXgiEnWAgyOwTXoIhD7/7aI/FuRDtXgOL0Ulb6cvaw85mn5lFB+trXj67eYg6tJKIige2jZG+w9HBkGjAjcs/YGklwkcf7hAM2qm0VWYSHrr9PiaDmWKuzTvfH+Ozz7OcWwnwN/94KEGJJlRCMS8mnY5ipY/ZAUvTYdIpFXQdfD67pMtOL3h59qyKz2VibNIqadk204hGW8UwMnH3foVzZ81gctCq9mRc99btI4JBB06HUFR1WZwO8NsPU5IkHoqaaVZEvNIiYUhFocRZsMiDw0hRUDQDLpue43QVVLOEIiltDb/PRLtlIpocsb3V4t3vjdFrD9h8VpXDoOUVP9/cznJmNcKtb9NMT7po1IesX7JztNWk2QS7x046XWB5NUhBvBz6BuJJjVatz/yCuHBl5eS6VBjIS8/uXpGBYmZ52cHtB2nmppLc+irD8pKTlaUIL/Zy+DxWCTMUw9RyXsfND9KcvyZo/kaMDqOEEv7qbzeIhTxSiTRQIHPUxxkecf2Veb7+4kiC3Ew2M2XxrPQa5IBHcOYEKFSkq86ejeDzKDy81+bStZCs+OweNVmeDclo38WrUQIeCzqrnkZek4yUf/ov1vjdh8fS7uB1+bl/L8P3vj/N5787YHLWKbkkW1tNSYYXlSVtpMcbVOVz22IS1OYO9UYbncHI+TNhNOOAXkuT1ZlGTWX9gpdBW8/9B0X+yz+7wMN727SbNg6zReIhB+tngjy916BYFekGN92eqKpE5JAtm68wMxuXQ9d8XmV1MYTRMaReFpuAgWSE9LURtYoYKC3w6fsnBGMWDvZbLM17pdv5L/9in5//4TzPHuYZaH0W5ny82CjJ75g6MjIcKCyvJNnaPiEQ9vFir47bZqbe7PHK9QCFvI6jwzwR0TE0D1ifH+fR4xS1hjjsmGWKoFnv4A37hEtJkuzrHZWJSadkrYyPefjFLzaYnLfw+vVpvvz8ALvTSizs5fAgT3+kJ+wV2CYzXTEEOBWMGhcXX4mSy6q82KoSCguriFf+blq1HvXeQALmPI6hHPg+fZqWMMipCT/NVkP+JoWXOuDXy+rNeNLG0GBBJ/SpZigXGhI0fPVaklKhyeFpXfIkrr81xi9/ITaYei5ci9Kp1mk1RYKjhtvhQRlAJlPCLcCWNsFZaDLChdXQk0oppa+nWG2hCdtJw4he18VocXJ41JLReLF1Hh/3YXPYuPnbA258d0wexJ8/LzAaDrnx3XkqmSqtvspAFUPBAZPjglM04ulmhevXxnA4RPrBwkcfnrC24ufS9XE+/eCISFxcLzQ2H3ZxxVWuXZuRhpJis8HspJ+NjRRWg1MCPd8ScdvqiNt3i5xdM8pB0je397G67Oxs9zm7YMUXtcskycy0gOL6MJoN/MeP9ri0GsVs6LO/02VpzcfAMJL1mm6rQ0ft0m+Z0UY9Vs9GZDInd1IjlRW6VZV43MWnvy3w+o0g9dYAj8dAo9aj1bVgt0A6U+XwQOHGdxN8/VWakNPEG99LcufbLNGEX8K2HHroCcp3c0S1Cr1Bm6FmkTYlm8nBwpyHg0eHxIMWjtsGDKrC1Lifi4teTnJtvnxc5OfX/CgjKwoKw4GK3mTF6/Xxj3dSbBw1eeVsiKf7RZShg5sbDbpDVepoNacPg1aVQ2FdXZFGlr5mJldq8HvXEijqiI/FvzXiJezo8N/+4TJ/f+uA7coAx8Aoh1C9lg6L1pXMntxxl5FILTS62EIWJsYnJX+mVOvIpVG90sbrNEljhSduIeTVKJS7DHVOrIa+1DTrGn3MVhsGXU/+Pr3+Mf7DBxucWXJjMzv49adZok4zySkrN5/UpN98NAQRTrKa9LjMbi6tGZmODpibnmRqfoVWNcXUbILE6z+V6TabNY0EP1QskrSP0qJzsotS72O0aiiVFgZPALW6R9fixOWfppV5wkBAd/UhRsqQ6JUfMyw8oVV4gClwBX8swunGLRwTazjsTjLP7hKMxDF5kih9QbavYT/3Hq9NX5MQyu+ec2P2e7j5vMobCwKaqOf9+20Wxk382atmLs3b+MVnFWwjjblpsRUusLg4yZOnaTxuBz7/AE0z0u8apV7ZbBlSrbWwqG6uvhXlq0+P0Ywm6AnGj/grGXi2WeCVV+J88I9HXLg0jqJ0icZcpE8rlEQFaTEkzWP9boVmTcXtDMiKxcFejbGYR56jd46KuBx6OZAVMFHxfuh3RD1GkZfFG99J0iiMuPXtPj6/k0tnYxyc1EHXw2n3cXJQlUaW55tVLl6IUS1UGBn0vPn6Cp9/si3j3c2aHsXYI+J3odNUCrUO+qEJDRVvyMLze1WSYwEml5zc+iLD8qKDxfVxnt07YmjWcbTZYOVsnL2dtLQ/Cb6axQxmq4bd4sFiNXF6nCEQ9aBnxKMHJZZXozhcOtLi2eYzSwV5MOLkb36xyx//F0syTVUttrHbTTS6qqykHR/VGU+E0BnbuN0ehr0RZoeOaqkll5CLa1G+/nIPl9XP+jUfH/7dPufOx3h+v8DyBY/wu/JiQ9D19TIKf+H1IJ2Kjl6vQ7350iRkMBlkmnN7q8TBYVOyd8TdRNyvxLBcXFITSRcum1Uuk25+csrP/mCJ+/dO0DQdbpuFZhue7Va4eD6K1dJj60mb9bN2Scnf3BSJQmHc0nO0oyeQGHL5XFwmtPLpOg6H4IKUWT0f4sXjBnPzfiwWhfuPaxIqqLTaLC0FSE6Ixe+mPHsFBDje6qLZbsrKsDj7jEcDtNotCRo/zbYZHwtgt6k06goLywFZEY+FrXiDVu4/yrN2Jkil3JZx/otXxnixmafdGBGZcJM9KTAxngB9T+rqBYNAfB99AaesK3/x5QET40EOD7NMT/tQFDPRMZ2s2VdyPWrtFg6rjfmlKLu7JaJhqwQu7uzWWFzyYzHqpJ3s+abKd952yPvbw3uCGeCVd17dP/xpQssX+kwvCX99n26tT67UYmwsTC5bQuewsjhux+p28eHfHrB2NoDTL8iYZZZWXfTqHXR6D1bLEFVQSXUm8sUm42NhZpZtqCo8uVeQX8hCVuHihVm+uLUlI61ep+jetSmX23SqOs5c9r70TX+yLxVdHo+Tk+MKwbCJclW8pNwEvEY2n9dZuuDltujO+c1MJB3cv1NjetLNwNClmNck4C/od/HkcZZmC6ITFhYnIxykKyi9Pm6zAYPdxf5GmcllNza7hUGvg03Evk1BHj885NzlCFarCbffyMfv76MNjVy+FqXXU2TUqzsY8erVBHef5ajmBTm+z0i1ERm3SjjhZ5/uYzBapSNSabRl3DOX7TK5EKBVblEsqJwUmrz5xpjstDy4m5KuZLE9vHh+Bo93wG9+s0u13GNpNUyj3pLk30DAgsPtkNsKsRH3OJF1Al3PzsSqTQIcXVYvp9lT4gmf9DbbHGampgOkTsukTweMx/0YbQPZ8VT0qtwmpg7rWEQk2IIEaIxFLMzPe9l4VuPgoMf4nIW52ZdQJAFiXFrycHTakpshAUZZWPbRqNbJ5ob80R+eYWf/CJfHzccf7xMUBzOnhZWVCNVKnUJxIPVVW1tic+Wn381RLIq/m5GjbBPD0EK2VCck6a4CGKhhtVpxekc0K322NptcuewlnRFQuRGvvpbgzpe7LKxP4LQYuPdNFtXQZ37WJ6Nc4uUsNu+RiFkq5Dw+cTgGu01jfDbAxx+eMjnhJp/vyu3S2JyVWl5AvERvp8LlCx56XQPNQZ/r1yY5OM1TKdSwWp3yoWQyj9BUvez5fvHpKa/dmMRsUfn6sxQXX5kincuh9Cw06sKaMEY2V8JiN8kffTDgplipkDkZsrD08jcTi4Q4Papwkq5JB/TFyxP0ek35MN94WMNkU4nERRT3ZVcpHDBS73RJpfrYHUbWlrwSbnKaUeg0Fc5fidEqDUiddGk020wv2ahWDOh1ekq5lvTAWuwqRy/a+CI+dEqfzkAlErLw678vsLLu4MJ/AiI9fVyX/SRNN8QpCL9GB+WKUFDpZdLEH3RRrymUyzXyJZ00T6yuuaS3emLczxefnnDuQgCzb8SzOyW6Qs1mEAonA+tnQ4yP2bhzV0DSmtitRtrqiGl5SM6gdPtcvjLNV3czTI8FKYmes9vAWNzGZ5/lMNut2KwakZhZbjWfbFYZNLu88uYY9+9nSGX6vPt2gv0jVXZ7xQZPAAwF5MxkGpAvDaQ33TDooLMpLzWagwaPH4+wui08fpBmdSnA3LxHRiH7fSOqXmF3o8v0nFNWFoR1RGfoSQ5EqVhmMDRj0lREldmuV/CFPZycViQZWVVFVNvE2kqQgYCeZsoYBFgoFGRrO8XZcyHu3s7j9zoYn3BKfoGYhH91p8JP34nLaXQmJS65Ki6fAavZgtWucHjUw4SRYEDlq69rzM7HWF6yk8vX8XmdPH6Ykf1yMZB4vtFm/6TJpTMO+XzKpruUC21+/JNpcqUSvbZIDNW4dCXEyDDgw/cLzCx4uHLFz62PMjQHba5dmKXSrrH9vCkjgn63Tm6v18876XdUyYdodTsYDRbCMVFtaTM97+fmJ2ncDh3jYT9dUUPqdDg4aLC0EmA4EP1uFZNuJIGW5Wqdy1dmJAwuW6wRH4/w7OExsZgdX9jKsN+R26pPPs7z3u8lAR2PH+T52U+TfPV1nWazI/uBwnqwsBAme1JlZNeYTvj5/NY+C0sheTCJeJ3yO9/sWWVUe2EtIkn7X35a4Ls/nEY37MgIfq3ek8/Rf/Yv5nn4UFRN9DitQ0IRr+QH6E1mFldcfPt5lvFJL42aIqnfdruOsYk4Tx+k8EWN1KtdycMRz+ZcrkMq1WV8xoFhoGOgU3l4v0IyZsUdGZI90jM+7sDhhd3tJnaT8WXqpDHizBk/7Y5KudpCrzMyPWFlZ7cj+RHxhFcOc/v9jkyHic9CDMDFe+zwRZ9qVYAj7bK/KLbmTtuQSkv8Rjp43SZuvDtFOdNm96BCvTyUUCpxUH7yrM7snIOxMR+5gtDJGcim2rhDmhx4f/FFRn63u6rowyf47JMTdHo9c/M+qtmGHMB5gi6OjsokouKdJipuPg53a1x/Y5JiNctXn5cJxkXtS4c7YEWv6Tk9KJIcj9Du11BVcekxg10njSIXr/rweMQmX+PrBwVeOeNHMw756KM0qysRkjET1U5LVhE8QTfffnvI+sokRvuA5/dLJKaF2rXPlUszpFMlKlUzLmebx88axIJGYpM+Wo0qO1tdLl5JSgjbL/5ymx/9eJx6syW3x6LS9aOfLXD31gH5bIv4eBRnSCXu9+Jwjfjyy2PaDSfJyYFUp9rNVvQmhTMLU3z81T5e10gOBr6+XZXpGZfbwfkLHvnetFj8/PajFNdf9claRqeu4ImE+eKLPd55O4ZJZ6Wj9uSzYn9fwWwf8dqFOP/w0R5rqwH6nT46RY9i0uFyO1kaM/PZN2m8QQfL84KpU5AmiomZAAcCFjxnx2rQ0VF0OB0G2vUOhabGlfUQqiYWPnmZQBDf74logHKzii/qo5Kts7AYpZhtk83nED26V65OcOdJ8SXMUxtKsrdeb6U3apDJDqT6NDRy0xn26Q260haiV810RhUSYRNvnpukPxxyfFrH7xHgtjrhkI7mcEixNJQp0N18g2xHz2ZphNOo0uqplFsmso0RPYMOpdWni4F3V/zcPuoSYyiren1NZTNVZzbg4N0rMb7cKrB13GAt5mUpbuXmo4zU0U0EXHKjNuoJu0idaNLLSaVNwGYjny+hGznpoiPi12EdwMDYY2wigE41kzppE52wUuwOKOcavLaalEC3aqZK3+aUVG61PqJcFdXaNuW+QQ7rRyYd+xWxgBqwMgbpUxNvr1lJBnUU8sK+pXHx0gLJGS/RoIH4/Ap2s4nR0IV+fB66ZYa6OAZTD06eMmp10DwmUo+3ZZ1Kp5loZzYxe9aIzl6ifHIb9G5syZi46zIc5FENAXSjAfVUntmfXeDf/g9/xZ/++T3+l38+z53tKtVam9WED5wdPv52yGS0x59/P8gTkcDCjjdp4dbzAgsBO8XOiGKuy4UzSeqtHMrAIQeO0bCdmckYmZOXgMJ8scobb8zTqDbkYil1WKbTGxCOedh8UmR9PcnWZpqf/N4C33xzRCUvnhFGvDYLjaaAuZleDoiTduwOkXDT4/SaZJ8+n+4zPe+SSdDdgxpenxGP2y4hzMKv/fHNXWmkeLFZIRJ1yHrQ/lGNSrHGubVp9k9KeL1D6lWNZgPefHuKz27usHomKp/DnV4bi87O84c5Zpe9dHpI49D582JRaiFzVJHDu3ZX4zhV5g//c5FqPqXXVHn1hhhy72F3IRennb4Zj03c/60Eo2bSe1VcwgZi7WG0meUZYKCM0I3MclgZiMPSfJKnmxmpOR2aurzY7XL1alIOXwxGu/zvHp+0ZUJhNByxtCCGvl0KuQaZ4oBY0ig7/dvPsyQS4uKsSLtYMKby6G6T1XNRCoUq/bpGbMLCcGSk1VLpD3vMjAfYetzF7Gjx+msJNraEyUHcrYYkEj7CCROHQpO7niRdqLO3neXi2Xk80SFffZoim+2xtuKVCQOLU5h9zPT6Gn1Fw2I3cOmVAJ++X6DeaHH9jTH2t+ty4C0qr1MzPppNjRd7RdxeK3plhDIakhz3kjpp4XOYGOj7jDTkBvzwRZXYuFcyW/x+G2cuxrj3dYpSvsubb8/TalekzrKUbnKS7jA572NQ7XOQb/HGjQk5RA0H7dTaIo2tSf2tAKUKO9LVq2PkM3V57hmImqfa5XS/z/Jagp3dNLGQlePckHOrfvwBAzvbhZd3HKdgKMHTxxniky561RGBmBhW5/DYvZisimQJTSS88hk4M+clW2jKgcaz+zWqpRqvf38ZpSkWui0uXIzzwW82mJwLgqpHrx+g1wtofhvdX/5nfk10+E30+fyrFD/5vXkOX/TI5gucORsitd8jl2tJ+urSipMvvyyytGCV8I7RyIh+OODy61F++dc7uPxWCbebn3exuBjgV7/eZ3kyQLogNBcupuZ8tJtNPvjHtDwIetxC9TfEMBwyNuWlVhWH8Lp8UXUHCoebHUJJG/ViB4NjJInklUKP7/9oRvb5Lpyd4PHjFD6/geRUhNs3T5lZdksgjcFoROt1ePOdBUqlGg/utuiMavz8p2vc+aZENpPlnXcWZB8nnenJL5DSF1+gILtbJfxhJ+2m2JZbaFdA71Bw24V+qkYobGGgWnjr7Rj/8d/vUMi3sTlcXLhkJxbz8de/OGB53cXinBu91c+De7tYzaJvO8Jo1hEM29h8kCYUi0rPc6vcZWTRUSy1GI/5OTwt4xQRYoO4DNf4/Z8u02h3efiwwuy0lUa9z+lJF1XRydjL1LyLyQk/n/32hLEZk4yFP3ucIxK1kMkpBHwmDCaTTDd4nDbpkRSXxCFW6QcVWx3RvTerFs5ccvH0WV7Gd86fS/LFzT3OnAvQU0TPrsb4WIhSVXQmzXisZkr1gdxUWq1GfvN3KaaXbfIziof9kvA5PmGlO+gxPx1kd7/O9vOi7JMr/Ra5tLiQ2zlO52VPqCrAaG9Oysva9RsJOUzZeLyD0ebmxYsqi3NW8nWVy2cStLoisdGQP9jHD3O0miLpYGTtnIdGvc3UtJtMtsOop8fmNmC0GbHqdKTTTTJ5havXwzx9WOat78zw7EmKUrbLuWtRDvZKMnosYIuPn7W5tOoiPuGSPmK718atz1OyX6QNfITjekmvPniRY2bFhcUkVB0teQk63hNWhCGzi1F++8EBE3NWLl2YlXoTk2FErtJkIhHD6ujwYqvMXCJCvtWnnm+wdDbM88cphkMTaxfDGAwmTvdFH8zAaabGxYtJMuUWpeMmN96d5JsvT1hZj7J/0KZY6nHjzSBmi5H73xZlR3vtbBi9vs/mRl1eslfOh3jyVYZiFdzekTzkd3t6Mtker781xb3bezJm7bKZMZr6FPKwcjaK22Hm/sMsl85HOTpqsn/UkA+xQNBMer+BxW2TlwSfz8PyPJjt4iXeIeJ1M1J11JUq5VJfvnSTEy6sRpt8UVYbHXoNg/zMb399zEDRc+ZSgK0NoTsx4QsKn/yQqamR5A2EPB6MtiblyuglECZg4Sc/XuUok+JXf51hesqFwajidpiwOUak0wrrl/ycHgqWRhGPx0hXVfAaLagGA3bXkGpJw20fSQCo6J88edDm9KTKW28nSWUqbGyL6LSNyXiAz745ZiJkkx1VsbnAasRoQA7PxuN2qRxyefU0KgO8QRM6/VBufJShgPn05eby6vVxbv5mB9Wol2DVqRUfnWKXV94QRPEme7tVXrsxSyFd5fC4LesmOoxSYbXxrExRROV+usqjx4e4A04M+pGkmKuagYjfTmTcjGloJDhu49YXRxhUE3OL4qVdxOXx43HpGI4G3PumwpvvBCTU6svfZVldi2GydsgcqljdBkzi2mqwoes3sHoEQNPMyX6dM+tBQqGQTKJY7GLINMIXsPBsKy+dxiGPTxouvvjqhORkkGwmQ+rExJnzQs2qQycSLS4jjUofo02H1WCQDl9h0lhdcmPQa5xmFSr1Gi57CPQN3A4Xz7fyTI15cXlEOskmAam/+fsU84sBai0BZxXQKx35Yo+jvTLnLkxTr9ZkfWhvt0u6VGR9PiFJ2V/+rsi5835pWegKyJ/XwlBvwOcyoBkGPH1QZG45RL2mEYiqtCojGjURj+4y1Nuol8u4LC6Ggz56h0XGMMV0/tGdHFevTkpo1+bzEm//MMyLzbY8eFrMekaDEY2+Hp06Yv+wxZVXoww7QjNqom/ssLwc4vYXGclnCESs+Kx+ebHXjH2iUTeP7hQJjNsY9gbMLfhJH9XktsIXNrA4L7gnFZ49Etpbp7TuuNx2/r9/t8933/GSiHt4/7dZXOYhqxejDEYDevUuTx40uXTJS1UZsrAQkc/B4kkfV8CE06PH6/BQbTQp5kWksc+Nt+Kk0yr6kcbJUZ2G0ubchQj9moYn5GDQV3nwOMW8JGzXpenFbtahtxpxWjUGmiBHi04k/Pin85ymanz1SZm1Mz5sngH5tDBlWHB49BIqGhZ1mI7KyKAybCL1sYIrIbqXjEwyLSS0X6Wijmq5hi9iRq8McQSc/OZvTpmcc2I0QrPWZ3U1wvFxB7sDOv22rG4US3kOD3rYHHbm5qyUigoen4VOu0W5bkIdtYl4vSwsR6QudXc/g8FgR6eqOF1evGHBrKhj1ZtRdTouXknIuO+WzX0bAAAgAElEQVTJcUlaA4x2CyeHNRwOFbPBLEn8PrdDQuSfP27xZ3+2xmef7fHsaZv1NRdHhy0uXXXSaozQGw0c7/SJjdlYWw/x/kcHXLwQwGoxcbJflNTxt9+d4/HjptAPobN1aZcFB0Do/ToMuwo6fRCzdUAkqifg9fCv/58Dzi7YJQCvVVJ5vlflypUIOk1Hvzmg0Gxzdt5Nramxs98A3RBfwCG7p+IXcHLalCyF8JyP+99k5Cb8lRshvvpGsDGsxKI6fFYnD7aKhH0iOWlj0NQ4Om1LmPCNy2P8w0eHMqlz+WKcjz874PJynONqGZPDwvbTFv6w4LYM6SojYj4PrV5HKj2/c32W04Msb1yL8utPClxZ86HWGpLf4B+3cHFhmv3TFCHbEEfYz/1vK3ijELKa2D4RFHYnt74+IVczUdZZSeXLkqx/1OySrWlUOxbqrRbrESvHvb5MxeTLPWxGM997ZZJPvtjDKgxUMQvmYZ+1cQ9H6RY/PxviRVvjzvMMr64GZdx9pLcirOgitn9vs0I8KejjglKvJ/qf3lsPj8oyNTURD9HtVrCbRvzgahIF2N6uSeiyeJ8dpAbkc2XW5sI8OlUZKU1cwsiSb3Ba0Gi3R7T6BpKeIYd1OB8zc/lCiKeHDRbMA/74T66TetGQdd6f/Fe/j0tnA78BdAMwj8C2wmigMtj9HJ3djVGxUt8/QW/u0NWLdIGdqFdltHCN/a9+w/r3/op/8toER6kiQ6cmnfWTMStBt53//aMK/+r7Xt65YmXnRYWbj8SFRZHv6ZW1IMOuSqXY5uqVCL/8myN+/l6CglhceEVkHhpF8VnqKZQb6NHQGY247XqGYiCsuSSrxe4RyxYne5IF00avs8kKjsMu7Etiqy0UeCNZ8VxYnGTvOI0y0kkTlwAVihpnsdyk0++wupzAZhMmKY2jkwqlUp/L1yIozTZ18Yx+3pKsFFUkXJpi8z5iZtlLo2yQCYBOp87GdoPTHUFzj5Atv0wPi+XO0CwUzG3JoFpZ9VNvmNndOsXrcTA2KeCoQ1mhrpU6XLgyzouDAhanicyLFoGYiWjERbXSlv391FGH3e0KgaCJflcnL7jCPiN0nG0xnGmolPMtnDYBDjTSbQ1weKwsrAe583mKmXkn7a549woAsIHdF3mSU36ePqgwPisSruJnbuEg3WRp3s2gp6NSHqC3dDFb9DgNbgZmldP9JjMzYmFgYWLCyf27GfR6C61eG7Wrxy0qXyYTep2BSrUlXfXCoNbrqjL5K2oVD77NMb8QlhT+ptKWdedSSkPV60jE9WhDD0Otjj8gdHoDqYhdnPHSaBrk4NrpHlLKafIdN1IrNPpmypkm09NBMvI+Zpamkv6gRyE7kAakflfj+z9J8vBOmWplRK0uKgBexiIOKpUGLo+Xh/fSjE3amJwSA9CMNCGM0Esw8Zdf56RdxqhXabSh1GhjMWtEXQ4sXqu0hu1ttnAHIJUeEA4ZuP7aIh/+5h5PtzS+d2OMaMJApdbDIIwFmh67byjvXvmMnr39Ij96b0oC5E9Pipw5n2SIAEr6eHg/Jbl7r14f5zjbolNXcXpUaSg7ez7M7tYARdeWuuzLl8WSeiS/N6phQMRll3rF6HiAsbiDbE5UGJzodBq62//znCY6EJ3qAH/Mw6jXoN4aSs1Bs62TADFf3M7htgBEOBmIXnihzdSk8C/3KNWa+INOSRteWvaRzjXY225gteol3KQ9GHHjzXFuf5aWkJ940o5OMcrDx/5+Xl4qFGWEwahnMOhTL+mZWrBy61aRySkfZwS4qjXk21tpzl2MUq0KJ6ONfluACs30+3oJuKqVRmxsFXjz7QSPvy1JMBxGhZ3NBqvrcQkx9IktShrZTX/nR1F+9VebvP7dJVrVqiSex5JWYTtBUZvMLoZ5cq/G+IxFsgfiIRu+oB2D3sDNz/N4PQaSMQuttp5eS7g2bSTHHByfFrh3p8nUpJ2V1QD3vikRi7+k1gpK6HfemcFk7HKcGkhgw8KCW06fao0Bs5Me+oM+bruTzc0GgbiGxehCT4t6dYQ6MDOyjRgMBrhNFnxhHajCSd1CUWB+xkBfdWI2d+UGSrxwwwkbJ/stEuNO7t3PMNIs6C1DEmEHXp9Opg2E5qLeVUhEhMrEQElATMJ2uoMW0aBHQsK2Nqt4A0a63RHL6wE2nuZkBSEZM5DO9zEbTVitQyan41SqYnMylB5opTeQhHqXR8SQI6T265jdOtnLE9O/qUkfX38mNpJ+eYEYDjrUqwb5/emrferNAQGPHr/fKUnouztdxqesWGx9mm07DmOfQNBBwO8kW2pTL/cJ+szMzwfJ59t0e03aXYPsgV647EERl7v7ValxEwquYqHP1kaVmVkbuqEBq/hcEx7+5pcnXH3NTEP0zf0C3Bjg9KDE462ajOLEwzoabY1SqS15CMISUSso0pgxNCucHrf55/9sjWK5xd6WYFe06A1HFDIdrlxPkC32ebFRxWaCSNLL2UteSfXc2VSIxA2srYWkSaNaFEqWBJ9+lWJxycfW0xY//ImXbtfJw8dpUvtd/uifznFy0uYkJQ7QAZ4/LErPaeqkg91lYHU5zovdAgazhaEiFGkuTo80nh1muX5lArtNz+lxh1atgdMnHr5O1K4qFWBCn7e3W2BmysezRwVK1T4z006ZENGZxfbWIi/zAsTUag9lvDocFb5vhfThgIlpO6GQi8fPjrl8ZYHUaY5+z4TZMSBzOOLMhSC9TltGv4sp8UDVy4N3NjeQF6Z2dcD4glXCZrKZpjwQtZpiczRE6RpkleY4W8QT0BPzBpiZ85E9bVFuNllaHufB/RN5URRgpP3jCl6nOBhrzMyPc7hXwBe0UKkoWA1GeorGs+cFElEdNtdL8mu5oWMsqCMYNXFyouF3C8rxSA7hZqbd0g5xdNiQuh2xHfWFDFQKXYxGndzG5SptSY0eqUY5vRcwvb2DGq9eE455Iy6ritlh5uCojctmYWY6wu1vt5mfG+PwOIvPYyEeC5JJ16Xixm2zUW62GWkjCrkemfSA7/8oRMDp4/79U1otPS7vQIKPylUFkw0mE0EePU8Ribhlj7dYbOCz2vCGTChDHUsrfv6v/3OPH/7ITzLixx018fSe6KJ12d7rEokJOKifg50+a+fMEnSZybVQ2zrOXo3IZ4GIrzdqXbL5HivrSXa2c/LzK9d7XLqYJLVfweGzYjKK1IHYnkAsHObWN8csr/gwmQVRX8PvdEntm15r4/eGJSkYvSp/Lwd7TZIJG36/nmKuR6XSZ0rUJFp9lIE4Cmny0CWGouoAybU4LrTx24wcHzYwOuxYnWDRCbuIHv1QkRdTm7WPN+Bge1dUV3qsrSakx35zo4TLbZDu5/hYhEZZbNSHMv0ynvRI00FJJIuMwi9tJHdax2ix4HPb5VBawJxEZUntCkWTha+/KLC6LswJORaXvSg9MZxqyxrH4pIdo01PLScUPyrbOw1efTXJ4VGRVl3DbtX4J398VqbKxPO/0upjHArWiUPyCETEPJcdymequKQN1QG1ksbsgkdaSxgaOH8xyG8/zMsNiFAmvf76JPlymcPTl5BS80iTDvO6SDecNLj4ehifzcynn+TxhzVZgROHo2pNJZ/uSm1Vd9BmNNTL2oDR2OdwvyMZOG6fqA6IioyKbmShXm8yt+xjd6eK0+okMWGVcPRUXqVdr6OzmqlXOxKs16xrPH9U4/wVD6cnCt1en5WVAKrYZg2HkivgCjo4sxjn/Q+PmZoSzAQzmjJiqBMcGx/7exXcTrDanTTaTVbXRSR1RFtFprzOn7GwuTFCG4khipWR6sTq7aP2BOeoz9+9f8I7r4fp9eHW1yX+5E/X6TaqlLMDvv4mTzRm49y5KL/5aI+ZMTcTc+6Xl3Vdj0atQ1+zoCptllenKJfr8rctKmK+iAWXzcPudpbxKSOLi2PsbR1jMHvkhlWwkXB3eXK7j8llZDrukAPGvRc5EuMhNFXBatOTPuxy+aqA/7YpVkQdwS4PdqLSoupMKLoBYa8Ts15ANd08fZKXKlcBuU1Om/j7949447I4LPehrzE/5+PxRpZQ2MHCjEduK5WRJocMak/wLsw8e1xgas5PvdVh56DL8rKTN89N8NXDE7QBXH81zsGB4OiocriYGItz+8ERl9f9rJ0d49cfPCfmERWQ/5+l9/qRNEvz857w3tuMiIyM9JlVWVnedVe1mzYz3T07s2OWHC52l8uFRAmgCIgXkgD+B+KNFpAEghKWSxCSuEvOzM7s9Ez3tHflfWZWeheR4b03X8QX2nOKVw30RXdVRsb3nfO+v9/zDPH77FLRtbfbIBC2k0y3ZOVO0Ng3Npr8458syWXLvQcZ/vmfXyRX6/CbD7YIBKxcOBPl4VqScnPEhQWPVATu5TpSAecw6kmEhOrTzU5GdMLh4VaFSzN+er0+PgGam4qwv3vI7KSLYqYv/d1anYEJq50+dfJtK+lSC4e+T1M18rv7Lc5Ou8nV+xzWtRR6Cum6Sr2jctCGUzEnu5k6y34LD45bRD1WCTQ8ybR4Zc5CbdjHiIrS16CzqgS0FuJRN+sHOQxaJwbjQCqQBbNqJ9OXCVVxNqmLd1/cjNPiIlstEo665dm73x0SmTGiNjS4g9PUW8cMByO80QnmwjF+9fPPmV2Z5KTQoZrKE5/y8NuHVdQh8vwTNYEwBfttFsIBE6GQBr2q5fKNSbzjES//wZ/hdrfFrwVOV5hxYAU1/THJzz+lbfXy/X/1IbrBmDev6VjbUjk1q8NpcLBZHJM67PPDVQ3/41tmvtlpsJAIsFdVmI2aGKtW0qmm1NSdZLvcvD7F3/39Pv6wGbMY2FteRKYjk6L+12VmxofNauHu/RSLC0FWL3hYe5TBZBSX7hFuJ2RyPfn/nJg0cvPmJM82Mjy52yKx4OK9d2f5v//dPa5cjZFNdjDYh9jMDgajNnqNncP9AuevRUjt5OgPBShUmAe0HGyLc7md2bhXPt/GWnHR1jIei+SXitk4QKtaKZXqknEWmrDJIa5ghPQHGkxWDdrhgLnFCfpDhe1nfVavmWRqoVQY8NKNBLubYkhg5eHDEsunfDIJ9flv9ml0VK69EiHsR3a2m00BCrfIe8f9ewXe+0FMKleLqQ6RGad8TvpcOiIJUUuCdm/M7IyOJ48HpDNFLl6MYXPo5BnHYddK01kqWWNpKUCp3pODZ6Gmu307T6sxYmnVRiTi4+7nYpnnRumNODho8Qffj/LXf70rq7bnLoVIHhZk1eL0aoRkpigra71qH/eEHz1tKuUBS3M+vrhfZnneiM/jJClU4dY+6b2hrKcEYy4C4g6CiWpLwFd9FNMVpmeD6Cw6ipkOg3GXnfUWwYiVqYiVo3RdUvAHyoi3XpuQYL0hRp4/K8naU8AnFPQtDtMduYh4+80ZHj8qYLeNGAxe8N3E8kCkqQWLTVH7jDoGHm/kmIoH8LihXhEV1xGJaQNPn/Uluy4U1XH5aowvPz9idjFEoyCUwmNiCZEM7vP4aQm3x4jXq5dnNFG9jITtHGXaREOitj0me9jj9XdXeHj/EK1u+MJyhoGN3SLj4YhYyI3O1pPLj2xyzKlzvhcD+oZIsBX5yU9imA1Cm65QLAsdpplWF0wmuHc/z8/+9CJrj5JSJxgKaTHorKgGhX5Tz2AoNOEOXHYH29tZ+XmZLXo0//Efucden5dKuciFaxMk95sSOiXI++IDKmYaxKc9NDsK6sBIJK7QqY9oDEwEHQrTixE++jBNs9Xh3IqTSl0jAIuY7DDodrnx2hTP1vNY9NAZCA/1gHgiTLlSJhSwyIOLiPcbDBYK6RrTiz4Y6igW8th9NkoiQjdpJXnYk6qSM2e8fPVxGbdfZfWsj2MBr9FAKdcjNmWUW0Wzz8LcpJfjw4w84Gl1kM8MMVvHMh5nN7oo5soMenrpHbY5xYQ3h8Nh4daXRTnxjU9a5YZv9UKUb+/s0asL96ZwO9s5PBjJy/NwrHD5XIB8UYApqhTyDaZPR9ELzrLRxM5mHo9TQyRhl2ToYqVHo9FnZi7M0fEJAbeNUytxqu0OX3+6L1VtgiewdNrJg28KmB1m2c/JZjuSIrnxTETIdEQcNmw+E8VCj0ymzOrKJGtbedl1MShCT6chFpvgk0/3uXBlgq8/TXLxakTGnO7cKeALWjGMe5j0JnTWIaO2DotLSy4tNpcaTForgQkz5XyfsVZDKGrg2cMSBqOOVrvP7LSfmXkXv/jVAS4nXL8SYf1pTRJPT1/08+kHaZbP2iXUsVTqUBeO6Eknggy0vlfCaTWSSfdYvRCgVuswEbDL+pqAIAra7NFhk2plyMo5P+mjMrXekPOn7KTTquzRiulxt6WTQD1B/p9ddMt4XDGlEEoIpgN8/tsyjqBgLeiIRzz86u9S/PSPEpQqXUmPv/m6T+qqHj9sEovbOXdOpByEJSLPj368xNbzjKwMqDo9RvMIj8NGr62ydyxUfXqc/0BZvngpxvFBjWqnRsgVoNxovQBmpZpcvTFFOtfiMNWhVm4TmzVyejbA0fMmGouI/gvgpktWYz7/pshPf5xgMG5RyqtScXiSKUr43Llrfj7/ICWTEolpN53+iP3dkpweT89GuX87yfUbU3zyyT6nZrwY7GOqDYUnD4rceEmoh3Ts7mUJhtzywXGy35IE2B/8JMbmRo9weMRvPyywetbL6qKdra2q7EsK7UitLqLGFaanLbTaKr3ui36SVMeZRtJj+uRJiWZTJR6zoxsPMTv09BUDBrMq1Wk330zwv/2vj5idd3D+vF8md15+aQarzcLmeppcbUA8aMHnNZEs1DlJKnjsJnkRUMYj6cB+6bUJDnfLMh4t/t3clJeTZInzFxMyFtsfqOwfdDi36qdYHmAw9eh09FRyLdxBC/3OGI2qwRZQCXomaFRO2NsbY/eAxymGO1Y2t2qMR32u3YzIbW2/22PulId7d3LoVD3v/3SK//3fHPDqm3ZmZuzculVn+bSTUrFJqaxi0hp49Q0fP//FCWa9eOaMuX5lmmK1xuFRU9KFS9kmiqIlnWpIfZs46NXFALHTZqiOifi8tPotem0dvcGQi1djjAd1co0hT+9X5IUqHFJkEmnlgp97d04IB21U6grHyZ580bp8etp1K6VyiZMTDdGoKiGHqsaCy9Zj7XmFN99aolioy9it0q2zfCbC8XGLxLSRtQcNRlqFcEAMy4YMOgP8QqEjO8gV8tk+N14OcrTboVhvU6spvPlGiMfPGvL5Iw8jIRtj3YhqpUe/P2bllItMXnwmqkwEZbOKPIA8uZeWQMPwlINudcDUgk+yYz76JMvcnFWSajOZhkwXLJ52YbFoJP2800T65+/cLcshg4DOzs+7cHhsfPNlHmXYwG4XLI4edpdRbn7F1ic+byV1JDRsTU6ftmM0WChXOpJnUSxWGY41LM15aLdHkq8gfiftXgPHuw3s3jHLSxGyRzXZpw5NeKiVxGHWIDvuoYCDrZ08w5GJlVU3D2/nWFhwSVBst20AQw+rwcTSvIfNnZLsVc4tu2kWhMZHxA+F5k5UvARA1kMqKUCYbapNuHTBK0nJH/wuz0zcxNkzdspNLepojN2qZ22jxfS8GMK12NhUcFlVXn51UmpWNZohE0EnzYaCxthm7bHKKzddBCNOtjbrskYTnbRQr2rkFkxvtJBJClaNHrvDItV7nabo9VswmXXs7de4fMFPplBHMzbLS6LRoEPclMdag1T0lU56OO0DHj4esbiild9PwcAQ6s+9vRZnL/tpt8YcHpe4fC5CqzvCYtBhc1vQ6VXJPTG5HHQaLzaAgvUwNhjY360ScOu4cn2S/d3Of4VcWdhar5H8B3DbT//pArvbCgd7J6iKlrg4eNqc2OwW8tUspbJWVpGEVlGwB/yTTh7cy0rDhNAgxqcthEI2qSJ+9riJ1mqVUNpmS3yH6yg9La+/PcXHvzmWzAuLTUCl+nz/R+eolcp8+NtjXn9rjka7x9df7OE029GZhCa3y+KqDafJzPnrEzy+nSUQ9ZNPZZiZ83OcFMBHhe+8HWD9SRalb+S778Z59LDKSalJvdjDZBTpNj/Hu20uXPRx93GaVnHEuz84hUmr5ePPDxkL13NLgyugw2K0Ss6GwWakUa7jj1nxWd3s72U5eyXCwW6Trc08vrCVmVk7tYrC9JyXrz/OcO6S0Pa6eXI3x9UrPtp0KOcGjLpG6u2qrC+5fE7KtRdnj08/38PnMkhOSihmZXO7jNXu5PBA0MRt7G62mF6wEg6Ji4iZ52snJGa81CvCIqOT39X4hJ90pkStqUiqvs9nwewQn22eUhkWFnwYTBXyJyKhYxSEALlRFgPqncM0+YxCMGykP9DjdhmoNUYUj9soiO5rXPaeBdFb+NsHtQGLy26ebzVZWfaAwcpJMicNRevPSrz7vRiPn7WpVaqsJKz0NSbCLp0k6pv1WuyiN7zbp9MRkC+FCY+DotLnq2clHhUNFMZG1HaP/boel2mIQafF4NQz5bRjZMj6SQ2n0chSCFStEbPRSFHUZgNWZiatPN+vyS12wu+iMxhQLg6kxUC8gzVaBY/Hwr3HDbK9EVdmrCxHrZi1WnaEy76jcEMk/jpW7h5m5fBhymtlL9uTz6hEzMXaWh6jXSxbFB4edHDaNZQLQ9qAGfCIZIy4xg2GXJs0SUV44agiFZZTCRdPU4INImDVXXLpBsuLTnwGA//hSYcfJob8m/92kU8/ycjqTaPfoFYx8PqNiGR6PNsS+kqXVKN2WyrZSpvzSz629krS3b6z0aDaaqMMxPBJVHkNVOojrHotoaCT45MmNqcWt9Mkz9KVqnj2GuWwOxJ0YnfrefzghDfeWODhwySdrnjXBEGrYf+wgt9pxGQxS5ZD8qjG6qkIt24V+JM/i/PgcUsyWF55JQz6MY3KkI2tIrMJh6x8dVrw8mshDFozG9sV+oMaM3MhHtzJcWl1Aq1RETQ1Ht854frNSQai/14fUeuoxMI6uh0D2VSZM+cDdHomAn4rd2/vcvpUkEqrh35skrWFYqlJLiOqGTpZ9XTatOzv9qRlam7Gzb2nRcrFLpNROydiUHt9gs31CssrQuWuYDSYMFrHrD3Oc+NmlFanJ5deQiloMmuZnBDp2BZut416tYctYOTe5zne/kFEbvf9ETfpgxLZ/IDXvjPJ/ftZHDYHHj8StJhI2PAFtbI+JqDq8Rk7NoOOk1SNbn8sh9sHexWUgY6phBOjUaVSGkhY6LvvzmD3GDk6qFIrKpTrgsGlcHolzu5eiVxaeO+FCU7YqayyWrY058bsslAr16XKVxXZZYOZ4KRBMhI6Q2Fe6XH15TilUkvWOQd1Aw+fllhd9VBt9bDpBWXfSKOKTGrNnQ6Q3E9z5myULz/LSsaUqNIVcwWSyRHxKQd+0eF/UJSASLEwTJ0IRXmPiy8LVo+AgFulgtcZMAJamb5o94aEA256/RrXby6yvZmnVG1RTg159a0oChq+/G2S+dNO8qkub7w1wdrTMjffjLPxLE+t1qUloM7VIWdWxX8HyrWuXFyJOL+w/gid79efHsjvZTbXwOu2kKvUmJsLsrdewu6w8f2fzvD3v9yl3RKsCQ2n5uI0eyNSeynJhFo45yWz30Lzu38RH0ejdu7eTmES0IxRU2qTHD4HUzNmefF2u0CvMdAbjsiedOl0xaZFXIb1Etows+rjm4+P8Tn1dIYjIj4L4Sk3T9fKVAoDVs7Y0WpsfPHtCT94b5ZPPz3EYdPhDto42Cjh9Thxeq2o+hbFkx6zcw78IY/UB+7td/BYrASm9WT3e0wlHKAboQwGsqsuYESi+3rqrJN0asBvf53hX/1PM3zwmwNSKROJuMLKalz2nqu1Dr228F73+MEfLfLwG0GF1vLtrRyRqF2qiBq1Gh6/m3pNQAX9DJQxxWqHWlbBF7LT7zU5yQ75wQ/FFK8it56dxpBWv82lc1E++DDFuXMW2fv+P/9ynavXbRK8tbNVxzehcv9uQXrrbXYTg0FDRhaF1s/nFpdNg6wKCPWF1iigGGb5hWjVFRZPByXwKDE5xZ1vDyXN3mo2k87UuHw5jlk3ptJoo5pU0gdNzDYzc3G/3BT1ui25DRkMLLjcYnjh4ECQ+QsKo+EIq3NMJOyjUKxx7nKMrz9PYtSPmZx3yu3/9rMWngkDU3EnqcO6jKJbrRaePMsQmXDi8evYfN6Q9PJ2Q0N/0OSPfrbK//GXT5hbdOPxWXGaDJwUeuhVRUbyb9yY5d7dE3rtLvlGC01LRKzKssqQK/W5em2SvY0MZpcLddBnd7+C1SSc2Vqc7iGT8aCMAu0d5Gh3DMRCNor5JulUjyvXAlLJZtM7qTZq8uCqRUMq25dKskvnAxzuNqWn3ecxMTnjIJPsoTWO2d7pEJ0Yy3iO8K6KLuKEz0Gvr2P/4MVw4M6tEkcHOWkdEBaC9Ycd/vAnCTK5uvR/TwgXLUbZe4rPOekNeuRzKmdOCQBKln5Hx9mrUUqFsqy+iCrE7t6xfIFZnTZcTg23v67isA9xCsbFlFdaEn7/6308IT2ddlcqY4IeLRqNWfbIxDYlMR3i/u0jrHYbwYCZ4UCRByGf14oyVMhlxabagE6PjP9UiyNMRgMmt4H4hIPjVJlA0EgtPWJywUshW6JQh6VFqwRECY+o3W5kc6dMszTklRtzqOY+33yWkbWJs6uTKL0G2wcVwiEXO+t5qfMR1YhXvxOTUVGtGAx0hUangdVsQjPU0xx2KZc6BJxWeYDUo6NYa2PQaFGkes7AaKCgt2pxWLVyMPn4Tp7JKT39kbi0+ekM4NGdFDaHmYVF4UNvSzXO5KwHrXZAKadKWuqpFR8ff7LDdNQtD6FiWtzqdSVbwx+wSB3M0pKTZxslefER6YFuB+yuMbGYg99+mMWi18ktqSDBCvbJe+/N8Yv/vC/dvC6bnZGpz8m+8IYbSR4octNZwlAAACAASURBVHh69aU5CSJ1mRwUSh1Jwa2WB8zPuUgfN6nWRpy/7OPXvz7hzFkT8aiP7e0iFrOeUrmHUW+W6YLj4ybnVmI8uJdk9VyQnb2a/L4vXAjQKAxYPe9m0DXRHYpDghGNvo9RqyGbGbI475Re2gvXfaw/zHN4MmZp3sawP5Ck3X7bTL1fJuh1oozg688yXLzuw2m3SbpyKVVHq7cSio4o5AXVHLKZBlcv+Xn+vMjSqQS1Qp1Wb4Q6HtPtiYqJRg7C4iGhijVy+4u0BK6Nxh1Z9+l3umw8LdPpa3j19QRPH6eYnhHplxI+px2b2yDTDoJ8L9gDrfKIk0yT10XS62GVpSU33rCO332YIeo2cf5ciN1iB01fQ6feo9XpS5XswWGdVlVDKCFUdWNcE6JfO6aeb+HwCvCUjhF6lLZQnLqolQuSEbK+3eGn/2SBzfUTNp51+MGP4gyHYx7dKbG44pIT/yePy9jtWjlsEKBAURVwOGzyd/rcFXHR67G1WeXMGRd7R13ajT6nVrzipUokoufzj/PY/0HPeW7FT6nWwqIbSi5JJiM88CXiET1mk41Pvkozn/CRKYqEmlHc92XqTrAr0rkuU9PCUTySvcP5BSv5qkIkYpU987/7eY5/+d8nmIgF+PrTTQKTIZ4+SXJ21U1sysPdb/IMxaoXLe12n6kpn6xNHe1VMdos/PEfn+Wj362zv99gccmO3mgluS8uenom414a5b7ky5gsRkwmPdNxO1/fLWHSqHKQJhJRGo0Wq8tBu1FGHRkpJNt0xxCLmUnMGXhwq82rrwZIF2pkM2JYpEM7MFBvCIOIi96gw6BlxODoybSNQQ+9HlKNdXJSxm41cW41wEef7DIam5mZNcl0ndiyaPUDMmkD56/ZMGtVjg57spYoNtw9RSW9W5DvJ6NqoaMqvHwjwPyyj08/SslLrNagoSJgVYxkomOoCIzXCJ2g7Bt1eDxaum3BAdKTLvSJT1mwmPRo9Ga5eR4qqmRcREMuKqWuHGpHg0aaLb1UmJ2/MsdHH+7IP6tQNC7FA/zHn+/w1j/AD5dW3Tx5fEzuUHTHh7z5g2mSyRYue4PHDzu8+W6Ib26JhQpox05WViKUKjXWHheJzdlolse0u130Og0er4NI1CBd06f/a8psf0tsnLucPuMlk2mhM2rIn3Rx+u0M2135LJhfDMhhp6i6+dx27t3OEQ06SBdbpNN9afvJZmp883mK2eUgXo9K9qSP22ulkG3JRFS7N+K9P0xw+1aJTrnNd96c5u9/fcRYp3Lluo/0ETSqLWaWRFIkh82kx+13SZVWJl3C5nRIK4Q7ambrSYF2ZywH8fOLEcw2YfSpMNKYmJ8MspM6wOPy4fWYebaWpVAY8sbNALfvlZmd90qnttCVXrrs429/KexDVvwBO/V6i0FfTzRulWeb218mcYd99DoNmvUBb31vmsxeh8fbad56KSQJ8IV8lVZ1gMOiw0kP14RDpr9+dSdNaMbPt/dqDK0iWdKlrmhk7HunbqHX7dLGQmc8komJgF0sZsbyXCIgtS4r2EwaXFoNLhdUyxqpkfQ49QTsY2xaFYPbLL/7+VqLy0sRbJYeJ6kWt4/h9QUbGydNOUyZCdkoiMh7dySHJocnbc7OOjiqdJmLBkimkkxMeVF1FvYepVGNepaCAW4dFRgbRnT6Ql+gI+xTZVpgPmTktUsL/O2tQ+gOSHb1VLJtPvqXXvYyA56KtJ5hzPKkV6r2irUX0e6pacF3GcqBYLPbwmKxYXOaePosi8/twOxS8AvosTImc1SX/xxoTMzELDy4LyqBRs6cs9JqDmm0xO+7KtNnWqOOv/8vR7z8XQ9hh0uaGDy+EZlsF8Yj2QsX0DmTTks136dQa+B222XU+8HjDGGfhV6vTaOtlwPsSrGD3gjBiJ2jvTqdmpblc1Y5ZP7y0xRnznvZ2WowJ4DURp1MB2iwUKu1sVn1aE1adp50uHrTy/5+U4LHxc9dHQg2gZX9owp6cfbCQr3bwmrS0mn35QDhzKqVwz0xjOjynXfD7O9VyWd7fO/tKe49SVPJDjl7ZYKj3SoOl0jxOiQLJBgzsPmsJPW3K5fcJPfEcFuHzSLScRpyxRbhsA2X28Ov/mabn/yTuDynrj3NsLAywbNndRw2BaUteF9+yfUS975rN6Pcu5+RteSVc06ePhQXXbFoGUrK/tvvz/DVx0cY7XqcRivuiIaA28nBXpVtkRRaNskalLBLBSJGmdx0OsSSY4Cqqoz6I3n/efB4RDyh5czFGPe/PWRq2o+iqBzs54lNeek1ezTb4t4Dc4sx1h5mcAfdJCbtfHt3h5DHQR8thZMO03GRwGnIardWq5OV8GyxxfVrCbIpMQzWUxGDNVNfDkwcfpUzS5PcunvM4qKH5eVJ/r//dJ8r5+NkCzVmZ7ysPy1gNJhZPOXmpNDCZDCxu5GnpWi4clEYgGqofYVA2E0uV5R/x2ZjLAerLr+Fz39zxOkzE2zvZjl/JkaxUsXj95IWrD3hoR1pcDuttLoKFvOAVG4sUw9iMf3t7QyJuJlueyR5COJcNbvg5+tPcly/6SWXFxWHDomEl2fbeWnb8btECtHAYNDh2sszbGwdoVfNMgH3g5+e4u43B2i++ddL442tfcIhL6fmvXz4uy2mJoPEpo38/oMSoZCYlBtQlT6XL03z8H6Sbh/CAgw4hg9+l+Hayw4JacscjWTU3OwwsP4oRTDiQRkO5eZeq+pYf9bh3R/65cNyNFQpl0aEoma55bGKmGzPKsFJycM22XQNvd2CYTxiKmbC7nfwy79J8v4P4ly7EeX/+svHzJ0Kojf2KKZGtEdtGZVp9cYcb48IB3UEo1YquS4ml4JV40BjHtGs9BhrzKgacbEvo7RtcrBx6bKfLz874cr1CerVPsVyBbvFidMBZrM4RDWZX/KRTTVlPzBf6srNx6WXEuwISrPXxWRMZX2ti8sjuuAjFlaFmq8gp9Met8J0IojT7eDXv1zn0pUwo2GPcllFVYcsnnVz99uinAouzEf5xd8958Y1L06PjmxOTIEVmo0Rc/Nuup0O2FQqJ0PmFlzSUawzDukoRp4+zbGQcHPtqo9cscOTR1Wp6rG5Tdz6Oks47EDpKvRUWJq3cJJRJURNrzfx+FmemWk725s5wuEwq1fcbG0U5BR2a6stIYuCktwb1KmVtFitJgbDIaNWl4lZJzbTmAd3yiyc9pLaLdPt62m0Bng8I6YXvVTyfZ5v1WR0cTSAjfWi1JKIQ1y7X8cfjMokxdZmRV6oC6kKI0wUsy1efiUhH5C7YhJt0MktteBNTC+LbUZWvsyXlv0y5l6qNHHbTbLfVamM5KHU7x/RKo0lq8Hh07G5VkOjafPyawm+/DyJ0tOjNw5ZmAtIR2lNPGwaGmIJhyRHpzIN9vdavPPOPHaLCsYxv/zFPoOelR/9MMRxpkWzPGR+yc6///dJ/ugfiajWEJPgAEw7JETp9x/tE094iYTdkmB/cNKQxoVuT6Fa7EvVSCA0pt8fYjBZKJUq0NfjD1g5StVIzHgwWFQe3ytiMtrpj1ucmvNzuFMnNvNii6M3aiWPQcSI6nUVzXiAJ+rh3ldJLpyPMj1r5ZMPD4lOWlk47ZMHyt1DQbcXIBIfDx7tcHouzuFhiXOXoxwciKmrKhWGwgmr03YZ6TX4PVa21qpcuzkhD7etjkg6DPCGTNSLY6mIE8kbk0FD8rDO8qqb7Y0e+WKdt94WdPCaBORdXvXw4Hma0wthOUFWhj2WT0dIHdXl38fi1kowzvyS4BjA7kaJqWUPxXRfdiC1Vo00Oww6CpWKgsnWx2620heQlGkfd77McOEVH4y0fPV5moVTYiPsYGUxxObuoSRmX7oaRmOAQrrF840WP/rxtIyTPrxfZnrWQCnf49a9Dt//rg9F36dTEcBlYQjo0+wpchM4HphkxNLu1TE/Z6Ndhr3jCuPBSMYRdzaKqGMLHvcIo8VEOTNkoB1QrylcuThBudSWLuTF0wHu3M7z/vvzZPJ5tp/0OXvVL93oB0dV6mUNhXKZeNTJcbKJ02/m1GIIddThJCVeyG3CEROr58L87sNDTEYLRgG90Ypq0wiXy0GvqWC1allctZA/GrJ/0MLiMVHI9phbFJcilZNUUxovarUhg/5Ykod9QVFvUGVH0ue3sLRko9nXkUt1iSQMVIotdrfbUu8qnnnRKSMT/hDf3t6Rms7ohEcC9eZOB8keVKn3RpgFpTbflkO4RrWLw2xnNFJxB1QO9hR6vRZzsx6paFpd9dEatOS7ZH+vhHZslD/LeqlOoaHn9IpLbvL2DuAP30/gsPTYSXbkc1PACAU9OjypQ2mbOEnVmT/jpJQTvcQx7Xofl9tMIKQnGLbJypDO3EWvNbC9JYY9YnZvwOHUkzvuEZmySXpzudCkWBSgTq0E+c1MWaSm7s5XWc4KUOKXWd76zjQOr06qm2qtFk6nBYvRTiaVwzvhJOCySLBZMGai1xQA1haJsBPFMEQzUnC6DOxvD3AE9Zxd8vLokQD9VIjNhiRjQK8ZsbLiQghhHBY9gZCJg1Rbbjt7VQV3yCJVqq+9OsFYr/LwXl4OK6qlIXa7Cb9Px0mmzURUKL8M0pBSLnSodRvMzU2ROixLEK6o6VkNRtqdLqmTHlaj+FlZKJe60jjy+tsRvvg0Q77Q5J3XE3hCBu4/LFOr9piXLIAcibhTKsn6qiJj44G4hd2nVZm6KxT6aIZjVmQaS5XqYZdTUI07ZLNCiaiXPdLt51Vee3OeTqcpQVYTUT3lrEaeKaZnxZawTa/R4/JLEfKFHjubKa5em6eYLUv9pIBB5os1MscdYvMmzp6b5WSvgdGhSLjc0WGaZKqLtqdn+rSZ/KHK2DxioLRJHY9473sxCiXRv+xLW4/g3ZTzKrH4mJZi5P7tA2Zm/dhs4gJnlLBDcQlDM5ZDp5rg7dgGUiUs3OHTCQuVeoedp21OX/BRLuXotUQFE0LCSuPX8Wy9zPKCg2prJCb5smJwbtnNgycFGRNG7TAZ96EimD8uqc3NpxpoDSNpuUmna5LvIfS5NrNIRQxl/U2HUNIapbbP63fz1cc7ROfCBP16qvUOeoOGWNhGNDbJL3/xBJNBj8mipdPVodfVpMLLoNGjjrU822owP+cmkxRpQCMTIReFVp5T016aiiKZG9cuePFNOLhz+5j33l/i1hcHhGMxjOY29x/ViAQFS0NDMtWTaTphz7l6OcZf/btN5hashEIC/FshHDDKNNP5s2EazR6p1ID4tJ+djRNm5230hya2n+a4dDmEMupRqGjxBjTMTwe49c0h/qAXm22EMoRRt8vcfJzjXJGwx8GjtZzUtMajHjqtNiNVAHF1TIRCdOsFFHTUK1oSM0b0QxPJco1yccybb0yRTBXAYGYuMKLb1xGPip+tilJRKPZEdWzAlbNBioMhnXwDi9vHFxt5mgMTR/ka65kuF88H2DiCVLohU7PVhgGPc4zTq+Mo38NqHxOzQn04wm+yE4s4qZUqFAdjbDo7U44ezeGQmNdOvVXBZrSRKbdZngmj0QwYqhpOsgOCLqPskVdaA/rdvgSuCYNRsy5YEWZK7QELYRe1QZ9KpcN8PMAnd49w6E10NQIA3CFu0mJ0+fjlkwIP/ucEpXyTTzYa/PM/OcO3X52QLNcZ95BWlOs3fexs1OV7LDrpYWHazNS8n1//l+fceGOWvYMih5tdWa8VFVG7oLYXc+g0eqnEvH0nQzjipdsV508wOwasLE3z97/d5f0/SLC3VSQUDcvvglDRiVqpUErH425+85ukHOyLRO7OYUMOhox6LUYrHGwNGKlDFk7b5LKtVR8wEXViMlhwC4/7Tk7WcZoNvVy0KcMuBqsBq9HCwU6N5bNBzFa4dy8tq8czcxN88fmO7P2/8/Yk2ztdhpoebocABatcuBLjo0/WUFp6JicFZUdcw+14I2O++riA323h+pvhF4pbkcg66ROaEmk9PapixukWvAQzx5t9rK6hBPumj9u4vCOGAwfZvPgeiXqHh7uPjrHbbEQmxdkddneLnFqeYnsjxcr5GN36gLXnZf7kL+Z4/qAohwR6nbACjRkbO7L3H5kS2+eBvIA7QiK2rmHQ1YgtkkzgCg7LaKzB7reT2q/R6Q7ku1Bo8jr9obRMifNDMtOWNehgTJwjDYT9FkITdo4OajitNlR9RxpExFlFa9KR3umhsaisLHkwWPXUckOU0QCzXXBnaizMREmmcjTaOlbOuoiEvfzuN3t4/Abe+t4cx5tlCuUWp89EeLp+TK2CVIcLwKZRK860IhqoEIraufNZlT/8x3NkU3WePsyzcDZMq1QTSBVZQfd73FjdIuFhoFmq0WwOmZx0obNYGbQbMg388GFOgmDtFgcer5V6uYZGq6Hd0ss7hzAtqYoYtAbZ2y/gcfvY28nLdOriRTvpo6GsqohzwPkzPu7eLhIR6QrTmC8+TzM3E2JpycPTtSPJyxv3TTJZVWspzMTFYiBHfDLEk8dVDvdqfOd1H76om0K6z8mR+P0wiCMQz9YKvHEzKuvcmr/988hYgJe0dDHoVRYXI9y7W6RebbNw1iIdw+tPKuj0Blr1BoGAk35vgD9kJBYLoHZHrK/XCEwIr6BGdnW3DhpMT7lw2AZsbarEJoVfuyOjEVqtRur3ZqZNRGOCzNjmzOkwB0dlCc9amLXx+FGZ994/Q7FewG4QL0kLmXSVar0t45mljMLVG14OjxqYtHZ5wUwmRcd7QkamGqU+rVabiWkTM5EA5dJYdk3nZ2yYbSb67aGESRwcFpid9xEI6FiaC/LZl3t0xEs36OTwsC4jN3rNCwemsOLlsyMcrgHzCz4OD5qEokYmwj729+rSzdnpDLi0OkmhWqFWVVk4FeDJ45TsDwl1jG40xhnU0W4In64qLw6JaQdrDwX9W0Uz1OGL6qlUVNldG3VVGk1xsGngDVp5/3tn+fij29InHJ0Msv40yfS8kdHAwdd3sgRdZkmDXtusEfZbGYwVpia9HOyWGI4EcEJLWGiYOn16fT0m0SepNYjFA/Q6CplUXW5ThsOu3OImQiFy1QZWrZaughzuGLRGdveL0gChDrUyAizqFyanjnpRiz8wln+mrXUBPfFIAJTXZUZntHOwc4zT62B/p4LBomHlYpT0bpl6bcjLLwe597DOiIGkSotYdKM9YGbSw85+C6/byOWrQba3KricLjKFNOsbfV6/MUG/2aRcH7J8ekJGeXPpFgaLgcU5r+x0b273uHLZJz24YpMvpq1T0yLSUyOXVrDaBN3UgqpoaDabBII+Tg6rLzgKSptoXGxVB3R6Oor5EnqzTVLy9QYjAb+G8IyHrz7KygP1n/6zGMmklXTyiItXEpQrI+lAblY7TM4GiApI3EGNQb/LpZfn+OBXW1gtBtxes7Q1vPHOPL//7YHUC16+5mFyJsST+2lOTurMLNgYC592Y4A/YWLC7+LJ04J0uXf6A6lGrJYFaE7LWB0z0quEPDY6w7YEdo5HyAtnPjuUNHR/xMy5cy6++LhKKDYmOuHi5397zH/3P8yz8byJP6ihkmtgNDnR6QZ88UWVuXkzi7M+SlVx6Cpj0Blw++1oxCfXGTIa6WXvW8DVzAZVwirFqnjQG2M0aSjU2yQmvRL22W0OuflKhDvf1AgntCQPhzy4X+PP/yIhAWwr5720qxrQ99CqRp6sp7l6Oc7TJwWpA718I8LPf76PxWLive/7Ubpa2h1VKqz2tjts7Ta4etXJZNxN7qQqNXEiIlrI93D7FbotPaPxUJL7/UGrjFmJ2RrGocgd8PR2kZnTbiajOtSumd2jMmNFxw9/usSv/26TkUaPogzlBfGNt+2yv7+9WWd3q8i5y2EOthpy239x1cFoaKBQGZBI6NEZjNy+lWd6xky+opORbeGTrde1cio87IzRGfVysCEih19+maTbFFtlIxcv+EnmGvjdJnoDPS43tGoKj+9V+P6Pp8jka6w9baHViijsmO//aFaSiB+tDXjjNTft6oDhcIjJpuVwXyUYeWFMuP9oG6vdwbAn4EFdRi8+USYjHpkuyRe0RGM6SbGNz5nZP2qj0w4lRbhTFYMmLaphTNBup9FsyVRRaygOCm2GPSMzYuuWq8ifwdRCGO2wwfbzgYztWo1G2ZsUE6NWrSUrYg/up+Ug4MbNBHu7ZZnkcdltJJNdCRcUl9xksoE6HHHqTIjmqMO3H1dZOeMkFndJo4pgyGw9b8lL/eyKi1pKwerSSI2e6N/ZTVbqjY58F91/WCIYslCp6Tg+zHP+/IQ8wNjsqnzZjxRRq/LSHw5IZ5u88mqEredluS33euysbVR5550pufXIphu4XDasThM+n4FOYyQtB0LdOmiZufCKi6PNoiRDi4v0Sxe90r/8dD3N2+9Mcu9Whe2tOu99108m22fvsMk778Sk5kfEpeWw+pu8BI3GYzZsNqN0BH97u8LkpJbF+aBk30zOWijkWvJdsrAc4vOPD6mISsGKA5tLxPt1FLMNHDYTzWYbg1uPdWTCaBlhd1pZW8/JzUa9U+f4cEi/q0qg6LDZk0DUew9LhH1a8gWVUEwjSctffy667Q5pfHlwq8LNmz6293NcuxxFPzLydCPNwnKATz5Nc/36BFvPqy/I5QmP7EXWhF6zK/yRLW5/2+K1NyNMTbm489UBBucYv6C5jYbs7xYITTpY2+jw2g0veoOeXK5Ot6vF7dLLy3ezM2Bvvcurb8fxew0c7VfI1gbkT6pcvBBDq9Pw4F6K+FSARNTD3YcpqvUuP/rJMsdHRZSRnoODKo3KiJevhWX14Isv9llaiHGcSUuWiapRUDviu9IjnnCwv91AMzZSaTQxWTQszPukfvHOvRozCzouXpnkV/9ph9ffmePosMClC1F++9EhhXSP7747KYF/W1slWS8S1YbTZ6KScO5xGfnu+6f5xd88oVwf47DqsDvMMn3XqLWITsT49vahTDFORQ3oTQaWTgV5cOsEb9gKqqi0BBkqfTLpHGaLGGCaqbdF51Qj4cDJfAutSANNuqQ6dmerisNpYDLu4iRdoq+Micd9rD/OcvOteYTMrFUbUWuXJCfAYHGyPKfnydMam/t1gn6LfJa9+vYsjx/usXB6gv3tOk6bXrrFGyVRB4nxycc7rJwJyUusOnSgM6sM+yLq7pBmimq2idunQ2vRSLCtqKq8/wen+au/2uDUkp/vvB/lr/7yGZeueVlejUjQ7uZmGa/Tz+SUUOvpuHW/INNUwnzisBkJhFw063UcViN6s0Zu3QupBm+9c4qf/3KNKy/FGLdFylQsOTQcHxUkQ2V9o8jlKxM8385gNdtQhh1pcNIqKsOxmVKjJ1NZmQr8i3+6zKNnWWqtAWabjrjHSrZY4eqFKba2MhJeGQhYiIcNcgC5f1zlTCLG2DJk+7BDX2lj9wTYSpUkn2Z+IcYHt1MsJXysHTf59bOeXNAd5xqEvXbsFi25Rl+qkHu9Kpqulkmfi/WjPG4HTHo8uO1aDP02DWVEWFDQc00WJ9w4TGPWj1QCETMnJ0XGOjv5egO/xcxQZ2Ggdom7LGi0Yhjq5DgvSgJjouERd7a1/PV/E8StNPl/vm7y/gUPe/kByVyTMzMuvCEPpUqeXkcQyHWSl6I1GDgU1HOHkZDPTjZTxRsS+mlotwdMRIyS99DqidRbkYHyAvonNKB7Bw353xFdfKHd043tUoFnsWvk97Fe0WHQdglG3HIBJ4b9yXydcmGEwdDFFwiRmLFIq5Col+zt5fjZz86yvVEgma5i0I+YmoqwvZOWSlt1aJMDy2WxbDnIs77VZDLqYGHZJze39+8dcvl6lDv3M0xHvPIe1GqPpXZu0FVkTdcnOWkdkicdCdv7/o/PcHxYRukNKZUa7O71mJxw8PLrCb7+cot41M7yuQl+9ctD3NYRU5NikNWlp2jpjxRSyQbxuIuQ341O38NgsvH8WQGHe8ilK3E++M8nhGe1eGw2Wv0u9fIYdTzCbNTh8hjkd1lYyALOMeHpCZ4+SMokhs1koN0V70eRHjSxvZWWtQ+zxSDNZ6ITb9L3ufJSkF5HcN/CslL17cMsPq9OKmALorZUFQMw0aMXQL0QX3y5x/y0m43nDb73foL1ZzmK2R6XroelsWtpcYLIhJl8sUGu0JPmNwG9i09bCbocHJ5UOX9+mm+/SnO4X+aHP5ynVGm/qJf1tKjjrryTirTE6mqcUr3F80cVZqdsGK0GCQvU6RVKlRGZZIdX34qxv9sme1ySdxHGAoRdY9DRMz3rxu6ykDrOy4v/2DDgcK/JYGgkIjhoQxWX+L5Z9Ww+L2G3ibOtmcPDLvMzPszWDqpg/2i0BPxaalUd5WKLU+c93P4shw4xCNTgjcC51RDffpOjXBnyz/5ins2NCmvPS7x0NSafNTPzIbK5HiGfgsViZmunTrmsEA6amJgUiu15nj7Zksktv9NDviLO6H6pEj45aZMvikSKlWBQi91gIZOvotFr5d05FnWiuf2vE+O9nRo9RSMhPPPzdlSDin5okXRsh9vO5x8d4nZpsXqNBF1eCQWLzzupFRTKlQE+O9THQwnQWT3nYigpjXbu30ljMWkITb6I9aojPblCS07Dp6fc3L2Tx2ju0O6amZ0yYbCMKdc1Ukv21jtRTo5HPHl2QiRsY/Npk9ffjeJ2a/not2VuvuSl0e+yu1XHbBRdbwtOq5Mvbh3x9neisvsveul6iyrjZxazSthvx+ixobRbPLxT4cc/O8Pmk6yEeSycjrK9kUQZGHj5lZDcQgtFmM/loJAfEI5aeP48j1Y1cP6Sn52tJrNzQt8z5uO/L7N83obPYcNiG3J4PGBm2oVurOXwsIJQmBaqHd55b1ZODG06A/lSm1DERq0+RqUpSaXiBeSyq9x7UsVmHbN0TmzSBszPuDnYaZMptqR6b/2ugJ5ZJDX09jeHXLgUlnaBaUXivAAAIABJREFUB9+WcQaFi1jL3W8rEgC4suTgsy8LXLsWYTRQOTluyu0Pmj7lkhaTcSSHGOIlLsidNredtTtZXroZw+HRYDAYuSN0RJUGZy65pYv1ONnBHxHAQA27Wz2ph8tm6yhjQU62U8l10Or1EuAyHHUwGjWyW+rxGKkUFerttjx8VCptAmEXOhUSsyHu39khGNATDLrZ3C4x6OmITDvZeV6TFN7rF3wcHAi4m09Gs54+ycs0ifjii871cKCnIuKXc3ZMJiPKYMRYGeALionmiOHIwEGqQr/VxS7qKxE/jW6TQV+VOhe/x0B3MMJi0aJRdXQH4vIKT9YGvPZagAsXPDy6X6YlDk16I5GoiYNkg251yMK8k1zphUNVAE1quQrLZ2I8uJtlMqFjdiooXfS+oIV0WmjgrFjsOgmKbNZarD1vMzttwWS00ewKEFCLQMBDtdqhXevj8DopFiqyc/uD9xf5+naGcadPqdnl0kU/9aaZzbUsQZ9Vdll3ttuy3uELmjDoFRqdHt2qgVjCKCPanSq0mwqtbp+2ouPd703w/HlBxuSXZzzcfpRmfirCxnZJ1iakr9cPsYiJXHbMk4cFzl524fdZeHKvLFkJp5e9tJp9nG6jjKqL5MM3dzPS9W5xGWhWa4yHTmlsEJq9Vs2A0dinPxSXVRMulziIOumNOlSzI86cD/P4WRKvy4TFamM80jHUd6UmTFxMa9UOqn6MyaCyKwB1pzyUqiN2t8X30SWtD5nMCLcXyvkOfQ0sz7il21WwQ+qlFqsXI2ysZYhM+emJtf1Yx3FmzMykjkjUxtpak+CEkdFYZW7KzWcflIgvmSTws5Qd0m5UmFwIUi/ASa6Ex6pjoBikPm7t8S5zi1Pcv1NiYdHI3EKAu7eOqXUGnFkJUs4O6NJiLjHF3XuHJKZtqIKW7HfTH1vRjoW/tYxhqGXlkl8+n1w+B7EpF8/uF+QEXlQkjFpwuYycpIWT1ovTNeDopIfDpJcQGYPWTkdRWVqwypRAT6nT7xok8+P112P8+qMjTi25iAZNMiovLosv6PsmCQ0UkfNQwI5TJH56KuEJg4Sfbm5VpNc5GDKRSY+YXjJLSKdI8bz93Rn+7b/d5G1x+XLCs42afJmLl5JbvFwP6oQm3XLI8PRelR//ZIWDZIFWqyi1bB9/nJJUfqdbwJd0nFr0c/dWRppRotMmysU2Pp+dSrNP1OuUnmbRCRXAN62ikG9osDoEsFYhmhCpJ5HqasNAT7M9kGrIrSdpGn09N1+KS7jtF58dEo2a5XBp+WyIvbUKR6ku164G5GYonSvRH0C7ruPaSz7KjSGHOyVJke4qYiAIH3+UY37ZyvmVCHdv5zh7yc3jWyVCCQtajcqjJ3WuXfWzvBig04WDwwb5bJEbr8/x6HaKmXk3d+6k8Ps9MoXXF1snu0ZuQw83WxjMOqZmzfLgqGp11GotQk6bfA6UCxpeuhEkX6jTqA6wOIyyipE5ahKesMoLs9um5+69NCaDSAyUufrSpIxuz80GKdXGfPtNksU5B72esDQYaDUGzCdCbO9XqFZqnLkQ4tnTDibLCIdJy5UrQT77fUFaTkR8XQDKhNnG4XXw6cfHTE1ZCfkC9NU2D+42WF1xEIyZJVDSbBjKwbdwdm+upWh2DUTDdrxeqDdMVMpl6a/u1FXyuYpMXAiSfnzJTLWk4fTpCbY3j3HZ3LLmtbFTlNvfVhUSMRtb+z1cLnGg7WCz6/jo90VOzVkIhG3c/arIH/3JlIwYf/FZhldfDZJPq7QUBbXZxWw3MjntwGB00O83yaRrZFMqoTASMClo9itnJ6jkO3S6faIJG7njAdlSkz/943npaW70+9isZp4+zHLmkpdhQ4/JJio9RTLJMddfDuLziD5xjnZFx8ysTeplR6pIAbo43G+8GODvZ3F7vDKdc/9OkWq9xQ//cJ67t5Ky/xmb97K/XcQfsJE6qWM1C01pXSbYdAwITnjJl5to1A4vXVvkydqJhKkKS414xj1+WJXfSa15gFVoSIMekrslirW6/Gx290e47Yp0wE9OOVl/WsLuVPnu987w+IkAIuu5/WUJe6BDxBWRCjEBt9TbDHh9esnTyOy1afSbkmvy5Wc53vzeJOmDCs3+kPROlz/42SK1Yo2vvsmzsOxkOBrjsBtwO3Xcu1tnMm4mMeuUxgS7eE84TCgoRKNu8tku3Xr7hWHCqmHtWY+lJRNut4a97QGtzlCySc5eCXPry20sVo/c3j9fa7Ow5OLuvTL5wojEFExMOzm/MsP9O5uUCmOWlh0yRr6zU+fGK2EquSFHJxVeenlC1qoUTRejoiNTH9JsNPmzn52h2+zw8GkZPX3GJqNorLK4LDSfXbZ2y0z4Pdx+kufGtQiNYg3GRjxBlajPxcigsLfTQjs0EQsbmAobGdrtPLqV4fpFJyOtke29Ko1Wk5fOzoDbxJ0PN8DvYfukzUA1kh2OufO8w8vLTnxOlQ+fNum27URDeu4fVZj0O+kPuzjFALSlYNKKgfOQuEdFEf3x8QiDVkfI52DnIM+lpTj391q0DS1mXD5+/yDPW2dtRL0W/sM3db53us//cjXM//uwxlJIy/yMl618Hb/RwM5BneuvTLC11SB/LPhWetwOB6VmB934/yfpvZ4kvdI7vSe99z6zKst3VVd3tXfobphGDwbADHYwwyGH5A5jXay4IrUKXShC+icUupJCsRFUSMsVyR0Oh+OWY+CBRjfaVnV3eV+Vld57932ZKZ7TV8AVAlmR+X3nvO/v9zxGSvk+qm5AOKAlGPDw/NkJi2dikv7++Uc7RKfN0irUEsR1i4FRD2o9EJB/kRxuqSPGx7SSUWKz2FBVLWsbhxj04oIe4LPPjuW7TTA7Vl+KwZ+AQQ5QlJGELOuMIrmlpdd2SM6HoLT7nA6MRhMvV5L4YhZaDZVkqo3LamZ2XiR6dLgtFiqtKsVUl5FO/HYDVGo9HI4B4ZiHX/5sXy5Bui2FWNzBcCCWLi7sriHPRbJwyi2rd1t7Vbw+s7wIisuZxW4ldVin0+rJWlhqv8hb78+y+bJGslDg3ILgtWnlWd0XHrK9VsfqMBOJWel2FQYaHd1Sh76iYWhRsWhNksrfqIiNtyqBfw/vJdDpjIzFjHSUkVzEdFptnMIh39TLJas/oudgr87Nq1NkUjm21lrMnHHj9mixOpxsr2YpVjtUS0NcYZgMeDFqtSSyBS5eGcNuMrG7n2Wo6CQI3mwwYjTC7IyowgjIcwW71Uq51aRT7TM55+Cbr8ucu+Bn2Bmxl2hisygsXRqTsOb1lSZXrntwupwSXHv27DiPvjhCY1SZnHeSPRnidRpfLbnaXbQGkUDVs7FVwmIccuFikEJ6RHgcek0LPaWBx2ojkS4yezZOIZelmNZw7oyDbK5LpdXFZhScMRfqsMZANVItd7h6K0Qhp8gai1jk1lsKXp+WsahPpoZPjkocH7W4eTvMy5Um55fCeMcGrDzO0mxpeP+daQrVijQ/xSJWDHphZTCidw5wmaxsH1YpFnqSdabpdyXgWDuycvaCm35Pw0e/O+Lm6yGpkxdptoEAWppFzauOXQCqawYkicKmkQNGcdYW0Eib2YTZBKGol6FGpV4XkP4emt/+5fgom87L7YYv5qJZ7bK5mWVmPkh2p0BV0RDwWlg45+PR13kCfj3RMRHJrEqVjeheb+9X+dGPFllePuDZwxY33gxRyVWlasAd0JNKiviLWU5L93ba3LzlQ6vX8F/+Osm///NF7t3bkfGNRq0rNyrCFX+4n6PeMuALGKV2T2xhVh8X+IM/W2Bns0C5qHD7rRiffrpNwOMnNGGinOyht2oICk1Gz0S10KDRHFKqF7lydYKXKzkCYS8Bv4W1tSRv3JpmczNFqaZn8YKDeqFPNOLgk9/tMH0qysvVrDywCDfj4W6Nb70TZ2DQSlXE5LgLrV6LXqenWqkxc8rH8xdlsikB45ih2awQlNHtDmqricbgALVDoyP6VKokiPeaI1SNQrPcYTjU0W/1uHH3FEWhQUl18IUNHB+UuXwhismi56PfH3Hz8hTZQpbJWScnyQp6jVmS5S9fDnFwUqFe0XLhaoidnbyktReyogfVZP6iG1G4FF2eb787z95BRnZJTk2H+PKLY7791gzVWpW1nYr8+w97I55vFTg95WDurI9apc/GulDYmYmO2RBHi3yugyo0Pb0mjbqB22+4yBwMUAS6Sd/CYNLSqkG7PsQT0CJu+oaBIH426XV02F02QkEdRp3K+mYJjdnC3evjfHovJ6elsQmnpKQfHrfRaA2MFPEQ60v3clfpEo/7pVZE+Hgtei2NThuP2yh7OmNxM9Wc2LBVJLFcRF1vvBbk4VcFPH4Pcwtavvg8w8SMG5t1wMOvWvz7v5zl6LiC02KSypAnL4tEoyNCgRAbqxnGJgKURfxH0UvPr2b4Ks7tMFlknWR8wi8TI4IKKqJ+R0d15k7bCPp99DodKrWujHoHQh6MjNjYrHBmyU0mXaPVUjh/KSQrEqVil+9+OMVn/yQSE3rm5ifYWDsgEPWDolAptWi2VMJRF91WT240xARQQFGm436+fpSRiZNrN8b53/73FRZnTbz74Qz3Pz/k7Plx2Sn6m/93nQs3tUTtIR4+yzA3Jw4XBi6ei7G2npWXCIPoRpl1tLodLCarjN+Kw7TWaEPTE3HVGJVCSyaHtCYxcazKWoYYvuTKXfnQabYb+H0eZk65WL6XA0Of9z+c5cnTDInttuzheoNDvrpX4fotHyc7TZwitdBpERuLkc/nJOSt1WwTCbvIZht4vTasgmnRGFEu9YifMuN1ubEaLLzYPsRpd0ooqVAGCnChgPwJ2F6trLBwWk+1rJEbFQHtPH1WaP/EC74uIT+LS14++TTBwrhHkr3v389w880we3sNKoUGegxY3TpJh0+meySTXf7jn09zeKiyv1+jUGnw2jUfxylhs1D51hsRdo7LEuqXSwpPvJe+ouJxdqm32jBw0O50cDl0BDxOxmeDrL/MY3MPsJmsvHxa5PZdH96QgXrByv5BgsSJisNsxOQQ9YEJPv79oYxNLz9pMDUtlElmVleF4i7GF/fS3H07QF+j8sk/ZVi67JN6x1SySTBiwmoyki6UGI6cGDUqS2e8lCt9Gg2xRRnIrptISHjdotrgkprJp48LTJ5y4LCJKX0Dp0uYI8Qh18HKk4asIOh0yK5wIlWU7t9cucnhbo+FRY90d58cNlhY8sthzfxShK8+2iYS8NHsig56g9feDrG1kic67SGXaEjWhc0+Qm/QUsz1aXUVTi9apHXgxfMm89Mepk4ZWV1uMBhCsdxjMu7g9Hk/Dz7bw+MTqlsdB9ki//F/fJMvfrOBO2Qkk6uRT/W5fDXKi5dJXrspOoJ1jpJtLlzwsr1ektsIAdYp5DsEvFaK9bpM2AwbFjS2Aa1yh/ikh3a7S09EwsVAtVymURcpLzOhsEEqJb1OF4GIkwffHMoovcNqoyPiyfkWd25PsLycI9/ocOG8n2tXpjg8LvP0UUKyBp4+bEg93ek5P3//8wMmJs2cPRfgYLvJ5naP6bk2MxOT/PrXR7zxVoBnTwpMTVkJhT28XC4wOS2GzV0CHiuqQUMx35aQoXodEgdV2l0zrVaZG9fdvFhpcu7cOMNRj4ePc7x2w082VUQdClK2QW6T/CEzpWSbx2s1blxy4vQ5efE0j0Y/kJyIi4tOvEEjieMKyYSKxTVkpIiNUVT6mwtZVX72y2dD/OI3JwRcBqk81A71HJ9UsFiM3H13mpOjHEadQyqSZmbE1lahWOxyatHOR/+U4vrtADMLfu5/ekJvqOH73z8lOTu1cgm7zYgjYOGrzzJcuR4lNGbi8GVJpkcOMx38dpOssjx7nOXUkpt2Tc/sAjKy2W73KKRVPAETmtGQnjqS9pBBDxk1X18TF1WHZGr0B1r5d3l6v83CaTvxCSc7W000aptypScTEm++EyKfFpqmKnffneP5owyxaaHOUjg+7HPrqo2HXzXwhUzMzTvoKmZp3anm2hylcox6ZgJjNvn9e7Gck5DisQkfrbYY8A3Z3ilK5svkfIi99RLXbsfY2chiMBmk0jE+HUTt9OV5JVXs4LK9IoL7/CZ5cBTvrf39Nq1Wh4uXojTaXTncUzDx65/vSfWzAFUWiqIKMeCN21O8XMlTKFWkxlOvGnD4jBxnBX3bSESAxg5qjMW9bK1nGRv3EAjASaKB3+8gk29KiFUyVcLjDlGpFMhn2hIi2a0pICLFDpGW1ONw99DqjKh1Ba1dT60uwJRicaKR3KlmX2Esaqdc7aPpK/iCTvT6EcUKWEwK/qCOxMGQdqvF4qUo7WaHX/06x+WzJkJhMTwyc3iSYzIU5Hef73H9RhSnhG412NioMjcv0hZOaRgxmIZUqybJe0kf1wj4xeXLwvpBScbvR8Ih21ewea1UOiPC9gEn+Q5KZ0Sm1OPOa1GGQwWdQZh2BvT1CrVclUpzyEgd4hy3Y2j3yTabcqGxGA+yl6zgddu5fiHMeiKJtTViZLYw6ChYPQaOEwrDYY8zU05UNEw79PT1I/KFjoSGqlobv/z8WKb1JiYs/OybCiNhkkiLeqydQnNESekSMftYO6zgDwzQ660sRFxsn1QxOnSYxGa9pcOhs6Iz1okEXdRyNa7F+/zbWwG+ejGSqujpcYVfPGjx4w/G6Pb6bG7W5Vnq5nWvrMLsHTQlxLHWEM/csEwa7xyUuXQlxr1PElKVl8/W6I2ErtLM7l6ZfmvIzMIrEGpf6fPkUUmmfQOeEasbbRklFyyGdKYktcPhQIAzF92sPjzA7BLgT0F7bzI55mQ0MrCxlZHmqGSyjt9lwux0oLT7zJ3W0GiZ6ddBNfXIHFYJBWOMDG1pF1pbzjA/G+EoVSAUCGK3qbT7BjrtGrV6F7PZiMf6ClB5sKPiDgnzwyszjXhf9FUB8DUQnQpwvJ/HYoRUtsvNW1H5rBGQQpsHyVmanAjxzYNDjFoDV14LkkmXcVidrL/I4x2zywSgQd/n+GSI2aRIPs3snE3yOoQRIhwx022PSCbb3H5njFyyJocQjeoQjU5Pvd2S6ZFmeSTh4MGAT1ZnN7ezeL1Wrlz1kjlqUqyJKqUZp91FOpuRCt+2+O87PCiavky1+cdEP7/OqXkPDx+UcTp1uAOQ2+8SGrPT6LbZWW+j/PNg6r33I3z2+yyqVuXf/ZurfPVgT7LnntzPsbhk5/KVcf7mp2tcvRiUQ74nyznee2canU7Ps2cZ6rUyk/EIHbUpORYfvDfPxmqe1bUql655MOj0stbTqoshoJdHz4p4nBbJJiq1RCVXw1TMLr//Ro2B9e08kxNuUokGgTErM5Ne9neK1FoD2aMXz6CtvQpzU05Oz/h5uXqC1uSkVqmh15mYmHJh0Q/45Ddp9HYTl645GYl32GFT3klNOh0WvYndgzRjsSA211CCuKcXQ+RPmrxYy3LpSoTdzQLN5pAP/yjOzlqF9ectPvijWaqVFrl0FbNRgzdip1bsSYPG7IyfTreOySCqMhYePtnn5vUYmWwPb0iwc4x89fUxpxZFIjLA/maSWMwnF8oj/YilRTcn6RaaX/y7yZHN2qfXa/Nspcabb83KyNlE3MLS+RBffppgfskrN3LFRkvGRQNBFZPJRj7bweEZsvG8SjASZ3JmyMqzDLnCAJ9Dz+27U2SPqnz1MMWH3ztFLp8nm+7JrpogeocjWhjpCcdM/ObnCU6dcmOw6piddfLg65TsrIxNhaikq5gcDjqdHicnFYJBP91+Gd3QLP3HFy6JaWyW/UOhprFxfKTFoG1w+UaEelPF5zUy6JrZOShiHIAzJIjC9Vdd1eyA5RdZLp53SopjIODHHxUxliQffOcGP//pCsGQVU5/5k65Jc1S6AYF7GvxgpuP/ymLz6/D7TPisJjJpXvo7S3CEQ+VwohERoAnwrJ/9MVHGXYFsGvOhtYoesMdqT8Sk0Wx4dCZtChdnezgir/R1uYJGr2RfKYjNWw210DSQ4vprgSPpHMDonEzSrsn/caO8Ig7b8yz8viAvd0+167HqddeTYYURU+lKnqhNnTDIYlUifc/WOLZk2MGao/ByMTkmHjg1nF4hbbDQiLZZ+NFUdRGOHfViV5jpdFqc/FcQMLlyqWahEaJ/mi/b+W9d4MsP0uiQYDpKhwdaTl/ziSHG73egORJB6fbQixmkWaB5EGHvf0Wt9+Kkk6WZXc06LJzku9xbslHp9WRkLqTTIfFBTexaTf/8Hf7LJ11kcuOCAZ1KJ0+5V6T+bkI5azo5iik9oacvSI80wpv3T0lO5f/6f/Y4Md/FqLW1LHyvMS1yz6K6Q4Gs4g2u/n4kwS3bwfYP2iQTTaZmwsRnTBTzNYIRr2sP8uhNcLUgolf/0OdmVmNfAn97qMkLrsJo1GkZ8YlQbutjuQEu1FtcOPKOLs7LXSmHh6PTXbgrE4zd98Js7bW4P69tIxuN5s97v2+xA//LMbaoySqxoUyasjP9fxFGpfNjMdpIpHKo3QshKcs2PVaMsUe8SkblUKTQNDFzl6ek6MeP/j+JIlEjd2jDpPzdkwa2FlvcvWmk15Dy0ef1piZU3jv27N88WVCxsvzKRWDWVz4zEwJt3GygD9swhcUF4ACtYKBazf9aPVDGX+2O1x88vsT/vy/j1MsqSR2W4QmrOTTXaLjFnKZvrxoXL0ZkimHtcd1rrzloFaysLOV59rrXuwmF5ubRdAPufFajL/5z+tcuhamWChTKIy4czfCk6+KGExI0OBhsshcPI43qqUmtm89AZ0UNGktjYIqVWh33g6zs1ORkNCwy0Gq2MbpEJN4Ly9WsuQyr16St98a46NPDtBpjNx6w0O5MYSeTioGBYQlk+6Tb3WIeG3Uyn1J7BYHZgEiXF2vo9Eo0lqRy5XIJ7vEp5wEpUYrxC9/s0avZ2CoDpmd9hCJ22RN5OrbburpmtR+BSM2hgNFDlYtPi1WnUmyOY73BTDOxKBtRmeBBQEj+zgte3KTpyF13MWo0+GPCquKmRdPc0wu2CXssdLsY9EbaHeaMh5WKpf5/JM8MxM6hloDnoCefgOcPkHErxANGRlpjZKWvfmixoXLAnilcHLSlgAdr9/EwVaZa9d9jEYCYNjCYBRRug4TYx52dquSzO/xGqlWG5K/YLT0ONwZMLdkIZds8HKtxXc+mOLJl4dcvBWmUFCZintR+h12dyvYLaKCY8YXcsmIn0h+Xbhqw+/0YrZp2FhLYDZZZKxZrx/KzpwgO3/x1T5Ws5VOp8t4zIoyRBLKNVqVyzfH+Oyjfak2unLDz8pqGpPBQTTqp1AsSA93sdiXcdRctkUkKgKtdlxGDS82c/L5axaJtILYpOuZGg9QzpelXnKkWkHXlxeWK6/FUPptmm09VuMQnU7Hk4dCO2eXqYErt8KsrYiDaY9vvROQl5THjyrMz9uk7WR1rc0HH4aYDPmodSo8fVwlFnEz1NZplbSs7oqhjoPRqE/QaUXEDMS2Lhx2cvCywbc+8PHsRYWBoufseQ+ffJZkdtpBPtOn1hDvvgHTUz4q1T7loiq3e+1enVDIQ7Y0ZH+/JHV242NWEqma5EAMhyOWzlk42O2Ty3fkUFV0If0BL4N+n5RgNsS0zC745Pte+LODARdu94ihTsPy1yXGpw1oDTriES/pbEUCzC5f93L/QQKdyUSz0OPN1yfw+C189MkOC6d8NJpNxqNReRkLBs2S+D03G2BjvYDeaMTr0KMMFKkVjE/bEMnFtZcNJqdGeAIe0icdCeWrdDoEQy4CATN76wUZiRX6tES2xlTcjdYiwGJikNEifdyTSuCt1Ybse4vP9PxRG7tFvJem+PjzbfR6D5qBSiyiRWfTIaJEja5I2mlo1Ubksk3uvBsh6Hex9jIvQYkGo9gIa3jzrTBmi5FKQSiT+5TF4W3WTiLbxGkTwN++ZHN8+ONF1p+nyKTaEnj45H4ep20o+TgC/Hrrttj4n8g0XVi8p7eqZMT3NuBib6fEu+9PUGkMMRl1FEo5wmGf5Fx4PS7JRXj6TUaq04SWVQxNTVY9NotFJsMahSbTZz10SipWl46joxaJRI/ZSStOn9AZKtLEcLTbwB8xkMv1MdkGTI97ebws2AQ+zpwRNH0D/+d/esmffLDAcTrB/laHsQknociIWkMnz0yVcl3q5XbWG3znhzHWH1fRW/tMjIXpDQRfpILNrJX1ukK6i8VvoJXvYnPaiIQdlCpl3G4PqlInddjiymvi3SPsOU1Osj2mJ0WCxCTfrddvhMikReRaQ6nRpN/s4nIHiEwa+earQ955Z46t1ZxUFyu9EvnigNiEj+UHSRbP+6RWN3HU4Yc/PIuq1fK7X26yeDbIhUt+/ukfNzh9NUj+pMWwPyAQcKHRaGiqA776ssiNMzYsAaF4LnDz1gLdfofPvz7BZ7cS8Rs5yZUlA2NiPsLclIdnL5OUsnUJXfO7zLx+c57f3XtOLtPm7HkfyVSfbqtPq9xCb7Rz9704O8cNho02AaEw3cozOe3jKFuRTBGnxcrf/u6EW5dtvHF5nFwpTbVt5u6tWXafpzkpq8xPjchm2+SLfQnWztT1kqgfsHv5u2d5fr1WR2syoFVHXIrr5PtlO1EhFgyQT9S46FP44IaDctXI0rWwTAbXuyPJmdEMW3KBUKlVZa1MJJCEXUZtWhnQ4He/LfKv/ywugcrugEiKNijkNYyNO+UlX7CbpuMurt2M8PnnR1Lb5nI6UAddSjmNZFgIfoHLaZD9c4tNR6kshiZG3C5hcVFo//M5RxiE9GYta8+KBMJGTjJNvMLtrhtxtF/k9p0J2XtfXykyf9rL3varFOBQh7wMCmB4oTikUTUy0BWkHSeTEirYlqye1UsqpXyLK9dmePBoW9q+3rwbo1TpyIuk22vE5THLlOrDe0Xs4t89Q9zWAIVmA7cYhlQUOZCfnnF06Xa8AAAgAElEQVTKO4PYqIuho1C3iih5udRBFTnhqsLcop+tjRSXzofIFRTyqQ5nL4eIxw0kjmvk0wMmZx1SAWjGxvZhEYvNKOtzOpFoDtkZjXqkEyrdTl8CW4UB7PSil1/9wzELZ9xyKfboqwxnzngplLLEYjGcLgf37m3SqAqlXZs//NEc6+tVzpz38suf7Eju1LsfnCGxmyabV0hny1itRhx2M1HBwKoPpIK60x0REdWtlYxkbAjlr0Us9Dpdzp8P0W0KuKNC8rjJ1kZDQpZPXYjgcWuppFV05pGsZ3/nwym+eZBmPGQhkRBqeDNmwaPQabA6Naw9rxOfsUkt69LSFPefpAn5hcnNy+9+sce5Kx7OLMYpV0p02ion+22uvB7k098co9MYuPamRVZJDvaqEnQbiFopJVWp+lNHXXodjTRGffrRMZq+yp0PoiSORlLnJxLOO+t9Xrthp9xUKOZrvPfuEitPchye5ImP+1l9XsI7ZsBm1cqhkd5gZ2MrLd93Dt2AXEPclWxUy3WGfVGbMXBwVJeJOrE4EkvcRw+yDA1dZqaCfP7fTpi74GZvs8HZM06ZQi5k+oRcRkJxD3aH8O1pyKUatFuKvMcFvCE0P/k30ZE4gIlpuZgiL8w72D0sUi4YZJxQOxLxw650sC+cCXC4V5YHp0DAzsFRnkjERizmp1qqkM70uXlzgd2DTSwjK56wj6FWpVLqcHLclD3Mg+2ipF+Lieala14aZQFfcnJw+IrwKUAtAhShdrRcf9PF4wdFpsZs9ISCRdEzMjdZXxOk5pEktQ7Fxqip0lG6qD29JDQbRWTZ4SCZqFJtCqiIAYvOKmFBe4dNzHq93Ijc+zrP1RteLEYNNqOHSr2Bw2fhybMjZqfisi8ntlBL1920u2KIoLK1WeI735sjmagRjtgZ9vo0eqIbU5ZbfZPRzPxZGz//22NikwaiIYfsXZssAoQiJtEi5iIeEEI1ZsJpF5vBJh/+8VWS6QwPvj7B6RZOaYWAz8i/+su3+flf35dTVF/MLqsOK08OGZ/wSF3a5naF2dN2lJbCFw9qxGMWlk4HOckUadRUmWgQL/6hViGfaWGzmHH54OSoL8womJx6Tp8O8fj+kZzSC1Km3aihqw6xmnScOhchsdPAZOhznGmwuBCSm5CnDytYHEPsdj3Xr0Z5uJxAbRvo9/pMznhwOC0yaipiLhajjvZAS7PZkdtJ0dke9fuIpnWrP0BpjzhJVXjz9Sl64kDS0tAflCnmRozFHbJrnEwMuHjFwYkAnVUElGeIVWwe9CYshh6pbIM7d6ckYGt/pyoVjg+eFLBbtXzvezMsLxfJJ+rceV9oP1K4vGb8XpOMGqZP6py7HGH5cYYLr0UkbGTxjIuW8G3mRHqjz9aW0GU5JaXX5bNKNUerOsDqMOK063n6qMRYXEco6MIbcMtemACdWM1atHqVakWP0zGSROz793PyQC967Z2Wyhtvedjca2FUjQy1bZk4qHRrGEZaAmEnrXqdZkMoccx0ukMqjT7vvzfJyuMU9ZrK9Lybl09z2FxCv6ZIv2e9OZQR8ru3T3Hv8TEWk4jKm6T5QdY+4jbpbVW1ep4vV7l+1c7nj8q8dSNGo9Vi1FaYvxji8Tc5lP6Qm2+HOXrepKrWMWv05EriRWMll27JyoYgrnZqCguX3TSKA8nsuHolTF8r+rodhh2VmXkLerOLLz/J8ON/NSEHMZ16n5lpBzvbRcw2PdNTkVfdO4eTTqcvY7b5TEVWFSxWq6TvC5uBOtBz7oxTQqpOjjpozVqyJ0IBI6jCwh0utj8G9EYFo8bCwGik1+wxYoTe2MOqNzIz66JU7JFK1wj4XPS6XR4v17hyxU005uTlywKTk3bWVgvcvB4Hy4CNlao8XMye9RNwqLIvfXQs/mnCZTewsZtiNLBz906Q7j9vyj77+Fhuh10WA1rbCKtJw8rDNt//cZz/7//eYk48M0wiGtyl3hEvswJBn4/pKT3NphabQSMJ92cFHKxSx+8UUUcLkSkXL18kJYX3ztsRDg7LjIYW6o0K4aiDk6O2NEg0xEV92i1BVxabVw7mjBozI63QpHlJH5d5/CDL3XdCJI8anBT6LCx6sZpUMvkeQZ+HoTJkcsbB42/y7B2U+e6HM7x4lmU8ZKNUa0sX8P0vj5mcd1Eva+h1qxIolim0mY7YUEcjqQOdn4+wspKS6Yugz8LWbploQACKTBKKVxaUHqOOfGrAwrwFh8vCYKCR3I9A2CGpxCJdc3YhRG/QxGRyMBxCOKTn4LDJ1n6D1y8HUEdDBn0D+UZTuuHjcTsvnxe5dj1AqdCjN+jR6mhkNzsqgIlnQ3KbcLBZpafr8M7dabbWq/hCFpnGyqXb2NxWeu028YkgJ8kmMxP6VzWIzSJXL0ekHrWY66EOh7Ly5rX7KJUTJMVhUS/czC4JxxTbx8C4mYkxL9rhgFpHIZ9uYjZb5JZbQNUuXQ5KAGW+3OEPvjcnOS1ffJGWWqSRyUkxI+w1BixWHY++KeELWBiqHcYnXPR74PdaSOYKFNPi4A2K1iw311dvOUgfD7j3VYl3vy0ozR08Xi2VmsrFywGePy2RPG7x1p0QW+sVlIGB+bNmdIr+FeDpOInSsWNzKhzs9zh3OUj2uCiJ+ELlqMNGLpej1zRhcSqkMiq6kU6yS/KlnnzO94dD3n7Lz9FJg3J2RL3RwRd0SD3i81Xx21Fll1ppD/D4zPLvFfSaWN0scOOtKQ4PyhKgarOZcTicVBslrt2YZ2ulgDPc43i7SbmixeMXitguE3M+hg0VjaknL+TiD2Ew2SlVFL797TEK1Tb7myVadRWXVye1VkJZu7stNqEiWeTg0UqWb90Zo5Rr8ehJGYdHx+ycE7NeRzZbZjiyoeqGVJJ1JqYDdNotjOISq0W+p5W+ls31HB6/OII55QV+2B+RKzZfJbYeHEiOhNrv4fN6afWbOGwW2b/vdcVOWYBIMywv95maHMhBcrdrYF6qcZvysuSxa0gmOkyKBE9SfCcC9Ec9er0WHrsXq02Hx2+jUW+zupFnLOSlVi8zuxCjVRWw4KLsf4dCDmxmPV1VYW+7LHumhxt9QlFhYrCSPdFRrDcYn7SjtBUw2pmesvDg8xRNZcBEzM75qwH+619t8vZ7cYZ9LYG4k+VHx7Jra8KIX/jP76XxBm3MzDv45U+TfPCDiEzMHGwKRZeH7HEVnV0oy+ysrQkVtJFSuo3L78JtHUp7xMx0kFarxWcfH3LttTH2dyo0xLZ42kWl0pApQa/guvSsuDwKTruPn/zdPovntEzH3dSaWmanzXz1ZUHWJgW93R8U1Q8ve3tVchkBwQxzdJjhzOUYanfE/vox9Y6OsSkfY0Gz1E+aPHa5Da9X27x+Z5zttTJHuTrXb83QKrTlgsXhcbCxXiEcAp3ZzHGiQjzs4dnTHD/8l4t88tE202NOfD4vL3fyGM0GaccQA+KQy8dRIsvAOiLuCrF/UmDQqzM7EZD9/1wV5ucd6LsamSgRKrzEYYnxMa+0Pqy+SOJ1CZXvgFazKc0qFpOTyeCATm1ER2fGNBpSVRVun/FLirjNNWLUMGK22pmJOvntyyL9YZebp/QojSEGu4GjVBOtx0P5uCETvYUGWH0DrH0NMzNudE4b66sphooA6HVZmHGxtlXk1Omg/N0Li4fTZcbv8/K7/7bK63fjNBvC8GFAq+tIllU04GDhvIvdtTpnT4cwOPo8fZAjFDUwUB0YbSojVSeNS+VyT26u83lRy9RiD+nRjfRs7wl9qkfyMQ52c1y6PM72VhWX30SvNgTTgN3dGueWQvI8odJk9ZnCD380w+MnCZlWO382KOHmIvXqdIiO/5BCqosnMCIUCWBzaHn+NC+TSyaHUJ6aOEnX8NidLJ0LkS+JilaTgTLC7tIiJgwm45DwuIuvPjngzremSWZq7KyXJJdHaes5fz3KvY/2iIyFGNFhICqtCNioD6tBqGWHLC8niUaCZHJ5YlE36y+qvPZmgPtfFxkbg6Vzk2xuFFD6ryDi82d99DtdHj0qS11fwGvg08/SnJ73E4roUZUBewdd+V0U+t/Edpm9wxozE26M1g77CYUPvrPIs4f7FOsK7bKA6Om4eCnO4/t5iqUGFy56sTqtKEqf7a0KLmF3MPTodBR8fj/DkYLSh8GgJyuxokYllNOK2kKr8bIwr+fTL3NcvhLkygU/P/tZCrenTSjqkanKobYrzzDPHueZnnMwO+uW712DecTuRo/ZGTvNZp96U2gYR9LkZLOYJDtocy9Jr2EhEOpz75sS79yeIZ3Po6p6yTQTiwC9yYhBZ2Pl6YlciKROVCZPGXDZvfz0Jy85vWjD5wlLY4g66mExO7G7dFIHKRSF/pCWck6VevGp6RAvnx/j9XmxmkccZ2qcmvZQKHdQOyqCbK3ViAGMRw6NdrbanFlyoPZUHj0VrCdRoxKK4I48962u1WT1XKgshTZQ6GEjUYs0lmjMOmmCEguJYqH76uJvVVF7Zg4TZamTF9wpm9VBNtPCHzSh+fV/iI+SqQIGg0Vq/c6f97C9USWd6LCwJA6UfcpVhfmZGBurh69cqEYTFhGDNVvQ6rRsbJ0QHwvjcBuolFvy8i4in7NzPjZW01gdVqnKSiXztBpairUGrfKAiVM2Mic92a967bWYfAiLHuf8nFtOPB1OMand5/W7cyw/3ZEXK4/DLP8/tzerzIiNfEl8aTRYHDoyJy3KNZUPf7TAF789IpmtcvvqODPzIX75ix2CPg2LF908u1dmet7BcaLJ+LhVbvXFZUFMTbQaHelkg4WzfowGIwbDUELHRJRTRmuiFumQ/fz3exQK8N57p+ipVQ6Pm682U+f8ZHdb7CeqLF4QP1yFvb0Kk1EBYICjvTq37ggKvoBXdLC7rBwdvFJD3XwjhjKo0ygjXzaCIj/QiR6PBZ11hNul4dOPy1y84GZq0ibZoV8/TXJ2KYzD3ufFiuidmeVwZGrWz8qzPB6fnXqlxdy8i1pDI5UQ166N0aqp/Oe/2WVi3IDbZpJAuE6jTz6tSvBZqdBFqxtit8DnHxW5812xuetQzvSxW/RMnnawsVxlqBODAhszp8Rmt4IzLCoJwu1pkZFqo9mITtulkK9z8UpEqkBSCfGj0REJ62V/stvRcpwYMXHKSMxtZH2nCvTlRHttOce5cyIqpkr4icNtkuRRr8uOqmkT9jhRhj0ySZUzV3z89CfbnFsMMTdrYXmlSn8wkpv4C5cDKEOTBJjc/6LEf/if5vjm66zswS8txTg8qrC7XWdJREE7DZShmf2dttRVxsImFJ3CxlqDudMuXCYN5ZaBSNAomQXpbJ9Uto5P0OANRq5dcfHwQQGtzipf4GLgcnQous8uLMY2hbIORenx2o0xeSjaWS9L4JteSM01VVotG6fPeNlaTVKtDQhGdah9M3Gh5Tzq0ix1+Nb3pvi9iB1ZuvjsPjb3yly+4mM6ruPXPy/g8Onxi+1Js8vJXodbdyaoNuoUsl2q9T5/9KcTrD4WfaM+I+2I2QU7BoOT/Z0Mg/YAjeiPK+I3aOFQDOQ0bdw+M2bdq0O5x2NFr9fisGkYac0ykr+zUcbhFsqVIVabC43SYaTR0272JbtA3NaEMz0y5iAasfDZx3l5ibl4xYzD4mftRUqSw4X6y+LT0SwPODgsMjsTkC87QdRuVJpEZ+1srgjg14A//Ndn+Pl/2cIfMUpwi0bV4nKPKOWHrO+UOT3vYKAMKJXA7kZSy8VWWFSKhNP8D34Q49HDhqwW/MVfXGTl0R7prILGoDIaWUAgPIcqDr/YcEMt28XhHXF4IFJTQ06dEeqoPkGPEYvdid9hYGNdpCM01JQ2C7NeFNXMyurJK9iWyUi5pMpn10ijIxzSsrZa4fzlcem233hWkCqgXD7H3Cmv7FPvbnewW1wMDU0ZBRaQPcGpqFSHhCJGghELxWSHbFEhMm6SlycRm9SYtdjtIwJhj4wADgZGOf29/kaYB/eSnDnjJ3HYwevvk070CI+5ZYSwnK/SbGjkZnw8ZhECBcJBNw8epHj9jotcTiRAevzhD0RvscHuahez30gsbiOz1wVNh9NLAfk8OncxLOOLQ1Vh9lSQ3Y2c3O4JnRJqn0RKQaMRADWfZL9Eomb6bS2hCbMkOWezqmR+CNW8mJY/+LLA6QtejHqVbm0o4Xri5ScIvPHpgBwQxMcMrDxtYnDp8dj7qIrAlemYCTs5Sucx2b0MtVXMGrf0uIuLmYA3ij604A2g7TJUdfLQmMx3pFYpl6qDToPJZqJdUfCHhIbOwvO1GmM+O9lilXNLHoZ6nXRcb66Jy6CDdrmPP+rEIUC1B20GPQPfej/AT/72mLlTRvmcHJ/0sfbimGZDWAi01Oo9zDYrzWpdpjYE8E1skM9dGiOfK3G4rxIe0+NwmuWzrVjqMRFxU2125Wfu11VGAz0LZ7xsb2aYnPGhHWpIJaucpFWcHi0+u1l+9rEpMz6/Q6Yxvvq8wOUrIbSmjvyeZY6rGBxalN4Qi9mKN2CWKqS33h5j76DN7maOhXk3Q4PCqG/EYrbg8Iykwmp60iMVjIIQLy60YhO9LLgip0IoXRHTtkpjwOSUFa/XQKag4nRqmBwPkMrUpcYu4HVwvF/G47PhclhfaZOcNkz2IbWq0Mr1ubgUlHW3w0NhyLHSqLS4eSdOIdlh76DE/NkQ1UqD5GGbxXMRKuWGrF89WS3KOL2A5n7zTQan0yhNBLl0k8uXvOweNmRqIRjRMBoIqOqA22/O8uj+PjqTnvMXYjz65hiTRcfEhAO9TsuTRxVUVeHskpl8RovL08dsdhCN+/jHn23gddp5950YT5+n8fi0ZA5GWFwjSZ422T2SHxKNG9k7qnHhygSP7h3gc9mJTeg5POyysBjh8CDJxJSX1Sd5JudEPxUZy43FjRxttSmW6xIo6o842XiRJ5ft4AmamZpwcHRUxW0X5ycT1UoHnUnFaDSSS4nntJaxcStWB7x82sDn10vtVDY/QqvpSyXkqGVibkm4xssk0gpG04BCTjx3erx2JSqNT6LKlEg2cbjFQKtMuztkIuLH5eyzvtHkJKfwgx+E5X9LYxIKxRG5TEMO+9LJJvMLTvqtAUarXr5f1p4XCUbc2CyCo9SQg0QBubPYBrgsbllfjEyYiccdeCxGtnZaRCdNeCwmmkLveFyj1uoQ8vllNVQAac0uDZsvqhJst3gmwsa6gCQLS8hIRsPvvDvB3/31llwQuG0aDrM9sokGf/TDWeklTxzVaHQ03L4WY6gd8cXH24zPhPnWB3Gefn1INqnBHxySzgtjlJaRpsuZs36pPhTbblEheXY/hSNkpFoSxo0Wp885GHYN7OynmZkKYLMP5DBGGFYSqd4rleyNCO16C70VNlZLOG1mxsacHJ3UJajtcKeKyzWSZHIBbBNbVwGKNRhaOLw+SoIOHxVJWi1PV3J8/wcxqtW2HAqeuyzA10NyyQKRuEOyIKxmDSepFhqditlgxeW24HJANitka2CwGWl1+jJZsb3f4+ZrIZSO4CU0WDzjlRwou8XK5k4Gr1PPmYtxdrfzrK5kmZ6zYzG5MJo1ctBvMRsZ6oRqUXTQh5y/EOazj7a5++0p7n+aZeaCX9L4Z8768Dvgm4dFXB4H2+t15s4YcFl8/PJXSb7/PQ+9oQnjQJVavO3NDlvrHV57y81A6eELO3j6jUh92GUlotvVUKtXsFptciAnmBwaVWVmLsD6RkWCKt+8e4qX62n8AQN2m4nlR3mmpoVOz4bTbySX6JLK17h5I0oh1+abhxn+7M/O883DIxwWA5Vuk5ePFF5/28zpU3NsbqdkYlcYvwSEtlhQsXlG1EswHndSqjZ5/rTFH/3pJPVCS6aV3B5RP9Ly8kVK2lp8fiv10gBMJhSlRqM6IBJxyc9oE6Dzfp9+V0+726aYU7nxRpi8OLvYTbi8KvWynnKtQSBiIrfXYWWzyr/4QZxsoi4vzT/44zl+/vebdLvCKqPidXvRG3V8+vEJ86csWOx6fC4LmZJCrdDC6rIS8pvZ3GlItsj5y0FePM4zOWtia7vF+aUovW6TnY0GXp8JnUFPJt+QzB0B7d3dKTIeC9JstdnbrOIJ2PH7hzTqyIXGEJVWccDGZp3rr/sxWjTSOCCWXwJCXCj3cdt5VUFyGdBptJxbDPP5vUOCfhsag4Z0qovZpMFiN2A0wMsXdd5938+jL5osXfZKhkdkws+L5xmZfhy1BjjFILkunguCO6TQ7o44t2TB6/Hzj/+wLi/nYmifS9Ukc0c8h8S5/+AwxdxMkP31NJeuTvLlPcGXG/DGnTFWV8oY7SJFb5FnCpHG+/TTLf74w1mev6ihjnTMLxj5h58kef3tIN3KkJN8kz/80SIvnx6ztV+RFRChKResH/E+97icnGSLshIQH3ehduqkSj1ioqrT6si61f5uhUath9cv2G8iSTBA88X/Ojuq1OqsP61y9VoYs1PL4wcJzl0KoukZqPUbFNMq50Rkutwisdfk4rkgEwtuqVJLHpWIRNwsr6a4fD6C0tPj9Pd59LAgIT2DQYdcqkul2JcTrWcPE9x9J85XD/Iy5ideFGpHwe0QlEoLW1tZxgJuueX0BRQmpsNyWiGUYUtn3Pz9329JRcvbd8bJ5VVsZpVe38rhfppvffsUDx8eS3VUKW/kO98blw7wF8s1fGGN/DILuIagkQqA2Bt3oiQOWnLT73BbaTR6nFqwks/2ZVTd59bJDuPugaDfmpid9cgosD1oYG2lKCNfFtMQmz3A85cHzJ0Koteostc6Jz57r4LL7mH/uMz1a5NksmWCXgtGs557X+TxBgy0uj1MBhtGRw9N14wvoqVbU9ncLDAx66FUGHLuskNOezRaF/EQWF02drfbuFwDxGtrc6+OU2NAZ9KwdC4g/dyFclVCjYSful7qc3rBjcsvnKYlNjbLTE7Z5f9HNGqR0RKlo2F21i+1Mdlkn4FmgEFnZGregdtuYW27RjJRljWNpbN+Pv39kXTNzy9GpJ7F69RgtzrkpFNMUTuNDsGYS1J2212Vg+M8Jo1FAvnazS56wwirQ0ezZuTKVRe7u1lMFi8+m4H9ZI5gyCm1HXZBodU0MGAklWlK8vet27Ny8r+xluXW7ThPntSYm9Vw6VqMzz9Ps7lZ5rvvTDLQDjl/KSKZDv3OK+tCMtPF6TLKSHyzqdIVP+iLToR75PCwic1qpFrsMtArMvYs6J8C5vfgnqCk6tGpeglH/PKLEsExPTa9gXqrw8K8h1pzSK3URulbmZ6CdF7FqBtKgrHR7KGQK9BuCWZEh9Nn3XIos7JSodVocv16hJWnRQbDISONBuNIxWQ0Sif5YbIg7Qliy6dTjZIj8dobATRanaxE+ENW/H49mZT4O5mIxg24HHbWRNfNZsfl03J0XOf0mQkOdo8YnwxRq/Wkj9rtN0itmtJXpY1AbAm6wy5aYY2w6hmfsEmXvSM44vzpGC83Smj64PQayGbzeF0eHn6T4tqtgCS/2pxWvv4sy603vfJhW8iOWH6R5zvvzzA1ZWBtLYvaF1EsB81mk1DQSy5ZJpWvMzv/6oAuTA35fEVuxi9eDsnJajBmw6wZSbquiKCL4ZeAcaWKNUIuiwT7CWDZSbLBlRsTnCQKHO20uHErhsEiKO4jmZYQSRoxXDLZjXJKqjfpyOUUpsbEw1jH2vMKN9/wS3vFufkIm3tFGIwwWy1ozELH2eH8/DjJTJlWf8S50w4O9+qkK00yx0Pee0fE8bysrqZ5sdvnjRs+vv4iz82bPlLZJhevekgmB5SyLVn1EQfp2WlxyLfy+1+WOX3OiMutkfHZcMiEoh0Ri3rYXs+hxcz4tEZWagRNeDruxOKwce/zY/l8On3Wz9eflTHYhWWkz8yEXcJOVYOeqxc8Utt5cJTF6TBx/9MO//Z/mCWfz2PQe+j3W9QFNEwnlG4jDo9b/MmfzqK026RPFOwejQR8vlwuyxpAZNLFTMQluSDvi4TNkwS5fIvomI/DnTJ6s5lr10I8uH8svwcup5/RoIs60GF1CI1cXw4il5/liUZ1eL1+lpeP0ek0RMacsi7UrvT59odxKoW+dKznCxXCYSPNtoLRYEevH1CtiEj7CL1eIR5zMxqpHOy1cLpGUkN77+sk4zEPF85F+O3HW0zFXDx9VuF//l/O8mI5w/LLKl6Xjh/+ywVyxx1++Y9HvPX+FA++3OHDP13ib/7qJbFJI3/8J5dYeZiSl/P4lJ0nD5KY9FZCUSMTcRvrWyV54BV608+/KPPtd2Ko2g6jvkZetM8uuag2e3z0qyLvvOeVlauN5TyLl8IE3CZ29yq89XaAp4/z8gB85WqMna0MjY5KLGaTCSMNWn78x0skKyUq5baM5pr1Fu59k+C7fxAnedjj2ZMi3/vRGAfbNTngmpzwUUh3iIzr0Y4MaPSv+v/RoA2TU1S+cnLDPzPlJzJjJXlc4fE3ZRbPOomNBdnfEVA6salvceacRw5nHtzPcflmCJNeg8Fi5P6XaRwODRMzFmwmm0y3nV30U8x3aTT6Mqru8plQekLrZ5FgomjMz9rLArG4CaNWRJirLC1Z8Edc/Oqn+1x+LSzThceHDdm/7Ta77O43+e6HUT75TZ717QLXrtjQGaw8eVDg1uthucVJHFSYOe0kddKUSaaZSRdDjZlUsiHrXecuepia8LO7dcKZSzP0uwqpkypTYw4anS7dJuQKDblFFakp4WJ2W/RkcmV5CbK6BSjPTa3awGAWQDMLyZM64bBV+qE//TjJW3cnqf8zz+d3v0wRjGjlxvP5conpaYusGPzq7/c4I4ZFgwHPVxtcv+qRcL1f/OKIyXFhXtKzcDoolanb2y08Nq2EfS4uuclnRPVgwPFBB5dTPJr0r6jOhxVuvDaG2lbY2i0wGbNLlkqlIhgZNWZnjKA3MxqKAeyri8JYNMzDe+ICbfVsPYYAACAASURBVCM8buDlY2G8sVNt1EglFSIhC93eQFav8hkBwtLK9+njr48JxMQu34zOqsPr1rC70ZDR3x/+eJoHXx5ztNfn5p2QfGcLsKkw+6wvl6QaWcCDN7aykqMkgIKzszaqDfn4pdkYsHjWTSWnZWs7LY0XR6JPG7ZJi1TypI3eqlKqNDhJDrlxXTjGvRRyLertvgShBb1mEscdHK4hjZ6Bt94MoRmqfPZZgnfemaY/QA56RDX09x8luXLJjVZQzzUazl9x8Vf/14GsZfzh98ewOlysPE2SS9ckiFEMey5fCfDzX21i0Bg4veRj/XkRg21IszGUZy29ecj1azEURWgMo5wc1/jtzxNcvWaTyUGrw8GLRzlOXRCVmjbjUScDzZBmaSQH7zaXFpfJwV//7TYXL1iZmA5RzuZldSadbhAO2HB7bNhdBvleMApye08kIkeYzHZ6vT69Rk/qZ48SFakBDAUNfPxZhUvX7ExETSw/rchFgEanYTxmJxLwkitnOUoqzE14OEi2sZgHkj91fCQSSgr9vjDHVJid9qI19cidQGTcwtXr4gx2jMlsJHmSZ2kxTrffRu2NJCesWOhw7VaErRdlPCG7PBvG4i6ePs2QOuly/oIbk15LvtCTxqxbb/jk5eTrjzJy+XH5egSDQSuTqNFJK9ubCp9/keG/+4s4/Z6e0nGTDn0uXZjg6bN9jlMdbtyIsP2ySGzChU4zkEBJ8RyKTzioFrRUGk2OD2vEYnaGWguTcQvFUo3BUOgth9TKKiZrn3xuyPe/P8XP/usRpxbdrKxmWZiPEoo6WH6wA1YtMY9dJgZPinUCHgulTBdvwMTmVpW5WSdNdcSY30+13uETAUYV7+qLIZqFtkwfa7VmmSBAO6Qozox2I1ubWWJRoWoVwGkboYhQDxtpVocYTToGwuoREBA4URVoc3IMOqM4K+hJHKsEgxpKuRFGG8zNB6kWm+SKYqmnRVEU+Ts6Pe8knanTaRhw+V9B8wRPJBoRF8sBldqA0Lie9ZctYuMGyW5QO0JT2yA6bpeX7N5Ikaydp4+yckh85XXxO69RKfbQGBWsegczi0Zy2S7GoUkmtcWgdaT2KYohiM9O8riHJyDuZ+BxmWS6I5MSCPahTOmJWpNuOODKzQj/z1/tMDal48zpiEyD9tU+ZpOZUFScGbKyHiLOgeIuKzSKNreXgE+H1aLn8dMkFy7G5O/UF9LIZ9OpmQitfp3cfpOBboTPa2f9ZYH3/8U0v/ntERcuhMjnmzK1Ljbrfr8PRh1cXidm65C15yJxEWHlsagOuP9/lt6zR7I0PdO7wp3w3mVkZqS3lZWV5au6q9rOTI/hcIbkkEOuqKUWEpaAFpIg6DdIgD5JC4gLLQSJJLi7dDscmiGnp3vaTFVXdZfvLJdZ6W1kRIb3ESfcEd+n9tMAjemuShPnvO/z3Pd1iSnp5VqZG++Ms79ZFDuQqke8/61xjncLpPMdSaieWZyUZdvru+w0f/0f11m5EpRn2ObXba7djFBv12g0LeRyTUyGheGYh0ajKaDS1J5SO7cZiataVZNYPEQsZufBvWNhRaxc8wlIORxQ8PoKVy6FGJ30y/2JAYyN+oWZYfrsf5kwrE4zm+t5Ij5FwK7idmq8991JXj1NE/AEePo8g10zy4NmbMZF5rhBoVBn0DQ4/8YErbaZxw/2mVaR4HyXqWEXoZja3h7hjrpIxJwMzAMe3sljs1n4zg9jrH3dJl96vWn61vfGefAkTTL2Gsrz/OuK9IyHRsNkTnI0qibp7+xsFDl7YUS6MWZzSy4S9VoTq0Ojkq+xcD5MKau21haK9SbjYwruUKbZcdOoFdEbFq69H8Ta64tiKBY1CyExlW1z/Y0QzaqJ45SOYTS4dH6GWqmAO+Akk86SzVq5ckVFPZusb1SxmDqSWtjYPOUo1eFHP5rn4w9TNBt13nx3gq1XJWbP+NAsdp48PMYfdmBBxeB16biYMSQSruLeuUKBhRUVo93HH3IS8flExdGud/D6TRiGQaftpVQqMXdWsQqqtDsaoYBNFISqY6w2/aVyTS6XuxsKPhfEH7ByfNiUy7zaxA86PVoKhW6CG1cSNAY6T+5nOHchyT/83a50xZ1mnWLOxAffGWftVZaRZEC8p/XSQBRpargyNBSU71VizMbWq4IQquMjQTp6g3LZYGhE0US7hKJuarWWgH9Gkk5KeQ29UWcoqSaAimWgi4IvnSsRC0Vw2yz0LE18gQAP7p1gNhkMDbll8trSu3jtdsp1g5EJC4Us9NXPv12Rh0O7Y8Nqc5Oc6vPscQPrQE2nm4yM2hmKvoY19S1WhodcaK4OhWMD3TqQi3Jqp8jIhIvpKRflqtpgFfHHPALS29suSAd4LOES6NCzJ3VGphTgzMmL9YrEMUNBWJhSsdYWHaPFl3cLTI67uXTRz8vn6mDU5O33kxzulCQ9Y3F1OEmpKkMbl8OKQ6laaiVRD937VYblCxGhWg+6ysVqIZ8q4dQU7T0iwLbxGQ/3b2VYvBjl+ZMSl697pBNcynd5tZbnxjvDvHhWYGjUK9v3rtGlXXEQig7InNRwBvw8fpjhX/2rObR/dt3+2//9Kd/4flwAXJGomVZTF4q1MoDU622xcGDpkU93JXLV0XUh2V58Y5xyMc/Wqx7TC14ePU5zdjlIwOehqOBQZrv8joCTo/0KRwclEsNBSU4oNobFamJ+0cWT+2XRxyji8sOvjiU+plntRIdgdbWKCr5dvBzG0LuUin30lplOvy0dNs1u5+b7CsKXlo1wMOqWvmq50GB4WEXyq2gmF/l8TT6P/ZZJUie+sEPi8alMg5npOKkTBXpRlyCN/+ffbTE9GWZx2spAswsU6q//4jEHu32mz6jvs87MrBObxUWj3qfRrJIYD9IoKY1Sj5/9tCCqneG4mclZP4W0lZGJPvUaNGs6LleQQrHM0LBPIvF6x8ziWT/mTkcJcMnl60xOB8mcFoVMq9IP738wxt1PjmnpuriTt9YKTE8GOD2t0evDyHAIj0dBL7MEQ2GKpQbLywnShSJ6zSA2pGoBihCuNEAWTk5aQtXOqoOex8aL50XGJoP0Om0mpwI4/TrFUye72yoeZ8fn78vv/9zkEH21PXd5+duf7NHp9Xj7+giYGpSKNs5diYjCT32W/Qm7DFTGk15K5ZbEDNXl5s6dIjbTgMUVF3dvqQ2fOlh0GNhs+F1OVs57efioIJtnX8RBOVvj8uVJ1jbS0rHf325Sa/eYGvdjc7WwWm30WgMKpR7Takhbbql8IW9eHePpWppsviSUewtWQkMOPvl4X6wG7oCVo70GrabBuRU/Rl8N16qqyizViuERr1SS2h0XJqoy3IqHbUIqP7eUoNmtkhgJ8vkvUnjDNiGpKxpipdqj26njtvlJTjmlRjRQ1yW7Ss2oIXOY51+n5GuYm42TKxc53O6SHHVT1Tu06wOuXPGxer/MfrrNzISHcEwTeGSrjnBwxqaCtGqvt8K3bx0yvegn4XPz9/90xPL5ILEhE/mUgdnRZdAzoTdMJCZeq436bReTM24Z9p27MMytT7bBZOaD78zwyUc7UgvoD0wCObLb+7ItcbkcaA4vuVyepmJlmLrY/UGBw/3Df97nzZsj6K2KJJQcXjsd3Yzb1yd1pItTWxlM7B4PYa+Jrm6jUCwwMqpYMk05+CaHI/L72azqGJY+VpsNM6pPqZRcQZbOR/j5P+4wmtB4+bKOz+Pg7EUF6LVQyvbIFkqEvD75mbbqHUpFM71unQvnE2zv1ySC7FZqypLl9fDZpmGYdDwSzc5x48246EIf3j/GqmjyVhXV9clwVR20njyscHpa5RvvjfHV56f0NBPvvDfCxnqeT39e4r1fi2HuNWm01WfRztePa2haR6jehqnL3HiIJ+s5poZ9mEwW7F6HJLmUqtdhtzPo1VGrXWUfMNoGhwc5urrG9IIdq1VF00Oy5EgfKeq0cnFbKJXbeMJmJpI+Hq4WmZ0IiAr1V19miEWsfOeDCFvbNbEgxUcCpPfa9AYNvH4PqcM8breLaMJLqZAnNhrm+UOlnQpicyh7jkEh30XTLIyNe7j31alYRLaO6vTadmGu2JTasgFXL8ewuO2sfZ0nnakR8LlEwzh3NkBqT/18e7i8ToGQhX0B/upn2/zG90Z49jwvvfL56RjbeyXp8msOO1PjTqlfOe0qPeEhHDQoFttio1Ga2b/7mwzf/40ANiOMK9zjwd0i5y/7uPVFlouLYabnI+Jhv/G2uiB2+OrzDAsrcamDZlI1GSwbXStvfjPIwXYHCybqzTarj6uirWxhYmZcDecPicdDlEtV3n53nifP9/ji87xs326+EWBju0PqqMRv/9YFvIkBf/7vX6GFIXPQ58K5ANFhN5WKitp6uH//iOtXIwLQPMmacGgtojG3JGEUsFRZKUZGbBh2HbPuoK1qA243c0sK/Fbhwjk3Dx4UiIaDmMw6XZMZu81G5rjGex9MSnXs4KiNqd/FZrOJ6toT9rAw+3ow3jMbbG3rnB4WhE7fV4aqXcV8GWFzK0+nqvP2BwnqJYNPPz3ijbfGMfXbAmpWatlddZmdipKrNvC7DBaXRvnyyzRWm87UVIBmuUu23GVpfoRUOk+5rOqmTtJZ9ftmk+qbIs9vHxSZG4/QaCqYsA2bzSq8Ka8Hbn2aZ+Gcj1q5ycSMh2LRIvUrpW+bnAxzsKN63XZOjtt4VM036pCaWsJv4ulanTOLUVH9Zos54VW1611cUSubz2t8/wcLfP7picTiJydC3P8yxfSyn1jcRKVg5+H9Pc7OjQhBfv+oztR4iPOXg3z62T4nJzpv3UjQ7ZqwmTssnomx9jxHdDTKV188Z2FuHItF8bGqpE+VslopiielEvblF2lmp12ytFC1nGPFcOqaJOKdzzcYHgrQ63akbqV6+Bsv01KP+tHvnpHBpM1k58sHiv+jcfFmgPVV5Za3QF+NBK04vGZmJoOkjpti3lBsmaOdDtPnQhRyr/ve5XyP6SUP22tZeV6qxJCqXoyOuXnxooDDgrAW1FDI5zFLKuzOp0W8MTPz88oI0mLzoMCPfnuOQd/Mg3sHRMNeSY8EAm6uvzHOJ59v8vB+hR/8cIRnjwvMLjgYG43w+Mkpb7w5wsu1DB3dxVjSRq9Xx+UMkkkXSJ128JhthBI2TDYr9+9lGR6x4bDb6PcNOUc/385h1pV5yU4g5uZos8vRQZ5LVyKUSn0KpTJmmwe7VdVSgwLn1Ht92vU+/pCd3e0aP/zBNK82s1KLDkTMBHxh1l6kZbmjuCdDkYDUf15tFhge9nC8X6Xc7BGPWuk2LTjdTiZmbewdVtnarDI9nuDwOM1wwkOnpaq6brY38pxdGRLOSWTIR+qkysRoiEq5IQnh994ZZmujw8DaZXcjy/jIELtHecJhjXZb8R5MLC64BQLudtsoFHQs/1wBvXZjSADBG88qvHktijvq5v6tQ977YJZOuyMAQZvLjN4Gs9Vga73OaNLG2XPDYi1q1uuUMk0cfifdgYHdrFGu5PH5E5g++p/njaWzfv76rx6LsuA005PebMivqIt1rt/0S/e90bIKwdzrtDAwDRgaCZA6qQu58NWLEv/178+QyZUkRnTunJNE3M0vPjmSKbfd7OTq23FODhvUShaMfpHRiSF5seXLRYmvDI0Msbl9ID3HUlHBdZpERjRePK0xNevGZlKTMjvNXpW3ri/y8NEBG5tl3nt3huNsHgce2q0y2XKLWMBDudKViZJmbhIbUeoP1U23s/GiKXRRFSUvVBrE4l4KhR6bL/K8/W4ct9/FL36+K9+o7353mru3j6THrvpDquepN/pkTltiN4hFPOQKrdeH6pDqvDQlDn/vyxM0p8GNq+N8fueAbnfA+XNhwqEwm9snJIa9eJxuIUOeXY7y6F4ei6YiiGq7aePksMSlSyOsPjkSfcbkTBRdN5EvKn6CevgGSe1VULnYXLnGu28u8Pz5NlHlY7daiMQifP7LDZbPhWUrX6t3JGqumXtsr6t0wjC7WynMVidzUyHWd9N4NBcOn53T0xbTM4pcH+BgM0e+2qDb0li5pIAoNh4/PBSAYTLp5MVqkfkzQdxuC7njtvSTli8kefzgQDrGlUaXoN/K5OQoh4dH8oupQB0zCxHp77/ayLOyEmZnu83uvto4Toh7uFzs4vGZiQY8rG+WCflc9MwDBnoDAy+G2lA7B4QDAQ63S/gVgDHh4NMPM7x5YYhIcoDdbKLdHfDVl0W+9e0x2XirD6bZbGN/u8L3fmOB9fUTbCYzIa+KqVWx23sCQFEXuXZ7QKFYY/6Mn1ebTYkpzk65mT0X4sXDMt/+wag4pl9snGA3WWUD+8nnFa7cCOD3DqjVTZj7HZYvjrH6WCm0arJRqTVNAgsbGGbOrsQEWHPnizyvXhW5/OYw22slJuddQhe+8+kpmWyH994bwu93sLFRkMRCPGznsNDgaKfPj388LorLr5/WSE662N87ZW/T4Lza+Ho7fPxJlUvn3QTCTnkw33xrjG6nIQfGeMRPuVxmYSGOxTagXFTgN7OoHZ1uA6vhYOqMU1Ij+sDK0XZDXsBn5oZ59DDDpIpflRtY7S6SY3buf6UcujqJRJCRER+rq4ccZ3vcfDNK+qhJb2Bl6byP1L7ywUM+3UEzm5hbUJ10peu0US51KFV7XDo/RCig8Rd/uc7MvJug18vuYY25OTeFXI9Wx2B+ziFausODKs9etBiKOXn/myEe3M8zGAyYX4hI/NfmdsqFbW8nK31Es70tkJZeTxddy+FxhdHRMNubRUaSDj777JTrN0eIhkw8e5onGAqwulpiYVpjdiHA6ssiIZeVsckot28d0+4ZXFoJsbGRxWK2Eor4mJl0cJSqsr3dYuWiVx7OaqiiLuZuBfIaCeENDJiZiXLvQY6jHWUZGebhoyyN1usNknLKz067Oc4OsNgbBOxhonEbe3tVjF6XYMgvG/vjk7qkmIKhBNMzTtaendLud2W7oFzVyqvtdtnY22liDAaEo3bRYqlN/sZ6kyvX4pTKOmfPDvPixS67e4ZoLXP5BjOzIdp6l82XeYHhaO4uej2ErpeYXVBT5wB/+icbvHE1SHzIi8Nl5a/+fJ8f/576bxWluuSxKgChxsFeVcBsoQjsKW2Ps8fyhQR3bxeYnvDR6ukEAk6azQ5fPyrx3/2bJX76l1uYXX0xmLx5Iy6KopPDNgNLj0739SVdOZHV11qvqcuUk6FRtXGoUa1buLgcwO6ys7Obl2ep4tycPTNMp9fG4rBg9BRQ1c3Lr0+ERJ0rDLBa1PfTiWHqUC4pcNGAiUmvRBlVvSBfNNPv14lH3FisSm2rVLRu/L4B5xSp+3lJ6krJcS+tak8ukeqZpnRu4ZBXDjcHB0WiwyGePs0yP+5kaNxHp+2Sg+j0lJuFM1FyuTZ+5Q4/KaE5LHT7Zjxqy6eZOTroy7aqUs1RqZkFNKv+uXIwb2yWuHI1yt5uW4Ye58+5qTdNKOiL0jAmhzUiowGefJlDbzeZmHBSqPRJ7bUJRuycXQ6wuVeVQ8OZ5TBb200mJzWcmpVbnxdYOOuWXuXdW2neuDGEzTng+dc1XA5IDAWFr3L782NhJFy67BVAbqsFP/v7I77xzQijYy6+ulPgjbeClHN9GQSqQ73ebYnOqlm3SCQ9OWwhk+1RLhfpdKxMLvipKYCn1ubN6xM8+FWGLx9n+bUfjLD1ok4gbsJkMgvc1WzpkEj6oetgfy8vHc1w2C3JuNHxiKinGjWlGg3w7//fPb717jDuEKR263T6AzwOE3NzET757BCf307A5yAU8HLmYognX+wRHPby9HleHO7GQMOs9dnf6xJwQyLh5d7XGb7xjQTFbI8zixFePSuRK1WwWA2pR2SyVTyhEZz2pihWv/h8H1O/z/d/c4Hd3VOOjhSQziwOesXWefL4lLFJjdGxINlMGZtdaZMtVPNtkrN+nn6Vk7Ret9Wk1VQHfLc628rg4/LVJPu7Wcq1Li719xvys/4sLwO98TEX6UwHXRHlXQMSwwlebeeJeA2Ju0biPrG7jE9ESA4rkNtAFIH7xx3ZzjosLqkRqI2+OpdUizoet4vhpI1m1SKH/ZPca8Do4hkviRE7j1cLnF9IYHYNGBn2sbFVIHNUxOZwEQwrDV2P9U2dmQWrdOzf//Ysn/7ykMuXx7ANanJeOHcpzp2vdtjdN7h8KcjOVo3ZeSd2C/R6NkwGVOotrl6dYufghEDQy6tnWVFh+XxeTnN14nEHtWqdZsvGxIQdvy/IyXFWXOv1apNa1aDe1WVIfu1yAo9X5+G9LO2WxvI5D0uX4rxaLQq/xuN3MJGMkRx30OzA/bvb+Lxe/uEfT/lf/7d57tzKc7RX5/u/Pc3Ll0fYDBeeIOzt6YyPqj5vldmzfsqVBsXMgLMrHokHb2/WyJ52GUuqGkcIwz7g5KhBs96koaLJw2ZmJxL86le7nD8/gds7YGe/IKmQwpGZsXEL27stIpEOl99Y4JNPtrHb1GcrRiRukN7v4QnqNHQTa08bAllNxF2cu+Dlzt0iEb+ZYrHDUEI9l/uv9XHjNnY2KqRPW7h8aug5YHzCJ3DJw4OyuOSv34hRq/Q5OGlw8WJUouyBeEiSnuaOgdXupKk3ePvtWTnLT09FufPFLt2mSQB96t3vjppIHypemEsYD3/2J08Zigd46y0v+WKPn/70lMkxq6Rch2Iuun1Voeww6Gsy+Pibj/d570011GiLQjCb0YXZU84rlZ3iD3h48qDI9Rt+TOY+B1s6gYiG06QzsZTk5fNDujo4fT6wNCUhpmLb0YiNnrUjy0aL6TXX6ZN/PGHpkhunZid32sfvNZMvNdHbPZKzQY4OyjgsNs6ciWGxWgTCVsy16XfNxEdhd1MptA1hmKlamIo35isdgdxt77WYWfATDpq5e6tIbMjBpWtRnjzMyt/tJFUkFncIFDXkV3yQCtdujLG3qzgrbU6yLa7fHMPnsYjy2mU3OM6VJdHXa+uSTv7Fh5tqL4jeAIuri4aL+aUgzZqFQlXp2h1svKwIp2R5ZRhFU68XO5TLXYFsDnqQTLpl6ab3zQLy3N1qYvdYJKXW7jVxWPt867vn+aM/eiDq5tn5ANOTfnlGebwuqVMdbJZJqvtOp8GnP1e6UhPf+N4MhWybTz864Pf+m7N09T53bu1y7lJQNt+FfJ1ffnjISNKDx24F+4DRYRelUo9o0CGqXVVvnj4XhI6CJZaENTG7EJak1UcfrhGKKXixnV5ZJ5Md0O3pzM2HxNiWiPl49vyQ+cUouayqtWnY/X30ioXxpIPbd1NcuDhEsVamWTMR9qvzRlEqe+p3U6nE/+lnKW68GaVHn8xJS36np2c9WM0unj7dptECh9Mud4RqTcfmdNGslUQ57PSZwLBhsRg0W4YoTjc3+rKca1QrrFyeolips/44z4//YAmnXeP/+j8ec/FyUM7BlWqLb3x3Rp6lv/hZiutv+kRbubdbx/Th/zBsKNiUivLPzPnw+hQVWWd0zMz2qw6troLOWHHZYTip/Ja7/OH/+CYbL7dodGx0Gg2G4iGZcv7kL1/y4987y4cfp2jrZc4vR8U3u7+jgC/q4tYn4lMk1wa15kBcvf5wgE9/cYDJXsPjUq7DLoEg+NW2IOEVdUS90mLtWZGrbye4f/eAaNTH2KSfJw9PmT+jLgTqV7cvB9TUfp3rV0dJZetYbT1qxTbvf3uRn//jCwLqa8sZ5NNNUQ4lhzw0DB1toKi+Pcyah7HhAaVCj0HfQiLu4auHKRYWhrHQ4uikRbPZ4NvfmeXxg1P29mtMzqnOWhOvX5HOM5jwMKDL3FKQo62aAP3K1YE4adXE3usNculKkJ/9zRa1NnzzgzFuf5qmUS/z3vvTPLiXkov2wkqIVsPE3nYGh81MLG7DsDiF+BuIGOhNO0MJ1fFREzW1NeozPhng409S/M5vTtBqqMhWj76phxknm2spLl+dJZVLiwpE1RWePT5kai5Cp2cI+C86FGH9RRZsLXZe1bn2RpS+oXG8U8FwKk2NQSioeqsuDo4K+LxOTKbXfWhlbFBdmGy6SDwapmdpMz4S4umTDKG4g6Gwm6kZP8enLTSrk0azQjGn4D4x0qkq1WKTkUk3r9br5DNtfucPRshsmzBsDTKpviiRNKfG2mpWIEqmvkVqHJrbzkQiIBPOZtnG7dubvP/tGYGP3Ll7xNJciKkxD7snqufd5ke/PcPWdoFPPsoyd8Yp09y//+sdrr8dls2WopQqToLH7cajqQSCh8OcjteFEF8TsQhHp1mBF56ZcbO/WyeT63FuJYjZ1GV9rcH3fzjJ3/7VkRxA5hdex5mSowGJ0997eIxdc2I1W0TXuPb0mGBEdZeL7G53uXDBj9unhhlHXLoSZ3LKx3/8012hXl95O8KDW8dMT4fk+54vl7Gb1eBpILF2lSqxON1ycVB6JDUpjibM5NIWNHtXtlHZ0zLRoBre5cXuUcwZpLI5EpEwqXRRtpQffGdCnKMPbu/g9HqoVBtEon721TNi2kc09roLLBNomw2TpSOdzb0tVdnRmJwK8fDLFG6fco9qmI0msdE4u3sFuQwWVQQ44QOa1KsmcqU2szNhdtfbXLzplwGMOqgn4grmpDy7fYFWfXY7I6C95RXVozfkoHVyVOa3fjzJsydN8qUCb98c55OP8nT7DaZmfQLs6w/aRKNetnbyLC7EJJEyOeVnYlL5xA2BVXq8NumKpbNqO23H7LYSc7s5VD5jn4dyvcjFC6O4XU6++OKQUrnP+UsR2bZ++uEBnXZf/ht7+w2mpoPo9Taaxy8DGQW7sWouUclEY4q8aeXBvTzmtpnRCQudjoZdeVu7HdY3uyydVSRoLzu7DXH8jsbtfHJrj7e+Mc7xjgJCqu2QjXbPxPvvToi7/flWkdFYgEtXX4OlxpJB4aOEQpoA8Hxhz+vh2rgfsQAAIABJREFU26SVrx930PstfvO3FtnYPqZWack2ttsakEpV2dxqirLrzFKUjbUCDreFV2stPvj2kKhPn64WmRx3Uq2YWL6o9FgmGUL0W22OT3XRQV1aCVM+bYkmLxGOYNj6ZNJtvLY2/rCf0+MGrqgizZcwei3eemeG1dWsdNrml4PUikon18evmBJmB+njskCn1FAz4rfKC9EdtPHFxzkGdgvnl+1Y7E7+6e/3iMdUdWSYXLrBcbqEZg0yv6RqU6dUywZXb8bRmz3u3M4QDnu4eDnGo8eHXLg0RF5FfWMRMQhcvhymbzYxnQhzWi3y6MsiUzM+Ll4M8vx5Cc1upt0An9uGM2gTL7XTpkk/9a13IvLCNdsc7BzWGE1Y5SCh9EsKxDo6EqA/6OK0WunR4u6XVeYXlfvbSyrdYXutSjhho6f3ufbWGE9fnrLxosTNG6PUqmZ2NjNcvBJkZCzGkwd7ODQLA6uDnt6iVbJy4VpQFFP1ShOL20q30eLr1RoXVoJMT4d59HCfc0tjvNosC3tCHZxV/9blt9Out3C6XoOulP41EHKqhRNOl/r/9ej1VG/RS7/XY/V5gfExVcfRsFp6pE9VYqArDu7TYwWeNMlnw+a2w8CQmLc69CrNqGGYmJ71srup3tVdofWr99tg4GRoGHKFPhbZVBa4cimAOxzjs482BXZotTZpFBRh28bA1Gdg6WPuDWRApPg3rU4Da8/N4VGNkVEXuUqZQd2KYTXJQXFzo8CZM0Nk82o4a0HvtISA7vP6efwozcWrEWFSVNtt6jmDD344zNOHRV6+qpEcsdHuGowmFKtFOZnrPF5L8/4by1Rrx+LVbnY1ZqfC6L0ez55mcdn71HWDS+dH+cXn+1w44xd1mNvhpN5qSGxTVcvufH4iKZY33h7m9s+PCQ65MVt6ZLMFZueSVMoVNJcFvWmhVlb2pRCffFbkwmUrY0MR1l4W+db3khztV3n6vEit1CMYsci2eXjYh1Vz8OT+FvFEUA6KCohZrXVptRqcWRzj4b1Dhse88pxVBHK71ZCBbDnfwBhYmFgIUy0U6RtODvZrvPOtBPe+POJw1+DCZQ+L835SqbaAUy9fSRCPuVl7lRNg7gffTfLLD3c5POwK1G9k1Mv6yywulw/N1efapWEZoo7Eg/zjx0fMLbjl/auMM+fO+MjnFUamzfLlER7cSStTIJOzbqaSAX7x0QG+oHrPOaTKd37Zx/F+gxfriv/j5NzyMD/7px15d6rlRfbUxPZaRvS0iTEfT1fzjE94sNr6lDJ9TnMNvvm9OWr5Jhtrx8LkUGlRXbcQCZlwubxs7ac4owYZmkGl0KNZrRDyeihWWrS6JgEJt5t9MoUq+9s6o1NeOpU2gYiDswsR1rfU+6+CZjNhdVmZnw6x/qKMR5Ht+3021ttcvz5EtVOT7382a+DzD1icG6XaquG0WDk+qck7cm4pQF+3CmemUK7icii2gy5gx1cv6vzot6c5Sec4OGjgcXlotWoyaI4Ne4R/sbFdQekZlhad1BrqM1ejXO/K81bpU6OqDtJrkTvpUCrUOXdhkq3NUwJ+ZUAyk0pXqFV7jE946XQGTE74BfxZKrSZng9xtHNKvd6XmkUg9Npj36ybJWVgdXnZ2cuRHPVx/foEpVqFvVdNHq2mScS9fPfXh/izP91icswjPXeHo83WholuryZcjvVnp1JlTJ2UyZeVktbEBx9EON5tU2kNiMf6pFK6QALfujkhnxEFNb95I8Lj502MbovxCRflfJfFZQ+VklV+D5eW/RRyTYLeMHv7eYbHrIyOxvnsowNR4uq9tmhNd3eytLpdzIaD81fD/MV/2GBhNoxm6/D2N0b5sz/ewhW00233sPYHLF6Ksb9TlfrR7HyYerFHq2eSd1272aM3MDB1BxweN/jGe0P87Bdp4hGDucU4eqONWdPYXMvRGZiwmwYYZgtv3Bjhlx9v84f/+iZfv9zl6ZMcsUAch69POGph7blaZLgxmayMDLn5+ONdrl5PsPokw9yMj2yuI7WllWtBdtbqTIwHOdg5lSWnP6yMbx1m5z388rMsb78TkffxxrrOuZUYwaBKZpqo1HUW57xsvmrQN9qipJyccHB81OY43eHKhbCwo9R7XrEY5ma9PH6YxuOySn20021z9uKQALw7nb5w0TSnE8ugS62j47V7mZgJcHKYom92YerYhEGmapk3bya48+UmHpefVlctr1TqSCULTdjcFlkqKKj32JibR19luf52XM5yd++meO+9eTLpY+7cLfMvfjxHplBGgY9MFgOzxUY+p4ZaLgGJOx1mZuaD9FR6bznOxss8mqtHp6mq7yqdUhUGk1Ic37+VYulSlMf381y9ovhABq26DaPfJ19oCgwy4lfJkQ5Ws4bDYWJ9U8FiPZh7Cm6p4QvbODxscm4lIFrSp6tlfuu3Z4UBooZrb1yP8VwtWgYD+oYy1XiF06K4Nb/88IBw0CMDIwUbr+oNhmNOqlUFBjQw2zRMP/vXI4ZoNFwm9G6bWqErfnjlzVV/me1XJf7b//46tz7bJORxCTiirZvlZV8u9hmOOzDUtDFTZ3TEj+YxuPNFgblJJ+9+d4qf/ucNLq8Myfb+3qNDEiPql1C5OUHTGoyOBiUe+vxZWaLPw3Ef+7s1fB4bX949IjkWxO5UcRcVG1TbirBEK9SUMhhyybZLRfbOnPFy766KsPlIJCNsP0+zuKQe+ptcf2NMFEfpVIP334tid9goqm5SukmpZcbt7vHN9yf5T/9hjWAwwPllJ0dHbSoKomIoXaELh2HHbDezvVVi6azyKbbpDjryd3e51UW4RyRow9S1ghuCbjePV0+4dDFOr2OoijnrawWZkM/NBmXKFvRFODnJEo8NSUyuUChh6sP0whCbz4/IFgaYrMqhmuQwVSabqrJ0dpytvWPi8QRVpdTRu3QHbZka2n2aqHGSow7Z+LttLjZ3chKhVAfeVKpGv2sjPtIX+ElyOsT2epFQyCeuSaU1Khc7XH5riBf3q0RGbAJRU15w08DK5nZeJUUF/BLxh2TrMWj3JF6mYIYYbXbWO7KlHU16yGQavFovy8DjyeMKl68Oc7BzIh3pO1+VBLR2QW0Nml38HjMv15oszgXomZSOzkYpW6VSVhsLMwPNwtZanYBfmQnCFI/VtjrAxs4xv/Gbi/zZH68T8NqxudqygVCT2VLZxuTcgFxuIPGg1dUON2/E5MP50d+tk610ufFGnPRBS/nDsGh9xpMxXj45ZOa/gBBbLRWBdEonUOn8lI5meNhFpWQW+qnqjvUNB9tbGTwOjaNMX2AoFeUGn/ZI5LlQMAh7zRzIw8HO2WsBNlaPCQ35aDcGVCs6CwtBcdgeHja4cX2SzcMTrIaiw/exGW7pU6lIWb1iMDfvQLM5uPcoBSZFPVYDhDrdjnqQqq2qG4fDzq8+STE84Wd22sNHvzhiTIjUugD7+i2VJFEuUUM2Q8prr4BJbrcXA8UD6ItuU8WLh4YdjI/7SSv6/mCAz+ETH3K1qVQjXRIjNilwKl6CUoeabAiQc2jITrHcoFE2SzKg3YXMaVfc1OHAgJWVEcqVFlubZenQaZYehrkvhFMhpje6jE9o/O2Hp/z4dxKSPHr5SD1sG5y/pujMBR49rPP9H4xxmipwcNzl6vUAa09KzCz5xD4xNBrky1+l2N6tcvFSWPgU66+K+B0uxmY09nebLCzF5cKuupPDEwos2mLrRZGxOQ9bW0rp6eT9t8I8etrlo48OuLjiZGw0yPO1E8YSAToqYut3UsgWCQcDDE+6+bf/9w6/9u0o1kGPbFGjXitLZ7/TNXB7LRzsN5mbDVGo6pzsnzKzGEVvIi5o1QdVly2L2cmLp2lufjPB8Sudl3uqpmVnYj6IedCVREVi2MVHPztg6VyUdrNCvWFj5WKcp08PSAz5pDeY2i2zuBKjUq5it2ric27oddJ7FSIhL/Fxj0RZQwGnGlYzPh1i62WGfAGuXFGaPQ+H2zmCIxqaSW07TRzuFkQXGBny4vY7yaWVWk655nXmF4Okj5syDPv1H4yJJlQlqX78u3PCNsmcdFg46+XgQDmhXZy9HOHu58cqPc/klIv7j0uMJtQFRFVtfFjtOnanh91XTRxeQ+Bcf/tPKd68FhZ2g9VlEX3q6UmeiZkYm3s1rAMdo2PG7TeJ2jSZeA1NXb44xObOsXyOgiGnOIurdZ3iSZ9AVMNq6pOrtPG4LDg1jd3DpnBbmp2uDDasSjNXarJ8Ponb0aaQa9Du24U9kD+pExsJEkrYSateY9hCv9EVCNRbb53h0b0DeRYrqGyt3mD53Chf3N7j3TeHyBbVAUhBgTtUa31CYbNc7muFNnfupPD77Lz9rSGJ/au4p6pYJdRF9mWZ81djNNptKvkeerMvvviDXUVfdqNpsPGiii9kF8d2tVLi4FhtFFqsnIuJmcWptnHdBtrAy2mhhstpYXIiwPZmBbvbLMaBSrFNOGTHG3Jz706KkIIAB1yyCbL1neKDV+cIu9LF7Tcl9ROJOvn7v93j/W9OU6yUX8fwXV66/TrdrpmOYWL7VZnrl6aIJrvsbbZYXy/wzjuT8rv67EWNd96PsbffJqmI6+kW5Vxder25TJlvfmeGzVcn7Oy0GB5zEfI6SJ/oAisM+JzcurUvS43D/Roz8wFhnZjMA6qlrjyb1MHry/tVvvl+ROpqg7aVg3SGWtmQDXJcsSmiXj5W270VP62WQblQ5/yFURlaq4Gr3u1KOu/cyjA7+ymsFivJ0Tif/mqbiYSPer/J/k6H3/+DeZ482Cfki1BpqbSEJpaCsQk/R/sNSUHMLbkIBGL85CfPsJpMzEw4wORGs6sBu4utjZzQqSulJnafWTR87Z6qkjVkSKd4GLGgHc3lJJ0usHIxyePH+ywvxVh7UcHt77HxQm2+nJxZSrK+lsKqouQuLxa7Qb1eJex1k0mXOU4rm4RJ6O4GTmIRqFXUL6jlNSwrEWF/p8jcfEKgn3pPaVotNKp9nr2sMjGmtqpN3G4323tZJmJBQsMeSbop4O3ylSDpPZW06ZIrqKWPBa/HS7VSwR/wkM5VpR4wnXSy+rKPP6gWMwMi4Z4oa1M7ZSZnx/jqqx0uXIwLgGtgNskQ9xcfrvPG9QkCET8//7sNNFtP0gP37qUJB22EVYpqpyFppYuXh6iXu9T1Lvdvp6QjrmwQmZM651bi4gdXViMTGo8e7HPlnUlePDhkciqBRTPTqLY4OFLD4aRsfL9+UiAcsXHjxgS3bq3hdzoo1g3OnIuw/SpPIGhjZSXBT3+yLTpBvdFhc7tCIOoiHLASCbnJKCtNwsfXjzKcXQ7R6ZhERX2gos3q0jgb5otfHXDx4rAoOftNGJnwMOgZbG7mGRp1E496OT0tCXC11W4zkgySS9fEAd/u9IiHlAlDF721Jzwg4PTRG6jERoNgyMfL52mxyPi9ivPhoN+0iM2loyswb4m3bg7jcA7IpnXWX5aYmvWjDzSmJ5w0yt3XOtTVDMNJN7PzIT75u11JNQ2P+Xn4QMFAlbNdbeadWG0W4SSoJJYvZOY01SCZ9FFvmcicFFWbS5hEb78/waNH25I6++J2mvFJN0tLTj75MM/FyyFcTi+vNlPYlTJZ04QlU6y2KOW6ohdv1rtEY2bmFmLc/eyArsXAbh8Q9qhEk1fYWUoTfG5lnNNMibWtAteuhTjYbcjnIBFzMej20Ltuqo0C8ViEVlfpJS34vGahyDcGA473KrL4DMVf/733duokhjTiSafUbr66naXV6/DmtWFaehOr8TqZNDvnRrP52N/PYtJMbLxs8u3vJNjcbJLaqXLlZohKyeA0q8v7IxiwCfBte6tGINjH7XVL1TGXUZpcO5rHyv5mG49zIIPd7e0C129OiXltaz3PO782LnWz1QdpvH4XDqdFoHaKzWIy1HPUI2yJQcdEMGrG5/Xw/GGKa+9NyLuu0+vSatZwKcuI1qfcaHCy15f0xrmrAe5+WeDiSgyr4jfsNjDUBf9ynKbeZfVRmpm5OPubecLqz1GGML8Hk8vgy0/zjI5bBKAYGfWTOypTLg+YWgyzu5mTS7iq+dy9fUI0omG29Bkb9zM3N8kvP3mBta8RHXcSCzpF3X3ndpp41E610mJpcZit/RJzCwFZblg6BqU2qFeZzemlWs0TjvtwueBws8HZSzHu301z7kKUmlIUVluS7lBWgf099c6uMTEVVNl7Dnby/O7vL/OTv3rBytlR6s0KDp/6510GgwYTM3EKpSbV4y5L14Nsb+Ro6gNy2QFGt8v8gl/uxU6nhX7PIBy2cnRaEUivx6nx7FmeoNdNMGYnFLTx8IsMms/GxQtx6BnkikrhbebpizTXrsawWSyieAwEzNy6nWFmJIw35JIqd/G0hNnpUBDAJePh/VesrCRFFdeq6rh8hnT3lBNYRb8uXoyz+uxQYH0KOqXXG4zLF1Pn9KRIJBym3VeKN7NsCvwhPycnRWxmLxZXT2jK25tZBn1DXO7PVk8xdxA6cWfQEYWHuoSqqac6bKieuYIJKmiHSyn6wg7mpqOsPjhgaiEsvnJN6+KP+mU62+37uHLdST5tEo+u1doSmubmTgnrwIrNqdRoDtLKX6viqN0ub1wdpqmmdhYz9+6muPpmklKhKg/1fMGE0W7IpE1dnNXGoDfoEUw4SO915LLSahbYWu8zOa8xNhp9DbvSnAJLvPXRJvMLSUw2g3v3TsVpr2wCekdNIQ3cPifjU26Od+sC25hY1CjmdJrVLpV2n2hQdZbbzM2FeLaaFl2ZmuiojV4g4KXZatNVWpCmDZvLSjSqYTKbyabVBtbN5uNTEjMhuUCp6KXD1SUUdHD2bJyX61nKZZ29dZ1v/HqY548y8rMcSWo8vl+lr+ssL0co1ev88tMc5+aCWDQYn/WTT+l8/TJHMuESMFUuUxOIoAoM7e4oP7Y6IEAs4mJyOszzl1l8PhtWC5xmO+QyTdrNAT/80TTrL1NoTof0thXBNp0rCAn6vbeGxc5wsFcSiGC12mAi6ebJ/QpLy2Ghvd/9rMCbb8foGwNR+p27oCbDET779FBSEIO2uo8qGnBIqKOn2ZpMnYfjTlqdHsf7Xa5cjbG2WRKy/L/4l8v8f//uS05LJr73vSQH+wouohON2VlfLRKIWBmK+Kg32swtR6VCcJiukNrv8If/5ix//scbxEesxEc88vBfOh/C6KqfR026v816BafHLqTj1dUcly8maDQ7ZE6qtHsW0U3NTHvZWW8QHlIKGB2TdUAmo6bXSoVWxR+K0lA0/V5LDkKKDK6mk4VKj/FRN+lMWcAqsYQXh8fJoy9SXH0jSbfTpt3rc3SoVIplvv3dpGx9VORsdMQu24aNFxX5X3/AjNNmY/+kisvqweruc3hY5ur5KM2mhYPDCvERG7VSW+jOPfXC6+minYwG/BSrRXq9Hnt7LblAxNWG90BNujvMzAbZ3y1J/3RiyisR1Ly8mJU2xc6L53UWZ90CiVMax2DIJlFodSH/P/9om7cuBZhbDJHPFSTR4PWpWlIfza22w3Vmpv2kThpKky7e8tFkjM8/PuDKGzEKRXUZcuJWg7+CLi8kdUB5fL+MK9RFbw1o1Q3ZmtsdA9lAv3hQoTGoszQb4NnzCksLUVKpMtWWmo4nmJxycvuzEqlMiekzTkYCEdKVOq3agMUpjWN1ofRbKDUGDNCxGhZhchRK6rKq1InKG92loSb+eh+bZmdoXKOc06lVBqIAU89DlbCYWfLy05/uMBJyMTztZ2+rQb1VJxF1StWk3WwJwXtyJsSHH6UYClrFfaxe6gpoMzHlJzFql6qWuWchmtTweN18/ThDJOjE47Vic1jIZpSayS5Dx/Pn4ty9u8fiouqaI4BRv9fNzm5Butker1N0Snv7RR49PMbn8eF09/CFfdTzVeq6goG6mZn0oegB5WKPeMTF53d38LocXDgf5eioxsSEi1bTyke/PGTujEMO0v/4sz08XgffeS/Jo1UF23NymM1LkqdcQCjnxVKLrd0qK0thnq1lsZutDCet+JwBSvWaQI6uXIrJpSidKzM14ZXv/+Fhj521BqFED4/fQz7dwDDb5MU+PWvHYfWIKjMecwhB3eXpoCnGwEBR518bagrFDi/WCowN+Rid8kg6LTniZ2TCIVP3t95OsL9fw+tVl0zFqgB/0E1/UKddNQnXQNWnLFYzFqvGv/yvJnjwIEWhYpLtTLvVolJri0e72mgQCykKvh+Xr08x1wKLwdFRi4W5qJD21WHBMLrUVX/epHHuQoSDrSIn6RIuj49Q0CDoiTN31itk7UxBpRHUsCVEq9Wm3jaLOvDpo0MZCudP1PvYhl9ZdwIWXj49ot21ypZCaX0VQLDebnKi+Am9Lh98a5FSqSGHSdUNV8NzpZe8cm2Y52tpqaYpXW46o96hLhano0I73z/QBTB44VxcgMBffKoGWXECcSsPb+dYXAnz1d00S8sx9g6K8hx5651ROrUe+dpANnk3bioeRknqhIGAVWpnY6Mxnj7dFWbD4qyflxtZzq/M8Oh+iqXzLtafdHD72yRiaos3IF+s8e5bC/zZnzzH5DTxwbvDcvaIxYNyPsjki9itdoqFCj3dJIRof0SFDl0cHWUJhT2sqMHSiyyPHuU4czZESyWC/rnCND8TFd6KAlnFQn6ePDsUT7PSWyozzMWLI3z9PCXnntX7Tb73wyhtfSDvvzPLQ7TKOrl8X4YnV2/6cWsunr0sYDEren6D6JCFhZkJfnVvh0TMhma24/C52HieJug3sbA8w2m+woOvTuQCdfvOPu9fH6FUU3aRLFi7nDmjtmE2nt2v4Uv0uXp9jBerR1I3azdM2F1mUZkqqNbklIfTlEEoZuPC+SG+fqT0fg50vcegY5Mqly+g2okq5dGjmGuKClGpVhWB+sL5JMVyjlgsRqNTE+2kUh5G4xp7u1X8fjulfJPhYaV5VBBDnVy1TdBtIR72kSnWyZ4MsNl6jIw7xUDz8N4xb70zRLfVZftVXWp8ajicGLLJBrFUUbUEi/zchmIxWu2SLCzKuRZ3vjhhZVlt8btYHTaqAlnr02+b/8u7scrCWZ/k68w9Ky5fj62tstRY4hEfjx8dEU/4BZ5WKna49naSjY0c6f2WXJZdbgdvvOPn5NjgaLeK1/+aTaQSgGPjLrmEXLk+wZd3dqg17YxPODhNFxkfVXUvjcPdNoV6lZjXh8VnoZBuYFZnya6VhVk3Xp+XT29tMzftp1JWNRoziYgCqxWp1uHM+RC1ck8SmzZDY3E5Rr5clZ9POa8zMNl4990RXm2kqDbAabKQnIjy5MmWXJZyOVUP6UuKxOTo4zDc2DQLz16mGRnyEx1S1WBkiXZ0UGX5fIL1l8pGZWFobEA97+LZ8zQz8yP4ggbTczaePlGsAhMWTSk5baTTJSYnY+zvFsll+0xO+jjNVJmZU/3pCifpAb/1u/PcubMrtUWXzcrubpVQcMCj1SpXr4yITUQNxnZ2q0zP+cgeNjg+rRMMauRyXWbnFMvDISo+xfE6e2aMXqfDwX6VpLp4q5Ts1ik+txObC6xmD2kFox5yy3Awk6oKlFlt50eSbiq1FqldnapeZ0LsOX08Ho1CuiO8lnr5dZ1KsaqSsxohT0g+P8qApAYL3/7OFE/uH9JQim566A1NEkgqoRGKa5xm66I3v3jWRzI5wcvtPeamgzz7uoLmHnD+6gh3bh1x4dwQL17mBELarHUoVDsE3U6BZAdVnLyoPisq2RFhY+uUdtWOYWkKl6XRfK14b9WbmHDKufXkJI/bEaTTb9GuQLrSpF2DxWU/608KfP+3Znnw1SFbBxV++GtTHGWarN7P4At4hAVhosnUYoTPPzyWup+K4bu86i4Tx+f2cfv2nhD+lRp+0G8zMhKnXisKGNPlUmlmtQSy0GrUOT7oks03uX5tFH+4L1YzVX1amBvm5fqJGEfCMTcvVyucWfDT73XpGAOsZlVbaVGvWjmz5CBdGKA3VGpSQchtVIttMpkWiSEXUzNOXu2W0WtqMBQUvl2l1pQUi9mmEsBO0kcGZruqwbjIpJSFJEBCVY4/PeLNd8cYjmh8+A9HDOw9rl+d4P69PaYnvFTqKk2sgH9Rnj/LUq+Z0bsNRiadBLweWVQNJb24XfD0VZ6JYZ8oMTtGg9PDFrFRO0bPJErDaNgngzuVajcrBoQFjI6Vjt4jOeln61Wa0WSEZkcNi+rC7xlY+zjt6nyozthKAatgyj3CcTM+n5/0SRXTh/9T0khnqsRCLvkDAiE3hUITzWTC4dRkyqOmFyZDKWKscshQk2+byyHbbJu9x8DQ8Dk00tkWXtX5DDk4Pqjidduly9fWO3TNPSGmB1XvpKt6vi3cDq+yWFAp6zg9ZsrFBh6fQ/r6XocLj89Os92S7Wuj0sGpeXF6+vLnqziR+m+MTHglKqJUgAqQ5XV65GWrmS2k1XTTrYbWJtweJ/l8RQBiFnMXu90j03rNMaBcU5TwLrGAj3KlRt+kDrxmHA4Nu82E3urQ1k0YpgFWkxVo4wv45cKlDkZK9eZ2m6mrjpQijrq9mMwGxWyNiup8uwe4FfBErWM0g3ZVFziDIvKqNIXXa8Fit4iHVsXze31dujXKDdy39OnUdfxRu6QD1NdpGthw+ezSYVYQRIfNhMPrFQXjSbrN6Kj6oRtCpY8GnLT0HnaPFafVQamitgUGvbYmhN+A+rNtbqy2BuWc6qFYKRQrMhFttQZozgHNcp9WtycwvS6qB9alXVbMIgPMDmyGgdVh0K4Z6Ko/6dOEUqq6Mj2jT7PRkW6vSiuo77mKaareut+jplEtehY1wBjQrnYYKJJAzywTcentl2sE/B5cmobmGQiFP5tV3vcuA30gOrFqrYK5owkwz64pkJg6ONdw+hzy7x0eVuR3QilpyjVdHlLYTPicGqV6F7fVSTBqpd3USRefCAQ9AAAIL0lEQVR0Ai6nHPZVn0pdhpqNPn29I/RQBRFzO6DcGNCqdIiO+Mme1kVB0ulpUgNQVZRWw4Jm0clXFBvByWhCbaVspPM90SWqF7fDyWsrRd+M12Xm5LjM1NSQTFxztRpBrxqGdSmVe+LErpc6eMNOqgU1WFCqPacM0OiaJYbnDzql46tYD06XWxR7LfUzdlsxKV1fu0u9YsbQFODLkDRHR29h6/tpG0X8nojE/FTEd9BtSoqgpaudsOqmdaUfFggr1kZbGA8W00A6buLkVi/ajIK7mDEMO72+0kSpDa6Lk5OmfOZNdoiFvWiKRGsxJDUU9KnR64BMSimzzNRbNdpNN9Gwht2utJQ6iWlVsxnQqILb2xPwTbflpFyuEA7YJapVKfdxqs9gwyQvvIDHQqnZR6/r0l9T3bBitYPVqsCbLum3K1e3za7+3m3pWCvVlPqaas0OesNGa6CqUD5cNjg8akuqRB0I8tnW/1/SmTXHjSNBOEEC4NUHu3XL9njscWzsPu7D/v//MREzMTOWJVlSX2TzAEGCG1l6VkshRhNAoSrzSyQmRr6y4ok7nUfxCXOzn0YLE9FrawW+xFzzKE1wyUx7+lJPZ6QZoZYBQzchtUpAhoxCYlwho7Go7vCef7NA7xyiaUTXK9x/TCSCkfaDJDKwK4W+m5BojfNpkP+h9THaY4dv/ynls28/ednRmM4KJp9Fhka1RuwjmfCQ++DdiHSdYu4M6q6WQyIvU5SZFYClVgNiZk8pB8yxROoQWMOGgGPm7IvD138XePtBbz7PDYPYGzRjhbEPMFkmk2ge0JhSKbbZICOngEov108y7Z9n7s3AdpPj4bmCVjOywshE9/DSAEGj6VskaSERVfwZIVGLlUaII8wtVRHs5Bu4WsEW9O+LuAqrTSZrqWlr2DQXzyIPxpz07yKgqx1iZcXOomYr70EYBySFFbkqU8JItOe0oms6dE5LugbPHr63gwMWhRUrWZYptCeHLLdyaVWqwDCfsUj47EyO4fSXBO4RKzJamg79zMk0G6olDgSeJQqJSUXWR9py23VSELJ5XJYkaZ8lypIQMU4VWCisF5zScblGiNMIYQjY7yv893+/4MffDdr+DK0SBDNgod/33hBR5q2k2ZQsWCTU0JHGGCaBguYLg6EdEWJG5VqcKnpIlTSXKKtk8kHT1PAjxM5g4gTK0MLTizWCRRc/x7VGxVdwBmNPcO8SnRuwXVo8vO4FjhrBwLsWxUUhKpz7myVSzXXcybOwoLq6ieGZBJKQO1OjvEvFg+6cQ1+T3J1gdIN4smevxD9Ju9zP5ychpPN5qkOHi2vuYx7Xt7nkfCf5LEW8axl5qJHnVmIGo0ljex3hcPCg5lzR74oJ7Vlhw7/VNUhsgaZx0sx6fO4wtA63ny4lPpTEbdYqfqaNbCGTmjHikwZMOsLCRHjaUaFyhbfTHlUV8OFuDcwaQ9dic13guKvxvBtxVaYSpaWTtUTzcXp+uSUwuEFdT3A9ZZ0xPn00mDxhou+xgN/+dSUXqtubDCc2IF0jE9EiWeLUsHE/o9xYaTo//Fnj4+cS2iQCYxMryNljnBTyckYavUvhEagkW8jkinYIRjtGEROKEiRRhN2+x3qtEUihMFZAqZ6Ubz7DEATgygYc1xKj1fwUYHQqwL2gldSKhEM2rZNpG/cU7qeEC05RhMKm+Ov7EWEM+PptI0Uy35WW54wKEpnGd4+1StV41EeF9aWRpqseEzRjL1N9nc1YGoPHn5WcdzyTaW2pzhpZ5qVp35BEvtLYrjK8HU6YkaI79Zhih3K5RmSD2Fra4xm/fr1F3Tj88UeFz19iNHWCYqnx8H2PL18WqE7A4NlgK0WJxyYOz6+mmXG9WWJfHYCQwHlOUnmmBElgGfsBr4eA3NJiWmFdpqJiosKQ523bNcLGKTcaiQVGFYOb3NRPmBOLeIixuYmh5/fvk83zIUwC94wxQQU2IwHnawyeefBWLgq0WlLR9/KjFh6JtvxGY2l2KDsiiQiItXj8u8PMC9NdCsXUjecj9MQpJtfce9rSFAyYdPzzqRMl1+Qs5pm0eCv/M9OhGAs4ewDKQlvu0UEiLg+7CIddi/sPpShLesfceF5wUgzTCXPI4foOWZbjapugqgacuwHlhRFL4RQr3F/l+PHS4vDU4fJDJhBgxsvGqcU0eETaiPJUhR6rZSpwRgKRL7drSXSomxpDZ/DpSwLXKzw8UZG8gms7NN0Iz7MuSaSW47lB/hkTEO4uUviZsb1O6rSE77OeRUEZuM578lwGsWyyfkxXS+EktM7BVTPW11qm17dXFxhGAk1n2NRge1lg93QE4gzlmpGSZ3xi9GxNSDuDGifUQ4M0tuIFZ3OfjeJIE+7qRb1JNhQHI4+vVNcyqcUhyxIBlRLaee5HrHMrajmmxwTloWaDXhHtDGhrsDv2uL3X2L+OULPCcpHj++Mev/6yQuvOUD7HGBMsGjCNTE1jrbVAN/Syjx/eOmi+A2aWKFHnDRb5LHcuN1D9oxANGWLrce56uUPQPjbzHnhiZGjAdrvEP78f8Pm3tZztVIsO3gu34uYuhx8VulMFY8k9AJzq5J5mzXskNFVvXGu8h7EuqI4tru+Xcoe7uVxid3KYhkmAyWzWvu0aUVNvtho991NVSBT9YX+G4lq7zfD6cpY7DH+/vLHYPTpRTdNC3fZOBqOu0yBiYlIJdMR7H+13GUxEe3cHKN4/PVZFDg8nCVB6imBXM2JFe11A23tResJ7uZd8/qahpyViplnUAx75nn4s3hkPfoIfAnQSIZ4S/B8gdW/lbZuMogAAAABJRU5ErkJggg=="/>
          <p:cNvSpPr>
            <a:spLocks noChangeAspect="1" noChangeArrowheads="1"/>
          </p:cNvSpPr>
          <p:nvPr/>
        </p:nvSpPr>
        <p:spPr bwMode="auto">
          <a:xfrm>
            <a:off x="5160941" y="371225"/>
            <a:ext cx="4695825" cy="46958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457868" y="1587978"/>
            <a:ext cx="2829130" cy="4243697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8441690" name="Textplatzhalter 17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556034" y="515520"/>
            <a:ext cx="9220972" cy="213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spc="299">
                <a:solidFill>
                  <a:schemeClr val="bg1">
                    <a:lumMod val="75000"/>
                  </a:schemeClr>
                </a:solidFill>
                <a:latin typeface="Aptos"/>
              </a:defRPr>
            </a:lvl1pPr>
          </a:lstStyle>
          <a:p>
            <a:pPr>
              <a:defRPr/>
            </a:pPr>
            <a:r>
              <a:rPr lang="de-DE" sz="1400" b="0" i="0" u="none" strike="noStrike" cap="none" spc="299">
                <a:solidFill>
                  <a:schemeClr val="bg1">
                    <a:lumMod val="75000"/>
                  </a:schemeClr>
                </a:solidFill>
                <a:latin typeface="Aptos"/>
                <a:ea typeface="Aptos"/>
                <a:cs typeface="Aptos"/>
              </a:rPr>
              <a:t>Künstliche Intelligenz – eine Einführung</a:t>
            </a:r>
            <a:endParaRPr/>
          </a:p>
        </p:txBody>
      </p:sp>
      <p:sp>
        <p:nvSpPr>
          <p:cNvPr id="724725953" name="Textplatzhalter 19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556650" y="778587"/>
            <a:ext cx="9218812" cy="427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 i="0" cap="all" spc="99">
                <a:solidFill>
                  <a:srgbClr val="DEC628"/>
                </a:solidFill>
                <a:latin typeface="Aptos"/>
              </a:defRPr>
            </a:lvl1pPr>
          </a:lstStyle>
          <a:p>
            <a:pPr>
              <a:defRPr/>
            </a:pPr>
            <a:r>
              <a:t>Quellenangaben:</a:t>
            </a:r>
          </a:p>
        </p:txBody>
      </p:sp>
      <p:sp>
        <p:nvSpPr>
          <p:cNvPr id="97710562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54326" y="6552906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DEC628"/>
                </a:solidFill>
              </a:defRPr>
            </a:lvl1pPr>
          </a:lstStyle>
          <a:p>
            <a:pPr>
              <a:defRPr/>
            </a:pPr>
            <a:fld id="{33499573-600D-A13C-4129-D899F7DF7906}" type="slidenum">
              <a:rPr lang="de-DE"/>
              <a:t>34</a:t>
            </a:fld>
            <a:endParaRPr lang="de-DE"/>
          </a:p>
        </p:txBody>
      </p:sp>
      <p:sp>
        <p:nvSpPr>
          <p:cNvPr id="964512437" name="Textfeld 964512436"/>
          <p:cNvSpPr txBox="1"/>
          <p:nvPr/>
        </p:nvSpPr>
        <p:spPr bwMode="auto">
          <a:xfrm>
            <a:off x="498333" y="1379992"/>
            <a:ext cx="8410764" cy="971933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0" indent="0" algn="l">
              <a:buNone/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Soweit nicht anders gekennzeichnet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LM Stiftung Medienpädagogik Bayern, CC-BY-NC-4.0</a:t>
            </a:r>
            <a:endParaRPr/>
          </a:p>
          <a:p>
            <a:pPr algn="l">
              <a:defRPr/>
            </a:pPr>
            <a:r>
              <a:rPr lang="de-DE">
                <a:solidFill>
                  <a:srgbClr val="000000"/>
                </a:solidFill>
                <a:latin typeface="Helvetica"/>
              </a:rPr>
              <a:t>Bilder KI-generiert</a:t>
            </a:r>
            <a:endParaRPr lang="de-DE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Icons mit CC-BY-Lizenz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35</a:t>
            </a:fld>
            <a:endParaRPr lang="de-DE"/>
          </a:p>
        </p:txBody>
      </p:sp>
      <p:pic>
        <p:nvPicPr>
          <p:cNvPr id="10" name="Grafik 9" descr="Ein Bild, das Zahnrad, Kreis, Metallwaren, Rad enthält.&#10;&#10;KI-generierte Inhalte können fehlerhaft sein.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684120" y="2838901"/>
            <a:ext cx="2106378" cy="2106378"/>
          </a:xfrm>
          <a:prstGeom prst="rect">
            <a:avLst/>
          </a:prstGeom>
        </p:spPr>
      </p:pic>
      <p:pic>
        <p:nvPicPr>
          <p:cNvPr id="12" name="Grafik 11" descr="Ein Bild, das Kleidung, Maske, Masque enthält.&#10;&#10;KI-generierte Inhalte können fehlerhaft sein.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068410" y="5136385"/>
            <a:ext cx="998560" cy="998560"/>
          </a:xfrm>
          <a:prstGeom prst="rect">
            <a:avLst/>
          </a:prstGeom>
        </p:spPr>
      </p:pic>
      <p:pic>
        <p:nvPicPr>
          <p:cNvPr id="14" name="Grafik 13" descr="Ein Bild, das Lupe, Kreis, Spiegel enthält.&#10;&#10;KI-generierte Inhalte können fehlerhaft sein.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984298" y="1568763"/>
            <a:ext cx="817445" cy="817445"/>
          </a:xfrm>
          <a:prstGeom prst="rect">
            <a:avLst/>
          </a:prstGeom>
        </p:spPr>
      </p:pic>
      <p:pic>
        <p:nvPicPr>
          <p:cNvPr id="16" name="Grafik 15" descr="Ein Bild, das Grafiken, Symbol, rot, Schrift enthält.&#10;&#10;KI-generierte Inhalte können fehlerhaft sein.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087242" y="5154751"/>
            <a:ext cx="1072234" cy="1072234"/>
          </a:xfrm>
          <a:prstGeom prst="rect">
            <a:avLst/>
          </a:prstGeom>
        </p:spPr>
      </p:pic>
      <p:pic>
        <p:nvPicPr>
          <p:cNvPr id="18" name="Grafik 17" descr="Ein Bild, das Glühbirne, Licht enthält.&#10;&#10;KI-generierte Inhalte können fehlerhaft sein.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6412203" y="1431133"/>
            <a:ext cx="817445" cy="817445"/>
          </a:xfrm>
          <a:prstGeom prst="rect">
            <a:avLst/>
          </a:prstGeom>
        </p:spPr>
      </p:pic>
      <p:pic>
        <p:nvPicPr>
          <p:cNvPr id="20" name="Grafik 19" descr="Ein Bild, das Clipart, Design enthält.&#10;&#10;KI-generierte Inhalte können fehlerhaft sein.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9073686" y="5486144"/>
            <a:ext cx="907387" cy="907387"/>
          </a:xfrm>
          <a:prstGeom prst="rect">
            <a:avLst/>
          </a:prstGeom>
        </p:spPr>
      </p:pic>
      <p:pic>
        <p:nvPicPr>
          <p:cNvPr id="22" name="Grafik 21" descr="Ein Bild, das Smiley, Clipart, Lächeln, Cartoon enthält.&#10;&#10;KI-generierte Inhalte können fehlerhaft sein.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6460144" y="2940703"/>
            <a:ext cx="963735" cy="963735"/>
          </a:xfrm>
          <a:prstGeom prst="rect">
            <a:avLst/>
          </a:prstGeom>
        </p:spPr>
      </p:pic>
      <p:pic>
        <p:nvPicPr>
          <p:cNvPr id="24" name="Grafik 23" descr="Ein Bild, das Clipart, Grafiken, Cartoon, Kreativität enthält.&#10;&#10;KI-generierte Inhalte können fehlerhaft sein.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8494436" y="4106152"/>
            <a:ext cx="1029384" cy="1029384"/>
          </a:xfrm>
          <a:prstGeom prst="rect">
            <a:avLst/>
          </a:prstGeom>
        </p:spPr>
      </p:pic>
      <p:pic>
        <p:nvPicPr>
          <p:cNvPr id="26" name="Grafik 25" descr="Ein Bild, das Symbol, Design enthält.&#10;&#10;KI-generierte Inhalte können fehlerhaft sein.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202597" y="2713058"/>
            <a:ext cx="874640" cy="874640"/>
          </a:xfrm>
          <a:prstGeom prst="rect">
            <a:avLst/>
          </a:prstGeom>
        </p:spPr>
      </p:pic>
      <p:pic>
        <p:nvPicPr>
          <p:cNvPr id="28" name="Grafik 27" descr="Ein Bild, das Schloss, Metallwaren, Vorhängeschloss enthält.&#10;&#10;KI-generierte Inhalte können fehlerhaft sein.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3340055" y="5513131"/>
            <a:ext cx="874639" cy="874639"/>
          </a:xfrm>
          <a:prstGeom prst="rect">
            <a:avLst/>
          </a:prstGeom>
        </p:spPr>
      </p:pic>
      <p:pic>
        <p:nvPicPr>
          <p:cNvPr id="30" name="Grafik 2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2041335" y="5491906"/>
            <a:ext cx="895864" cy="895864"/>
          </a:xfrm>
          <a:prstGeom prst="rect">
            <a:avLst/>
          </a:prstGeom>
        </p:spPr>
      </p:pic>
      <p:pic>
        <p:nvPicPr>
          <p:cNvPr id="32" name="Grafik 31" descr="Ein Bild, das Karte, Erde, Welt, Planet enthält.&#10;&#10;KI-generierte Inhalte können fehlerhaft sein.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0475103" y="5154751"/>
            <a:ext cx="1182471" cy="1182471"/>
          </a:xfrm>
          <a:prstGeom prst="rect">
            <a:avLst/>
          </a:prstGeom>
        </p:spPr>
      </p:pic>
      <p:pic>
        <p:nvPicPr>
          <p:cNvPr id="34" name="Grafik 33" descr="Ein Bild, das Symbol, Logo, Markenzeichen, Emblem enthält.&#10;&#10;KI-generierte Inhalte können fehlerhaft sein."/>
          <p:cNvPicPr>
            <a:picLocks noChangeAspect="1"/>
          </p:cNvPicPr>
          <p:nvPr/>
        </p:nvPicPr>
        <p:blipFill>
          <a:blip r:embed="rId15"/>
          <a:stretch/>
        </p:blipFill>
        <p:spPr bwMode="auto">
          <a:xfrm>
            <a:off x="534426" y="5301977"/>
            <a:ext cx="1035245" cy="1035245"/>
          </a:xfrm>
          <a:prstGeom prst="rect">
            <a:avLst/>
          </a:prstGeom>
        </p:spPr>
      </p:pic>
      <p:pic>
        <p:nvPicPr>
          <p:cNvPr id="36" name="Grafik 35" descr="Ein Bild, das Grafiken, Symbol, Clipart, Kreativität enthält.&#10;&#10;KI-generierte Inhalte können fehlerhaft sein."/>
          <p:cNvPicPr>
            <a:picLocks noChangeAspect="1"/>
          </p:cNvPicPr>
          <p:nvPr/>
        </p:nvPicPr>
        <p:blipFill>
          <a:blip r:embed="rId16"/>
          <a:stretch/>
        </p:blipFill>
        <p:spPr bwMode="auto">
          <a:xfrm>
            <a:off x="2059577" y="4202502"/>
            <a:ext cx="1029384" cy="1029384"/>
          </a:xfrm>
          <a:prstGeom prst="rect">
            <a:avLst/>
          </a:prstGeom>
        </p:spPr>
      </p:pic>
      <p:pic>
        <p:nvPicPr>
          <p:cNvPr id="38" name="Grafik 37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7">
            <a:grayscl/>
          </a:blip>
          <a:stretch/>
        </p:blipFill>
        <p:spPr bwMode="auto">
          <a:xfrm>
            <a:off x="517051" y="4175036"/>
            <a:ext cx="987181" cy="987181"/>
          </a:xfrm>
          <a:prstGeom prst="rect">
            <a:avLst/>
          </a:prstGeom>
        </p:spPr>
      </p:pic>
      <p:pic>
        <p:nvPicPr>
          <p:cNvPr id="40" name="Grafik 39" descr="Ein Bild, das Clipart, Grafiken, Kreativität, Design enthält.&#10;&#10;KI-generierte Inhalte können fehlerhaft sein.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1890774" y="2745495"/>
            <a:ext cx="1196987" cy="1196987"/>
          </a:xfrm>
          <a:prstGeom prst="rect">
            <a:avLst/>
          </a:prstGeom>
        </p:spPr>
      </p:pic>
      <p:pic>
        <p:nvPicPr>
          <p:cNvPr id="42" name="Grafik 41" descr="Ein Bild, das Symbol, Logo enthält.&#10;&#10;KI-generierte Inhalte können fehlerhaft sein.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432459" y="2947132"/>
            <a:ext cx="963735" cy="963735"/>
          </a:xfrm>
          <a:prstGeom prst="rect">
            <a:avLst/>
          </a:prstGeom>
        </p:spPr>
      </p:pic>
      <p:pic>
        <p:nvPicPr>
          <p:cNvPr id="44" name="Grafik 43" descr="Ein Bild, das Logo, Kreis, Grafiken, Grafikdesign enthält.&#10;&#10;KI-generierte Inhalte können fehlerhaft sein."/>
          <p:cNvPicPr>
            <a:picLocks noChangeAspect="1"/>
          </p:cNvPicPr>
          <p:nvPr/>
        </p:nvPicPr>
        <p:blipFill>
          <a:blip r:embed="rId20"/>
          <a:stretch/>
        </p:blipFill>
        <p:spPr bwMode="auto">
          <a:xfrm>
            <a:off x="3651518" y="1526143"/>
            <a:ext cx="963735" cy="963735"/>
          </a:xfrm>
          <a:prstGeom prst="rect">
            <a:avLst/>
          </a:prstGeom>
        </p:spPr>
      </p:pic>
      <p:pic>
        <p:nvPicPr>
          <p:cNvPr id="46" name="Grafik 45" descr="Ein Bild, das Sanduhr, Design enthält.&#10;&#10;KI-generierte Inhalte können fehlerhaft sein."/>
          <p:cNvPicPr>
            <a:picLocks noChangeAspect="1"/>
          </p:cNvPicPr>
          <p:nvPr/>
        </p:nvPicPr>
        <p:blipFill>
          <a:blip r:embed="rId21"/>
          <a:stretch/>
        </p:blipFill>
        <p:spPr bwMode="auto">
          <a:xfrm>
            <a:off x="8794750" y="1531243"/>
            <a:ext cx="697621" cy="697621"/>
          </a:xfrm>
          <a:prstGeom prst="rect">
            <a:avLst/>
          </a:prstGeom>
        </p:spPr>
      </p:pic>
      <p:pic>
        <p:nvPicPr>
          <p:cNvPr id="48" name="Grafik 47" descr="Ein Bild, das Clipart enthält.&#10;&#10;KI-generierte Inhalte können fehlerhaft sein."/>
          <p:cNvPicPr>
            <a:picLocks noChangeAspect="1"/>
          </p:cNvPicPr>
          <p:nvPr/>
        </p:nvPicPr>
        <p:blipFill>
          <a:blip r:embed="rId22"/>
          <a:stretch/>
        </p:blipFill>
        <p:spPr bwMode="auto">
          <a:xfrm>
            <a:off x="9982199" y="3150377"/>
            <a:ext cx="1794901" cy="1794901"/>
          </a:xfrm>
          <a:prstGeom prst="rect">
            <a:avLst/>
          </a:prstGeom>
        </p:spPr>
      </p:pic>
      <p:pic>
        <p:nvPicPr>
          <p:cNvPr id="50" name="Grafik 49" descr="Ein Bild, das Design enthält.&#10;&#10;KI-generierte Inhalte können fehlerhaft sein."/>
          <p:cNvPicPr>
            <a:picLocks noChangeAspect="1"/>
          </p:cNvPicPr>
          <p:nvPr/>
        </p:nvPicPr>
        <p:blipFill>
          <a:blip r:embed="rId23"/>
          <a:stretch/>
        </p:blipFill>
        <p:spPr bwMode="auto">
          <a:xfrm>
            <a:off x="10291689" y="1974455"/>
            <a:ext cx="1175921" cy="1175921"/>
          </a:xfrm>
          <a:prstGeom prst="rect">
            <a:avLst/>
          </a:prstGeom>
        </p:spPr>
      </p:pic>
      <p:pic>
        <p:nvPicPr>
          <p:cNvPr id="52" name="Grafik 51" descr="Ein Bild, das Filmklappe, Text enthält.&#10;&#10;KI-generierte Inhalte können fehlerhaft sein."/>
          <p:cNvPicPr>
            <a:picLocks noChangeAspect="1"/>
          </p:cNvPicPr>
          <p:nvPr/>
        </p:nvPicPr>
        <p:blipFill>
          <a:blip r:embed="rId24"/>
          <a:stretch/>
        </p:blipFill>
        <p:spPr bwMode="auto">
          <a:xfrm>
            <a:off x="2059577" y="1431141"/>
            <a:ext cx="1058737" cy="1058737"/>
          </a:xfrm>
          <a:prstGeom prst="rect">
            <a:avLst/>
          </a:prstGeom>
        </p:spPr>
      </p:pic>
      <p:pic>
        <p:nvPicPr>
          <p:cNvPr id="56" name="Grafik 55" descr="Ein Bild, das Kreis, Grafiken, Design, Clipart enthält.&#10;&#10;KI-generierte Inhalte können fehlerhaft sein."/>
          <p:cNvPicPr>
            <a:picLocks noChangeAspect="1"/>
          </p:cNvPicPr>
          <p:nvPr/>
        </p:nvPicPr>
        <p:blipFill>
          <a:blip r:embed="rId25"/>
          <a:stretch/>
        </p:blipFill>
        <p:spPr bwMode="auto">
          <a:xfrm>
            <a:off x="534426" y="1556022"/>
            <a:ext cx="909270" cy="909270"/>
          </a:xfrm>
          <a:prstGeom prst="rect">
            <a:avLst/>
          </a:prstGeom>
        </p:spPr>
      </p:pic>
      <p:grpSp>
        <p:nvGrpSpPr>
          <p:cNvPr id="2" name="Gruppieren 1"/>
          <p:cNvGrpSpPr/>
          <p:nvPr/>
        </p:nvGrpSpPr>
        <p:grpSpPr bwMode="auto">
          <a:xfrm>
            <a:off x="8925392" y="6475333"/>
            <a:ext cx="2712281" cy="200685"/>
            <a:chOff x="8925392" y="6475333"/>
            <a:chExt cx="2712281" cy="200685"/>
          </a:xfrm>
        </p:grpSpPr>
        <p:sp>
          <p:nvSpPr>
            <p:cNvPr id="3" name="Foliennummernplatzhalter 5"/>
            <p:cNvSpPr txBox="1"/>
            <p:nvPr/>
          </p:nvSpPr>
          <p:spPr bwMode="auto">
            <a:xfrm>
              <a:off x="8925392" y="6552907"/>
              <a:ext cx="2712281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Quelle: BLM Stiftung Medienpädagogik Bayern, CC-BY-NC-4.0</a:t>
              </a:r>
              <a:endParaRPr/>
            </a:p>
          </p:txBody>
        </p:sp>
        <p:cxnSp>
          <p:nvCxnSpPr>
            <p:cNvPr id="4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/>
              <a:t>Grundlagen und Funktionsweise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auto">
          <a:xfrm>
            <a:off x="554326" y="2056104"/>
            <a:ext cx="5356355" cy="2535664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Definition</a:t>
            </a:r>
            <a:endParaRPr lang="de-DE" spc="-36">
              <a:solidFill>
                <a:srgbClr val="272525"/>
              </a:solidFill>
              <a:ea typeface="Inter"/>
              <a:cs typeface="Arial"/>
            </a:endParaRPr>
          </a:p>
          <a:p>
            <a:pPr marL="0" indent="0">
              <a:buNone/>
              <a:defRPr/>
            </a:pPr>
            <a:r>
              <a:rPr lang="de-DE" sz="1800"/>
              <a:t>„Künstliche Intelligenz ist die Fähigkeit einer Maschine, menschliche Fähigkeiten wie logisches Denken, Lernen, Planen und Kreativität zu imitieren.“</a:t>
            </a:r>
            <a:endParaRPr/>
          </a:p>
          <a:p>
            <a:pPr marL="0" indent="0">
              <a:buNone/>
              <a:defRPr/>
            </a:pPr>
            <a:r>
              <a:rPr lang="de-DE" sz="1400" i="1"/>
              <a:t>(Europäisches Parlament – Website) </a:t>
            </a:r>
            <a:endParaRPr/>
          </a:p>
          <a:p>
            <a:pPr marL="0" indent="0">
              <a:buNone/>
              <a:defRPr/>
            </a:pPr>
            <a:endParaRPr lang="de-DE" sz="1400"/>
          </a:p>
          <a:p>
            <a:pPr marL="0" indent="0">
              <a:buNone/>
              <a:defRPr/>
            </a:pP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buNone/>
              <a:defRPr/>
            </a:pPr>
            <a:r>
              <a:rPr lang="de-DE" b="1" spc="-36">
                <a:solidFill>
                  <a:srgbClr val="272525"/>
                </a:solidFill>
                <a:ea typeface="Inter"/>
                <a:cs typeface="Arial"/>
              </a:rPr>
              <a:t>Funktionsweise</a:t>
            </a:r>
            <a:endParaRPr lang="de-DE" sz="2400" b="1" spc="-36">
              <a:solidFill>
                <a:srgbClr val="272525"/>
              </a:solidFill>
              <a:ea typeface="Inter"/>
              <a:cs typeface="Arial"/>
            </a:endParaRPr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Künstliche Intelligenz (KI): nutzt Algorithmen, zur Analyse von großen Datenmengen und Erkennung  von Mustern </a:t>
            </a:r>
            <a:endParaRPr/>
          </a:p>
          <a:p>
            <a:pPr>
              <a:defRPr/>
            </a:pP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Maschinelles Lernen: Ein </a:t>
            </a:r>
            <a:r>
              <a:rPr lang="de-DE" sz="1800" spc="-36">
                <a:solidFill>
                  <a:srgbClr val="272525"/>
                </a:solidFill>
                <a:ea typeface="Inter"/>
              </a:rPr>
              <a:t>System lernt, </a:t>
            </a:r>
            <a:r>
              <a:rPr lang="de-DE" sz="1800" spc="-36">
                <a:solidFill>
                  <a:srgbClr val="272525"/>
                </a:solidFill>
                <a:ea typeface="Inter"/>
                <a:cs typeface="Arial"/>
              </a:rPr>
              <a:t>Aufgaben zu lösen durch Berechnung von Wahrscheinlichkeiten.</a:t>
            </a:r>
            <a:endParaRPr/>
          </a:p>
          <a:p>
            <a:pPr>
              <a:defRPr/>
            </a:pPr>
            <a:r>
              <a:rPr lang="de-DE" sz="1800"/>
              <a:t>Mehr Daten, gezieltes Training  genauer,  leistungsfähiger</a:t>
            </a:r>
            <a:endParaRPr sz="1800"/>
          </a:p>
          <a:p>
            <a:pPr marL="0" indent="0">
              <a:lnSpc>
                <a:spcPct val="110000"/>
              </a:lnSpc>
              <a:spcBef>
                <a:spcPts val="1000"/>
              </a:spcBef>
              <a:buNone/>
              <a:defRPr/>
            </a:pPr>
            <a:endParaRPr lang="de-DE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Foliennummernplatzhalter 5"/>
          <p:cNvSpPr txBox="1"/>
          <p:nvPr/>
        </p:nvSpPr>
        <p:spPr bwMode="auto">
          <a:xfrm>
            <a:off x="554327" y="6552907"/>
            <a:ext cx="36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>
              <a:defRPr sz="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3D266E1-CF7D-47E8-B8E6-FE2361DFB2DF}" type="slidenum">
              <a:rPr lang="de-DE">
                <a:solidFill>
                  <a:srgbClr val="DEC628"/>
                </a:solidFill>
                <a:latin typeface="Aptos"/>
              </a:rPr>
              <a:t>4</a:t>
            </a:fld>
            <a:endParaRPr lang="de-DE">
              <a:solidFill>
                <a:srgbClr val="DEC628"/>
              </a:solidFill>
              <a:latin typeface="Apto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grayscl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3"/>
            <a:ext cx="6423603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1950er Jahre – Ideen und Anfänge</a:t>
            </a:r>
            <a:endParaRPr lang="de-DE"/>
          </a:p>
          <a:p>
            <a:pPr>
              <a:defRPr/>
            </a:pPr>
            <a:r>
              <a:rPr lang="de-DE" sz="1600"/>
              <a:t>Alan Turing entwickelt den „Turing-Test“. </a:t>
            </a:r>
            <a:endParaRPr/>
          </a:p>
          <a:p>
            <a:pPr>
              <a:defRPr/>
            </a:pPr>
            <a:r>
              <a:rPr lang="de-DE" sz="1600"/>
              <a:t>Erste Computerprogramme lösen einfache Aufgaben automatisiert.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Entwicklung</a:t>
            </a:r>
            <a:endParaRPr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6048632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1960er Jahre – Geburt der KI</a:t>
            </a:r>
            <a:endParaRPr/>
          </a:p>
          <a:p>
            <a:pPr>
              <a:defRPr/>
            </a:pPr>
            <a:r>
              <a:rPr lang="de-DE" sz="1600"/>
              <a:t>Erste Programme lösen komplexe Aufgaben (z. B. Schach, Logikbeweise). 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5</a:t>
            </a:fld>
            <a:endParaRPr lang="de-DE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6595514" cy="769441"/>
          </a:xfrm>
        </p:spPr>
        <p:txBody>
          <a:bodyPr/>
          <a:lstStyle/>
          <a:p>
            <a:pPr>
              <a:defRPr/>
            </a:pPr>
            <a:r>
              <a:rPr lang="de-DE" b="1"/>
              <a:t>2000er Jahre – Big Data</a:t>
            </a:r>
            <a:endParaRPr/>
          </a:p>
          <a:p>
            <a:pPr>
              <a:defRPr/>
            </a:pPr>
            <a:r>
              <a:rPr lang="de-DE" sz="1600"/>
              <a:t>Wachsende Rechenleistung und große Datenmengen machen Algorithmen leistungsfähiger. Maschinelles Lernen entsteht.</a:t>
            </a:r>
            <a:endParaRPr/>
          </a:p>
        </p:txBody>
      </p:sp>
      <p:grpSp>
        <p:nvGrpSpPr>
          <p:cNvPr id="8" name="Gruppieren 7"/>
          <p:cNvGrpSpPr/>
          <p:nvPr/>
        </p:nvGrpSpPr>
        <p:grpSpPr bwMode="auto">
          <a:xfrm>
            <a:off x="8163965" y="6475333"/>
            <a:ext cx="3473708" cy="200685"/>
            <a:chOff x="8163965" y="6475333"/>
            <a:chExt cx="3473708" cy="200685"/>
          </a:xfrm>
        </p:grpSpPr>
        <p:sp>
          <p:nvSpPr>
            <p:cNvPr id="4" name="Foliennummernplatzhalter 5"/>
            <p:cNvSpPr txBox="1"/>
            <p:nvPr/>
          </p:nvSpPr>
          <p:spPr bwMode="auto">
            <a:xfrm>
              <a:off x="8163965" y="6552907"/>
              <a:ext cx="3473708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Die Entschlüsselungsmaschine „Bletchley Park - Bombe“ 1945 – public domain</a:t>
              </a:r>
              <a:endParaRPr/>
            </a:p>
          </p:txBody>
        </p:sp>
        <p:cxnSp>
          <p:nvCxnSpPr>
            <p:cNvPr id="7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5"/>
            <a:ext cx="7476149" cy="1015663"/>
          </a:xfrm>
        </p:spPr>
        <p:txBody>
          <a:bodyPr/>
          <a:lstStyle/>
          <a:p>
            <a:pPr>
              <a:defRPr/>
            </a:pPr>
            <a:r>
              <a:rPr lang="de-DE" b="1"/>
              <a:t>2010 bis heute – Deep Learning und generative KI</a:t>
            </a:r>
            <a:endParaRPr/>
          </a:p>
          <a:p>
            <a:pPr>
              <a:defRPr/>
            </a:pPr>
            <a:r>
              <a:rPr lang="de-DE" sz="1600"/>
              <a:t>Neuronale Netze verändern Bild-, Sprach- und Textverarbeitung. GPT-Modelle zeigen die Fähigkeit, riesige Datenmengen zu verarbeiten und daraus neue Daten zu generieren.</a:t>
            </a:r>
            <a:endParaRPr lang="de-DE"/>
          </a:p>
        </p:txBody>
      </p:sp>
      <p:sp>
        <p:nvSpPr>
          <p:cNvPr id="10" name="Shape 2"/>
          <p:cNvSpPr/>
          <p:nvPr/>
        </p:nvSpPr>
        <p:spPr bwMode="auto">
          <a:xfrm flipH="1">
            <a:off x="767284" y="2138198"/>
            <a:ext cx="36000" cy="3600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Shape 3"/>
          <p:cNvSpPr/>
          <p:nvPr/>
        </p:nvSpPr>
        <p:spPr bwMode="auto">
          <a:xfrm>
            <a:off x="875522" y="1887338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3" name="Image 1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66221" y="1828536"/>
            <a:ext cx="238125" cy="297656"/>
          </a:xfrm>
          <a:prstGeom prst="rect">
            <a:avLst/>
          </a:prstGeom>
        </p:spPr>
      </p:pic>
      <p:pic>
        <p:nvPicPr>
          <p:cNvPr id="27" name="Image 2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66220" y="3124478"/>
            <a:ext cx="238125" cy="297656"/>
          </a:xfrm>
          <a:prstGeom prst="rect">
            <a:avLst/>
          </a:prstGeom>
        </p:spPr>
      </p:pic>
      <p:pic>
        <p:nvPicPr>
          <p:cNvPr id="30" name="Image 3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69171" y="4322544"/>
            <a:ext cx="238125" cy="297656"/>
          </a:xfrm>
          <a:prstGeom prst="rect">
            <a:avLst/>
          </a:prstGeom>
        </p:spPr>
      </p:pic>
      <p:pic>
        <p:nvPicPr>
          <p:cNvPr id="33" name="Image 4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669717" y="5534904"/>
            <a:ext cx="238125" cy="297656"/>
          </a:xfrm>
          <a:prstGeom prst="rect">
            <a:avLst/>
          </a:prstGeom>
        </p:spPr>
      </p:pic>
      <p:sp>
        <p:nvSpPr>
          <p:cNvPr id="34" name="Shape 3"/>
          <p:cNvSpPr/>
          <p:nvPr/>
        </p:nvSpPr>
        <p:spPr bwMode="auto">
          <a:xfrm>
            <a:off x="875522" y="3166120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5" name="Shape 3"/>
          <p:cNvSpPr/>
          <p:nvPr/>
        </p:nvSpPr>
        <p:spPr bwMode="auto">
          <a:xfrm>
            <a:off x="875522" y="4372414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6" name="Shape 3"/>
          <p:cNvSpPr/>
          <p:nvPr/>
        </p:nvSpPr>
        <p:spPr bwMode="auto">
          <a:xfrm>
            <a:off x="875522" y="5566627"/>
            <a:ext cx="468000" cy="36000"/>
          </a:xfrm>
          <a:prstGeom prst="roundRect">
            <a:avLst>
              <a:gd name="adj" fmla="val 291721"/>
            </a:avLst>
          </a:prstGeom>
          <a:solidFill>
            <a:srgbClr val="E8DC7B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rcRect b="34995"/>
          <a:stretch/>
        </p:blipFill>
        <p:spPr bwMode="auto">
          <a:xfrm>
            <a:off x="7751662" y="1253556"/>
            <a:ext cx="1735606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8"/>
          <a:srcRect b="21710"/>
          <a:stretch/>
        </p:blipFill>
        <p:spPr bwMode="auto">
          <a:xfrm>
            <a:off x="9765848" y="2232865"/>
            <a:ext cx="1341057" cy="15748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9"/>
          <a:srcRect b="22161"/>
          <a:stretch/>
        </p:blipFill>
        <p:spPr bwMode="auto">
          <a:xfrm>
            <a:off x="9711653" y="4165316"/>
            <a:ext cx="1449445" cy="16923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Begriffe einfach erklärt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6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LLM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>
                <a:solidFill>
                  <a:schemeClr val="tx1"/>
                </a:solidFill>
              </a:rPr>
              <a:t>Large Language Models sind universell einsetzbare Modelle, die mit riesigen Textmengen trainiert wurden und in der Lage sind, menschliche Sprache im großen Maßstab zu erzeugen und scheinbar zu verstehen.</a:t>
            </a:r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Generative KI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KI-Systeme, mit denen auf scheinbar kreative Weise neue Ergebnisse produziert werden können, etwa Bilder, Video, Audio oder Texte.</a:t>
            </a:r>
            <a:endParaRPr lang="de-DE"/>
          </a:p>
        </p:txBody>
      </p:sp>
      <p:pic>
        <p:nvPicPr>
          <p:cNvPr id="23" name="Image 0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07857" y="1606811"/>
            <a:ext cx="1030129" cy="1030129"/>
          </a:xfrm>
          <a:prstGeom prst="rect">
            <a:avLst/>
          </a:prstGeom>
        </p:spPr>
      </p:pic>
      <p:pic>
        <p:nvPicPr>
          <p:cNvPr id="24" name="Image 1" descr="preencoded.png"/>
          <p:cNvPicPr>
            <a:picLocks noChangeAspect="1"/>
          </p:cNvPicPr>
          <p:nvPr/>
        </p:nvPicPr>
        <p:blipFill>
          <a:blip r:embed="rId5"/>
          <a:srcRect t="5143"/>
          <a:stretch/>
        </p:blipFill>
        <p:spPr bwMode="auto">
          <a:xfrm>
            <a:off x="5503003" y="1606811"/>
            <a:ext cx="1030129" cy="977151"/>
          </a:xfrm>
          <a:prstGeom prst="rect">
            <a:avLst/>
          </a:prstGeom>
        </p:spPr>
      </p:pic>
      <p:sp>
        <p:nvSpPr>
          <p:cNvPr id="25" name="Textplatzhalter 21"/>
          <p:cNvSpPr>
            <a:spLocks noGrp="1"/>
          </p:cNvSpPr>
          <p:nvPr>
            <p:ph type="body" sz="quarter" idx="15"/>
          </p:nvPr>
        </p:nvSpPr>
        <p:spPr bwMode="auto"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de-DE" sz="2800" b="1"/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de-DE" sz="2800" b="1">
                <a:solidFill>
                  <a:schemeClr val="tx1"/>
                </a:solidFill>
              </a:rPr>
              <a:t>Maschinelles Lernen</a:t>
            </a:r>
            <a:endParaRPr lang="de-DE" sz="2800">
              <a:solidFill>
                <a:schemeClr val="tx1"/>
              </a:solidFill>
            </a:endParaRPr>
          </a:p>
          <a:p>
            <a:pPr marL="0" indent="0">
              <a:lnSpc>
                <a:spcPct val="113999"/>
              </a:lnSpc>
              <a:buNone/>
              <a:defRPr/>
            </a:pPr>
            <a:r>
              <a:rPr lang="de-DE" sz="1800" spc="-36">
                <a:solidFill>
                  <a:schemeClr val="tx1"/>
                </a:solidFill>
                <a:ea typeface="Inter"/>
                <a:cs typeface="Arial"/>
              </a:rPr>
              <a:t>Der Begriff beschreibt, wie Algorithmen Muster in den Daten erkennen. Diese Verfahren beinhalten  eine Trainingsphase, in der das Modell angelernt wird.</a:t>
            </a:r>
            <a:endParaRPr/>
          </a:p>
        </p:txBody>
      </p:sp>
      <p:pic>
        <p:nvPicPr>
          <p:cNvPr id="26" name="Image 2" descr="preencoded.png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9376081" y="1580321"/>
            <a:ext cx="1030129" cy="103012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 bwMode="auto">
          <a:xfrm>
            <a:off x="1424449" y="1768062"/>
            <a:ext cx="5421296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oziale Medien</a:t>
            </a:r>
            <a:endParaRPr/>
          </a:p>
          <a:p>
            <a:pPr>
              <a:defRPr/>
            </a:pPr>
            <a:r>
              <a:rPr lang="de-DE"/>
              <a:t>z. B. bei Chatbots und personalisierter Werbung (Tiktok, Snapchat, Instagram) oder bei Streaming-Diensten wie Youtube oder Netflix (Empfehlungen)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861774"/>
          </a:xfrm>
        </p:spPr>
        <p:txBody>
          <a:bodyPr/>
          <a:lstStyle/>
          <a:p>
            <a:pPr>
              <a:defRPr/>
            </a:pPr>
            <a:r>
              <a:rPr lang="de-DE"/>
              <a:t>KI in der Lebenswelt unserer </a:t>
            </a:r>
            <a:br>
              <a:rPr lang="de-DE"/>
            </a:br>
            <a:r>
              <a:rPr lang="de-DE"/>
              <a:t>Schülerinnen und Schüler 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auto">
          <a:xfrm>
            <a:off x="1424450" y="3042909"/>
            <a:ext cx="5418057" cy="584775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iele</a:t>
            </a:r>
            <a:endParaRPr/>
          </a:p>
          <a:p>
            <a:pPr>
              <a:defRPr/>
            </a:pPr>
            <a:r>
              <a:rPr lang="de-DE"/>
              <a:t>z. B. Spielgegner und personalisierte Erlebnisse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7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 bwMode="auto">
          <a:xfrm>
            <a:off x="1424450" y="4242046"/>
            <a:ext cx="5418058" cy="861774"/>
          </a:xfrm>
        </p:spPr>
        <p:txBody>
          <a:bodyPr/>
          <a:lstStyle/>
          <a:p>
            <a:pPr>
              <a:defRPr/>
            </a:pPr>
            <a:r>
              <a:rPr lang="de-DE" sz="2000" b="1"/>
              <a:t>Sprachassistenten</a:t>
            </a:r>
            <a:endParaRPr/>
          </a:p>
          <a:p>
            <a:pPr>
              <a:defRPr/>
            </a:pPr>
            <a:r>
              <a:rPr lang="de-DE"/>
              <a:t>Nutzung von Siri, Alexa, Gemini usw. im Alltag</a:t>
            </a:r>
            <a:endParaRPr/>
          </a:p>
          <a:p>
            <a:pPr>
              <a:defRPr/>
            </a:pP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1424449" y="5443624"/>
            <a:ext cx="5418777" cy="1128119"/>
          </a:xfrm>
        </p:spPr>
        <p:txBody>
          <a:bodyPr/>
          <a:lstStyle/>
          <a:p>
            <a:pPr>
              <a:defRPr/>
            </a:pPr>
            <a:r>
              <a:rPr lang="de-DE" sz="2000" b="1"/>
              <a:t>Lern-Apps</a:t>
            </a:r>
            <a:endParaRPr/>
          </a:p>
          <a:p>
            <a:pPr>
              <a:defRPr/>
            </a:pPr>
            <a:r>
              <a:rPr lang="de-DE"/>
              <a:t>z. B. Anton, Duolingo oder Scoyo nutzen KI, um das Lernniveau anzupassen</a:t>
            </a:r>
            <a:endParaRPr/>
          </a:p>
          <a:p>
            <a:pPr>
              <a:defRPr/>
            </a:pPr>
            <a:endParaRPr lang="de-DE"/>
          </a:p>
        </p:txBody>
      </p:sp>
      <p:pic>
        <p:nvPicPr>
          <p:cNvPr id="11" name="Image 3" descr="preencoded.png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3290" y="3075740"/>
            <a:ext cx="306110" cy="382667"/>
          </a:xfrm>
          <a:prstGeom prst="rect">
            <a:avLst/>
          </a:prstGeom>
        </p:spPr>
      </p:pic>
      <p:pic>
        <p:nvPicPr>
          <p:cNvPr id="12" name="Image 4" descr="preencoded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33290" y="4280228"/>
            <a:ext cx="306110" cy="382667"/>
          </a:xfrm>
          <a:prstGeom prst="rect">
            <a:avLst/>
          </a:prstGeom>
        </p:spPr>
      </p:pic>
      <p:pic>
        <p:nvPicPr>
          <p:cNvPr id="13" name="Image 5" descr="preencoded.png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3290" y="5484716"/>
            <a:ext cx="306110" cy="382667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 bwMode="auto">
          <a:xfrm>
            <a:off x="7998855" y="6475333"/>
            <a:ext cx="3638817" cy="200685"/>
            <a:chOff x="7998855" y="6475333"/>
            <a:chExt cx="3638817" cy="200685"/>
          </a:xfrm>
        </p:grpSpPr>
        <p:sp>
          <p:nvSpPr>
            <p:cNvPr id="15" name="Foliennummernplatzhalter 5"/>
            <p:cNvSpPr txBox="1"/>
            <p:nvPr/>
          </p:nvSpPr>
          <p:spPr bwMode="auto">
            <a:xfrm>
              <a:off x="7998855" y="6552907"/>
              <a:ext cx="3638817" cy="123111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>
              <a:spAutoFit/>
            </a:bodyPr>
            <a:lstStyle>
              <a:defPPr>
                <a:defRPr lang="de-DE"/>
              </a:defPPr>
              <a:lvl1pPr marL="0" algn="l" defTabSz="914400">
                <a:defRPr sz="8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de-DE">
                  <a:solidFill>
                    <a:srgbClr val="DEC628"/>
                  </a:solidFill>
                  <a:latin typeface="Aptos"/>
                </a:rPr>
                <a:t>Kinder beim Lernen zu Hause mit KI-Tools – erstellt mit ChatGPT 4.o am 22.05.2025</a:t>
              </a:r>
              <a:endParaRPr/>
            </a:p>
          </p:txBody>
        </p:sp>
        <p:cxnSp>
          <p:nvCxnSpPr>
            <p:cNvPr id="16" name="Gerader Verbinder 14"/>
            <p:cNvCxnSpPr>
              <a:cxnSpLocks/>
            </p:cNvCxnSpPr>
            <p:nvPr/>
          </p:nvCxnSpPr>
          <p:spPr bwMode="auto">
            <a:xfrm>
              <a:off x="11457673" y="6475333"/>
              <a:ext cx="180000" cy="0"/>
            </a:xfrm>
            <a:prstGeom prst="line">
              <a:avLst/>
            </a:prstGeom>
            <a:ln cap="rnd">
              <a:solidFill>
                <a:srgbClr val="DEC628"/>
              </a:solidFill>
              <a:rou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 descr="Smartphone mit einfarbiger Füllung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/>
        </p:blipFill>
        <p:spPr bwMode="auto">
          <a:xfrm>
            <a:off x="605921" y="1797597"/>
            <a:ext cx="360847" cy="360847"/>
          </a:xfrm>
          <a:prstGeom prst="rect">
            <a:avLst/>
          </a:prstGeom>
        </p:spPr>
      </p:pic>
      <p:pic>
        <p:nvPicPr>
          <p:cNvPr id="23" name="Bildplatzhalter 22"/>
          <p:cNvPicPr>
            <a:picLocks noGrp="1" noChangeAspect="1"/>
          </p:cNvPicPr>
          <p:nvPr>
            <p:ph type="pic" sz="quarter" idx="22"/>
          </p:nvPr>
        </p:nvPicPr>
        <p:blipFill>
          <a:blip r:embed="rId8"/>
          <a:srcRect t="6995" b="6995"/>
          <a:stretch/>
        </p:blipFill>
        <p:spPr bwMode="auto"/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KI-anwendungen als verstärker guten unterrichts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8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grayscl/>
          </a:blip>
          <a:stretch/>
        </p:blipFill>
        <p:spPr bwMode="auto">
          <a:xfrm>
            <a:off x="11297919" y="425340"/>
            <a:ext cx="365567" cy="618710"/>
          </a:xfrm>
          <a:prstGeom prst="rect">
            <a:avLst/>
          </a:prstGeom>
        </p:spPr>
      </p:pic>
      <p:graphicFrame>
        <p:nvGraphicFramePr>
          <p:cNvPr id="13" name="Diagramm 12"/>
          <p:cNvGraphicFramePr>
            <a:graphicFrameLocks/>
          </p:cNvGraphicFramePr>
          <p:nvPr/>
        </p:nvGraphicFramePr>
        <p:xfrm>
          <a:off x="2032000" y="1407781"/>
          <a:ext cx="7171206" cy="4730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556035" y="515520"/>
            <a:ext cx="9209813" cy="215444"/>
          </a:xfrm>
        </p:spPr>
        <p:txBody>
          <a:bodyPr/>
          <a:lstStyle/>
          <a:p>
            <a:pPr>
              <a:defRPr/>
            </a:pPr>
            <a:r>
              <a:rPr lang="de-DE"/>
              <a:t>Künstliche Intelligenz – eine Einführung</a:t>
            </a:r>
            <a:endParaRPr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556650" y="778589"/>
            <a:ext cx="9209813" cy="430887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chemeClr val="accent6"/>
                </a:solidFill>
              </a:rPr>
              <a:t>Herausforderungen</a:t>
            </a:r>
            <a:r>
              <a:rPr lang="de-DE"/>
              <a:t> von KI in der Schule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 bwMode="auto">
          <a:xfrm>
            <a:off x="584682" y="2689523"/>
            <a:ext cx="3630625" cy="323165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/>
          <a:lstStyle/>
          <a:p>
            <a:pPr algn="ctr">
              <a:defRPr/>
            </a:pPr>
            <a:r>
              <a:rPr lang="de-DE" sz="2400" b="1"/>
              <a:t>Datenschutz &amp; </a:t>
            </a:r>
            <a:endParaRPr/>
          </a:p>
          <a:p>
            <a:pPr algn="ctr">
              <a:defRPr/>
            </a:pPr>
            <a:r>
              <a:rPr lang="de-DE" sz="2400" b="1"/>
              <a:t>Sicherheit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Oft Verarbeitung personenbezogener Daten  </a:t>
            </a:r>
            <a:endParaRPr/>
          </a:p>
          <a:p>
            <a:pPr marL="285750" indent="-285750">
              <a:buFont typeface="Arial"/>
              <a:buChar char="•"/>
              <a:defRPr/>
            </a:pPr>
            <a:r>
              <a:rPr lang="de-DE"/>
              <a:t>nicht immer konform mit der DSGVO, mit der KI-Verordnung der Europäischen Union oder dem allgemeinen Schulrecht</a:t>
            </a:r>
            <a:endParaRPr/>
          </a:p>
          <a:p>
            <a:pPr marL="285750" indent="-285750">
              <a:buFont typeface="Wingdings"/>
              <a:buChar char="Ø"/>
              <a:defRPr/>
            </a:pPr>
            <a:r>
              <a:rPr lang="de-DE"/>
              <a:t>Genaue Prüfung</a:t>
            </a:r>
            <a:endParaRPr/>
          </a:p>
          <a:p>
            <a:pPr algn="ctr"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B3D266E1-CF7D-47E8-B8E6-FE2361DFB2DF}" type="slidenum">
              <a:rPr lang="de-DE"/>
              <a:t>9</a:t>
            </a:fld>
            <a:endParaRPr lang="de-DE"/>
          </a:p>
        </p:txBody>
      </p:sp>
      <p:pic>
        <p:nvPicPr>
          <p:cNvPr id="8" name="Image 1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2230695" y="2229413"/>
            <a:ext cx="230785" cy="274652"/>
          </a:xfrm>
          <a:prstGeom prst="rect">
            <a:avLst/>
          </a:prstGeom>
          <a:solidFill>
            <a:srgbClr val="E8DC7B"/>
          </a:solidFill>
        </p:spPr>
      </p:pic>
      <p:pic>
        <p:nvPicPr>
          <p:cNvPr id="9" name="Image 2" descr="preencoded.png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5968377" y="2229413"/>
            <a:ext cx="230785" cy="274652"/>
          </a:xfrm>
          <a:prstGeom prst="rect">
            <a:avLst/>
          </a:prstGeom>
        </p:spPr>
      </p:pic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EDE31D">
                <a:tint val="45000"/>
                <a:satMod val="400000"/>
              </a:srgbClr>
            </a:duotone>
          </a:blip>
          <a:stretch/>
        </p:blipFill>
        <p:spPr bwMode="auto">
          <a:xfrm>
            <a:off x="9706059" y="2229413"/>
            <a:ext cx="230785" cy="274652"/>
          </a:xfrm>
          <a:prstGeom prst="rect">
            <a:avLst/>
          </a:prstGeom>
        </p:spPr>
      </p:pic>
      <p:sp>
        <p:nvSpPr>
          <p:cNvPr id="11" name="Textplatzhalter 5"/>
          <p:cNvSpPr txBox="1"/>
          <p:nvPr/>
        </p:nvSpPr>
        <p:spPr bwMode="auto">
          <a:xfrm>
            <a:off x="4403558" y="2726842"/>
            <a:ext cx="3478307" cy="2182649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Verlässlichkeit</a:t>
            </a:r>
            <a:endParaRPr/>
          </a:p>
          <a:p>
            <a:pPr algn="ctr">
              <a:defRPr/>
            </a:pPr>
            <a:r>
              <a:rPr lang="de-DE" sz="2400" b="1"/>
              <a:t>von Inhalten</a:t>
            </a:r>
            <a:endParaRPr lang="de-DE"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/>
              <a:t>Inhalte zum Teil fehlerhaft oder verzerrt (Vorurteile, Bias)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Prüfung von Inhalt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/>
              <a:t>Quellen-Check</a:t>
            </a:r>
            <a:endParaRPr/>
          </a:p>
        </p:txBody>
      </p:sp>
      <p:sp>
        <p:nvSpPr>
          <p:cNvPr id="12" name="Textplatzhalter 5"/>
          <p:cNvSpPr txBox="1"/>
          <p:nvPr/>
        </p:nvSpPr>
        <p:spPr bwMode="auto">
          <a:xfrm>
            <a:off x="8070117" y="2726842"/>
            <a:ext cx="3596092" cy="2767424"/>
          </a:xfrm>
          <a:prstGeom prst="rect">
            <a:avLst/>
          </a:prstGeom>
          <a:ln>
            <a:solidFill>
              <a:srgbClr val="DEC628"/>
            </a:solidFill>
          </a:ln>
        </p:spPr>
        <p:txBody>
          <a:bodyPr wrap="square" lIns="0" tIns="0" rIns="0" bIns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Aptos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2400" b="1"/>
              <a:t>Gefahr der Übernutzung</a:t>
            </a:r>
            <a:endParaRPr/>
          </a:p>
          <a:p>
            <a:pPr algn="ctr">
              <a:defRPr/>
            </a:pPr>
            <a:r>
              <a:rPr lang="de-DE" sz="2400" b="1"/>
              <a:t>oder Täuschung</a:t>
            </a:r>
            <a:endParaRPr/>
          </a:p>
          <a:p>
            <a:pPr algn="ctr">
              <a:defRPr/>
            </a:pPr>
            <a:endParaRPr lang="de-DE"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z="1800" spc="-28">
                <a:solidFill>
                  <a:srgbClr val="272525"/>
                </a:solidFill>
                <a:ea typeface="Inter"/>
                <a:cs typeface="Arial"/>
              </a:rPr>
              <a:t>KI-Anwendungen sind Hilfe, keine Abkürzung</a:t>
            </a:r>
            <a:endParaRPr/>
          </a:p>
          <a:p>
            <a:pPr marL="285750" indent="-285750">
              <a:lnSpc>
                <a:spcPts val="2250"/>
              </a:lnSpc>
              <a:buFont typeface="Arial"/>
              <a:buChar char="•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Eigenleistung immer noch wichtig: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z="1800" spc="-28">
                <a:solidFill>
                  <a:srgbClr val="272525"/>
                </a:solidFill>
                <a:cs typeface="Arial"/>
              </a:rPr>
              <a:t>KI-Nutzung kennzeichnen</a:t>
            </a:r>
            <a:endParaRPr/>
          </a:p>
          <a:p>
            <a:pPr marL="285750" indent="-285750">
              <a:lnSpc>
                <a:spcPts val="2250"/>
              </a:lnSpc>
              <a:buFont typeface="Wingdings"/>
              <a:buChar char="Ø"/>
              <a:defRPr/>
            </a:pPr>
            <a:r>
              <a:rPr lang="de-DE" spc="-28">
                <a:solidFill>
                  <a:srgbClr val="272525"/>
                </a:solidFill>
                <a:cs typeface="Arial"/>
              </a:rPr>
              <a:t>Praxisorientierte Aufgaben</a:t>
            </a:r>
            <a:endParaRPr lang="de-DE" sz="1800">
              <a:cs typeface="Arial"/>
            </a:endParaRPr>
          </a:p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Cover 01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Inhalt ">
  <a:themeElements>
    <a:clrScheme name="Benutzerdefiniert 3">
      <a:dk1>
        <a:sysClr val="windowText" lastClr="000000"/>
      </a:dk1>
      <a:lt1>
        <a:sysClr val="window" lastClr="FFFFFF"/>
      </a:lt1>
      <a:dk2>
        <a:srgbClr val="000000"/>
      </a:dk2>
      <a:lt2>
        <a:srgbClr val="E8E8E8"/>
      </a:lt2>
      <a:accent1>
        <a:srgbClr val="F39324"/>
      </a:accent1>
      <a:accent2>
        <a:srgbClr val="B66BA9"/>
      </a:accent2>
      <a:accent3>
        <a:srgbClr val="E45C8A"/>
      </a:accent3>
      <a:accent4>
        <a:srgbClr val="5D86C4"/>
      </a:accent4>
      <a:accent5>
        <a:srgbClr val="50A74C"/>
      </a:accent5>
      <a:accent6>
        <a:srgbClr val="29969F"/>
      </a:accent6>
      <a:hlink>
        <a:srgbClr val="000000"/>
      </a:hlink>
      <a:folHlink>
        <a:srgbClr val="E8E8E8"/>
      </a:folHlink>
    </a:clrScheme>
    <a:fontScheme name="Elternarbeit">
      <a:majorFont>
        <a:latin typeface="Segoe UI"/>
        <a:ea typeface="Arial"/>
        <a:cs typeface="Arial"/>
      </a:majorFont>
      <a:minorFont>
        <a:latin typeface="Segoe U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Arial"/>
        <a:cs typeface="Arial"/>
      </a:majorFont>
      <a:minorFont>
        <a:latin typeface="Apto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07</Words>
  <Application>Microsoft Office PowerPoint</Application>
  <DocSecurity>0</DocSecurity>
  <PresentationFormat>Breitbild</PresentationFormat>
  <Paragraphs>786</Paragraphs>
  <Slides>35</Slides>
  <Notes>3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7" baseType="lpstr">
      <vt:lpstr>Aptos</vt:lpstr>
      <vt:lpstr>Arial</vt:lpstr>
      <vt:lpstr>Calibri</vt:lpstr>
      <vt:lpstr>Helvetica</vt:lpstr>
      <vt:lpstr>Ink Free</vt:lpstr>
      <vt:lpstr>Inter</vt:lpstr>
      <vt:lpstr>Segoe UI</vt:lpstr>
      <vt:lpstr>Wingdings</vt:lpstr>
      <vt:lpstr>Cover 01</vt:lpstr>
      <vt:lpstr>Inhalt </vt:lpstr>
      <vt:lpstr>1_Inhalt 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K Medienerziehung, ISB</dc:creator>
  <cp:keywords/>
  <dc:description/>
  <cp:lastModifiedBy>Teubner, Markus</cp:lastModifiedBy>
  <cp:revision>192</cp:revision>
  <dcterms:created xsi:type="dcterms:W3CDTF">2024-05-08T06:34:22Z</dcterms:created>
  <dcterms:modified xsi:type="dcterms:W3CDTF">2025-09-30T12:00:16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674CF57E09B4787B28BA164A64369</vt:lpwstr>
  </property>
</Properties>
</file>